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1.xml" ContentType="application/vnd.openxmlformats-officedocument.drawingml.chart+xml"/>
  <Override PartName="/ppt/charts/style2.xml" ContentType="application/vnd.ms-office.chartstyle+xml"/>
  <Override PartName="/ppt/charts/colors2.xml" ContentType="application/vnd.ms-office.chartcolorstyle+xml"/>
  <Override PartName="/ppt/charts/chart2.xml" ContentType="application/vnd.openxmlformats-officedocument.drawingml.chart+xml"/>
  <Override PartName="/ppt/notesSlides/notesSlide1.xml" ContentType="application/vnd.openxmlformats-officedocument.presentationml.notesSlide+xml"/>
  <Override PartName="/ppt/charts/chart3.xml" ContentType="application/vnd.openxmlformats-officedocument.drawingml.chart+xml"/>
  <Override PartName="/ppt/drawings/drawing1.xml" ContentType="application/vnd.openxmlformats-officedocument.drawingml.chartshapes+xml"/>
  <Override PartName="/ppt/charts/chart4.xml" ContentType="application/vnd.openxmlformats-officedocument.drawingml.chart+xml"/>
  <Override PartName="/ppt/drawings/drawing2.xml" ContentType="application/vnd.openxmlformats-officedocument.drawingml.chartshapes+xml"/>
  <Override PartName="/ppt/notesSlides/notesSlide2.xml" ContentType="application/vnd.openxmlformats-officedocument.presentationml.notesSlide+xml"/>
  <Override PartName="/ppt/charts/chart5.xml" ContentType="application/vnd.openxmlformats-officedocument.drawingml.chart+xml"/>
  <Override PartName="/ppt/drawings/drawing3.xml" ContentType="application/vnd.openxmlformats-officedocument.drawingml.chartshapes+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notesSlides/notesSlide3.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4.xml" ContentType="application/vnd.openxmlformats-officedocument.drawingml.chartshapes+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tags/tag1.xml" ContentType="application/vnd.openxmlformats-officedocument.presentationml.tags+xml"/>
  <Override PartName="/ppt/charts/chart11.xml" ContentType="application/vnd.openxmlformats-officedocument.drawingml.chart+xml"/>
  <Override PartName="/ppt/drawings/drawing5.xml" ContentType="application/vnd.openxmlformats-officedocument.drawingml.chartshapes+xml"/>
  <Override PartName="/ppt/charts/chart12.xml" ContentType="application/vnd.openxmlformats-officedocument.drawingml.chart+xml"/>
  <Override PartName="/ppt/charts/chart13.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6.xml" ContentType="application/vnd.openxmlformats-officedocument.drawingml.chartshapes+xml"/>
  <Override PartName="/ppt/notesSlides/notesSlide4.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drawings/drawing7.xml" ContentType="application/vnd.openxmlformats-officedocument.drawingml.chartshapes+xml"/>
  <Override PartName="/ppt/charts/chart16.xml" ContentType="application/vnd.openxmlformats-officedocument.drawingml.chart+xml"/>
  <Override PartName="/ppt/drawings/drawing8.xml" ContentType="application/vnd.openxmlformats-officedocument.drawingml.chartshapes+xml"/>
  <Override PartName="/ppt/charts/chart17.xml" ContentType="application/vnd.openxmlformats-officedocument.drawingml.chart+xml"/>
  <Override PartName="/ppt/drawings/drawing9.xml" ContentType="application/vnd.openxmlformats-officedocument.drawingml.chartshapes+xml"/>
  <Override PartName="/ppt/notesSlides/notesSlide5.xml" ContentType="application/vnd.openxmlformats-officedocument.presentationml.notesSlide+xml"/>
  <Override PartName="/ppt/charts/chart18.xml" ContentType="application/vnd.openxmlformats-officedocument.drawingml.char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charts/chart19.xml" ContentType="application/vnd.openxmlformats-officedocument.drawingml.chart+xml"/>
  <Override PartName="/ppt/charts/style6.xml" ContentType="application/vnd.ms-office.chartstyle+xml"/>
  <Override PartName="/ppt/charts/colors6.xml" ContentType="application/vnd.ms-office.chartcolorstyle+xml"/>
  <Override PartName="/ppt/charts/chart20.xml" ContentType="application/vnd.openxmlformats-officedocument.drawingml.chart+xml"/>
  <Override PartName="/ppt/charts/style7.xml" ContentType="application/vnd.ms-office.chartstyle+xml"/>
  <Override PartName="/ppt/charts/colors7.xml" ContentType="application/vnd.ms-office.chartcolorstyle+xml"/>
  <Override PartName="/ppt/charts/chart21.xml" ContentType="application/vnd.openxmlformats-officedocument.drawingml.chart+xml"/>
  <Override PartName="/ppt/charts/style8.xml" ContentType="application/vnd.ms-office.chartstyle+xml"/>
  <Override PartName="/ppt/charts/colors8.xml" ContentType="application/vnd.ms-office.chartcolorstyle+xml"/>
  <Override PartName="/ppt/charts/chart22.xml" ContentType="application/vnd.openxmlformats-officedocument.drawingml.chart+xml"/>
  <Override PartName="/ppt/charts/style9.xml" ContentType="application/vnd.ms-office.chartstyle+xml"/>
  <Override PartName="/ppt/charts/colors9.xml" ContentType="application/vnd.ms-office.chartcolorstyle+xml"/>
  <Override PartName="/ppt/charts/chart23.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4.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5.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6.xml" ContentType="application/vnd.openxmlformats-officedocument.drawingml.chart+xml"/>
  <Override PartName="/ppt/charts/style13.xml" ContentType="application/vnd.ms-office.chartstyle+xml"/>
  <Override PartName="/ppt/charts/colors13.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6.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notesSlides/notesSlide7.xml" ContentType="application/vnd.openxmlformats-officedocument.presentationml.notesSlide+xml"/>
  <Override PartName="/ppt/charts/chart29.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83"/>
  </p:notesMasterIdLst>
  <p:sldIdLst>
    <p:sldId id="256" r:id="rId6"/>
    <p:sldId id="305" r:id="rId7"/>
    <p:sldId id="308" r:id="rId8"/>
    <p:sldId id="309" r:id="rId9"/>
    <p:sldId id="319" r:id="rId10"/>
    <p:sldId id="320" r:id="rId11"/>
    <p:sldId id="321" r:id="rId12"/>
    <p:sldId id="322" r:id="rId13"/>
    <p:sldId id="258" r:id="rId14"/>
    <p:sldId id="260" r:id="rId15"/>
    <p:sldId id="268" r:id="rId16"/>
    <p:sldId id="261" r:id="rId17"/>
    <p:sldId id="262" r:id="rId18"/>
    <p:sldId id="263" r:id="rId19"/>
    <p:sldId id="266" r:id="rId20"/>
    <p:sldId id="264" r:id="rId21"/>
    <p:sldId id="277" r:id="rId22"/>
    <p:sldId id="278" r:id="rId23"/>
    <p:sldId id="280" r:id="rId24"/>
    <p:sldId id="279" r:id="rId25"/>
    <p:sldId id="265" r:id="rId26"/>
    <p:sldId id="294" r:id="rId27"/>
    <p:sldId id="293" r:id="rId28"/>
    <p:sldId id="290" r:id="rId29"/>
    <p:sldId id="326" r:id="rId30"/>
    <p:sldId id="306" r:id="rId31"/>
    <p:sldId id="307" r:id="rId32"/>
    <p:sldId id="328" r:id="rId33"/>
    <p:sldId id="332" r:id="rId34"/>
    <p:sldId id="316" r:id="rId35"/>
    <p:sldId id="295" r:id="rId36"/>
    <p:sldId id="300" r:id="rId37"/>
    <p:sldId id="296" r:id="rId38"/>
    <p:sldId id="297" r:id="rId39"/>
    <p:sldId id="301" r:id="rId40"/>
    <p:sldId id="299" r:id="rId41"/>
    <p:sldId id="325" r:id="rId42"/>
    <p:sldId id="302" r:id="rId43"/>
    <p:sldId id="303" r:id="rId44"/>
    <p:sldId id="304" r:id="rId45"/>
    <p:sldId id="323" r:id="rId46"/>
    <p:sldId id="324" r:id="rId47"/>
    <p:sldId id="335" r:id="rId48"/>
    <p:sldId id="281" r:id="rId49"/>
    <p:sldId id="340" r:id="rId50"/>
    <p:sldId id="275" r:id="rId51"/>
    <p:sldId id="276" r:id="rId52"/>
    <p:sldId id="2147483644" r:id="rId53"/>
    <p:sldId id="2147483645" r:id="rId54"/>
    <p:sldId id="2147483646" r:id="rId55"/>
    <p:sldId id="336" r:id="rId56"/>
    <p:sldId id="338" r:id="rId57"/>
    <p:sldId id="269" r:id="rId58"/>
    <p:sldId id="267" r:id="rId59"/>
    <p:sldId id="270" r:id="rId60"/>
    <p:sldId id="271" r:id="rId61"/>
    <p:sldId id="272" r:id="rId62"/>
    <p:sldId id="273" r:id="rId63"/>
    <p:sldId id="274" r:id="rId64"/>
    <p:sldId id="310" r:id="rId65"/>
    <p:sldId id="312" r:id="rId66"/>
    <p:sldId id="313" r:id="rId67"/>
    <p:sldId id="311" r:id="rId68"/>
    <p:sldId id="314" r:id="rId69"/>
    <p:sldId id="315" r:id="rId70"/>
    <p:sldId id="292" r:id="rId71"/>
    <p:sldId id="291" r:id="rId72"/>
    <p:sldId id="284" r:id="rId73"/>
    <p:sldId id="285" r:id="rId74"/>
    <p:sldId id="286" r:id="rId75"/>
    <p:sldId id="287" r:id="rId76"/>
    <p:sldId id="288" r:id="rId77"/>
    <p:sldId id="289" r:id="rId78"/>
    <p:sldId id="330" r:id="rId79"/>
    <p:sldId id="334" r:id="rId80"/>
    <p:sldId id="331" r:id="rId81"/>
    <p:sldId id="333" r:id="rId82"/>
  </p:sldIdLst>
  <p:sldSz cx="12192000" cy="6858000"/>
  <p:notesSz cx="6858000" cy="9144000"/>
  <p:defaultTextStyle>
    <a:defPPr>
      <a:defRPr lang="en-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00. Intro" id="{F61C872E-E8EA-A84A-AE2A-64D1A66CA8D2}">
          <p14:sldIdLst>
            <p14:sldId id="256"/>
            <p14:sldId id="305"/>
          </p14:sldIdLst>
        </p14:section>
        <p14:section name="01. Text Display" id="{8E0E840B-E78A-F749-8693-610BDF9030CC}">
          <p14:sldIdLst>
            <p14:sldId id="308"/>
            <p14:sldId id="309"/>
            <p14:sldId id="319"/>
            <p14:sldId id="320"/>
            <p14:sldId id="321"/>
            <p14:sldId id="322"/>
          </p14:sldIdLst>
        </p14:section>
        <p14:section name="02. Data Display | Column Charts" id="{A763C343-D879-1745-81B8-FD1D7888F10D}">
          <p14:sldIdLst>
            <p14:sldId id="258"/>
            <p14:sldId id="260"/>
            <p14:sldId id="268"/>
            <p14:sldId id="261"/>
            <p14:sldId id="262"/>
            <p14:sldId id="263"/>
            <p14:sldId id="266"/>
            <p14:sldId id="264"/>
            <p14:sldId id="277"/>
            <p14:sldId id="278"/>
            <p14:sldId id="280"/>
          </p14:sldIdLst>
        </p14:section>
        <p14:section name="03. Data Display | Pie Charts" id="{2268D6AD-A0BD-AE45-ABD4-E1395E2E5AEB}">
          <p14:sldIdLst>
            <p14:sldId id="279"/>
            <p14:sldId id="265"/>
            <p14:sldId id="294"/>
            <p14:sldId id="293"/>
            <p14:sldId id="290"/>
            <p14:sldId id="326"/>
          </p14:sldIdLst>
        </p14:section>
        <p14:section name="04. Data Display | Line Charts" id="{F75C3137-43B3-B949-84AF-D41F54ED001C}">
          <p14:sldIdLst>
            <p14:sldId id="306"/>
            <p14:sldId id="307"/>
            <p14:sldId id="328"/>
            <p14:sldId id="332"/>
            <p14:sldId id="316"/>
          </p14:sldIdLst>
        </p14:section>
        <p14:section name="05. Project Management Slides" id="{E6FBB090-E0D1-8C4B-A357-A1779BD65060}">
          <p14:sldIdLst>
            <p14:sldId id="295"/>
            <p14:sldId id="300"/>
            <p14:sldId id="296"/>
            <p14:sldId id="297"/>
            <p14:sldId id="301"/>
            <p14:sldId id="299"/>
            <p14:sldId id="325"/>
            <p14:sldId id="302"/>
            <p14:sldId id="303"/>
            <p14:sldId id="304"/>
            <p14:sldId id="323"/>
            <p14:sldId id="324"/>
          </p14:sldIdLst>
        </p14:section>
        <p14:section name="06. Steerco" id="{DE86E9D5-ED5C-064B-AE87-C45EF16EE802}">
          <p14:sldIdLst>
            <p14:sldId id="335"/>
            <p14:sldId id="281"/>
            <p14:sldId id="340"/>
            <p14:sldId id="275"/>
            <p14:sldId id="276"/>
            <p14:sldId id="2147483644"/>
            <p14:sldId id="2147483645"/>
            <p14:sldId id="2147483646"/>
          </p14:sldIdLst>
        </p14:section>
        <p14:section name="07. Kick Off Meeting" id="{256EF6E2-8542-E042-881B-6F3A117DFEA2}">
          <p14:sldIdLst>
            <p14:sldId id="336"/>
            <p14:sldId id="338"/>
          </p14:sldIdLst>
        </p14:section>
        <p14:section name="08. Dashboard Slides" id="{D7D3D0E9-E847-4556-B200-1000384AF5CD}">
          <p14:sldIdLst>
            <p14:sldId id="269"/>
            <p14:sldId id="267"/>
            <p14:sldId id="270"/>
            <p14:sldId id="271"/>
            <p14:sldId id="272"/>
            <p14:sldId id="273"/>
            <p14:sldId id="274"/>
          </p14:sldIdLst>
        </p14:section>
        <p14:section name="09. Other Visuals" id="{9A7FCAEE-EFDE-43D7-B6B6-C35AB0D03A40}">
          <p14:sldIdLst>
            <p14:sldId id="310"/>
            <p14:sldId id="312"/>
            <p14:sldId id="313"/>
            <p14:sldId id="311"/>
            <p14:sldId id="314"/>
            <p14:sldId id="315"/>
          </p14:sldIdLst>
        </p14:section>
        <p14:section name="10. Images | Mobiz Logos and Backgrounds" id="{21EC9646-FE18-9A4D-9085-2F8D538E1558}">
          <p14:sldIdLst>
            <p14:sldId id="292"/>
            <p14:sldId id="291"/>
            <p14:sldId id="284"/>
            <p14:sldId id="285"/>
            <p14:sldId id="286"/>
            <p14:sldId id="287"/>
            <p14:sldId id="288"/>
            <p14:sldId id="289"/>
            <p14:sldId id="330"/>
            <p14:sldId id="334"/>
            <p14:sldId id="331"/>
            <p14:sldId id="33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29885"/>
    <a:srgbClr val="F8C391"/>
    <a:srgbClr val="F7C997"/>
    <a:srgbClr val="FBDE90"/>
    <a:srgbClr val="B11E27"/>
    <a:srgbClr val="9DA2A2"/>
    <a:srgbClr val="C00000"/>
    <a:srgbClr val="BE0A08"/>
    <a:srgbClr val="B70103"/>
    <a:srgbClr val="DC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672"/>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presProps" Target="presProps.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tableStyles" Target="tableStyles.xml"/><Relationship Id="rId61" Type="http://schemas.openxmlformats.org/officeDocument/2006/relationships/slide" Target="slides/slide56.xml"/><Relationship Id="rId82" Type="http://schemas.openxmlformats.org/officeDocument/2006/relationships/slide" Target="slides/slide7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6.xml"/></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6.xml"/><Relationship Id="rId1" Type="http://schemas.microsoft.com/office/2011/relationships/chartStyle" Target="style6.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7.xml"/><Relationship Id="rId1" Type="http://schemas.microsoft.com/office/2011/relationships/chartStyle" Target="style7.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8.xml"/><Relationship Id="rId1" Type="http://schemas.microsoft.com/office/2011/relationships/chartStyle" Target="style8.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9.xml"/><Relationship Id="rId1" Type="http://schemas.microsoft.com/office/2011/relationships/chartStyle" Target="style9.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0.xml"/><Relationship Id="rId1" Type="http://schemas.microsoft.com/office/2011/relationships/chartStyle" Target="style10.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1.xml"/><Relationship Id="rId1" Type="http://schemas.microsoft.com/office/2011/relationships/chartStyle" Target="style11.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2.xml"/><Relationship Id="rId1" Type="http://schemas.microsoft.com/office/2011/relationships/chartStyle" Target="style12.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13.xml"/><Relationship Id="rId1" Type="http://schemas.microsoft.com/office/2011/relationships/chartStyle" Target="style13.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4.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C0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Poppins" pitchFamily="2" charset="77"/>
                    <a:ea typeface="+mn-ea"/>
                    <a:cs typeface="Poppins" pitchFamily="2" charset="77"/>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7F82-3646-9B1F-E0BC27493FCE}"/>
            </c:ext>
          </c:extLst>
        </c:ser>
        <c:ser>
          <c:idx val="1"/>
          <c:order val="1"/>
          <c:tx>
            <c:strRef>
              <c:f>Sheet1!$C$1</c:f>
              <c:strCache>
                <c:ptCount val="1"/>
                <c:pt idx="0">
                  <c:v>Series 2</c:v>
                </c:pt>
              </c:strCache>
            </c:strRef>
          </c:tx>
          <c:spPr>
            <a:solidFill>
              <a:schemeClr val="tx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Poppins" pitchFamily="2" charset="77"/>
                    <a:ea typeface="+mn-ea"/>
                    <a:cs typeface="Poppins" pitchFamily="2" charset="77"/>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7F82-3646-9B1F-E0BC27493FCE}"/>
            </c:ext>
          </c:extLst>
        </c:ser>
        <c:ser>
          <c:idx val="2"/>
          <c:order val="2"/>
          <c:tx>
            <c:strRef>
              <c:f>Sheet1!$D$1</c:f>
              <c:strCache>
                <c:ptCount val="1"/>
                <c:pt idx="0">
                  <c:v>Series 3</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Poppins" pitchFamily="2" charset="77"/>
                    <a:ea typeface="+mn-ea"/>
                    <a:cs typeface="Poppins" pitchFamily="2" charset="77"/>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7F82-3646-9B1F-E0BC27493FCE}"/>
            </c:ext>
          </c:extLst>
        </c:ser>
        <c:dLbls>
          <c:showLegendKey val="0"/>
          <c:showVal val="0"/>
          <c:showCatName val="0"/>
          <c:showSerName val="0"/>
          <c:showPercent val="0"/>
          <c:showBubbleSize val="0"/>
        </c:dLbls>
        <c:gapWidth val="219"/>
        <c:overlap val="-27"/>
        <c:axId val="610392800"/>
        <c:axId val="314794192"/>
      </c:barChart>
      <c:catAx>
        <c:axId val="610392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Poppins" pitchFamily="2" charset="77"/>
                <a:ea typeface="+mn-ea"/>
                <a:cs typeface="Poppins" pitchFamily="2" charset="77"/>
              </a:defRPr>
            </a:pPr>
            <a:endParaRPr lang="en-US"/>
          </a:p>
        </c:txPr>
        <c:crossAx val="314794192"/>
        <c:crosses val="autoZero"/>
        <c:auto val="1"/>
        <c:lblAlgn val="ctr"/>
        <c:lblOffset val="100"/>
        <c:noMultiLvlLbl val="0"/>
      </c:catAx>
      <c:valAx>
        <c:axId val="3147941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Poppins" pitchFamily="2" charset="77"/>
                <a:ea typeface="+mn-ea"/>
                <a:cs typeface="Poppins" pitchFamily="2" charset="77"/>
              </a:defRPr>
            </a:pPr>
            <a:endParaRPr lang="en-US"/>
          </a:p>
        </c:txPr>
        <c:crossAx val="6103928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Poppins" pitchFamily="2" charset="77"/>
              <a:ea typeface="+mn-ea"/>
              <a:cs typeface="Poppins" pitchFamily="2" charset="77"/>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Poppins" pitchFamily="2" charset="77"/>
          <a:cs typeface="Poppins" pitchFamily="2" charset="77"/>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dPt>
            <c:idx val="0"/>
            <c:bubble3D val="0"/>
            <c:spPr>
              <a:solidFill>
                <a:srgbClr val="D6222B"/>
              </a:solidFill>
              <a:ln w="25400">
                <a:solidFill>
                  <a:schemeClr val="lt1"/>
                </a:solidFill>
              </a:ln>
              <a:effectLst/>
              <a:sp3d contourW="25400">
                <a:contourClr>
                  <a:schemeClr val="lt1"/>
                </a:contourClr>
              </a:sp3d>
            </c:spPr>
            <c:extLst>
              <c:ext xmlns:c16="http://schemas.microsoft.com/office/drawing/2014/chart" uri="{C3380CC4-5D6E-409C-BE32-E72D297353CC}">
                <c16:uniqueId val="{00000001-60C2-894A-B514-2D87F4A2B7B2}"/>
              </c:ext>
            </c:extLst>
          </c:dPt>
          <c:dPt>
            <c:idx val="1"/>
            <c:bubble3D val="0"/>
            <c:spPr>
              <a:solidFill>
                <a:schemeClr val="tx1">
                  <a:lumMod val="75000"/>
                  <a:lumOff val="25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3-60C2-894A-B514-2D87F4A2B7B2}"/>
              </c:ext>
            </c:extLst>
          </c:dPt>
          <c:dPt>
            <c:idx val="2"/>
            <c:bubble3D val="0"/>
            <c:spPr>
              <a:solidFill>
                <a:schemeClr val="tx1">
                  <a:lumMod val="50000"/>
                  <a:lumOff val="5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5-60C2-894A-B514-2D87F4A2B7B2}"/>
              </c:ext>
            </c:extLst>
          </c:dPt>
          <c:dPt>
            <c:idx val="3"/>
            <c:bubble3D val="0"/>
            <c:spPr>
              <a:solidFill>
                <a:schemeClr val="bg1">
                  <a:lumMod val="85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7-60C2-894A-B514-2D87F4A2B7B2}"/>
              </c:ext>
            </c:extLst>
          </c:dPt>
          <c:dLbls>
            <c:dLbl>
              <c:idx val="0"/>
              <c:tx>
                <c:rich>
                  <a:bodyPr/>
                  <a:lstStyle/>
                  <a:p>
                    <a:fld id="{AAF502DE-2A8B-B54D-B0D6-1928332AF547}" type="VALUE">
                      <a:rPr lang="en-US">
                        <a:solidFill>
                          <a:schemeClr val="bg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60C2-894A-B514-2D87F4A2B7B2}"/>
                </c:ext>
              </c:extLst>
            </c:dLbl>
            <c:dLbl>
              <c:idx val="1"/>
              <c:tx>
                <c:rich>
                  <a:bodyPr/>
                  <a:lstStyle/>
                  <a:p>
                    <a:fld id="{9FFDA1B7-9008-D649-9ABE-4DD7D3774B8E}" type="VALUE">
                      <a:rPr lang="en-US">
                        <a:solidFill>
                          <a:schemeClr val="bg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0C2-894A-B514-2D87F4A2B7B2}"/>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0C2-894A-B514-2D87F4A2B7B2}"/>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0C2-894A-B514-2D87F4A2B7B2}"/>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60C2-894A-B514-2D87F4A2B7B2}"/>
            </c:ext>
          </c:extLst>
        </c:ser>
        <c:dLbls>
          <c:showLegendKey val="0"/>
          <c:showVal val="0"/>
          <c:showCatName val="0"/>
          <c:showSerName val="0"/>
          <c:showPercent val="0"/>
          <c:showBubbleSize val="0"/>
          <c:showLeaderLines val="1"/>
        </c:dLbls>
      </c:pie3DChart>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Segoe UI" panose="020B0502040204020203" pitchFamily="34" charset="0"/>
          <a:cs typeface="Segoe UI" panose="020B0502040204020203"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0.28380086738189214"/>
          <c:y val="1.0424285360885091E-3"/>
          <c:w val="0.41991772711959263"/>
          <c:h val="0.99895757146391151"/>
        </c:manualLayout>
      </c:layout>
      <c:doughnutChart>
        <c:varyColors val="1"/>
        <c:ser>
          <c:idx val="0"/>
          <c:order val="0"/>
          <c:tx>
            <c:strRef>
              <c:f>Sheet1!$A$2</c:f>
              <c:strCache>
                <c:ptCount val="1"/>
                <c:pt idx="0">
                  <c:v>Group 1</c:v>
                </c:pt>
              </c:strCache>
            </c:strRef>
          </c:tx>
          <c:dPt>
            <c:idx val="0"/>
            <c:bubble3D val="0"/>
            <c:spPr>
              <a:solidFill>
                <a:srgbClr val="C00000"/>
              </a:solidFill>
            </c:spPr>
            <c:extLst>
              <c:ext xmlns:c16="http://schemas.microsoft.com/office/drawing/2014/chart" uri="{C3380CC4-5D6E-409C-BE32-E72D297353CC}">
                <c16:uniqueId val="{00000001-781D-9040-A4A3-51104478C327}"/>
              </c:ext>
            </c:extLst>
          </c:dPt>
          <c:dPt>
            <c:idx val="1"/>
            <c:bubble3D val="0"/>
            <c:spPr>
              <a:solidFill>
                <a:schemeClr val="tx1">
                  <a:lumMod val="75000"/>
                  <a:lumOff val="25000"/>
                </a:schemeClr>
              </a:solidFill>
            </c:spPr>
            <c:extLst>
              <c:ext xmlns:c16="http://schemas.microsoft.com/office/drawing/2014/chart" uri="{C3380CC4-5D6E-409C-BE32-E72D297353CC}">
                <c16:uniqueId val="{00000003-781D-9040-A4A3-51104478C327}"/>
              </c:ext>
            </c:extLst>
          </c:dPt>
          <c:dPt>
            <c:idx val="2"/>
            <c:bubble3D val="0"/>
            <c:spPr>
              <a:solidFill>
                <a:schemeClr val="tx1">
                  <a:lumMod val="50000"/>
                  <a:lumOff val="50000"/>
                </a:schemeClr>
              </a:solidFill>
            </c:spPr>
            <c:extLst>
              <c:ext xmlns:c16="http://schemas.microsoft.com/office/drawing/2014/chart" uri="{C3380CC4-5D6E-409C-BE32-E72D297353CC}">
                <c16:uniqueId val="{00000005-781D-9040-A4A3-51104478C327}"/>
              </c:ext>
            </c:extLst>
          </c:dPt>
          <c:dPt>
            <c:idx val="3"/>
            <c:bubble3D val="0"/>
            <c:spPr>
              <a:solidFill>
                <a:srgbClr val="FF0000"/>
              </a:solidFill>
            </c:spPr>
            <c:extLst>
              <c:ext xmlns:c16="http://schemas.microsoft.com/office/drawing/2014/chart" uri="{C3380CC4-5D6E-409C-BE32-E72D297353CC}">
                <c16:uniqueId val="{00000007-781D-9040-A4A3-51104478C327}"/>
              </c:ext>
            </c:extLst>
          </c:dPt>
          <c:dLbls>
            <c:dLbl>
              <c:idx val="0"/>
              <c:layout>
                <c:manualLayout>
                  <c:x val="5.2346624026732083E-3"/>
                  <c:y val="-0.11089897887883546"/>
                </c:manualLayout>
              </c:layout>
              <c:showLegendKey val="0"/>
              <c:showVal val="0"/>
              <c:showCatName val="0"/>
              <c:showSerName val="0"/>
              <c:showPercent val="1"/>
              <c:showBubbleSize val="0"/>
              <c:extLst>
                <c:ext xmlns:c15="http://schemas.microsoft.com/office/drawing/2012/chart" uri="{CE6537A1-D6FC-4f65-9D91-7224C49458BB}">
                  <c15:layout>
                    <c:manualLayout>
                      <c:w val="4.6365977057347595E-2"/>
                      <c:h val="5.9396313184054979E-2"/>
                    </c:manualLayout>
                  </c15:layout>
                </c:ext>
                <c:ext xmlns:c16="http://schemas.microsoft.com/office/drawing/2014/chart" uri="{C3380CC4-5D6E-409C-BE32-E72D297353CC}">
                  <c16:uniqueId val="{00000001-781D-9040-A4A3-51104478C327}"/>
                </c:ext>
              </c:extLst>
            </c:dLbl>
            <c:dLbl>
              <c:idx val="1"/>
              <c:layout>
                <c:manualLayout>
                  <c:x val="-4.0453724658958936E-17"/>
                  <c:y val="2.6246713735772337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781D-9040-A4A3-51104478C327}"/>
                </c:ext>
              </c:extLst>
            </c:dLbl>
            <c:dLbl>
              <c:idx val="2"/>
              <c:layout>
                <c:manualLayout>
                  <c:x val="0"/>
                  <c:y val="0"/>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781D-9040-A4A3-51104478C327}"/>
                </c:ext>
              </c:extLst>
            </c:dLbl>
            <c:dLbl>
              <c:idx val="3"/>
              <c:layout>
                <c:manualLayout>
                  <c:x val="1.7561520922404227E-3"/>
                  <c:y val="1.7965565551580889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781D-9040-A4A3-51104478C327}"/>
                </c:ext>
              </c:extLst>
            </c:dLbl>
            <c:spPr>
              <a:noFill/>
              <a:ln>
                <a:noFill/>
              </a:ln>
              <a:effectLst/>
            </c:spPr>
            <c:txPr>
              <a:bodyPr/>
              <a:lstStyle/>
              <a:p>
                <a:pPr>
                  <a:lnSpc>
                    <a:spcPct val="90000"/>
                  </a:lnSpc>
                  <a:defRPr sz="1800" b="1">
                    <a:solidFill>
                      <a:schemeClr val="bg1"/>
                    </a:solidFill>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B$1:$E$1</c:f>
              <c:strCache>
                <c:ptCount val="4"/>
                <c:pt idx="0">
                  <c:v>Label A</c:v>
                </c:pt>
                <c:pt idx="1">
                  <c:v>Label B</c:v>
                </c:pt>
                <c:pt idx="2">
                  <c:v>Label C</c:v>
                </c:pt>
                <c:pt idx="3">
                  <c:v>Other</c:v>
                </c:pt>
              </c:strCache>
            </c:strRef>
          </c:cat>
          <c:val>
            <c:numRef>
              <c:f>Sheet1!$B$2:$E$2</c:f>
              <c:numCache>
                <c:formatCode>s\t\a\nd\a\rd</c:formatCode>
                <c:ptCount val="4"/>
                <c:pt idx="0">
                  <c:v>90</c:v>
                </c:pt>
                <c:pt idx="1">
                  <c:v>27.4</c:v>
                </c:pt>
                <c:pt idx="2">
                  <c:v>20.399999999999999</c:v>
                </c:pt>
                <c:pt idx="3">
                  <c:v>15</c:v>
                </c:pt>
              </c:numCache>
            </c:numRef>
          </c:val>
          <c:extLst>
            <c:ext xmlns:c16="http://schemas.microsoft.com/office/drawing/2014/chart" uri="{C3380CC4-5D6E-409C-BE32-E72D297353CC}">
              <c16:uniqueId val="{00000008-781D-9040-A4A3-51104478C327}"/>
            </c:ext>
          </c:extLst>
        </c:ser>
        <c:ser>
          <c:idx val="1"/>
          <c:order val="1"/>
          <c:tx>
            <c:strRef>
              <c:f>Sheet1!$A$6</c:f>
              <c:strCache>
                <c:ptCount val="1"/>
                <c:pt idx="0">
                  <c:v>3</c:v>
                </c:pt>
              </c:strCache>
            </c:strRef>
          </c:tx>
          <c:cat>
            <c:strRef>
              <c:f>Sheet1!$B$1:$E$1</c:f>
              <c:strCache>
                <c:ptCount val="4"/>
                <c:pt idx="0">
                  <c:v>Label A</c:v>
                </c:pt>
                <c:pt idx="1">
                  <c:v>Label B</c:v>
                </c:pt>
                <c:pt idx="2">
                  <c:v>Label C</c:v>
                </c:pt>
                <c:pt idx="3">
                  <c:v>Other</c:v>
                </c:pt>
              </c:strCache>
            </c:strRef>
          </c:cat>
          <c:val>
            <c:numRef>
              <c:f>Sheet1!$B$6:$E$6</c:f>
              <c:numCache>
                <c:formatCode>General</c:formatCode>
                <c:ptCount val="4"/>
                <c:pt idx="0" formatCode="s\t\a\nd\a\rd">
                  <c:v>0</c:v>
                </c:pt>
              </c:numCache>
            </c:numRef>
          </c:val>
          <c:extLst>
            <c:ext xmlns:c16="http://schemas.microsoft.com/office/drawing/2014/chart" uri="{C3380CC4-5D6E-409C-BE32-E72D297353CC}">
              <c16:uniqueId val="{00000009-781D-9040-A4A3-51104478C327}"/>
            </c:ext>
          </c:extLst>
        </c:ser>
        <c:dLbls>
          <c:showLegendKey val="0"/>
          <c:showVal val="0"/>
          <c:showCatName val="0"/>
          <c:showSerName val="0"/>
          <c:showPercent val="0"/>
          <c:showBubbleSize val="0"/>
          <c:showLeaderLines val="0"/>
        </c:dLbls>
        <c:firstSliceAng val="360"/>
        <c:holeSize val="50"/>
      </c:doughnutChart>
    </c:plotArea>
    <c:plotVisOnly val="1"/>
    <c:dispBlanksAs val="zero"/>
    <c:showDLblsOverMax val="0"/>
  </c:chart>
  <c:txPr>
    <a:bodyPr/>
    <a:lstStyle/>
    <a:p>
      <a:pPr>
        <a:defRPr sz="1400">
          <a:solidFill>
            <a:schemeClr val="bg1"/>
          </a:solidFill>
        </a:defRPr>
      </a:pPr>
      <a:endParaRPr lang="en-US"/>
    </a:p>
  </c:txPr>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064102564102401E-2"/>
          <c:y val="2.2123893805309812E-3"/>
          <c:w val="0.72115384615384859"/>
          <c:h val="0.99557522123893749"/>
        </c:manualLayout>
      </c:layout>
      <c:doughnutChart>
        <c:varyColors val="1"/>
        <c:ser>
          <c:idx val="0"/>
          <c:order val="0"/>
          <c:tx>
            <c:strRef>
              <c:f>Sheet1!$A$2</c:f>
              <c:strCache>
                <c:ptCount val="1"/>
                <c:pt idx="0">
                  <c:v>Graph 1</c:v>
                </c:pt>
              </c:strCache>
            </c:strRef>
          </c:tx>
          <c:spPr>
            <a:ln w="12700">
              <a:solidFill>
                <a:schemeClr val="bg1"/>
              </a:solidFill>
            </a:ln>
          </c:spPr>
          <c:dPt>
            <c:idx val="0"/>
            <c:bubble3D val="0"/>
            <c:spPr>
              <a:solidFill>
                <a:srgbClr val="C00000"/>
              </a:solidFill>
              <a:ln w="12700">
                <a:solidFill>
                  <a:schemeClr val="bg1"/>
                </a:solidFill>
              </a:ln>
            </c:spPr>
            <c:extLst>
              <c:ext xmlns:c16="http://schemas.microsoft.com/office/drawing/2014/chart" uri="{C3380CC4-5D6E-409C-BE32-E72D297353CC}">
                <c16:uniqueId val="{00000002-2E72-5740-8BC4-080ED9C04D27}"/>
              </c:ext>
            </c:extLst>
          </c:dPt>
          <c:dPt>
            <c:idx val="1"/>
            <c:bubble3D val="0"/>
            <c:spPr>
              <a:solidFill>
                <a:schemeClr val="tx1">
                  <a:lumMod val="50000"/>
                  <a:lumOff val="50000"/>
                </a:schemeClr>
              </a:solidFill>
              <a:ln w="12700">
                <a:solidFill>
                  <a:schemeClr val="bg1"/>
                </a:solidFill>
              </a:ln>
            </c:spPr>
            <c:extLst>
              <c:ext xmlns:c16="http://schemas.microsoft.com/office/drawing/2014/chart" uri="{C3380CC4-5D6E-409C-BE32-E72D297353CC}">
                <c16:uniqueId val="{00000001-2E72-5740-8BC4-080ED9C04D27}"/>
              </c:ext>
            </c:extLst>
          </c:dPt>
          <c:dPt>
            <c:idx val="2"/>
            <c:bubble3D val="0"/>
            <c:spPr>
              <a:solidFill>
                <a:schemeClr val="tx1">
                  <a:lumMod val="75000"/>
                  <a:lumOff val="25000"/>
                </a:schemeClr>
              </a:solidFill>
              <a:ln w="12700">
                <a:solidFill>
                  <a:schemeClr val="bg1"/>
                </a:solidFill>
              </a:ln>
            </c:spPr>
            <c:extLst>
              <c:ext xmlns:c16="http://schemas.microsoft.com/office/drawing/2014/chart" uri="{C3380CC4-5D6E-409C-BE32-E72D297353CC}">
                <c16:uniqueId val="{00000003-2E72-5740-8BC4-080ED9C04D27}"/>
              </c:ext>
            </c:extLst>
          </c:dPt>
          <c:dPt>
            <c:idx val="3"/>
            <c:bubble3D val="0"/>
            <c:spPr>
              <a:solidFill>
                <a:srgbClr val="FF0000"/>
              </a:solidFill>
              <a:ln w="12700">
                <a:solidFill>
                  <a:schemeClr val="bg1"/>
                </a:solidFill>
              </a:ln>
            </c:spPr>
            <c:extLst>
              <c:ext xmlns:c16="http://schemas.microsoft.com/office/drawing/2014/chart" uri="{C3380CC4-5D6E-409C-BE32-E72D297353CC}">
                <c16:uniqueId val="{00000004-2E72-5740-8BC4-080ED9C04D27}"/>
              </c:ext>
            </c:extLst>
          </c:dPt>
          <c:dLbls>
            <c:dLbl>
              <c:idx val="0"/>
              <c:layout>
                <c:manualLayout>
                  <c:x val="8.9166498776496756E-3"/>
                  <c:y val="-2.57931018386376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E72-5740-8BC4-080ED9C04D27}"/>
                </c:ext>
              </c:extLst>
            </c:dLbl>
            <c:dLbl>
              <c:idx val="1"/>
              <c:tx>
                <c:rich>
                  <a:bodyPr/>
                  <a:lstStyle/>
                  <a:p>
                    <a:pPr>
                      <a:defRPr b="0">
                        <a:solidFill>
                          <a:schemeClr val="bg1"/>
                        </a:solidFill>
                      </a:defRPr>
                    </a:pPr>
                    <a:r>
                      <a:rPr lang="en-US" sz="1200" b="0">
                        <a:solidFill>
                          <a:schemeClr val="bg1"/>
                        </a:solidFill>
                      </a:rPr>
                      <a:t>27,4</a:t>
                    </a:r>
                    <a:endParaRPr lang="en-US" b="0"/>
                  </a:p>
                </c:rich>
              </c:tx>
              <c:spPr>
                <a:noFill/>
                <a:ln>
                  <a:noFill/>
                </a:ln>
                <a:effectLst/>
              </c:spP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E72-5740-8BC4-080ED9C04D27}"/>
                </c:ext>
              </c:extLst>
            </c:dLbl>
            <c:dLbl>
              <c:idx val="2"/>
              <c:layout>
                <c:manualLayout>
                  <c:x val="2.248370993252411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E72-5740-8BC4-080ED9C04D27}"/>
                </c:ext>
              </c:extLst>
            </c:dLbl>
            <c:dLbl>
              <c:idx val="3"/>
              <c:tx>
                <c:rich>
                  <a:bodyPr/>
                  <a:lstStyle/>
                  <a:p>
                    <a:pPr>
                      <a:defRPr b="0">
                        <a:solidFill>
                          <a:schemeClr val="bg1"/>
                        </a:solidFill>
                      </a:defRPr>
                    </a:pPr>
                    <a:r>
                      <a:rPr lang="en-US" sz="1200" b="0">
                        <a:solidFill>
                          <a:schemeClr val="bg1"/>
                        </a:solidFill>
                      </a:rPr>
                      <a:t>20,4</a:t>
                    </a:r>
                    <a:endParaRPr lang="en-US" b="0">
                      <a:solidFill>
                        <a:schemeClr val="tx1"/>
                      </a:solidFill>
                    </a:endParaRPr>
                  </a:p>
                </c:rich>
              </c:tx>
              <c:spPr>
                <a:noFill/>
                <a:ln>
                  <a:noFill/>
                </a:ln>
                <a:effectLst/>
              </c:spP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E72-5740-8BC4-080ED9C04D27}"/>
                </c:ext>
              </c:extLst>
            </c:dLbl>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B$1:$E$1</c:f>
              <c:strCache>
                <c:ptCount val="4"/>
                <c:pt idx="0">
                  <c:v>Label A</c:v>
                </c:pt>
                <c:pt idx="1">
                  <c:v>Label B</c:v>
                </c:pt>
                <c:pt idx="2">
                  <c:v>Label C</c:v>
                </c:pt>
                <c:pt idx="3">
                  <c:v>Label D</c:v>
                </c:pt>
              </c:strCache>
            </c:strRef>
          </c:cat>
          <c:val>
            <c:numRef>
              <c:f>Sheet1!$B$2:$E$2</c:f>
              <c:numCache>
                <c:formatCode>General</c:formatCode>
                <c:ptCount val="4"/>
                <c:pt idx="0">
                  <c:v>20.399999999999999</c:v>
                </c:pt>
                <c:pt idx="1">
                  <c:v>27.4</c:v>
                </c:pt>
                <c:pt idx="2">
                  <c:v>90</c:v>
                </c:pt>
                <c:pt idx="3">
                  <c:v>20.399999999999999</c:v>
                </c:pt>
              </c:numCache>
            </c:numRef>
          </c:val>
          <c:extLst>
            <c:ext xmlns:c16="http://schemas.microsoft.com/office/drawing/2014/chart" uri="{C3380CC4-5D6E-409C-BE32-E72D297353CC}">
              <c16:uniqueId val="{00000005-2E72-5740-8BC4-080ED9C04D27}"/>
            </c:ext>
          </c:extLst>
        </c:ser>
        <c:ser>
          <c:idx val="1"/>
          <c:order val="1"/>
          <c:tx>
            <c:strRef>
              <c:f>Sheet1!$A$3</c:f>
              <c:strCache>
                <c:ptCount val="1"/>
                <c:pt idx="0">
                  <c:v>Graph 2</c:v>
                </c:pt>
              </c:strCache>
            </c:strRef>
          </c:tx>
          <c:spPr>
            <a:ln w="12700">
              <a:solidFill>
                <a:schemeClr val="bg1"/>
              </a:solidFill>
            </a:ln>
          </c:spPr>
          <c:dPt>
            <c:idx val="0"/>
            <c:bubble3D val="0"/>
            <c:spPr>
              <a:solidFill>
                <a:srgbClr val="C00000"/>
              </a:solidFill>
              <a:ln w="12700">
                <a:solidFill>
                  <a:schemeClr val="bg1"/>
                </a:solidFill>
              </a:ln>
            </c:spPr>
            <c:extLst>
              <c:ext xmlns:c16="http://schemas.microsoft.com/office/drawing/2014/chart" uri="{C3380CC4-5D6E-409C-BE32-E72D297353CC}">
                <c16:uniqueId val="{00000008-2E72-5740-8BC4-080ED9C04D27}"/>
              </c:ext>
            </c:extLst>
          </c:dPt>
          <c:dPt>
            <c:idx val="1"/>
            <c:bubble3D val="0"/>
            <c:spPr>
              <a:solidFill>
                <a:schemeClr val="tx1">
                  <a:lumMod val="50000"/>
                  <a:lumOff val="50000"/>
                </a:schemeClr>
              </a:solidFill>
              <a:ln w="12700">
                <a:solidFill>
                  <a:schemeClr val="bg1"/>
                </a:solidFill>
              </a:ln>
            </c:spPr>
            <c:extLst>
              <c:ext xmlns:c16="http://schemas.microsoft.com/office/drawing/2014/chart" uri="{C3380CC4-5D6E-409C-BE32-E72D297353CC}">
                <c16:uniqueId val="{00000007-2E72-5740-8BC4-080ED9C04D27}"/>
              </c:ext>
            </c:extLst>
          </c:dPt>
          <c:dPt>
            <c:idx val="2"/>
            <c:bubble3D val="0"/>
            <c:spPr>
              <a:solidFill>
                <a:schemeClr val="tx1">
                  <a:lumMod val="75000"/>
                  <a:lumOff val="25000"/>
                </a:schemeClr>
              </a:solidFill>
              <a:ln w="12700">
                <a:solidFill>
                  <a:schemeClr val="bg1"/>
                </a:solidFill>
              </a:ln>
            </c:spPr>
            <c:extLst>
              <c:ext xmlns:c16="http://schemas.microsoft.com/office/drawing/2014/chart" uri="{C3380CC4-5D6E-409C-BE32-E72D297353CC}">
                <c16:uniqueId val="{00000011-2E72-5740-8BC4-080ED9C04D27}"/>
              </c:ext>
            </c:extLst>
          </c:dPt>
          <c:dPt>
            <c:idx val="3"/>
            <c:bubble3D val="0"/>
            <c:spPr>
              <a:solidFill>
                <a:srgbClr val="FF0000"/>
              </a:solidFill>
              <a:ln w="12700">
                <a:solidFill>
                  <a:schemeClr val="bg1"/>
                </a:solidFill>
              </a:ln>
            </c:spPr>
            <c:extLst>
              <c:ext xmlns:c16="http://schemas.microsoft.com/office/drawing/2014/chart" uri="{C3380CC4-5D6E-409C-BE32-E72D297353CC}">
                <c16:uniqueId val="{00000009-2E72-5740-8BC4-080ED9C04D27}"/>
              </c:ext>
            </c:extLst>
          </c:dPt>
          <c:dLbls>
            <c:dLbl>
              <c:idx val="0"/>
              <c:layout>
                <c:manualLayout>
                  <c:x val="1.1241854966262047E-2"/>
                  <c:y val="1.23506195002667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E72-5740-8BC4-080ED9C04D27}"/>
                </c:ext>
              </c:extLst>
            </c:dLbl>
            <c:dLbl>
              <c:idx val="1"/>
              <c:tx>
                <c:rich>
                  <a:bodyPr/>
                  <a:lstStyle/>
                  <a:p>
                    <a:pPr>
                      <a:defRPr b="0">
                        <a:solidFill>
                          <a:schemeClr val="bg1"/>
                        </a:solidFill>
                      </a:defRPr>
                    </a:pPr>
                    <a:r>
                      <a:rPr lang="en-US" sz="1200" b="0">
                        <a:solidFill>
                          <a:schemeClr val="bg1"/>
                        </a:solidFill>
                      </a:rPr>
                      <a:t>38,6</a:t>
                    </a:r>
                    <a:endParaRPr lang="en-US" b="0"/>
                  </a:p>
                </c:rich>
              </c:tx>
              <c:spPr>
                <a:noFill/>
                <a:ln>
                  <a:noFill/>
                </a:ln>
                <a:effectLst/>
              </c:spP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E72-5740-8BC4-080ED9C04D27}"/>
                </c:ext>
              </c:extLst>
            </c:dLbl>
            <c:dLbl>
              <c:idx val="3"/>
              <c:tx>
                <c:rich>
                  <a:bodyPr/>
                  <a:lstStyle/>
                  <a:p>
                    <a:pPr>
                      <a:defRPr b="0">
                        <a:solidFill>
                          <a:schemeClr val="bg1"/>
                        </a:solidFill>
                      </a:defRPr>
                    </a:pPr>
                    <a:r>
                      <a:rPr lang="en-US" sz="1200" b="0">
                        <a:solidFill>
                          <a:schemeClr val="bg1"/>
                        </a:solidFill>
                      </a:rPr>
                      <a:t>31,6</a:t>
                    </a:r>
                    <a:endParaRPr lang="en-US" b="0">
                      <a:solidFill>
                        <a:schemeClr val="tx1"/>
                      </a:solidFill>
                    </a:endParaRPr>
                  </a:p>
                </c:rich>
              </c:tx>
              <c:spPr>
                <a:noFill/>
                <a:ln>
                  <a:noFill/>
                </a:ln>
                <a:effectLst/>
              </c:spP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E72-5740-8BC4-080ED9C04D27}"/>
                </c:ext>
              </c:extLst>
            </c:dLbl>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B$1:$E$1</c:f>
              <c:strCache>
                <c:ptCount val="4"/>
                <c:pt idx="0">
                  <c:v>Label A</c:v>
                </c:pt>
                <c:pt idx="1">
                  <c:v>Label B</c:v>
                </c:pt>
                <c:pt idx="2">
                  <c:v>Label C</c:v>
                </c:pt>
                <c:pt idx="3">
                  <c:v>Label D</c:v>
                </c:pt>
              </c:strCache>
            </c:strRef>
          </c:cat>
          <c:val>
            <c:numRef>
              <c:f>Sheet1!$B$3:$E$3</c:f>
              <c:numCache>
                <c:formatCode>General</c:formatCode>
                <c:ptCount val="4"/>
                <c:pt idx="0">
                  <c:v>30.6</c:v>
                </c:pt>
                <c:pt idx="1">
                  <c:v>38.6</c:v>
                </c:pt>
                <c:pt idx="2">
                  <c:v>34.6</c:v>
                </c:pt>
                <c:pt idx="3">
                  <c:v>31.6</c:v>
                </c:pt>
              </c:numCache>
            </c:numRef>
          </c:val>
          <c:extLst>
            <c:ext xmlns:c16="http://schemas.microsoft.com/office/drawing/2014/chart" uri="{C3380CC4-5D6E-409C-BE32-E72D297353CC}">
              <c16:uniqueId val="{0000000A-2E72-5740-8BC4-080ED9C04D27}"/>
            </c:ext>
          </c:extLst>
        </c:ser>
        <c:ser>
          <c:idx val="2"/>
          <c:order val="2"/>
          <c:tx>
            <c:strRef>
              <c:f>Sheet1!$A$4</c:f>
              <c:strCache>
                <c:ptCount val="1"/>
                <c:pt idx="0">
                  <c:v>Graph 3</c:v>
                </c:pt>
              </c:strCache>
            </c:strRef>
          </c:tx>
          <c:spPr>
            <a:ln w="12700">
              <a:solidFill>
                <a:schemeClr val="bg1"/>
              </a:solidFill>
            </a:ln>
          </c:spPr>
          <c:dPt>
            <c:idx val="0"/>
            <c:bubble3D val="0"/>
            <c:spPr>
              <a:solidFill>
                <a:srgbClr val="C00000"/>
              </a:solidFill>
              <a:ln w="12700">
                <a:solidFill>
                  <a:schemeClr val="bg1"/>
                </a:solidFill>
              </a:ln>
            </c:spPr>
            <c:extLst>
              <c:ext xmlns:c16="http://schemas.microsoft.com/office/drawing/2014/chart" uri="{C3380CC4-5D6E-409C-BE32-E72D297353CC}">
                <c16:uniqueId val="{0000000D-2E72-5740-8BC4-080ED9C04D27}"/>
              </c:ext>
            </c:extLst>
          </c:dPt>
          <c:dPt>
            <c:idx val="1"/>
            <c:bubble3D val="0"/>
            <c:spPr>
              <a:solidFill>
                <a:schemeClr val="tx1">
                  <a:lumMod val="50000"/>
                  <a:lumOff val="50000"/>
                </a:schemeClr>
              </a:solidFill>
              <a:ln w="12700">
                <a:solidFill>
                  <a:schemeClr val="bg1"/>
                </a:solidFill>
              </a:ln>
            </c:spPr>
            <c:extLst>
              <c:ext xmlns:c16="http://schemas.microsoft.com/office/drawing/2014/chart" uri="{C3380CC4-5D6E-409C-BE32-E72D297353CC}">
                <c16:uniqueId val="{0000000C-2E72-5740-8BC4-080ED9C04D27}"/>
              </c:ext>
            </c:extLst>
          </c:dPt>
          <c:dPt>
            <c:idx val="2"/>
            <c:bubble3D val="0"/>
            <c:spPr>
              <a:solidFill>
                <a:schemeClr val="tx1">
                  <a:lumMod val="75000"/>
                  <a:lumOff val="25000"/>
                </a:schemeClr>
              </a:solidFill>
              <a:ln w="12700">
                <a:solidFill>
                  <a:schemeClr val="bg1"/>
                </a:solidFill>
              </a:ln>
            </c:spPr>
            <c:extLst>
              <c:ext xmlns:c16="http://schemas.microsoft.com/office/drawing/2014/chart" uri="{C3380CC4-5D6E-409C-BE32-E72D297353CC}">
                <c16:uniqueId val="{0000000E-2E72-5740-8BC4-080ED9C04D27}"/>
              </c:ext>
            </c:extLst>
          </c:dPt>
          <c:dPt>
            <c:idx val="3"/>
            <c:bubble3D val="0"/>
            <c:spPr>
              <a:solidFill>
                <a:srgbClr val="FF0000"/>
              </a:solidFill>
              <a:ln w="12700">
                <a:solidFill>
                  <a:schemeClr val="bg1"/>
                </a:solidFill>
              </a:ln>
            </c:spPr>
            <c:extLst>
              <c:ext xmlns:c16="http://schemas.microsoft.com/office/drawing/2014/chart" uri="{C3380CC4-5D6E-409C-BE32-E72D297353CC}">
                <c16:uniqueId val="{0000000F-2E72-5740-8BC4-080ED9C04D27}"/>
              </c:ext>
            </c:extLst>
          </c:dPt>
          <c:dLbls>
            <c:dLbl>
              <c:idx val="0"/>
              <c:layout>
                <c:manualLayout>
                  <c:x val="-2.4732080925776494E-2"/>
                  <c:y val="-3.70518585008001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2E72-5740-8BC4-080ED9C04D27}"/>
                </c:ext>
              </c:extLst>
            </c:dLbl>
            <c:dLbl>
              <c:idx val="1"/>
              <c:tx>
                <c:rich>
                  <a:bodyPr/>
                  <a:lstStyle/>
                  <a:p>
                    <a:r>
                      <a:rPr lang="en-US" sz="1200" b="0">
                        <a:solidFill>
                          <a:schemeClr val="bg1"/>
                        </a:solidFill>
                      </a:rPr>
                      <a:t>46,9</a:t>
                    </a:r>
                    <a:endParaRPr lang="en-US" b="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2E72-5740-8BC4-080ED9C04D27}"/>
                </c:ext>
              </c:extLst>
            </c:dLbl>
            <c:dLbl>
              <c:idx val="2"/>
              <c:layout>
                <c:manualLayout>
                  <c:x val="2.248370993252410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2E72-5740-8BC4-080ED9C04D27}"/>
                </c:ext>
              </c:extLst>
            </c:dLbl>
            <c:dLbl>
              <c:idx val="3"/>
              <c:tx>
                <c:rich>
                  <a:bodyPr/>
                  <a:lstStyle/>
                  <a:p>
                    <a:r>
                      <a:rPr lang="en-US" sz="1200" b="0">
                        <a:solidFill>
                          <a:schemeClr val="bg1"/>
                        </a:solidFill>
                      </a:rPr>
                      <a:t>43,9</a:t>
                    </a:r>
                    <a:endParaRPr lang="en-US" b="0">
                      <a:solidFill>
                        <a:schemeClr val="tx1"/>
                      </a:solidFill>
                    </a:endParaRP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E72-5740-8BC4-080ED9C04D27}"/>
                </c:ext>
              </c:extLst>
            </c:dLbl>
            <c:spPr>
              <a:noFill/>
              <a:ln>
                <a:noFill/>
              </a:ln>
              <a:effectLst/>
            </c:spPr>
            <c:txPr>
              <a:bodyPr/>
              <a:lstStyle/>
              <a:p>
                <a:pPr>
                  <a:defRPr b="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B$1:$E$1</c:f>
              <c:strCache>
                <c:ptCount val="4"/>
                <c:pt idx="0">
                  <c:v>Label A</c:v>
                </c:pt>
                <c:pt idx="1">
                  <c:v>Label B</c:v>
                </c:pt>
                <c:pt idx="2">
                  <c:v>Label C</c:v>
                </c:pt>
                <c:pt idx="3">
                  <c:v>Label D</c:v>
                </c:pt>
              </c:strCache>
            </c:strRef>
          </c:cat>
          <c:val>
            <c:numRef>
              <c:f>Sheet1!$B$4:$E$4</c:f>
              <c:numCache>
                <c:formatCode>General</c:formatCode>
                <c:ptCount val="4"/>
                <c:pt idx="0">
                  <c:v>45.9</c:v>
                </c:pt>
                <c:pt idx="1">
                  <c:v>46.9</c:v>
                </c:pt>
                <c:pt idx="2">
                  <c:v>45</c:v>
                </c:pt>
                <c:pt idx="3">
                  <c:v>43.9</c:v>
                </c:pt>
              </c:numCache>
            </c:numRef>
          </c:val>
          <c:extLst>
            <c:ext xmlns:c16="http://schemas.microsoft.com/office/drawing/2014/chart" uri="{C3380CC4-5D6E-409C-BE32-E72D297353CC}">
              <c16:uniqueId val="{00000010-2E72-5740-8BC4-080ED9C04D27}"/>
            </c:ext>
          </c:extLst>
        </c:ser>
        <c:dLbls>
          <c:showLegendKey val="0"/>
          <c:showVal val="1"/>
          <c:showCatName val="0"/>
          <c:showSerName val="0"/>
          <c:showPercent val="0"/>
          <c:showBubbleSize val="0"/>
          <c:showLeaderLines val="0"/>
        </c:dLbls>
        <c:firstSliceAng val="0"/>
        <c:holeSize val="10"/>
      </c:doughnutChart>
    </c:plotArea>
    <c:legend>
      <c:legendPos val="r"/>
      <c:layout>
        <c:manualLayout>
          <c:xMode val="edge"/>
          <c:yMode val="edge"/>
          <c:x val="0.80460664660954506"/>
          <c:y val="0.71727608545656207"/>
          <c:w val="0.17252671224073363"/>
          <c:h val="0.27635483621571183"/>
        </c:manualLayout>
      </c:layout>
      <c:overlay val="0"/>
    </c:legend>
    <c:plotVisOnly val="1"/>
    <c:dispBlanksAs val="zero"/>
    <c:showDLblsOverMax val="0"/>
  </c:chart>
  <c:txPr>
    <a:bodyPr/>
    <a:lstStyle/>
    <a:p>
      <a:pPr>
        <a:defRPr sz="1400" b="0">
          <a:latin typeface="Segoe UI" panose="020B0502040204020203" pitchFamily="34" charset="0"/>
          <a:cs typeface="Segoe UI" panose="020B0502040204020203" pitchFamily="34"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5657172016414"/>
          <c:y val="0"/>
          <c:w val="0.61228615774963302"/>
          <c:h val="1"/>
        </c:manualLayout>
      </c:layout>
      <c:doughnutChart>
        <c:varyColors val="1"/>
        <c:ser>
          <c:idx val="0"/>
          <c:order val="0"/>
          <c:tx>
            <c:strRef>
              <c:f>Sheet1!$B$1</c:f>
              <c:strCache>
                <c:ptCount val="1"/>
                <c:pt idx="0">
                  <c:v>Name 1</c:v>
                </c:pt>
              </c:strCache>
            </c:strRef>
          </c:tx>
          <c:spPr>
            <a:ln w="25400">
              <a:solidFill>
                <a:schemeClr val="bg1"/>
              </a:solidFill>
            </a:ln>
          </c:spPr>
          <c:dPt>
            <c:idx val="0"/>
            <c:bubble3D val="0"/>
            <c:spPr>
              <a:solidFill>
                <a:schemeClr val="tx1"/>
              </a:solidFill>
              <a:ln w="25400">
                <a:solidFill>
                  <a:schemeClr val="bg1"/>
                </a:solidFill>
              </a:ln>
              <a:effectLst/>
            </c:spPr>
            <c:extLst>
              <c:ext xmlns:c16="http://schemas.microsoft.com/office/drawing/2014/chart" uri="{C3380CC4-5D6E-409C-BE32-E72D297353CC}">
                <c16:uniqueId val="{00000001-8CE0-1543-9AC2-E1A33E38FE7F}"/>
              </c:ext>
            </c:extLst>
          </c:dPt>
          <c:dPt>
            <c:idx val="1"/>
            <c:bubble3D val="0"/>
            <c:spPr>
              <a:solidFill>
                <a:schemeClr val="bg1"/>
              </a:solidFill>
              <a:ln w="25400">
                <a:solidFill>
                  <a:schemeClr val="bg1"/>
                </a:solidFill>
              </a:ln>
              <a:effectLst/>
            </c:spPr>
            <c:extLst>
              <c:ext xmlns:c16="http://schemas.microsoft.com/office/drawing/2014/chart" uri="{C3380CC4-5D6E-409C-BE32-E72D297353CC}">
                <c16:uniqueId val="{00000003-8CE0-1543-9AC2-E1A33E38FE7F}"/>
              </c:ext>
            </c:extLst>
          </c:dPt>
          <c:cat>
            <c:strRef>
              <c:f>Sheet1!$A$2:$A$3</c:f>
              <c:strCache>
                <c:ptCount val="2"/>
                <c:pt idx="0">
                  <c:v>Active</c:v>
                </c:pt>
                <c:pt idx="1">
                  <c:v>other</c:v>
                </c:pt>
              </c:strCache>
            </c:strRef>
          </c:cat>
          <c:val>
            <c:numRef>
              <c:f>Sheet1!$B$2:$B$3</c:f>
              <c:numCache>
                <c:formatCode>0%</c:formatCode>
                <c:ptCount val="2"/>
                <c:pt idx="0">
                  <c:v>0.52</c:v>
                </c:pt>
                <c:pt idx="1">
                  <c:v>0.48</c:v>
                </c:pt>
              </c:numCache>
            </c:numRef>
          </c:val>
          <c:extLst>
            <c:ext xmlns:c16="http://schemas.microsoft.com/office/drawing/2014/chart" uri="{C3380CC4-5D6E-409C-BE32-E72D297353CC}">
              <c16:uniqueId val="{00000004-8CE0-1543-9AC2-E1A33E38FE7F}"/>
            </c:ext>
          </c:extLst>
        </c:ser>
        <c:ser>
          <c:idx val="1"/>
          <c:order val="1"/>
          <c:tx>
            <c:strRef>
              <c:f>Sheet1!$C$1</c:f>
              <c:strCache>
                <c:ptCount val="1"/>
                <c:pt idx="0">
                  <c:v>Name 2</c:v>
                </c:pt>
              </c:strCache>
            </c:strRef>
          </c:tx>
          <c:spPr>
            <a:ln w="25400">
              <a:solidFill>
                <a:schemeClr val="bg1"/>
              </a:solidFill>
            </a:ln>
          </c:spPr>
          <c:dPt>
            <c:idx val="0"/>
            <c:bubble3D val="0"/>
            <c:spPr>
              <a:solidFill>
                <a:srgbClr val="C00000"/>
              </a:solidFill>
              <a:ln w="25400">
                <a:solidFill>
                  <a:schemeClr val="bg1"/>
                </a:solidFill>
              </a:ln>
              <a:effectLst/>
            </c:spPr>
            <c:extLst>
              <c:ext xmlns:c16="http://schemas.microsoft.com/office/drawing/2014/chart" uri="{C3380CC4-5D6E-409C-BE32-E72D297353CC}">
                <c16:uniqueId val="{00000006-8CE0-1543-9AC2-E1A33E38FE7F}"/>
              </c:ext>
            </c:extLst>
          </c:dPt>
          <c:dPt>
            <c:idx val="1"/>
            <c:bubble3D val="0"/>
            <c:spPr>
              <a:solidFill>
                <a:schemeClr val="bg1"/>
              </a:solidFill>
              <a:ln w="25400">
                <a:solidFill>
                  <a:schemeClr val="bg1"/>
                </a:solidFill>
              </a:ln>
              <a:effectLst/>
            </c:spPr>
            <c:extLst>
              <c:ext xmlns:c16="http://schemas.microsoft.com/office/drawing/2014/chart" uri="{C3380CC4-5D6E-409C-BE32-E72D297353CC}">
                <c16:uniqueId val="{00000008-8CE0-1543-9AC2-E1A33E38FE7F}"/>
              </c:ext>
            </c:extLst>
          </c:dPt>
          <c:cat>
            <c:strRef>
              <c:f>Sheet1!$A$2:$A$3</c:f>
              <c:strCache>
                <c:ptCount val="2"/>
                <c:pt idx="0">
                  <c:v>Active</c:v>
                </c:pt>
                <c:pt idx="1">
                  <c:v>other</c:v>
                </c:pt>
              </c:strCache>
            </c:strRef>
          </c:cat>
          <c:val>
            <c:numRef>
              <c:f>Sheet1!$C$2:$C$3</c:f>
              <c:numCache>
                <c:formatCode>0%</c:formatCode>
                <c:ptCount val="2"/>
                <c:pt idx="0">
                  <c:v>0.53</c:v>
                </c:pt>
                <c:pt idx="1">
                  <c:v>0.47</c:v>
                </c:pt>
              </c:numCache>
            </c:numRef>
          </c:val>
          <c:extLst>
            <c:ext xmlns:c16="http://schemas.microsoft.com/office/drawing/2014/chart" uri="{C3380CC4-5D6E-409C-BE32-E72D297353CC}">
              <c16:uniqueId val="{00000009-8CE0-1543-9AC2-E1A33E38FE7F}"/>
            </c:ext>
          </c:extLst>
        </c:ser>
        <c:ser>
          <c:idx val="2"/>
          <c:order val="2"/>
          <c:tx>
            <c:strRef>
              <c:f>Sheet1!$D$1</c:f>
              <c:strCache>
                <c:ptCount val="1"/>
                <c:pt idx="0">
                  <c:v>Name 3</c:v>
                </c:pt>
              </c:strCache>
            </c:strRef>
          </c:tx>
          <c:spPr>
            <a:ln w="25400">
              <a:solidFill>
                <a:schemeClr val="bg1"/>
              </a:solidFill>
            </a:ln>
          </c:spPr>
          <c:dPt>
            <c:idx val="0"/>
            <c:bubble3D val="0"/>
            <c:spPr>
              <a:solidFill>
                <a:srgbClr val="FF0000"/>
              </a:solidFill>
              <a:ln w="25400">
                <a:solidFill>
                  <a:schemeClr val="bg1"/>
                </a:solidFill>
              </a:ln>
              <a:effectLst/>
            </c:spPr>
            <c:extLst>
              <c:ext xmlns:c16="http://schemas.microsoft.com/office/drawing/2014/chart" uri="{C3380CC4-5D6E-409C-BE32-E72D297353CC}">
                <c16:uniqueId val="{0000000B-8CE0-1543-9AC2-E1A33E38FE7F}"/>
              </c:ext>
            </c:extLst>
          </c:dPt>
          <c:dPt>
            <c:idx val="1"/>
            <c:bubble3D val="0"/>
            <c:spPr>
              <a:solidFill>
                <a:schemeClr val="bg1"/>
              </a:solidFill>
              <a:ln w="25400">
                <a:solidFill>
                  <a:schemeClr val="bg1"/>
                </a:solidFill>
              </a:ln>
              <a:effectLst/>
            </c:spPr>
            <c:extLst>
              <c:ext xmlns:c16="http://schemas.microsoft.com/office/drawing/2014/chart" uri="{C3380CC4-5D6E-409C-BE32-E72D297353CC}">
                <c16:uniqueId val="{0000000D-8CE0-1543-9AC2-E1A33E38FE7F}"/>
              </c:ext>
            </c:extLst>
          </c:dPt>
          <c:cat>
            <c:strRef>
              <c:f>Sheet1!$A$2:$A$3</c:f>
              <c:strCache>
                <c:ptCount val="2"/>
                <c:pt idx="0">
                  <c:v>Active</c:v>
                </c:pt>
                <c:pt idx="1">
                  <c:v>other</c:v>
                </c:pt>
              </c:strCache>
            </c:strRef>
          </c:cat>
          <c:val>
            <c:numRef>
              <c:f>Sheet1!$D$2:$D$3</c:f>
              <c:numCache>
                <c:formatCode>0%</c:formatCode>
                <c:ptCount val="2"/>
                <c:pt idx="0">
                  <c:v>0.72</c:v>
                </c:pt>
                <c:pt idx="1">
                  <c:v>0.28000000000000003</c:v>
                </c:pt>
              </c:numCache>
            </c:numRef>
          </c:val>
          <c:extLst>
            <c:ext xmlns:c16="http://schemas.microsoft.com/office/drawing/2014/chart" uri="{C3380CC4-5D6E-409C-BE32-E72D297353CC}">
              <c16:uniqueId val="{0000000E-8CE0-1543-9AC2-E1A33E38FE7F}"/>
            </c:ext>
          </c:extLst>
        </c:ser>
        <c:ser>
          <c:idx val="3"/>
          <c:order val="3"/>
          <c:tx>
            <c:strRef>
              <c:f>Sheet1!$E$1</c:f>
              <c:strCache>
                <c:ptCount val="1"/>
                <c:pt idx="0">
                  <c:v>Name 4</c:v>
                </c:pt>
              </c:strCache>
            </c:strRef>
          </c:tx>
          <c:spPr>
            <a:ln w="25400">
              <a:solidFill>
                <a:schemeClr val="bg1"/>
              </a:solidFill>
            </a:ln>
          </c:spPr>
          <c:dPt>
            <c:idx val="0"/>
            <c:bubble3D val="0"/>
            <c:spPr>
              <a:solidFill>
                <a:schemeClr val="tx1">
                  <a:lumMod val="50000"/>
                  <a:lumOff val="50000"/>
                </a:schemeClr>
              </a:solidFill>
              <a:ln w="25400">
                <a:solidFill>
                  <a:schemeClr val="bg1"/>
                </a:solidFill>
              </a:ln>
              <a:effectLst/>
            </c:spPr>
            <c:extLst>
              <c:ext xmlns:c16="http://schemas.microsoft.com/office/drawing/2014/chart" uri="{C3380CC4-5D6E-409C-BE32-E72D297353CC}">
                <c16:uniqueId val="{00000010-8CE0-1543-9AC2-E1A33E38FE7F}"/>
              </c:ext>
            </c:extLst>
          </c:dPt>
          <c:dPt>
            <c:idx val="1"/>
            <c:bubble3D val="0"/>
            <c:spPr>
              <a:solidFill>
                <a:schemeClr val="bg1"/>
              </a:solidFill>
              <a:ln w="25400">
                <a:solidFill>
                  <a:schemeClr val="bg1"/>
                </a:solidFill>
              </a:ln>
              <a:effectLst/>
            </c:spPr>
            <c:extLst>
              <c:ext xmlns:c16="http://schemas.microsoft.com/office/drawing/2014/chart" uri="{C3380CC4-5D6E-409C-BE32-E72D297353CC}">
                <c16:uniqueId val="{00000012-8CE0-1543-9AC2-E1A33E38FE7F}"/>
              </c:ext>
            </c:extLst>
          </c:dPt>
          <c:cat>
            <c:strRef>
              <c:f>Sheet1!$A$2:$A$3</c:f>
              <c:strCache>
                <c:ptCount val="2"/>
                <c:pt idx="0">
                  <c:v>Active</c:v>
                </c:pt>
                <c:pt idx="1">
                  <c:v>other</c:v>
                </c:pt>
              </c:strCache>
            </c:strRef>
          </c:cat>
          <c:val>
            <c:numRef>
              <c:f>Sheet1!$E$2:$E$3</c:f>
              <c:numCache>
                <c:formatCode>0%</c:formatCode>
                <c:ptCount val="2"/>
                <c:pt idx="0">
                  <c:v>0.75</c:v>
                </c:pt>
                <c:pt idx="1">
                  <c:v>0.25</c:v>
                </c:pt>
              </c:numCache>
            </c:numRef>
          </c:val>
          <c:extLst>
            <c:ext xmlns:c16="http://schemas.microsoft.com/office/drawing/2014/chart" uri="{C3380CC4-5D6E-409C-BE32-E72D297353CC}">
              <c16:uniqueId val="{00000013-8CE0-1543-9AC2-E1A33E38FE7F}"/>
            </c:ext>
          </c:extLst>
        </c:ser>
        <c:ser>
          <c:idx val="4"/>
          <c:order val="4"/>
          <c:tx>
            <c:strRef>
              <c:f>Sheet1!$F$1</c:f>
              <c:strCache>
                <c:ptCount val="1"/>
                <c:pt idx="0">
                  <c:v>Name 5</c:v>
                </c:pt>
              </c:strCache>
            </c:strRef>
          </c:tx>
          <c:spPr>
            <a:ln w="25400">
              <a:solidFill>
                <a:schemeClr val="bg1"/>
              </a:solidFill>
            </a:ln>
          </c:spPr>
          <c:dPt>
            <c:idx val="0"/>
            <c:bubble3D val="0"/>
            <c:spPr>
              <a:solidFill>
                <a:schemeClr val="tx1">
                  <a:lumMod val="75000"/>
                  <a:lumOff val="25000"/>
                </a:schemeClr>
              </a:solidFill>
              <a:ln w="25400">
                <a:solidFill>
                  <a:schemeClr val="bg1"/>
                </a:solidFill>
              </a:ln>
              <a:effectLst/>
            </c:spPr>
            <c:extLst>
              <c:ext xmlns:c16="http://schemas.microsoft.com/office/drawing/2014/chart" uri="{C3380CC4-5D6E-409C-BE32-E72D297353CC}">
                <c16:uniqueId val="{00000015-8CE0-1543-9AC2-E1A33E38FE7F}"/>
              </c:ext>
            </c:extLst>
          </c:dPt>
          <c:dPt>
            <c:idx val="1"/>
            <c:bubble3D val="0"/>
            <c:spPr>
              <a:solidFill>
                <a:schemeClr val="bg1"/>
              </a:solidFill>
              <a:ln w="25400">
                <a:solidFill>
                  <a:schemeClr val="bg1"/>
                </a:solidFill>
              </a:ln>
              <a:effectLst/>
            </c:spPr>
            <c:extLst>
              <c:ext xmlns:c16="http://schemas.microsoft.com/office/drawing/2014/chart" uri="{C3380CC4-5D6E-409C-BE32-E72D297353CC}">
                <c16:uniqueId val="{00000017-8CE0-1543-9AC2-E1A33E38FE7F}"/>
              </c:ext>
            </c:extLst>
          </c:dPt>
          <c:cat>
            <c:strRef>
              <c:f>Sheet1!$A$2:$A$3</c:f>
              <c:strCache>
                <c:ptCount val="2"/>
                <c:pt idx="0">
                  <c:v>Active</c:v>
                </c:pt>
                <c:pt idx="1">
                  <c:v>other</c:v>
                </c:pt>
              </c:strCache>
            </c:strRef>
          </c:cat>
          <c:val>
            <c:numRef>
              <c:f>Sheet1!$F$2:$F$3</c:f>
              <c:numCache>
                <c:formatCode>0%</c:formatCode>
                <c:ptCount val="2"/>
                <c:pt idx="0">
                  <c:v>0.8</c:v>
                </c:pt>
                <c:pt idx="1">
                  <c:v>0.2</c:v>
                </c:pt>
              </c:numCache>
            </c:numRef>
          </c:val>
          <c:extLst>
            <c:ext xmlns:c16="http://schemas.microsoft.com/office/drawing/2014/chart" uri="{C3380CC4-5D6E-409C-BE32-E72D297353CC}">
              <c16:uniqueId val="{00000018-8CE0-1543-9AC2-E1A33E38FE7F}"/>
            </c:ext>
          </c:extLst>
        </c:ser>
        <c:dLbls>
          <c:showLegendKey val="0"/>
          <c:showVal val="0"/>
          <c:showCatName val="0"/>
          <c:showSerName val="0"/>
          <c:showPercent val="0"/>
          <c:showBubbleSize val="0"/>
          <c:showLeaderLines val="1"/>
        </c:dLbls>
        <c:firstSliceAng val="0"/>
        <c:holeSize val="47"/>
      </c:doughnutChart>
      <c:spPr>
        <a:noFill/>
        <a:ln>
          <a:noFill/>
        </a:ln>
        <a:effectLst/>
      </c:spPr>
    </c:plotArea>
    <c:plotVisOnly val="1"/>
    <c:dispBlanksAs val="gap"/>
    <c:showDLblsOverMax val="0"/>
  </c:chart>
  <c:spPr>
    <a:noFill/>
    <a:ln>
      <a:noFill/>
    </a:ln>
    <a:effectLst/>
  </c:spPr>
  <c:txPr>
    <a:bodyPr/>
    <a:lstStyle/>
    <a:p>
      <a:pPr>
        <a:defRPr>
          <a:latin typeface="Segoe UI" panose="020B0502040204020203" pitchFamily="34" charset="0"/>
          <a:cs typeface="Segoe UI" panose="020B0502040204020203" pitchFamily="34" charset="0"/>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5893294819253147E-4"/>
          <c:w val="0.97848850513102203"/>
          <c:h val="0.9952479945563617"/>
        </c:manualLayout>
      </c:layout>
      <c:ofPieChart>
        <c:ofPieType val="bar"/>
        <c:varyColors val="1"/>
        <c:ser>
          <c:idx val="0"/>
          <c:order val="0"/>
          <c:tx>
            <c:strRef>
              <c:f>Sheet1!$A$2</c:f>
              <c:strCache>
                <c:ptCount val="1"/>
                <c:pt idx="0">
                  <c:v>Group 1</c:v>
                </c:pt>
              </c:strCache>
            </c:strRef>
          </c:tx>
          <c:spPr>
            <a:solidFill>
              <a:srgbClr val="C00000"/>
            </a:solidFill>
          </c:spPr>
          <c:dPt>
            <c:idx val="0"/>
            <c:bubble3D val="0"/>
            <c:spPr>
              <a:solidFill>
                <a:schemeClr val="bg1">
                  <a:lumMod val="65000"/>
                </a:schemeClr>
              </a:solidFill>
            </c:spPr>
            <c:extLst>
              <c:ext xmlns:c16="http://schemas.microsoft.com/office/drawing/2014/chart" uri="{C3380CC4-5D6E-409C-BE32-E72D297353CC}">
                <c16:uniqueId val="{00000008-E7D3-A647-85C0-C8C6B7D608BD}"/>
              </c:ext>
            </c:extLst>
          </c:dPt>
          <c:dPt>
            <c:idx val="1"/>
            <c:bubble3D val="0"/>
            <c:spPr>
              <a:solidFill>
                <a:schemeClr val="tx1">
                  <a:lumMod val="65000"/>
                  <a:lumOff val="35000"/>
                </a:schemeClr>
              </a:solidFill>
            </c:spPr>
            <c:extLst>
              <c:ext xmlns:c16="http://schemas.microsoft.com/office/drawing/2014/chart" uri="{C3380CC4-5D6E-409C-BE32-E72D297353CC}">
                <c16:uniqueId val="{00000001-E7D3-A647-85C0-C8C6B7D608BD}"/>
              </c:ext>
            </c:extLst>
          </c:dPt>
          <c:dPt>
            <c:idx val="2"/>
            <c:bubble3D val="0"/>
            <c:spPr>
              <a:solidFill>
                <a:schemeClr val="accent1">
                  <a:lumMod val="40000"/>
                  <a:lumOff val="60000"/>
                </a:schemeClr>
              </a:solidFill>
              <a:ln>
                <a:solidFill>
                  <a:srgbClr val="C00000"/>
                </a:solidFill>
              </a:ln>
            </c:spPr>
            <c:extLst>
              <c:ext xmlns:c16="http://schemas.microsoft.com/office/drawing/2014/chart" uri="{C3380CC4-5D6E-409C-BE32-E72D297353CC}">
                <c16:uniqueId val="{00000003-E7D3-A647-85C0-C8C6B7D608BD}"/>
              </c:ext>
            </c:extLst>
          </c:dPt>
          <c:dPt>
            <c:idx val="3"/>
            <c:bubble3D val="0"/>
            <c:spPr>
              <a:solidFill>
                <a:schemeClr val="accent1">
                  <a:lumMod val="20000"/>
                  <a:lumOff val="80000"/>
                </a:schemeClr>
              </a:solidFill>
              <a:ln>
                <a:solidFill>
                  <a:srgbClr val="C00000"/>
                </a:solidFill>
              </a:ln>
            </c:spPr>
            <c:extLst>
              <c:ext xmlns:c16="http://schemas.microsoft.com/office/drawing/2014/chart" uri="{C3380CC4-5D6E-409C-BE32-E72D297353CC}">
                <c16:uniqueId val="{00000005-E7D3-A647-85C0-C8C6B7D608BD}"/>
              </c:ext>
            </c:extLst>
          </c:dPt>
          <c:dPt>
            <c:idx val="4"/>
            <c:bubble3D val="0"/>
            <c:extLst>
              <c:ext xmlns:c16="http://schemas.microsoft.com/office/drawing/2014/chart" uri="{C3380CC4-5D6E-409C-BE32-E72D297353CC}">
                <c16:uniqueId val="{00000007-E7D3-A647-85C0-C8C6B7D608BD}"/>
              </c:ext>
            </c:extLst>
          </c:dPt>
          <c:dLbls>
            <c:dLbl>
              <c:idx val="0"/>
              <c:numFmt formatCode="0%" sourceLinked="0"/>
              <c:spPr/>
              <c:txPr>
                <a:bodyPr/>
                <a:lstStyle/>
                <a:p>
                  <a:pPr>
                    <a:defRPr>
                      <a:solidFill>
                        <a:schemeClr val="bg1"/>
                      </a:solidFill>
                    </a:defRPr>
                  </a:pPr>
                  <a:endParaRPr lang="en-US"/>
                </a:p>
              </c:txPr>
              <c:dLblPos val="ctr"/>
              <c:showLegendKey val="0"/>
              <c:showVal val="0"/>
              <c:showCatName val="1"/>
              <c:showSerName val="0"/>
              <c:showPercent val="1"/>
              <c:showBubbleSize val="0"/>
              <c:extLst>
                <c:ext xmlns:c16="http://schemas.microsoft.com/office/drawing/2014/chart" uri="{C3380CC4-5D6E-409C-BE32-E72D297353CC}">
                  <c16:uniqueId val="{00000008-E7D3-A647-85C0-C8C6B7D608BD}"/>
                </c:ext>
              </c:extLst>
            </c:dLbl>
            <c:dLbl>
              <c:idx val="1"/>
              <c:numFmt formatCode="0%" sourceLinked="0"/>
              <c:spPr/>
              <c:txPr>
                <a:bodyPr/>
                <a:lstStyle/>
                <a:p>
                  <a:pPr>
                    <a:defRPr>
                      <a:solidFill>
                        <a:schemeClr val="bg1"/>
                      </a:solidFill>
                    </a:defRPr>
                  </a:pPr>
                  <a:endParaRPr lang="en-US"/>
                </a:p>
              </c:txPr>
              <c:dLblPos val="ctr"/>
              <c:showLegendKey val="0"/>
              <c:showVal val="0"/>
              <c:showCatName val="1"/>
              <c:showSerName val="0"/>
              <c:showPercent val="1"/>
              <c:showBubbleSize val="0"/>
              <c:extLst>
                <c:ext xmlns:c16="http://schemas.microsoft.com/office/drawing/2014/chart" uri="{C3380CC4-5D6E-409C-BE32-E72D297353CC}">
                  <c16:uniqueId val="{00000001-E7D3-A647-85C0-C8C6B7D608BD}"/>
                </c:ext>
              </c:extLst>
            </c:dLbl>
            <c:dLbl>
              <c:idx val="2"/>
              <c:numFmt formatCode="0%" sourceLinked="0"/>
              <c:spPr/>
              <c:txPr>
                <a:bodyPr/>
                <a:lstStyle/>
                <a:p>
                  <a:pPr>
                    <a:defRPr>
                      <a:solidFill>
                        <a:srgbClr val="C00000"/>
                      </a:solidFill>
                    </a:defRPr>
                  </a:pPr>
                  <a:endParaRPr lang="en-US"/>
                </a:p>
              </c:txPr>
              <c:dLblPos val="ctr"/>
              <c:showLegendKey val="0"/>
              <c:showVal val="0"/>
              <c:showCatName val="1"/>
              <c:showSerName val="0"/>
              <c:showPercent val="1"/>
              <c:showBubbleSize val="0"/>
              <c:extLst>
                <c:ext xmlns:c16="http://schemas.microsoft.com/office/drawing/2014/chart" uri="{C3380CC4-5D6E-409C-BE32-E72D297353CC}">
                  <c16:uniqueId val="{00000003-E7D3-A647-85C0-C8C6B7D608BD}"/>
                </c:ext>
              </c:extLst>
            </c:dLbl>
            <c:dLbl>
              <c:idx val="3"/>
              <c:numFmt formatCode="0%" sourceLinked="0"/>
              <c:spPr/>
              <c:txPr>
                <a:bodyPr/>
                <a:lstStyle/>
                <a:p>
                  <a:pPr>
                    <a:defRPr>
                      <a:solidFill>
                        <a:srgbClr val="C00000"/>
                      </a:solidFill>
                    </a:defRPr>
                  </a:pPr>
                  <a:endParaRPr lang="en-US"/>
                </a:p>
              </c:txPr>
              <c:dLblPos val="ctr"/>
              <c:showLegendKey val="0"/>
              <c:showVal val="0"/>
              <c:showCatName val="1"/>
              <c:showSerName val="0"/>
              <c:showPercent val="1"/>
              <c:showBubbleSize val="0"/>
              <c:extLst>
                <c:ext xmlns:c16="http://schemas.microsoft.com/office/drawing/2014/chart" uri="{C3380CC4-5D6E-409C-BE32-E72D297353CC}">
                  <c16:uniqueId val="{00000005-E7D3-A647-85C0-C8C6B7D608BD}"/>
                </c:ext>
              </c:extLst>
            </c:dLbl>
            <c:dLbl>
              <c:idx val="4"/>
              <c:tx>
                <c:rich>
                  <a:bodyPr/>
                  <a:lstStyle/>
                  <a:p>
                    <a:pPr>
                      <a:defRPr>
                        <a:solidFill>
                          <a:schemeClr val="bg1"/>
                        </a:solidFill>
                      </a:defRPr>
                    </a:pPr>
                    <a:r>
                      <a:rPr lang="en-US">
                        <a:solidFill>
                          <a:schemeClr val="bg1"/>
                        </a:solidFill>
                      </a:rPr>
                      <a:t>Label C
34%</a:t>
                    </a:r>
                  </a:p>
                </c:rich>
              </c:tx>
              <c:spPr/>
              <c:dLblPos val="ct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7D3-A647-85C0-C8C6B7D608BD}"/>
                </c:ext>
              </c:extLst>
            </c:dLbl>
            <c:numFmt formatCode="0%" sourceLinked="0"/>
            <c:spPr>
              <a:noFill/>
              <a:ln>
                <a:noFill/>
              </a:ln>
              <a:effectLst/>
            </c:spPr>
            <c:txPr>
              <a:bodyPr/>
              <a:lstStyle/>
              <a:p>
                <a:pPr>
                  <a:defRPr>
                    <a:solidFill>
                      <a:schemeClr val="bg1"/>
                    </a:solidFill>
                  </a:defRPr>
                </a:pPr>
                <a:endParaRPr lang="en-US"/>
              </a:p>
            </c:txPr>
            <c:dLblPos val="ctr"/>
            <c:showLegendKey val="0"/>
            <c:showVal val="0"/>
            <c:showCatName val="1"/>
            <c:showSerName val="0"/>
            <c:showPercent val="1"/>
            <c:showBubbleSize val="0"/>
            <c:showLeaderLines val="1"/>
            <c:extLst>
              <c:ext xmlns:c15="http://schemas.microsoft.com/office/drawing/2012/chart" uri="{CE6537A1-D6FC-4f65-9D91-7224C49458BB}"/>
            </c:extLst>
          </c:dLbls>
          <c:cat>
            <c:strRef>
              <c:f>Sheet1!$B$1:$F$1</c:f>
              <c:strCache>
                <c:ptCount val="4"/>
                <c:pt idx="0">
                  <c:v>Label A</c:v>
                </c:pt>
                <c:pt idx="1">
                  <c:v>Label B</c:v>
                </c:pt>
                <c:pt idx="2">
                  <c:v>Label C1</c:v>
                </c:pt>
                <c:pt idx="3">
                  <c:v>Label C2</c:v>
                </c:pt>
              </c:strCache>
            </c:strRef>
          </c:cat>
          <c:val>
            <c:numRef>
              <c:f>Sheet1!$B$2:$F$2</c:f>
              <c:numCache>
                <c:formatCode>s\t\a\nd\a\rd</c:formatCode>
                <c:ptCount val="4"/>
                <c:pt idx="0">
                  <c:v>38</c:v>
                </c:pt>
                <c:pt idx="1">
                  <c:v>28</c:v>
                </c:pt>
                <c:pt idx="2">
                  <c:v>14</c:v>
                </c:pt>
                <c:pt idx="3" formatCode="0">
                  <c:v>20</c:v>
                </c:pt>
              </c:numCache>
            </c:numRef>
          </c:val>
          <c:extLst>
            <c:ext xmlns:c16="http://schemas.microsoft.com/office/drawing/2014/chart" uri="{C3380CC4-5D6E-409C-BE32-E72D297353CC}">
              <c16:uniqueId val="{00000009-E7D3-A647-85C0-C8C6B7D608BD}"/>
            </c:ext>
          </c:extLst>
        </c:ser>
        <c:dLbls>
          <c:showLegendKey val="0"/>
          <c:showVal val="0"/>
          <c:showCatName val="0"/>
          <c:showSerName val="0"/>
          <c:showPercent val="0"/>
          <c:showBubbleSize val="0"/>
          <c:showLeaderLines val="1"/>
        </c:dLbls>
        <c:gapWidth val="185"/>
        <c:splitType val="pos"/>
        <c:splitPos val="2"/>
        <c:secondPieSize val="100"/>
        <c:serLines>
          <c:spPr>
            <a:ln w="19050" cap="rnd">
              <a:solidFill>
                <a:schemeClr val="tx2">
                  <a:lumMod val="60000"/>
                  <a:lumOff val="40000"/>
                </a:schemeClr>
              </a:solidFill>
              <a:prstDash val="sysDot"/>
            </a:ln>
          </c:spPr>
        </c:serLines>
      </c:ofPieChart>
    </c:plotArea>
    <c:plotVisOnly val="1"/>
    <c:dispBlanksAs val="zero"/>
    <c:showDLblsOverMax val="0"/>
  </c:chart>
  <c:txPr>
    <a:bodyPr/>
    <a:lstStyle/>
    <a:p>
      <a:pPr>
        <a:defRPr sz="1800" b="1"/>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34853576964289E-2"/>
          <c:y val="9.9977946931514627E-2"/>
          <c:w val="0.8385372134839818"/>
          <c:h val="0.82989492539565701"/>
        </c:manualLayout>
      </c:layout>
      <c:lineChart>
        <c:grouping val="standard"/>
        <c:varyColors val="0"/>
        <c:ser>
          <c:idx val="0"/>
          <c:order val="0"/>
          <c:tx>
            <c:strRef>
              <c:f>Sheet1!$A$2</c:f>
              <c:strCache>
                <c:ptCount val="1"/>
                <c:pt idx="0">
                  <c:v>Label A</c:v>
                </c:pt>
              </c:strCache>
            </c:strRef>
          </c:tx>
          <c:spPr>
            <a:ln w="12700">
              <a:solidFill>
                <a:schemeClr val="bg1">
                  <a:lumMod val="65000"/>
                </a:schemeClr>
              </a:solidFill>
              <a:prstDash val="lgDash"/>
            </a:ln>
          </c:spPr>
          <c:marker>
            <c:symbol val="none"/>
          </c:marker>
          <c:cat>
            <c:numRef>
              <c:f>Sheet1!$B$1:$E$1</c:f>
              <c:numCache>
                <c:formatCode>General</c:formatCode>
                <c:ptCount val="4"/>
                <c:pt idx="0">
                  <c:v>2022</c:v>
                </c:pt>
                <c:pt idx="1">
                  <c:v>2</c:v>
                </c:pt>
                <c:pt idx="2">
                  <c:v>2002</c:v>
                </c:pt>
                <c:pt idx="3">
                  <c:v>2003</c:v>
                </c:pt>
              </c:numCache>
            </c:numRef>
          </c:cat>
          <c:val>
            <c:numRef>
              <c:f>Sheet1!$B$2:$E$2</c:f>
              <c:numCache>
                <c:formatCode>General</c:formatCode>
                <c:ptCount val="4"/>
                <c:pt idx="0">
                  <c:v>2</c:v>
                </c:pt>
                <c:pt idx="1">
                  <c:v>10</c:v>
                </c:pt>
                <c:pt idx="2">
                  <c:v>15</c:v>
                </c:pt>
                <c:pt idx="3">
                  <c:v>40</c:v>
                </c:pt>
              </c:numCache>
            </c:numRef>
          </c:val>
          <c:smooth val="0"/>
          <c:extLst>
            <c:ext xmlns:c16="http://schemas.microsoft.com/office/drawing/2014/chart" uri="{C3380CC4-5D6E-409C-BE32-E72D297353CC}">
              <c16:uniqueId val="{00000000-E4D1-F645-BD9F-6DA8377DFC5E}"/>
            </c:ext>
          </c:extLst>
        </c:ser>
        <c:ser>
          <c:idx val="1"/>
          <c:order val="1"/>
          <c:tx>
            <c:strRef>
              <c:f>Sheet1!$A$3</c:f>
              <c:strCache>
                <c:ptCount val="1"/>
                <c:pt idx="0">
                  <c:v>Label B</c:v>
                </c:pt>
              </c:strCache>
            </c:strRef>
          </c:tx>
          <c:spPr>
            <a:ln w="25400">
              <a:solidFill>
                <a:schemeClr val="accent3"/>
              </a:solidFill>
            </a:ln>
          </c:spPr>
          <c:marker>
            <c:symbol val="none"/>
          </c:marker>
          <c:cat>
            <c:numRef>
              <c:f>Sheet1!$B$1:$E$1</c:f>
              <c:numCache>
                <c:formatCode>General</c:formatCode>
                <c:ptCount val="4"/>
                <c:pt idx="0">
                  <c:v>2022</c:v>
                </c:pt>
                <c:pt idx="1">
                  <c:v>2</c:v>
                </c:pt>
                <c:pt idx="2">
                  <c:v>2002</c:v>
                </c:pt>
                <c:pt idx="3">
                  <c:v>2003</c:v>
                </c:pt>
              </c:numCache>
            </c:numRef>
          </c:cat>
          <c:val>
            <c:numRef>
              <c:f>Sheet1!$B$3:$E$3</c:f>
              <c:numCache>
                <c:formatCode>General</c:formatCode>
                <c:ptCount val="4"/>
                <c:pt idx="0">
                  <c:v>8</c:v>
                </c:pt>
                <c:pt idx="1">
                  <c:v>2</c:v>
                </c:pt>
                <c:pt idx="2">
                  <c:v>25</c:v>
                </c:pt>
                <c:pt idx="3">
                  <c:v>30</c:v>
                </c:pt>
              </c:numCache>
            </c:numRef>
          </c:val>
          <c:smooth val="0"/>
          <c:extLst>
            <c:ext xmlns:c16="http://schemas.microsoft.com/office/drawing/2014/chart" uri="{C3380CC4-5D6E-409C-BE32-E72D297353CC}">
              <c16:uniqueId val="{00000001-E4D1-F645-BD9F-6DA8377DFC5E}"/>
            </c:ext>
          </c:extLst>
        </c:ser>
        <c:ser>
          <c:idx val="2"/>
          <c:order val="2"/>
          <c:tx>
            <c:strRef>
              <c:f>Sheet1!$A$4</c:f>
              <c:strCache>
                <c:ptCount val="1"/>
                <c:pt idx="0">
                  <c:v>Label C</c:v>
                </c:pt>
              </c:strCache>
            </c:strRef>
          </c:tx>
          <c:spPr>
            <a:ln w="12700">
              <a:solidFill>
                <a:schemeClr val="tx1"/>
              </a:solidFill>
              <a:prstDash val="lgDash"/>
            </a:ln>
          </c:spPr>
          <c:marker>
            <c:symbol val="none"/>
          </c:marker>
          <c:cat>
            <c:numRef>
              <c:f>Sheet1!$B$1:$E$1</c:f>
              <c:numCache>
                <c:formatCode>General</c:formatCode>
                <c:ptCount val="4"/>
                <c:pt idx="0">
                  <c:v>2022</c:v>
                </c:pt>
                <c:pt idx="1">
                  <c:v>2</c:v>
                </c:pt>
                <c:pt idx="2">
                  <c:v>2002</c:v>
                </c:pt>
                <c:pt idx="3">
                  <c:v>2003</c:v>
                </c:pt>
              </c:numCache>
            </c:numRef>
          </c:cat>
          <c:val>
            <c:numRef>
              <c:f>Sheet1!$B$4:$E$4</c:f>
              <c:numCache>
                <c:formatCode>General</c:formatCode>
                <c:ptCount val="4"/>
                <c:pt idx="0">
                  <c:v>45</c:v>
                </c:pt>
                <c:pt idx="1">
                  <c:v>35</c:v>
                </c:pt>
                <c:pt idx="2">
                  <c:v>45</c:v>
                </c:pt>
                <c:pt idx="3">
                  <c:v>43.9</c:v>
                </c:pt>
              </c:numCache>
            </c:numRef>
          </c:val>
          <c:smooth val="0"/>
          <c:extLst>
            <c:ext xmlns:c16="http://schemas.microsoft.com/office/drawing/2014/chart" uri="{C3380CC4-5D6E-409C-BE32-E72D297353CC}">
              <c16:uniqueId val="{00000002-E4D1-F645-BD9F-6DA8377DFC5E}"/>
            </c:ext>
          </c:extLst>
        </c:ser>
        <c:ser>
          <c:idx val="3"/>
          <c:order val="3"/>
          <c:tx>
            <c:strRef>
              <c:f>Sheet1!$A$5</c:f>
              <c:strCache>
                <c:ptCount val="1"/>
                <c:pt idx="0">
                  <c:v>Label D</c:v>
                </c:pt>
              </c:strCache>
            </c:strRef>
          </c:tx>
          <c:spPr>
            <a:ln w="25400">
              <a:solidFill>
                <a:srgbClr val="FF0000"/>
              </a:solidFill>
              <a:prstDash val="solid"/>
            </a:ln>
          </c:spPr>
          <c:marker>
            <c:symbol val="none"/>
          </c:marker>
          <c:cat>
            <c:numRef>
              <c:f>Sheet1!$B$1:$E$1</c:f>
              <c:numCache>
                <c:formatCode>General</c:formatCode>
                <c:ptCount val="4"/>
                <c:pt idx="0">
                  <c:v>2022</c:v>
                </c:pt>
                <c:pt idx="1">
                  <c:v>2</c:v>
                </c:pt>
                <c:pt idx="2">
                  <c:v>2002</c:v>
                </c:pt>
                <c:pt idx="3">
                  <c:v>2003</c:v>
                </c:pt>
              </c:numCache>
            </c:numRef>
          </c:cat>
          <c:val>
            <c:numRef>
              <c:f>Sheet1!$B$5:$E$5</c:f>
              <c:numCache>
                <c:formatCode>General</c:formatCode>
                <c:ptCount val="4"/>
                <c:pt idx="0">
                  <c:v>30</c:v>
                </c:pt>
                <c:pt idx="1">
                  <c:v>40</c:v>
                </c:pt>
                <c:pt idx="2">
                  <c:v>25</c:v>
                </c:pt>
                <c:pt idx="3">
                  <c:v>35</c:v>
                </c:pt>
              </c:numCache>
            </c:numRef>
          </c:val>
          <c:smooth val="0"/>
          <c:extLst>
            <c:ext xmlns:c16="http://schemas.microsoft.com/office/drawing/2014/chart" uri="{C3380CC4-5D6E-409C-BE32-E72D297353CC}">
              <c16:uniqueId val="{00000003-E4D1-F645-BD9F-6DA8377DFC5E}"/>
            </c:ext>
          </c:extLst>
        </c:ser>
        <c:dLbls>
          <c:showLegendKey val="0"/>
          <c:showVal val="0"/>
          <c:showCatName val="0"/>
          <c:showSerName val="0"/>
          <c:showPercent val="0"/>
          <c:showBubbleSize val="0"/>
        </c:dLbls>
        <c:smooth val="0"/>
        <c:axId val="549478920"/>
        <c:axId val="549479312"/>
      </c:lineChart>
      <c:catAx>
        <c:axId val="549478920"/>
        <c:scaling>
          <c:orientation val="minMax"/>
        </c:scaling>
        <c:delete val="0"/>
        <c:axPos val="b"/>
        <c:numFmt formatCode="General" sourceLinked="1"/>
        <c:majorTickMark val="none"/>
        <c:minorTickMark val="none"/>
        <c:tickLblPos val="nextTo"/>
        <c:spPr>
          <a:ln w="12700">
            <a:solidFill>
              <a:schemeClr val="tx2">
                <a:lumMod val="60000"/>
                <a:lumOff val="40000"/>
              </a:schemeClr>
            </a:solidFill>
          </a:ln>
        </c:spPr>
        <c:txPr>
          <a:bodyPr rot="0" vert="horz"/>
          <a:lstStyle/>
          <a:p>
            <a:pPr>
              <a:defRPr/>
            </a:pPr>
            <a:endParaRPr lang="en-US"/>
          </a:p>
        </c:txPr>
        <c:crossAx val="549479312"/>
        <c:crosses val="autoZero"/>
        <c:auto val="1"/>
        <c:lblAlgn val="ctr"/>
        <c:lblOffset val="100"/>
        <c:tickLblSkip val="1"/>
        <c:tickMarkSkip val="1"/>
        <c:noMultiLvlLbl val="0"/>
      </c:catAx>
      <c:valAx>
        <c:axId val="549479312"/>
        <c:scaling>
          <c:orientation val="minMax"/>
        </c:scaling>
        <c:delete val="0"/>
        <c:axPos val="l"/>
        <c:numFmt formatCode="General" sourceLinked="1"/>
        <c:majorTickMark val="none"/>
        <c:minorTickMark val="none"/>
        <c:tickLblPos val="nextTo"/>
        <c:spPr>
          <a:ln w="12700">
            <a:noFill/>
          </a:ln>
        </c:spPr>
        <c:txPr>
          <a:bodyPr rot="0" vert="horz"/>
          <a:lstStyle/>
          <a:p>
            <a:pPr>
              <a:defRPr/>
            </a:pPr>
            <a:endParaRPr lang="en-US"/>
          </a:p>
        </c:txPr>
        <c:crossAx val="549478920"/>
        <c:crosses val="autoZero"/>
        <c:crossBetween val="midCat"/>
        <c:majorUnit val="10"/>
      </c:valAx>
      <c:spPr>
        <a:ln>
          <a:noFill/>
        </a:ln>
      </c:spPr>
    </c:plotArea>
    <c:plotVisOnly val="1"/>
    <c:dispBlanksAs val="gap"/>
    <c:showDLblsOverMax val="0"/>
  </c:chart>
  <c:txPr>
    <a:bodyPr/>
    <a:lstStyle/>
    <a:p>
      <a:pPr>
        <a:defRPr sz="1400">
          <a:solidFill>
            <a:schemeClr val="tx2"/>
          </a:solidFill>
          <a:latin typeface="+mn-lt"/>
        </a:defRPr>
      </a:pPr>
      <a:endParaRPr lang="en-US"/>
    </a:p>
  </c:txPr>
  <c:externalData r:id="rId1">
    <c:autoUpdate val="0"/>
  </c:externalData>
  <c:userShapes r:id="rId2"/>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34853576964289E-2"/>
          <c:y val="9.9977946931514627E-2"/>
          <c:w val="0.8385372134839818"/>
          <c:h val="0.82989492539565701"/>
        </c:manualLayout>
      </c:layout>
      <c:lineChart>
        <c:grouping val="standard"/>
        <c:varyColors val="0"/>
        <c:ser>
          <c:idx val="0"/>
          <c:order val="0"/>
          <c:tx>
            <c:strRef>
              <c:f>Sheet1!$A$2</c:f>
              <c:strCache>
                <c:ptCount val="1"/>
                <c:pt idx="0">
                  <c:v>Label A</c:v>
                </c:pt>
              </c:strCache>
            </c:strRef>
          </c:tx>
          <c:spPr>
            <a:ln w="12700">
              <a:solidFill>
                <a:schemeClr val="bg1">
                  <a:lumMod val="65000"/>
                </a:schemeClr>
              </a:solidFill>
              <a:prstDash val="lgDash"/>
            </a:ln>
          </c:spPr>
          <c:marker>
            <c:symbol val="none"/>
          </c:marker>
          <c:cat>
            <c:numRef>
              <c:f>Sheet1!$B$1:$E$1</c:f>
              <c:numCache>
                <c:formatCode>General</c:formatCode>
                <c:ptCount val="4"/>
                <c:pt idx="0">
                  <c:v>2022</c:v>
                </c:pt>
                <c:pt idx="1">
                  <c:v>2</c:v>
                </c:pt>
                <c:pt idx="2">
                  <c:v>2002</c:v>
                </c:pt>
                <c:pt idx="3">
                  <c:v>2003</c:v>
                </c:pt>
              </c:numCache>
            </c:numRef>
          </c:cat>
          <c:val>
            <c:numRef>
              <c:f>Sheet1!$B$2:$E$2</c:f>
              <c:numCache>
                <c:formatCode>General</c:formatCode>
                <c:ptCount val="4"/>
                <c:pt idx="0">
                  <c:v>2</c:v>
                </c:pt>
                <c:pt idx="1">
                  <c:v>10</c:v>
                </c:pt>
                <c:pt idx="2">
                  <c:v>15</c:v>
                </c:pt>
                <c:pt idx="3">
                  <c:v>40</c:v>
                </c:pt>
              </c:numCache>
            </c:numRef>
          </c:val>
          <c:smooth val="1"/>
          <c:extLst>
            <c:ext xmlns:c16="http://schemas.microsoft.com/office/drawing/2014/chart" uri="{C3380CC4-5D6E-409C-BE32-E72D297353CC}">
              <c16:uniqueId val="{00000000-E4D1-F645-BD9F-6DA8377DFC5E}"/>
            </c:ext>
          </c:extLst>
        </c:ser>
        <c:ser>
          <c:idx val="1"/>
          <c:order val="1"/>
          <c:tx>
            <c:strRef>
              <c:f>Sheet1!$A$3</c:f>
              <c:strCache>
                <c:ptCount val="1"/>
                <c:pt idx="0">
                  <c:v>Label B</c:v>
                </c:pt>
              </c:strCache>
            </c:strRef>
          </c:tx>
          <c:spPr>
            <a:ln w="25400">
              <a:solidFill>
                <a:schemeClr val="accent3"/>
              </a:solidFill>
            </a:ln>
          </c:spPr>
          <c:marker>
            <c:symbol val="none"/>
          </c:marker>
          <c:cat>
            <c:numRef>
              <c:f>Sheet1!$B$1:$E$1</c:f>
              <c:numCache>
                <c:formatCode>General</c:formatCode>
                <c:ptCount val="4"/>
                <c:pt idx="0">
                  <c:v>2022</c:v>
                </c:pt>
                <c:pt idx="1">
                  <c:v>2</c:v>
                </c:pt>
                <c:pt idx="2">
                  <c:v>2002</c:v>
                </c:pt>
                <c:pt idx="3">
                  <c:v>2003</c:v>
                </c:pt>
              </c:numCache>
            </c:numRef>
          </c:cat>
          <c:val>
            <c:numRef>
              <c:f>Sheet1!$B$3:$E$3</c:f>
              <c:numCache>
                <c:formatCode>General</c:formatCode>
                <c:ptCount val="4"/>
                <c:pt idx="0">
                  <c:v>8</c:v>
                </c:pt>
                <c:pt idx="1">
                  <c:v>2</c:v>
                </c:pt>
                <c:pt idx="2">
                  <c:v>25</c:v>
                </c:pt>
                <c:pt idx="3">
                  <c:v>30</c:v>
                </c:pt>
              </c:numCache>
            </c:numRef>
          </c:val>
          <c:smooth val="1"/>
          <c:extLst>
            <c:ext xmlns:c16="http://schemas.microsoft.com/office/drawing/2014/chart" uri="{C3380CC4-5D6E-409C-BE32-E72D297353CC}">
              <c16:uniqueId val="{00000001-E4D1-F645-BD9F-6DA8377DFC5E}"/>
            </c:ext>
          </c:extLst>
        </c:ser>
        <c:ser>
          <c:idx val="2"/>
          <c:order val="2"/>
          <c:tx>
            <c:strRef>
              <c:f>Sheet1!$A$4</c:f>
              <c:strCache>
                <c:ptCount val="1"/>
                <c:pt idx="0">
                  <c:v>Label C</c:v>
                </c:pt>
              </c:strCache>
            </c:strRef>
          </c:tx>
          <c:spPr>
            <a:ln w="12700">
              <a:solidFill>
                <a:schemeClr val="tx1"/>
              </a:solidFill>
              <a:prstDash val="lgDash"/>
            </a:ln>
          </c:spPr>
          <c:marker>
            <c:symbol val="none"/>
          </c:marker>
          <c:cat>
            <c:numRef>
              <c:f>Sheet1!$B$1:$E$1</c:f>
              <c:numCache>
                <c:formatCode>General</c:formatCode>
                <c:ptCount val="4"/>
                <c:pt idx="0">
                  <c:v>2022</c:v>
                </c:pt>
                <c:pt idx="1">
                  <c:v>2</c:v>
                </c:pt>
                <c:pt idx="2">
                  <c:v>2002</c:v>
                </c:pt>
                <c:pt idx="3">
                  <c:v>2003</c:v>
                </c:pt>
              </c:numCache>
            </c:numRef>
          </c:cat>
          <c:val>
            <c:numRef>
              <c:f>Sheet1!$B$4:$E$4</c:f>
              <c:numCache>
                <c:formatCode>General</c:formatCode>
                <c:ptCount val="4"/>
                <c:pt idx="0">
                  <c:v>45</c:v>
                </c:pt>
                <c:pt idx="1">
                  <c:v>35</c:v>
                </c:pt>
                <c:pt idx="2">
                  <c:v>45</c:v>
                </c:pt>
                <c:pt idx="3">
                  <c:v>43.9</c:v>
                </c:pt>
              </c:numCache>
            </c:numRef>
          </c:val>
          <c:smooth val="1"/>
          <c:extLst>
            <c:ext xmlns:c16="http://schemas.microsoft.com/office/drawing/2014/chart" uri="{C3380CC4-5D6E-409C-BE32-E72D297353CC}">
              <c16:uniqueId val="{00000002-E4D1-F645-BD9F-6DA8377DFC5E}"/>
            </c:ext>
          </c:extLst>
        </c:ser>
        <c:ser>
          <c:idx val="3"/>
          <c:order val="3"/>
          <c:tx>
            <c:strRef>
              <c:f>Sheet1!$A$5</c:f>
              <c:strCache>
                <c:ptCount val="1"/>
                <c:pt idx="0">
                  <c:v>Label D</c:v>
                </c:pt>
              </c:strCache>
            </c:strRef>
          </c:tx>
          <c:spPr>
            <a:ln w="25400">
              <a:solidFill>
                <a:srgbClr val="FF0000"/>
              </a:solidFill>
              <a:prstDash val="solid"/>
            </a:ln>
          </c:spPr>
          <c:marker>
            <c:symbol val="none"/>
          </c:marker>
          <c:cat>
            <c:numRef>
              <c:f>Sheet1!$B$1:$E$1</c:f>
              <c:numCache>
                <c:formatCode>General</c:formatCode>
                <c:ptCount val="4"/>
                <c:pt idx="0">
                  <c:v>2022</c:v>
                </c:pt>
                <c:pt idx="1">
                  <c:v>2</c:v>
                </c:pt>
                <c:pt idx="2">
                  <c:v>2002</c:v>
                </c:pt>
                <c:pt idx="3">
                  <c:v>2003</c:v>
                </c:pt>
              </c:numCache>
            </c:numRef>
          </c:cat>
          <c:val>
            <c:numRef>
              <c:f>Sheet1!$B$5:$E$5</c:f>
              <c:numCache>
                <c:formatCode>General</c:formatCode>
                <c:ptCount val="4"/>
                <c:pt idx="0">
                  <c:v>30</c:v>
                </c:pt>
                <c:pt idx="1">
                  <c:v>40</c:v>
                </c:pt>
                <c:pt idx="2">
                  <c:v>25</c:v>
                </c:pt>
                <c:pt idx="3">
                  <c:v>35</c:v>
                </c:pt>
              </c:numCache>
            </c:numRef>
          </c:val>
          <c:smooth val="1"/>
          <c:extLst>
            <c:ext xmlns:c16="http://schemas.microsoft.com/office/drawing/2014/chart" uri="{C3380CC4-5D6E-409C-BE32-E72D297353CC}">
              <c16:uniqueId val="{00000003-E4D1-F645-BD9F-6DA8377DFC5E}"/>
            </c:ext>
          </c:extLst>
        </c:ser>
        <c:dLbls>
          <c:showLegendKey val="0"/>
          <c:showVal val="0"/>
          <c:showCatName val="0"/>
          <c:showSerName val="0"/>
          <c:showPercent val="0"/>
          <c:showBubbleSize val="0"/>
        </c:dLbls>
        <c:smooth val="0"/>
        <c:axId val="549478920"/>
        <c:axId val="549479312"/>
      </c:lineChart>
      <c:catAx>
        <c:axId val="549478920"/>
        <c:scaling>
          <c:orientation val="minMax"/>
        </c:scaling>
        <c:delete val="0"/>
        <c:axPos val="b"/>
        <c:numFmt formatCode="General" sourceLinked="1"/>
        <c:majorTickMark val="none"/>
        <c:minorTickMark val="none"/>
        <c:tickLblPos val="nextTo"/>
        <c:spPr>
          <a:ln w="12700">
            <a:solidFill>
              <a:schemeClr val="tx2">
                <a:lumMod val="60000"/>
                <a:lumOff val="40000"/>
              </a:schemeClr>
            </a:solidFill>
          </a:ln>
        </c:spPr>
        <c:txPr>
          <a:bodyPr rot="0" vert="horz"/>
          <a:lstStyle/>
          <a:p>
            <a:pPr>
              <a:defRPr/>
            </a:pPr>
            <a:endParaRPr lang="en-US"/>
          </a:p>
        </c:txPr>
        <c:crossAx val="549479312"/>
        <c:crosses val="autoZero"/>
        <c:auto val="1"/>
        <c:lblAlgn val="ctr"/>
        <c:lblOffset val="100"/>
        <c:tickLblSkip val="1"/>
        <c:tickMarkSkip val="1"/>
        <c:noMultiLvlLbl val="0"/>
      </c:catAx>
      <c:valAx>
        <c:axId val="549479312"/>
        <c:scaling>
          <c:orientation val="minMax"/>
        </c:scaling>
        <c:delete val="0"/>
        <c:axPos val="l"/>
        <c:numFmt formatCode="General" sourceLinked="1"/>
        <c:majorTickMark val="none"/>
        <c:minorTickMark val="none"/>
        <c:tickLblPos val="nextTo"/>
        <c:spPr>
          <a:ln w="12700">
            <a:noFill/>
          </a:ln>
        </c:spPr>
        <c:txPr>
          <a:bodyPr rot="0" vert="horz"/>
          <a:lstStyle/>
          <a:p>
            <a:pPr>
              <a:defRPr/>
            </a:pPr>
            <a:endParaRPr lang="en-US"/>
          </a:p>
        </c:txPr>
        <c:crossAx val="549478920"/>
        <c:crosses val="autoZero"/>
        <c:crossBetween val="midCat"/>
        <c:majorUnit val="10"/>
      </c:valAx>
      <c:spPr>
        <a:ln>
          <a:noFill/>
        </a:ln>
      </c:spPr>
    </c:plotArea>
    <c:plotVisOnly val="1"/>
    <c:dispBlanksAs val="gap"/>
    <c:showDLblsOverMax val="0"/>
  </c:chart>
  <c:txPr>
    <a:bodyPr/>
    <a:lstStyle/>
    <a:p>
      <a:pPr>
        <a:defRPr sz="1400">
          <a:solidFill>
            <a:schemeClr val="tx2"/>
          </a:solidFill>
          <a:latin typeface="+mn-lt"/>
        </a:defRPr>
      </a:pPr>
      <a:endParaRPr lang="en-US"/>
    </a:p>
  </c:txPr>
  <c:externalData r:id="rId1">
    <c:autoUpdate val="0"/>
  </c:externalData>
  <c:userShapes r:id="rId2"/>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386783198468871E-2"/>
          <c:y val="9.9977946931514627E-2"/>
          <c:w val="0.78413452640171177"/>
          <c:h val="0.82989492539565701"/>
        </c:manualLayout>
      </c:layout>
      <c:lineChart>
        <c:grouping val="standard"/>
        <c:varyColors val="0"/>
        <c:ser>
          <c:idx val="0"/>
          <c:order val="0"/>
          <c:tx>
            <c:strRef>
              <c:f>Sheet1!$A$2</c:f>
              <c:strCache>
                <c:ptCount val="1"/>
                <c:pt idx="0">
                  <c:v>Label A</c:v>
                </c:pt>
              </c:strCache>
            </c:strRef>
          </c:tx>
          <c:spPr>
            <a:ln w="12700">
              <a:solidFill>
                <a:schemeClr val="bg1">
                  <a:lumMod val="65000"/>
                </a:schemeClr>
              </a:solidFill>
              <a:prstDash val="lgDash"/>
            </a:ln>
          </c:spPr>
          <c:marker>
            <c:symbol val="none"/>
          </c:marker>
          <c:cat>
            <c:numRef>
              <c:f>Sheet1!$B$1:$E$1</c:f>
              <c:numCache>
                <c:formatCode>General</c:formatCode>
                <c:ptCount val="4"/>
                <c:pt idx="0">
                  <c:v>2022</c:v>
                </c:pt>
                <c:pt idx="1">
                  <c:v>2023</c:v>
                </c:pt>
                <c:pt idx="2">
                  <c:v>2024</c:v>
                </c:pt>
                <c:pt idx="3">
                  <c:v>2025</c:v>
                </c:pt>
              </c:numCache>
            </c:numRef>
          </c:cat>
          <c:val>
            <c:numRef>
              <c:f>Sheet1!$B$2:$E$2</c:f>
              <c:numCache>
                <c:formatCode>General</c:formatCode>
                <c:ptCount val="4"/>
                <c:pt idx="0">
                  <c:v>2</c:v>
                </c:pt>
                <c:pt idx="1">
                  <c:v>10</c:v>
                </c:pt>
                <c:pt idx="2">
                  <c:v>15</c:v>
                </c:pt>
                <c:pt idx="3">
                  <c:v>40</c:v>
                </c:pt>
              </c:numCache>
            </c:numRef>
          </c:val>
          <c:smooth val="1"/>
          <c:extLst>
            <c:ext xmlns:c16="http://schemas.microsoft.com/office/drawing/2014/chart" uri="{C3380CC4-5D6E-409C-BE32-E72D297353CC}">
              <c16:uniqueId val="{00000000-E4D1-F645-BD9F-6DA8377DFC5E}"/>
            </c:ext>
          </c:extLst>
        </c:ser>
        <c:ser>
          <c:idx val="1"/>
          <c:order val="1"/>
          <c:tx>
            <c:strRef>
              <c:f>Sheet1!$A$3</c:f>
              <c:strCache>
                <c:ptCount val="1"/>
                <c:pt idx="0">
                  <c:v>Label B</c:v>
                </c:pt>
              </c:strCache>
            </c:strRef>
          </c:tx>
          <c:spPr>
            <a:ln w="25400">
              <a:solidFill>
                <a:schemeClr val="accent3"/>
              </a:solidFill>
            </a:ln>
          </c:spPr>
          <c:marker>
            <c:symbol val="none"/>
          </c:marker>
          <c:cat>
            <c:numRef>
              <c:f>Sheet1!$B$1:$E$1</c:f>
              <c:numCache>
                <c:formatCode>General</c:formatCode>
                <c:ptCount val="4"/>
                <c:pt idx="0">
                  <c:v>2022</c:v>
                </c:pt>
                <c:pt idx="1">
                  <c:v>2023</c:v>
                </c:pt>
                <c:pt idx="2">
                  <c:v>2024</c:v>
                </c:pt>
                <c:pt idx="3">
                  <c:v>2025</c:v>
                </c:pt>
              </c:numCache>
            </c:numRef>
          </c:cat>
          <c:val>
            <c:numRef>
              <c:f>Sheet1!$B$3:$E$3</c:f>
              <c:numCache>
                <c:formatCode>General</c:formatCode>
                <c:ptCount val="4"/>
                <c:pt idx="0">
                  <c:v>8</c:v>
                </c:pt>
                <c:pt idx="1">
                  <c:v>2</c:v>
                </c:pt>
                <c:pt idx="2">
                  <c:v>25</c:v>
                </c:pt>
                <c:pt idx="3">
                  <c:v>30</c:v>
                </c:pt>
              </c:numCache>
            </c:numRef>
          </c:val>
          <c:smooth val="1"/>
          <c:extLst>
            <c:ext xmlns:c16="http://schemas.microsoft.com/office/drawing/2014/chart" uri="{C3380CC4-5D6E-409C-BE32-E72D297353CC}">
              <c16:uniqueId val="{00000001-E4D1-F645-BD9F-6DA8377DFC5E}"/>
            </c:ext>
          </c:extLst>
        </c:ser>
        <c:ser>
          <c:idx val="2"/>
          <c:order val="2"/>
          <c:tx>
            <c:strRef>
              <c:f>Sheet1!$A$4</c:f>
              <c:strCache>
                <c:ptCount val="1"/>
                <c:pt idx="0">
                  <c:v>Label C</c:v>
                </c:pt>
              </c:strCache>
            </c:strRef>
          </c:tx>
          <c:spPr>
            <a:ln w="12700">
              <a:solidFill>
                <a:schemeClr val="tx1"/>
              </a:solidFill>
              <a:prstDash val="lgDash"/>
            </a:ln>
          </c:spPr>
          <c:marker>
            <c:symbol val="none"/>
          </c:marker>
          <c:cat>
            <c:numRef>
              <c:f>Sheet1!$B$1:$E$1</c:f>
              <c:numCache>
                <c:formatCode>General</c:formatCode>
                <c:ptCount val="4"/>
                <c:pt idx="0">
                  <c:v>2022</c:v>
                </c:pt>
                <c:pt idx="1">
                  <c:v>2023</c:v>
                </c:pt>
                <c:pt idx="2">
                  <c:v>2024</c:v>
                </c:pt>
                <c:pt idx="3">
                  <c:v>2025</c:v>
                </c:pt>
              </c:numCache>
            </c:numRef>
          </c:cat>
          <c:val>
            <c:numRef>
              <c:f>Sheet1!$B$4:$E$4</c:f>
              <c:numCache>
                <c:formatCode>General</c:formatCode>
                <c:ptCount val="4"/>
                <c:pt idx="0">
                  <c:v>45</c:v>
                </c:pt>
                <c:pt idx="1">
                  <c:v>35</c:v>
                </c:pt>
                <c:pt idx="2">
                  <c:v>45</c:v>
                </c:pt>
                <c:pt idx="3">
                  <c:v>43.9</c:v>
                </c:pt>
              </c:numCache>
            </c:numRef>
          </c:val>
          <c:smooth val="1"/>
          <c:extLst>
            <c:ext xmlns:c16="http://schemas.microsoft.com/office/drawing/2014/chart" uri="{C3380CC4-5D6E-409C-BE32-E72D297353CC}">
              <c16:uniqueId val="{00000002-E4D1-F645-BD9F-6DA8377DFC5E}"/>
            </c:ext>
          </c:extLst>
        </c:ser>
        <c:ser>
          <c:idx val="3"/>
          <c:order val="3"/>
          <c:tx>
            <c:strRef>
              <c:f>Sheet1!$A$5</c:f>
              <c:strCache>
                <c:ptCount val="1"/>
                <c:pt idx="0">
                  <c:v>Label D</c:v>
                </c:pt>
              </c:strCache>
            </c:strRef>
          </c:tx>
          <c:spPr>
            <a:ln w="25400">
              <a:solidFill>
                <a:srgbClr val="FF0000"/>
              </a:solidFill>
              <a:prstDash val="solid"/>
            </a:ln>
          </c:spPr>
          <c:marker>
            <c:symbol val="none"/>
          </c:marker>
          <c:cat>
            <c:numRef>
              <c:f>Sheet1!$B$1:$E$1</c:f>
              <c:numCache>
                <c:formatCode>General</c:formatCode>
                <c:ptCount val="4"/>
                <c:pt idx="0">
                  <c:v>2022</c:v>
                </c:pt>
                <c:pt idx="1">
                  <c:v>2023</c:v>
                </c:pt>
                <c:pt idx="2">
                  <c:v>2024</c:v>
                </c:pt>
                <c:pt idx="3">
                  <c:v>2025</c:v>
                </c:pt>
              </c:numCache>
            </c:numRef>
          </c:cat>
          <c:val>
            <c:numRef>
              <c:f>Sheet1!$B$5:$E$5</c:f>
              <c:numCache>
                <c:formatCode>General</c:formatCode>
                <c:ptCount val="4"/>
                <c:pt idx="0">
                  <c:v>30</c:v>
                </c:pt>
                <c:pt idx="1">
                  <c:v>40</c:v>
                </c:pt>
                <c:pt idx="2">
                  <c:v>25</c:v>
                </c:pt>
                <c:pt idx="3">
                  <c:v>35</c:v>
                </c:pt>
              </c:numCache>
            </c:numRef>
          </c:val>
          <c:smooth val="1"/>
          <c:extLst>
            <c:ext xmlns:c16="http://schemas.microsoft.com/office/drawing/2014/chart" uri="{C3380CC4-5D6E-409C-BE32-E72D297353CC}">
              <c16:uniqueId val="{00000003-E4D1-F645-BD9F-6DA8377DFC5E}"/>
            </c:ext>
          </c:extLst>
        </c:ser>
        <c:dLbls>
          <c:showLegendKey val="0"/>
          <c:showVal val="0"/>
          <c:showCatName val="0"/>
          <c:showSerName val="0"/>
          <c:showPercent val="0"/>
          <c:showBubbleSize val="0"/>
        </c:dLbls>
        <c:smooth val="0"/>
        <c:axId val="549478920"/>
        <c:axId val="549479312"/>
      </c:lineChart>
      <c:catAx>
        <c:axId val="549478920"/>
        <c:scaling>
          <c:orientation val="minMax"/>
        </c:scaling>
        <c:delete val="0"/>
        <c:axPos val="b"/>
        <c:numFmt formatCode="General" sourceLinked="1"/>
        <c:majorTickMark val="none"/>
        <c:minorTickMark val="none"/>
        <c:tickLblPos val="nextTo"/>
        <c:spPr>
          <a:ln w="12700">
            <a:solidFill>
              <a:schemeClr val="tx2">
                <a:lumMod val="60000"/>
                <a:lumOff val="40000"/>
              </a:schemeClr>
            </a:solidFill>
          </a:ln>
        </c:spPr>
        <c:txPr>
          <a:bodyPr rot="0" vert="horz"/>
          <a:lstStyle/>
          <a:p>
            <a:pPr>
              <a:defRPr/>
            </a:pPr>
            <a:endParaRPr lang="en-US"/>
          </a:p>
        </c:txPr>
        <c:crossAx val="549479312"/>
        <c:crosses val="autoZero"/>
        <c:auto val="1"/>
        <c:lblAlgn val="ctr"/>
        <c:lblOffset val="100"/>
        <c:tickLblSkip val="1"/>
        <c:tickMarkSkip val="1"/>
        <c:noMultiLvlLbl val="0"/>
      </c:catAx>
      <c:valAx>
        <c:axId val="549479312"/>
        <c:scaling>
          <c:orientation val="minMax"/>
        </c:scaling>
        <c:delete val="0"/>
        <c:axPos val="l"/>
        <c:numFmt formatCode="General" sourceLinked="1"/>
        <c:majorTickMark val="none"/>
        <c:minorTickMark val="none"/>
        <c:tickLblPos val="nextTo"/>
        <c:spPr>
          <a:ln w="12700">
            <a:noFill/>
          </a:ln>
        </c:spPr>
        <c:txPr>
          <a:bodyPr rot="0" vert="horz"/>
          <a:lstStyle/>
          <a:p>
            <a:pPr>
              <a:defRPr/>
            </a:pPr>
            <a:endParaRPr lang="en-US"/>
          </a:p>
        </c:txPr>
        <c:crossAx val="549478920"/>
        <c:crosses val="autoZero"/>
        <c:crossBetween val="midCat"/>
        <c:majorUnit val="10"/>
      </c:valAx>
      <c:spPr>
        <a:ln>
          <a:noFill/>
        </a:ln>
      </c:spPr>
    </c:plotArea>
    <c:plotVisOnly val="1"/>
    <c:dispBlanksAs val="gap"/>
    <c:showDLblsOverMax val="0"/>
  </c:chart>
  <c:txPr>
    <a:bodyPr/>
    <a:lstStyle/>
    <a:p>
      <a:pPr>
        <a:defRPr sz="1400">
          <a:solidFill>
            <a:schemeClr val="tx2"/>
          </a:solidFill>
          <a:latin typeface="+mn-lt"/>
        </a:defRPr>
      </a:pPr>
      <a:endParaRPr lang="en-US"/>
    </a:p>
  </c:txPr>
  <c:externalData r:id="rId1">
    <c:autoUpdate val="0"/>
  </c:externalData>
  <c:userShapes r:id="rId2"/>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676156866819649E-2"/>
          <c:y val="0.11871676757439768"/>
          <c:w val="0.95640946430020357"/>
          <c:h val="0.74026864689404537"/>
        </c:manualLayout>
      </c:layout>
      <c:scatterChart>
        <c:scatterStyle val="lineMarker"/>
        <c:varyColors val="0"/>
        <c:ser>
          <c:idx val="0"/>
          <c:order val="0"/>
          <c:tx>
            <c:strRef>
              <c:f>Sheet1!$A$2</c:f>
              <c:strCache>
                <c:ptCount val="1"/>
                <c:pt idx="0">
                  <c:v>Group 1</c:v>
                </c:pt>
              </c:strCache>
            </c:strRef>
          </c:tx>
          <c:spPr>
            <a:ln w="28575">
              <a:noFill/>
            </a:ln>
          </c:spPr>
          <c:marker>
            <c:symbol val="diamond"/>
            <c:size val="11"/>
            <c:spPr>
              <a:solidFill>
                <a:srgbClr val="FF0000"/>
              </a:solidFill>
            </c:spPr>
          </c:marker>
          <c:trendline>
            <c:spPr>
              <a:ln w="12700">
                <a:solidFill>
                  <a:srgbClr val="FF0000"/>
                </a:solidFill>
              </a:ln>
            </c:spPr>
            <c:trendlineType val="linear"/>
            <c:dispRSqr val="0"/>
            <c:dispEq val="0"/>
          </c:trendline>
          <c:xVal>
            <c:strRef>
              <c:f>Sheet1!$B$1:$H$1</c:f>
              <c:strCache>
                <c:ptCount val="7"/>
                <c:pt idx="0">
                  <c:v>Label A</c:v>
                </c:pt>
                <c:pt idx="1">
                  <c:v>Label B</c:v>
                </c:pt>
                <c:pt idx="2">
                  <c:v>Label C</c:v>
                </c:pt>
                <c:pt idx="3">
                  <c:v>Label D</c:v>
                </c:pt>
                <c:pt idx="4">
                  <c:v>Label E</c:v>
                </c:pt>
                <c:pt idx="5">
                  <c:v>Label F</c:v>
                </c:pt>
                <c:pt idx="6">
                  <c:v>Label G</c:v>
                </c:pt>
              </c:strCache>
            </c:strRef>
          </c:xVal>
          <c:yVal>
            <c:numRef>
              <c:f>Sheet1!$B$2:$H$2</c:f>
              <c:numCache>
                <c:formatCode>General</c:formatCode>
                <c:ptCount val="7"/>
                <c:pt idx="0">
                  <c:v>2</c:v>
                </c:pt>
                <c:pt idx="1">
                  <c:v>5</c:v>
                </c:pt>
                <c:pt idx="2">
                  <c:v>3</c:v>
                </c:pt>
                <c:pt idx="3">
                  <c:v>8</c:v>
                </c:pt>
                <c:pt idx="4">
                  <c:v>9</c:v>
                </c:pt>
                <c:pt idx="5">
                  <c:v>12</c:v>
                </c:pt>
                <c:pt idx="6">
                  <c:v>16</c:v>
                </c:pt>
              </c:numCache>
            </c:numRef>
          </c:yVal>
          <c:smooth val="0"/>
          <c:extLst>
            <c:ext xmlns:c16="http://schemas.microsoft.com/office/drawing/2014/chart" uri="{C3380CC4-5D6E-409C-BE32-E72D297353CC}">
              <c16:uniqueId val="{00000001-E48D-A94F-8A2D-C79F1D1E2E8A}"/>
            </c:ext>
          </c:extLst>
        </c:ser>
        <c:ser>
          <c:idx val="1"/>
          <c:order val="1"/>
          <c:tx>
            <c:strRef>
              <c:f>Sheet1!$A$3</c:f>
              <c:strCache>
                <c:ptCount val="1"/>
                <c:pt idx="0">
                  <c:v>Group 2</c:v>
                </c:pt>
              </c:strCache>
            </c:strRef>
          </c:tx>
          <c:spPr>
            <a:ln w="28575">
              <a:noFill/>
            </a:ln>
          </c:spPr>
          <c:marker>
            <c:symbol val="circle"/>
            <c:size val="11"/>
            <c:spPr>
              <a:solidFill>
                <a:schemeClr val="tx1"/>
              </a:solidFill>
              <a:ln>
                <a:noFill/>
              </a:ln>
            </c:spPr>
          </c:marker>
          <c:trendline>
            <c:spPr>
              <a:ln w="12700">
                <a:solidFill>
                  <a:schemeClr val="tx1"/>
                </a:solidFill>
                <a:prstDash val="dash"/>
              </a:ln>
            </c:spPr>
            <c:trendlineType val="linear"/>
            <c:dispRSqr val="0"/>
            <c:dispEq val="0"/>
          </c:trendline>
          <c:xVal>
            <c:strRef>
              <c:f>Sheet1!$B$1:$H$1</c:f>
              <c:strCache>
                <c:ptCount val="7"/>
                <c:pt idx="0">
                  <c:v>Label A</c:v>
                </c:pt>
                <c:pt idx="1">
                  <c:v>Label B</c:v>
                </c:pt>
                <c:pt idx="2">
                  <c:v>Label C</c:v>
                </c:pt>
                <c:pt idx="3">
                  <c:v>Label D</c:v>
                </c:pt>
                <c:pt idx="4">
                  <c:v>Label E</c:v>
                </c:pt>
                <c:pt idx="5">
                  <c:v>Label F</c:v>
                </c:pt>
                <c:pt idx="6">
                  <c:v>Label G</c:v>
                </c:pt>
              </c:strCache>
            </c:strRef>
          </c:xVal>
          <c:yVal>
            <c:numRef>
              <c:f>Sheet1!$B$3:$H$3</c:f>
              <c:numCache>
                <c:formatCode>General</c:formatCode>
                <c:ptCount val="7"/>
                <c:pt idx="0">
                  <c:v>12</c:v>
                </c:pt>
                <c:pt idx="1">
                  <c:v>10</c:v>
                </c:pt>
                <c:pt idx="2">
                  <c:v>8</c:v>
                </c:pt>
                <c:pt idx="3">
                  <c:v>6</c:v>
                </c:pt>
                <c:pt idx="4">
                  <c:v>3</c:v>
                </c:pt>
                <c:pt idx="5">
                  <c:v>5</c:v>
                </c:pt>
                <c:pt idx="6">
                  <c:v>1</c:v>
                </c:pt>
              </c:numCache>
            </c:numRef>
          </c:yVal>
          <c:smooth val="0"/>
          <c:extLst>
            <c:ext xmlns:c16="http://schemas.microsoft.com/office/drawing/2014/chart" uri="{C3380CC4-5D6E-409C-BE32-E72D297353CC}">
              <c16:uniqueId val="{00000003-E48D-A94F-8A2D-C79F1D1E2E8A}"/>
            </c:ext>
          </c:extLst>
        </c:ser>
        <c:dLbls>
          <c:showLegendKey val="0"/>
          <c:showVal val="0"/>
          <c:showCatName val="0"/>
          <c:showSerName val="0"/>
          <c:showPercent val="0"/>
          <c:showBubbleSize val="0"/>
        </c:dLbls>
        <c:axId val="549484408"/>
        <c:axId val="549484800"/>
      </c:scatterChart>
      <c:valAx>
        <c:axId val="549484408"/>
        <c:scaling>
          <c:orientation val="minMax"/>
        </c:scaling>
        <c:delete val="0"/>
        <c:axPos val="b"/>
        <c:title>
          <c:tx>
            <c:rich>
              <a:bodyPr/>
              <a:lstStyle/>
              <a:p>
                <a:pPr algn="r">
                  <a:defRPr sz="1600"/>
                </a:pPr>
                <a:r>
                  <a:rPr lang="de-DE" sz="1600"/>
                  <a:t>x-axis</a:t>
                </a:r>
              </a:p>
            </c:rich>
          </c:tx>
          <c:layout>
            <c:manualLayout>
              <c:xMode val="edge"/>
              <c:yMode val="edge"/>
              <c:x val="0.94183196851835671"/>
              <c:y val="0.92927322999125295"/>
            </c:manualLayout>
          </c:layout>
          <c:overlay val="0"/>
        </c:title>
        <c:numFmt formatCode="@" sourceLinked="0"/>
        <c:majorTickMark val="none"/>
        <c:minorTickMark val="none"/>
        <c:tickLblPos val="nextTo"/>
        <c:spPr>
          <a:ln w="12700">
            <a:solidFill>
              <a:schemeClr val="tx2">
                <a:lumMod val="60000"/>
                <a:lumOff val="40000"/>
              </a:schemeClr>
            </a:solidFill>
          </a:ln>
        </c:spPr>
        <c:txPr>
          <a:bodyPr rot="0" vert="horz"/>
          <a:lstStyle/>
          <a:p>
            <a:pPr>
              <a:defRPr sz="1400"/>
            </a:pPr>
            <a:endParaRPr lang="en-US"/>
          </a:p>
        </c:txPr>
        <c:crossAx val="549484800"/>
        <c:crosses val="autoZero"/>
        <c:crossBetween val="midCat"/>
      </c:valAx>
      <c:valAx>
        <c:axId val="549484800"/>
        <c:scaling>
          <c:orientation val="minMax"/>
        </c:scaling>
        <c:delete val="0"/>
        <c:axPos val="l"/>
        <c:title>
          <c:tx>
            <c:rich>
              <a:bodyPr rot="0" vert="horz"/>
              <a:lstStyle/>
              <a:p>
                <a:pPr algn="l">
                  <a:defRPr sz="1600"/>
                </a:pPr>
                <a:r>
                  <a:rPr lang="de-DE" sz="1600"/>
                  <a:t>y-axis</a:t>
                </a:r>
              </a:p>
            </c:rich>
          </c:tx>
          <c:layout>
            <c:manualLayout>
              <c:xMode val="edge"/>
              <c:yMode val="edge"/>
              <c:x val="4.3132798110184241E-4"/>
              <c:y val="2.4784668203783394E-3"/>
            </c:manualLayout>
          </c:layout>
          <c:overlay val="0"/>
        </c:title>
        <c:numFmt formatCode="General" sourceLinked="1"/>
        <c:majorTickMark val="none"/>
        <c:minorTickMark val="none"/>
        <c:tickLblPos val="nextTo"/>
        <c:spPr>
          <a:ln>
            <a:solidFill>
              <a:schemeClr val="tx2">
                <a:lumMod val="60000"/>
                <a:lumOff val="40000"/>
              </a:schemeClr>
            </a:solidFill>
          </a:ln>
        </c:spPr>
        <c:txPr>
          <a:bodyPr rot="0" vert="horz"/>
          <a:lstStyle/>
          <a:p>
            <a:pPr>
              <a:defRPr sz="1400"/>
            </a:pPr>
            <a:endParaRPr lang="en-US"/>
          </a:p>
        </c:txPr>
        <c:crossAx val="549484408"/>
        <c:crosses val="autoZero"/>
        <c:crossBetween val="midCat"/>
      </c:valAx>
    </c:plotArea>
    <c:plotVisOnly val="1"/>
    <c:dispBlanksAs val="gap"/>
    <c:showDLblsOverMax val="0"/>
  </c:chart>
  <c:txPr>
    <a:bodyPr/>
    <a:lstStyle/>
    <a:p>
      <a:pPr>
        <a:defRPr sz="1800">
          <a:solidFill>
            <a:schemeClr val="tx2"/>
          </a:solidFill>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D6222B"/>
              </a:solidFill>
              <a:ln w="19050">
                <a:noFill/>
              </a:ln>
              <a:effectLst/>
            </c:spPr>
            <c:extLst>
              <c:ext xmlns:c16="http://schemas.microsoft.com/office/drawing/2014/chart" uri="{C3380CC4-5D6E-409C-BE32-E72D297353CC}">
                <c16:uniqueId val="{00000001-3DDD-A74F-AC47-269DE6EA74E4}"/>
              </c:ext>
            </c:extLst>
          </c:dPt>
          <c:dPt>
            <c:idx val="1"/>
            <c:bubble3D val="0"/>
            <c:spPr>
              <a:solidFill>
                <a:schemeClr val="tx1">
                  <a:lumMod val="75000"/>
                  <a:lumOff val="25000"/>
                </a:schemeClr>
              </a:solidFill>
              <a:ln w="19050">
                <a:noFill/>
              </a:ln>
              <a:effectLst/>
            </c:spPr>
            <c:extLst>
              <c:ext xmlns:c16="http://schemas.microsoft.com/office/drawing/2014/chart" uri="{C3380CC4-5D6E-409C-BE32-E72D297353CC}">
                <c16:uniqueId val="{00000003-3DDD-A74F-AC47-269DE6EA74E4}"/>
              </c:ext>
            </c:extLst>
          </c:dPt>
          <c:dPt>
            <c:idx val="2"/>
            <c:bubble3D val="0"/>
            <c:spPr>
              <a:solidFill>
                <a:srgbClr val="7F7F7F"/>
              </a:solidFill>
              <a:ln w="19050">
                <a:noFill/>
              </a:ln>
              <a:effectLst/>
            </c:spPr>
            <c:extLst>
              <c:ext xmlns:c16="http://schemas.microsoft.com/office/drawing/2014/chart" uri="{C3380CC4-5D6E-409C-BE32-E72D297353CC}">
                <c16:uniqueId val="{00000005-3DDD-A74F-AC47-269DE6EA74E4}"/>
              </c:ext>
            </c:extLst>
          </c:dPt>
          <c:dPt>
            <c:idx val="3"/>
            <c:bubble3D val="0"/>
            <c:spPr>
              <a:solidFill>
                <a:srgbClr val="A6A6A6"/>
              </a:solidFill>
              <a:ln w="19050">
                <a:noFill/>
              </a:ln>
              <a:effectLst/>
            </c:spPr>
            <c:extLst>
              <c:ext xmlns:c16="http://schemas.microsoft.com/office/drawing/2014/chart" uri="{C3380CC4-5D6E-409C-BE32-E72D297353CC}">
                <c16:uniqueId val="{00000007-3DDD-A74F-AC47-269DE6EA74E4}"/>
              </c:ext>
            </c:extLst>
          </c:dPt>
          <c:cat>
            <c:strRef>
              <c:f>Sheet1!$A$2:$A$5</c:f>
              <c:strCache>
                <c:ptCount val="4"/>
                <c:pt idx="0">
                  <c:v>Lorem Ipsum 01</c:v>
                </c:pt>
                <c:pt idx="1">
                  <c:v>Lorem Ipsum 02</c:v>
                </c:pt>
                <c:pt idx="2">
                  <c:v>Lorem Ipsum 03</c:v>
                </c:pt>
                <c:pt idx="3">
                  <c:v>Lorem Ipsum 04</c:v>
                </c:pt>
              </c:strCache>
            </c:strRef>
          </c:cat>
          <c:val>
            <c:numRef>
              <c:f>Sheet1!$B$2:$B$5</c:f>
              <c:numCache>
                <c:formatCode>0%</c:formatCode>
                <c:ptCount val="4"/>
                <c:pt idx="0">
                  <c:v>0.5</c:v>
                </c:pt>
                <c:pt idx="1">
                  <c:v>0.25</c:v>
                </c:pt>
                <c:pt idx="2">
                  <c:v>0.2</c:v>
                </c:pt>
                <c:pt idx="3">
                  <c:v>0.05</c:v>
                </c:pt>
              </c:numCache>
            </c:numRef>
          </c:val>
          <c:extLst>
            <c:ext xmlns:c16="http://schemas.microsoft.com/office/drawing/2014/chart" uri="{C3380CC4-5D6E-409C-BE32-E72D297353CC}">
              <c16:uniqueId val="{00000008-3DDD-A74F-AC47-269DE6EA74E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492891905993615E-2"/>
          <c:y val="2.7989821882951682E-2"/>
          <c:w val="0.91277010557414751"/>
          <c:h val="0.83715012722646309"/>
        </c:manualLayout>
      </c:layout>
      <c:barChart>
        <c:barDir val="bar"/>
        <c:grouping val="stacked"/>
        <c:varyColors val="0"/>
        <c:ser>
          <c:idx val="0"/>
          <c:order val="0"/>
          <c:tx>
            <c:strRef>
              <c:f>Sheet1!$A$2</c:f>
              <c:strCache>
                <c:ptCount val="1"/>
              </c:strCache>
            </c:strRef>
          </c:tx>
          <c:spPr>
            <a:pattFill prst="dkUpDiag">
              <a:fgClr>
                <a:srgbClr val="C00000"/>
              </a:fgClr>
              <a:bgClr>
                <a:schemeClr val="bg1"/>
              </a:bgClr>
            </a:pattFill>
            <a:ln w="12690">
              <a:noFill/>
              <a:prstDash val="solid"/>
            </a:ln>
          </c:spPr>
          <c:invertIfNegative val="0"/>
          <c:cat>
            <c:strRef>
              <c:f>Sheet1!$B$1:$E$1</c:f>
              <c:strCache>
                <c:ptCount val="4"/>
                <c:pt idx="0">
                  <c:v>Label A</c:v>
                </c:pt>
                <c:pt idx="1">
                  <c:v>Label B</c:v>
                </c:pt>
                <c:pt idx="2">
                  <c:v>Label C</c:v>
                </c:pt>
                <c:pt idx="3">
                  <c:v>Label D</c:v>
                </c:pt>
              </c:strCache>
            </c:strRef>
          </c:cat>
          <c:val>
            <c:numRef>
              <c:f>Sheet1!$B$2:$E$2</c:f>
              <c:numCache>
                <c:formatCode>General</c:formatCode>
                <c:ptCount val="4"/>
                <c:pt idx="0">
                  <c:v>11</c:v>
                </c:pt>
                <c:pt idx="1">
                  <c:v>25</c:v>
                </c:pt>
                <c:pt idx="2">
                  <c:v>40</c:v>
                </c:pt>
                <c:pt idx="3">
                  <c:v>22</c:v>
                </c:pt>
              </c:numCache>
            </c:numRef>
          </c:val>
          <c:extLst>
            <c:ext xmlns:c16="http://schemas.microsoft.com/office/drawing/2014/chart" uri="{C3380CC4-5D6E-409C-BE32-E72D297353CC}">
              <c16:uniqueId val="{00000000-3279-6D4C-A7A7-B9F09DF30956}"/>
            </c:ext>
          </c:extLst>
        </c:ser>
        <c:ser>
          <c:idx val="2"/>
          <c:order val="1"/>
          <c:tx>
            <c:strRef>
              <c:f>Sheet1!$A$4</c:f>
              <c:strCache>
                <c:ptCount val="1"/>
                <c:pt idx="0">
                  <c:v>North</c:v>
                </c:pt>
              </c:strCache>
            </c:strRef>
          </c:tx>
          <c:spPr>
            <a:solidFill>
              <a:srgbClr val="C00000"/>
            </a:solidFill>
            <a:ln w="25380">
              <a:noFill/>
            </a:ln>
          </c:spPr>
          <c:invertIfNegative val="0"/>
          <c:dPt>
            <c:idx val="0"/>
            <c:invertIfNegative val="0"/>
            <c:bubble3D val="0"/>
            <c:extLst>
              <c:ext xmlns:c16="http://schemas.microsoft.com/office/drawing/2014/chart" uri="{C3380CC4-5D6E-409C-BE32-E72D297353CC}">
                <c16:uniqueId val="{00000001-3279-6D4C-A7A7-B9F09DF30956}"/>
              </c:ext>
            </c:extLst>
          </c:dPt>
          <c:dPt>
            <c:idx val="1"/>
            <c:invertIfNegative val="0"/>
            <c:bubble3D val="0"/>
            <c:extLst>
              <c:ext xmlns:c16="http://schemas.microsoft.com/office/drawing/2014/chart" uri="{C3380CC4-5D6E-409C-BE32-E72D297353CC}">
                <c16:uniqueId val="{00000002-3279-6D4C-A7A7-B9F09DF30956}"/>
              </c:ext>
            </c:extLst>
          </c:dPt>
          <c:dPt>
            <c:idx val="2"/>
            <c:invertIfNegative val="0"/>
            <c:bubble3D val="0"/>
            <c:extLst>
              <c:ext xmlns:c16="http://schemas.microsoft.com/office/drawing/2014/chart" uri="{C3380CC4-5D6E-409C-BE32-E72D297353CC}">
                <c16:uniqueId val="{00000003-3279-6D4C-A7A7-B9F09DF30956}"/>
              </c:ext>
            </c:extLst>
          </c:dPt>
          <c:dPt>
            <c:idx val="3"/>
            <c:invertIfNegative val="0"/>
            <c:bubble3D val="0"/>
            <c:extLst>
              <c:ext xmlns:c16="http://schemas.microsoft.com/office/drawing/2014/chart" uri="{C3380CC4-5D6E-409C-BE32-E72D297353CC}">
                <c16:uniqueId val="{00000004-3279-6D4C-A7A7-B9F09DF30956}"/>
              </c:ext>
            </c:extLst>
          </c:dPt>
          <c:dLbls>
            <c:spPr>
              <a:noFill/>
              <a:ln w="25380">
                <a:noFill/>
              </a:ln>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4:$E$4</c:f>
              <c:numCache>
                <c:formatCode>General</c:formatCode>
                <c:ptCount val="4"/>
                <c:pt idx="0">
                  <c:v>31</c:v>
                </c:pt>
                <c:pt idx="1">
                  <c:v>32</c:v>
                </c:pt>
                <c:pt idx="2">
                  <c:v>34</c:v>
                </c:pt>
                <c:pt idx="3">
                  <c:v>32</c:v>
                </c:pt>
              </c:numCache>
            </c:numRef>
          </c:val>
          <c:extLst>
            <c:ext xmlns:c16="http://schemas.microsoft.com/office/drawing/2014/chart" uri="{C3380CC4-5D6E-409C-BE32-E72D297353CC}">
              <c16:uniqueId val="{00000005-3279-6D4C-A7A7-B9F09DF30956}"/>
            </c:ext>
          </c:extLst>
        </c:ser>
        <c:dLbls>
          <c:showLegendKey val="0"/>
          <c:showVal val="0"/>
          <c:showCatName val="0"/>
          <c:showSerName val="0"/>
          <c:showPercent val="0"/>
          <c:showBubbleSize val="0"/>
        </c:dLbls>
        <c:gapWidth val="110"/>
        <c:overlap val="100"/>
        <c:axId val="542584344"/>
        <c:axId val="309145144"/>
      </c:barChart>
      <c:catAx>
        <c:axId val="542584344"/>
        <c:scaling>
          <c:orientation val="minMax"/>
        </c:scaling>
        <c:delete val="0"/>
        <c:axPos val="l"/>
        <c:numFmt formatCode="General" sourceLinked="1"/>
        <c:majorTickMark val="none"/>
        <c:minorTickMark val="none"/>
        <c:tickLblPos val="nextTo"/>
        <c:spPr>
          <a:ln w="9517">
            <a:noFill/>
          </a:ln>
        </c:spPr>
        <c:txPr>
          <a:bodyPr rot="0" vert="horz"/>
          <a:lstStyle/>
          <a:p>
            <a:pPr>
              <a:defRPr/>
            </a:pPr>
            <a:endParaRPr lang="en-US"/>
          </a:p>
        </c:txPr>
        <c:crossAx val="309145144"/>
        <c:crossesAt val="0"/>
        <c:auto val="1"/>
        <c:lblAlgn val="ctr"/>
        <c:lblOffset val="100"/>
        <c:tickLblSkip val="1"/>
        <c:tickMarkSkip val="1"/>
        <c:noMultiLvlLbl val="0"/>
      </c:catAx>
      <c:valAx>
        <c:axId val="309145144"/>
        <c:scaling>
          <c:orientation val="minMax"/>
          <c:max val="80"/>
          <c:min val="0"/>
        </c:scaling>
        <c:delete val="0"/>
        <c:axPos val="b"/>
        <c:numFmt formatCode="General" sourceLinked="1"/>
        <c:majorTickMark val="out"/>
        <c:minorTickMark val="none"/>
        <c:tickLblPos val="nextTo"/>
        <c:spPr>
          <a:ln w="12690">
            <a:solidFill>
              <a:schemeClr val="tx2">
                <a:lumMod val="60000"/>
                <a:lumOff val="40000"/>
              </a:schemeClr>
            </a:solidFill>
            <a:prstDash val="solid"/>
          </a:ln>
        </c:spPr>
        <c:txPr>
          <a:bodyPr rot="0" vert="horz"/>
          <a:lstStyle/>
          <a:p>
            <a:pPr>
              <a:defRPr/>
            </a:pPr>
            <a:endParaRPr lang="en-US"/>
          </a:p>
        </c:txPr>
        <c:crossAx val="542584344"/>
        <c:crosses val="autoZero"/>
        <c:crossBetween val="between"/>
        <c:majorUnit val="10"/>
        <c:minorUnit val="5"/>
      </c:valAx>
      <c:spPr>
        <a:noFill/>
        <a:ln w="25380">
          <a:noFill/>
        </a:ln>
      </c:spPr>
    </c:plotArea>
    <c:plotVisOnly val="1"/>
    <c:dispBlanksAs val="gap"/>
    <c:showDLblsOverMax val="0"/>
  </c:chart>
  <c:spPr>
    <a:noFill/>
    <a:ln>
      <a:noFill/>
    </a:ln>
  </c:spPr>
  <c:txPr>
    <a:bodyPr/>
    <a:lstStyle/>
    <a:p>
      <a:pPr>
        <a:defRPr sz="1400" b="0" i="0" u="none" strike="noStrike" baseline="0">
          <a:solidFill>
            <a:schemeClr val="tx1">
              <a:lumMod val="75000"/>
              <a:lumOff val="25000"/>
            </a:schemeClr>
          </a:solidFill>
          <a:latin typeface="Segoe UI" panose="020B0502040204020203" pitchFamily="34" charset="0"/>
          <a:ea typeface="Arial"/>
          <a:cs typeface="Segoe UI" panose="020B0502040204020203" pitchFamily="34"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41275">
              <a:solidFill>
                <a:schemeClr val="bg1"/>
              </a:solidFill>
            </a:ln>
            <a:effectLst>
              <a:outerShdw blurRad="50800" dist="38100" dir="2700000" algn="tl" rotWithShape="0">
                <a:prstClr val="black">
                  <a:alpha val="20000"/>
                </a:prstClr>
              </a:outerShdw>
            </a:effectLst>
          </c:spPr>
          <c:dPt>
            <c:idx val="0"/>
            <c:bubble3D val="0"/>
            <c:spPr>
              <a:solidFill>
                <a:srgbClr val="D6222B"/>
              </a:solidFill>
              <a:ln w="41275">
                <a:solidFill>
                  <a:schemeClr val="bg1"/>
                </a:solidFill>
              </a:ln>
              <a:effectLst>
                <a:outerShdw blurRad="50800" dist="38100" dir="2700000" algn="tl" rotWithShape="0">
                  <a:prstClr val="black">
                    <a:alpha val="20000"/>
                  </a:prstClr>
                </a:outerShdw>
              </a:effectLst>
            </c:spPr>
            <c:extLst>
              <c:ext xmlns:c16="http://schemas.microsoft.com/office/drawing/2014/chart" uri="{C3380CC4-5D6E-409C-BE32-E72D297353CC}">
                <c16:uniqueId val="{00000001-4DCF-9943-93A8-684A7F3414BD}"/>
              </c:ext>
            </c:extLst>
          </c:dPt>
          <c:dPt>
            <c:idx val="1"/>
            <c:bubble3D val="0"/>
            <c:spPr>
              <a:solidFill>
                <a:schemeClr val="bg1"/>
              </a:solidFill>
              <a:ln w="41275">
                <a:solidFill>
                  <a:schemeClr val="bg1"/>
                </a:solidFill>
              </a:ln>
              <a:effectLst>
                <a:outerShdw blurRad="50800" dist="38100" dir="2700000" algn="tl" rotWithShape="0">
                  <a:prstClr val="black">
                    <a:alpha val="20000"/>
                  </a:prstClr>
                </a:outerShdw>
              </a:effectLst>
            </c:spPr>
            <c:extLst>
              <c:ext xmlns:c16="http://schemas.microsoft.com/office/drawing/2014/chart" uri="{C3380CC4-5D6E-409C-BE32-E72D297353CC}">
                <c16:uniqueId val="{00000003-4DCF-9943-93A8-684A7F3414BD}"/>
              </c:ext>
            </c:extLst>
          </c:dPt>
          <c:dPt>
            <c:idx val="2"/>
            <c:bubble3D val="0"/>
            <c:spPr>
              <a:solidFill>
                <a:schemeClr val="accent3"/>
              </a:solidFill>
              <a:ln w="41275">
                <a:solidFill>
                  <a:schemeClr val="bg1"/>
                </a:solidFill>
              </a:ln>
              <a:effectLst>
                <a:outerShdw blurRad="50800" dist="38100" dir="2700000" algn="tl" rotWithShape="0">
                  <a:prstClr val="black">
                    <a:alpha val="20000"/>
                  </a:prstClr>
                </a:outerShdw>
              </a:effectLst>
            </c:spPr>
            <c:extLst>
              <c:ext xmlns:c16="http://schemas.microsoft.com/office/drawing/2014/chart" uri="{C3380CC4-5D6E-409C-BE32-E72D297353CC}">
                <c16:uniqueId val="{00000005-4DCF-9943-93A8-684A7F3414BD}"/>
              </c:ext>
            </c:extLst>
          </c:dPt>
          <c:dPt>
            <c:idx val="3"/>
            <c:bubble3D val="0"/>
            <c:spPr>
              <a:solidFill>
                <a:schemeClr val="accent4"/>
              </a:solidFill>
              <a:ln w="41275">
                <a:solidFill>
                  <a:schemeClr val="bg1"/>
                </a:solidFill>
              </a:ln>
              <a:effectLst>
                <a:outerShdw blurRad="50800" dist="38100" dir="2700000" algn="tl" rotWithShape="0">
                  <a:prstClr val="black">
                    <a:alpha val="20000"/>
                  </a:prstClr>
                </a:outerShdw>
              </a:effectLst>
            </c:spPr>
            <c:extLst>
              <c:ext xmlns:c16="http://schemas.microsoft.com/office/drawing/2014/chart" uri="{C3380CC4-5D6E-409C-BE32-E72D297353CC}">
                <c16:uniqueId val="{00000007-4DCF-9943-93A8-684A7F3414BD}"/>
              </c:ext>
            </c:extLst>
          </c:dPt>
          <c:cat>
            <c:strRef>
              <c:f>Sheet1!$A$2:$A$3</c:f>
              <c:strCache>
                <c:ptCount val="2"/>
                <c:pt idx="0">
                  <c:v>Lorem Ipsum 01</c:v>
                </c:pt>
                <c:pt idx="1">
                  <c:v>Lorem Ipsum 02</c:v>
                </c:pt>
              </c:strCache>
            </c:strRef>
          </c:cat>
          <c:val>
            <c:numRef>
              <c:f>Sheet1!$B$2:$B$3</c:f>
              <c:numCache>
                <c:formatCode>0%</c:formatCode>
                <c:ptCount val="2"/>
                <c:pt idx="0">
                  <c:v>0.65</c:v>
                </c:pt>
                <c:pt idx="1">
                  <c:v>0.35</c:v>
                </c:pt>
              </c:numCache>
            </c:numRef>
          </c:val>
          <c:extLst>
            <c:ext xmlns:c16="http://schemas.microsoft.com/office/drawing/2014/chart" uri="{C3380CC4-5D6E-409C-BE32-E72D297353CC}">
              <c16:uniqueId val="{00000008-4DCF-9943-93A8-684A7F3414B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41275">
              <a:solidFill>
                <a:schemeClr val="bg1"/>
              </a:solidFill>
            </a:ln>
            <a:effectLst>
              <a:outerShdw blurRad="50800" dist="38100" dir="2700000" algn="tl" rotWithShape="0">
                <a:prstClr val="black">
                  <a:alpha val="20000"/>
                </a:prstClr>
              </a:outerShdw>
            </a:effectLst>
          </c:spPr>
          <c:dPt>
            <c:idx val="0"/>
            <c:bubble3D val="0"/>
            <c:spPr>
              <a:solidFill>
                <a:srgbClr val="404040"/>
              </a:solidFill>
              <a:ln w="41275">
                <a:solidFill>
                  <a:schemeClr val="bg1"/>
                </a:solidFill>
              </a:ln>
              <a:effectLst>
                <a:outerShdw blurRad="50800" dist="38100" dir="2700000" algn="tl" rotWithShape="0">
                  <a:prstClr val="black">
                    <a:alpha val="20000"/>
                  </a:prstClr>
                </a:outerShdw>
              </a:effectLst>
            </c:spPr>
            <c:extLst>
              <c:ext xmlns:c16="http://schemas.microsoft.com/office/drawing/2014/chart" uri="{C3380CC4-5D6E-409C-BE32-E72D297353CC}">
                <c16:uniqueId val="{00000001-2905-144D-A3EA-2A9218EFD3C8}"/>
              </c:ext>
            </c:extLst>
          </c:dPt>
          <c:dPt>
            <c:idx val="1"/>
            <c:bubble3D val="0"/>
            <c:spPr>
              <a:solidFill>
                <a:schemeClr val="bg1"/>
              </a:solidFill>
              <a:ln w="41275">
                <a:solidFill>
                  <a:schemeClr val="bg1"/>
                </a:solidFill>
              </a:ln>
              <a:effectLst>
                <a:outerShdw blurRad="50800" dist="38100" dir="2700000" algn="tl" rotWithShape="0">
                  <a:prstClr val="black">
                    <a:alpha val="20000"/>
                  </a:prstClr>
                </a:outerShdw>
              </a:effectLst>
            </c:spPr>
            <c:extLst>
              <c:ext xmlns:c16="http://schemas.microsoft.com/office/drawing/2014/chart" uri="{C3380CC4-5D6E-409C-BE32-E72D297353CC}">
                <c16:uniqueId val="{00000003-2905-144D-A3EA-2A9218EFD3C8}"/>
              </c:ext>
            </c:extLst>
          </c:dPt>
          <c:dPt>
            <c:idx val="2"/>
            <c:bubble3D val="0"/>
            <c:spPr>
              <a:solidFill>
                <a:schemeClr val="accent3"/>
              </a:solidFill>
              <a:ln w="41275">
                <a:solidFill>
                  <a:schemeClr val="bg1"/>
                </a:solidFill>
              </a:ln>
              <a:effectLst>
                <a:outerShdw blurRad="50800" dist="38100" dir="2700000" algn="tl" rotWithShape="0">
                  <a:prstClr val="black">
                    <a:alpha val="20000"/>
                  </a:prstClr>
                </a:outerShdw>
              </a:effectLst>
            </c:spPr>
            <c:extLst>
              <c:ext xmlns:c16="http://schemas.microsoft.com/office/drawing/2014/chart" uri="{C3380CC4-5D6E-409C-BE32-E72D297353CC}">
                <c16:uniqueId val="{00000005-2905-144D-A3EA-2A9218EFD3C8}"/>
              </c:ext>
            </c:extLst>
          </c:dPt>
          <c:dPt>
            <c:idx val="3"/>
            <c:bubble3D val="0"/>
            <c:spPr>
              <a:solidFill>
                <a:schemeClr val="accent4"/>
              </a:solidFill>
              <a:ln w="41275">
                <a:solidFill>
                  <a:schemeClr val="bg1"/>
                </a:solidFill>
              </a:ln>
              <a:effectLst>
                <a:outerShdw blurRad="50800" dist="38100" dir="2700000" algn="tl" rotWithShape="0">
                  <a:prstClr val="black">
                    <a:alpha val="20000"/>
                  </a:prstClr>
                </a:outerShdw>
              </a:effectLst>
            </c:spPr>
            <c:extLst>
              <c:ext xmlns:c16="http://schemas.microsoft.com/office/drawing/2014/chart" uri="{C3380CC4-5D6E-409C-BE32-E72D297353CC}">
                <c16:uniqueId val="{00000007-2905-144D-A3EA-2A9218EFD3C8}"/>
              </c:ext>
            </c:extLst>
          </c:dPt>
          <c:cat>
            <c:strRef>
              <c:f>Sheet1!$A$2:$A$3</c:f>
              <c:strCache>
                <c:ptCount val="2"/>
                <c:pt idx="0">
                  <c:v>Lorem Ipsum 01</c:v>
                </c:pt>
                <c:pt idx="1">
                  <c:v>Lorem Ipsum 02</c:v>
                </c:pt>
              </c:strCache>
            </c:strRef>
          </c:cat>
          <c:val>
            <c:numRef>
              <c:f>Sheet1!$B$2:$B$3</c:f>
              <c:numCache>
                <c:formatCode>0%</c:formatCode>
                <c:ptCount val="2"/>
                <c:pt idx="0">
                  <c:v>0.45</c:v>
                </c:pt>
                <c:pt idx="1">
                  <c:v>0.55000000000000004</c:v>
                </c:pt>
              </c:numCache>
            </c:numRef>
          </c:val>
          <c:extLst>
            <c:ext xmlns:c16="http://schemas.microsoft.com/office/drawing/2014/chart" uri="{C3380CC4-5D6E-409C-BE32-E72D297353CC}">
              <c16:uniqueId val="{00000008-2905-144D-A3EA-2A9218EFD3C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41275">
              <a:solidFill>
                <a:schemeClr val="bg1"/>
              </a:solidFill>
            </a:ln>
            <a:effectLst>
              <a:outerShdw blurRad="50800" dist="38100" dir="2700000" algn="tl" rotWithShape="0">
                <a:prstClr val="black">
                  <a:alpha val="20000"/>
                </a:prstClr>
              </a:outerShdw>
            </a:effectLst>
          </c:spPr>
          <c:dPt>
            <c:idx val="0"/>
            <c:bubble3D val="0"/>
            <c:spPr>
              <a:solidFill>
                <a:srgbClr val="7F7F7F"/>
              </a:solidFill>
              <a:ln w="41275">
                <a:solidFill>
                  <a:schemeClr val="bg1"/>
                </a:solidFill>
              </a:ln>
              <a:effectLst>
                <a:outerShdw blurRad="50800" dist="38100" dir="2700000" algn="tl" rotWithShape="0">
                  <a:prstClr val="black">
                    <a:alpha val="20000"/>
                  </a:prstClr>
                </a:outerShdw>
              </a:effectLst>
            </c:spPr>
            <c:extLst>
              <c:ext xmlns:c16="http://schemas.microsoft.com/office/drawing/2014/chart" uri="{C3380CC4-5D6E-409C-BE32-E72D297353CC}">
                <c16:uniqueId val="{00000001-B6B6-4447-B6F4-52DCBC671A1B}"/>
              </c:ext>
            </c:extLst>
          </c:dPt>
          <c:dPt>
            <c:idx val="1"/>
            <c:bubble3D val="0"/>
            <c:spPr>
              <a:solidFill>
                <a:schemeClr val="bg1"/>
              </a:solidFill>
              <a:ln w="41275">
                <a:solidFill>
                  <a:schemeClr val="bg1"/>
                </a:solidFill>
              </a:ln>
              <a:effectLst>
                <a:outerShdw blurRad="50800" dist="38100" dir="2700000" algn="tl" rotWithShape="0">
                  <a:prstClr val="black">
                    <a:alpha val="20000"/>
                  </a:prstClr>
                </a:outerShdw>
              </a:effectLst>
            </c:spPr>
            <c:extLst>
              <c:ext xmlns:c16="http://schemas.microsoft.com/office/drawing/2014/chart" uri="{C3380CC4-5D6E-409C-BE32-E72D297353CC}">
                <c16:uniqueId val="{00000003-B6B6-4447-B6F4-52DCBC671A1B}"/>
              </c:ext>
            </c:extLst>
          </c:dPt>
          <c:dPt>
            <c:idx val="2"/>
            <c:bubble3D val="0"/>
            <c:spPr>
              <a:solidFill>
                <a:schemeClr val="accent3"/>
              </a:solidFill>
              <a:ln w="41275">
                <a:solidFill>
                  <a:schemeClr val="bg1"/>
                </a:solidFill>
              </a:ln>
              <a:effectLst>
                <a:outerShdw blurRad="50800" dist="38100" dir="2700000" algn="tl" rotWithShape="0">
                  <a:prstClr val="black">
                    <a:alpha val="20000"/>
                  </a:prstClr>
                </a:outerShdw>
              </a:effectLst>
            </c:spPr>
            <c:extLst>
              <c:ext xmlns:c16="http://schemas.microsoft.com/office/drawing/2014/chart" uri="{C3380CC4-5D6E-409C-BE32-E72D297353CC}">
                <c16:uniqueId val="{00000005-B6B6-4447-B6F4-52DCBC671A1B}"/>
              </c:ext>
            </c:extLst>
          </c:dPt>
          <c:dPt>
            <c:idx val="3"/>
            <c:bubble3D val="0"/>
            <c:spPr>
              <a:solidFill>
                <a:schemeClr val="accent4"/>
              </a:solidFill>
              <a:ln w="41275">
                <a:solidFill>
                  <a:schemeClr val="bg1"/>
                </a:solidFill>
              </a:ln>
              <a:effectLst>
                <a:outerShdw blurRad="50800" dist="38100" dir="2700000" algn="tl" rotWithShape="0">
                  <a:prstClr val="black">
                    <a:alpha val="20000"/>
                  </a:prstClr>
                </a:outerShdw>
              </a:effectLst>
            </c:spPr>
            <c:extLst>
              <c:ext xmlns:c16="http://schemas.microsoft.com/office/drawing/2014/chart" uri="{C3380CC4-5D6E-409C-BE32-E72D297353CC}">
                <c16:uniqueId val="{00000007-B6B6-4447-B6F4-52DCBC671A1B}"/>
              </c:ext>
            </c:extLst>
          </c:dPt>
          <c:cat>
            <c:strRef>
              <c:f>Sheet1!$A$2:$A$3</c:f>
              <c:strCache>
                <c:ptCount val="2"/>
                <c:pt idx="0">
                  <c:v>Lorem Ipsum 01</c:v>
                </c:pt>
                <c:pt idx="1">
                  <c:v>Lorem Ipsum 02</c:v>
                </c:pt>
              </c:strCache>
            </c:strRef>
          </c:cat>
          <c:val>
            <c:numRef>
              <c:f>Sheet1!$B$2:$B$3</c:f>
              <c:numCache>
                <c:formatCode>0%</c:formatCode>
                <c:ptCount val="2"/>
                <c:pt idx="0">
                  <c:v>0.9</c:v>
                </c:pt>
                <c:pt idx="1">
                  <c:v>0.1</c:v>
                </c:pt>
              </c:numCache>
            </c:numRef>
          </c:val>
          <c:extLst>
            <c:ext xmlns:c16="http://schemas.microsoft.com/office/drawing/2014/chart" uri="{C3380CC4-5D6E-409C-BE32-E72D297353CC}">
              <c16:uniqueId val="{00000008-B6B6-4447-B6F4-52DCBC671A1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cked"/>
        <c:varyColors val="0"/>
        <c:ser>
          <c:idx val="0"/>
          <c:order val="0"/>
          <c:tx>
            <c:strRef>
              <c:f>Sheet1!$B$1</c:f>
              <c:strCache>
                <c:ptCount val="1"/>
                <c:pt idx="0">
                  <c:v>Series 1</c:v>
                </c:pt>
              </c:strCache>
            </c:strRef>
          </c:tx>
          <c:spPr>
            <a:ln w="6350" cap="rnd">
              <a:solidFill>
                <a:schemeClr val="tx1">
                  <a:lumMod val="75000"/>
                  <a:lumOff val="25000"/>
                </a:schemeClr>
              </a:solidFill>
              <a:round/>
            </a:ln>
            <a:effectLst/>
          </c:spPr>
          <c:marker>
            <c:symbol val="circle"/>
            <c:size val="5"/>
            <c:spPr>
              <a:solidFill>
                <a:schemeClr val="tx1">
                  <a:lumMod val="75000"/>
                  <a:lumOff val="25000"/>
                </a:schemeClr>
              </a:solidFill>
              <a:ln w="6350">
                <a:noFill/>
              </a:ln>
              <a:effectLst/>
            </c:spPr>
          </c:marker>
          <c:cat>
            <c:numRef>
              <c:f>Sheet1!$A$2:$A$7</c:f>
              <c:numCache>
                <c:formatCode>m/d/yyyy</c:formatCode>
                <c:ptCount val="6"/>
                <c:pt idx="0">
                  <c:v>43105</c:v>
                </c:pt>
                <c:pt idx="1">
                  <c:v>43106</c:v>
                </c:pt>
                <c:pt idx="2">
                  <c:v>43107</c:v>
                </c:pt>
                <c:pt idx="3">
                  <c:v>43108</c:v>
                </c:pt>
                <c:pt idx="4">
                  <c:v>43109</c:v>
                </c:pt>
                <c:pt idx="5">
                  <c:v>43110</c:v>
                </c:pt>
              </c:numCache>
            </c:numRef>
          </c:cat>
          <c:val>
            <c:numRef>
              <c:f>Sheet1!$B$2:$B$7</c:f>
              <c:numCache>
                <c:formatCode>General</c:formatCode>
                <c:ptCount val="6"/>
                <c:pt idx="0">
                  <c:v>40</c:v>
                </c:pt>
                <c:pt idx="1">
                  <c:v>30</c:v>
                </c:pt>
                <c:pt idx="2">
                  <c:v>25</c:v>
                </c:pt>
                <c:pt idx="3">
                  <c:v>15</c:v>
                </c:pt>
                <c:pt idx="4">
                  <c:v>20</c:v>
                </c:pt>
                <c:pt idx="5">
                  <c:v>30</c:v>
                </c:pt>
              </c:numCache>
            </c:numRef>
          </c:val>
          <c:smooth val="1"/>
          <c:extLst>
            <c:ext xmlns:c16="http://schemas.microsoft.com/office/drawing/2014/chart" uri="{C3380CC4-5D6E-409C-BE32-E72D297353CC}">
              <c16:uniqueId val="{00000000-D1FC-064D-B5D1-7556CE0662DF}"/>
            </c:ext>
          </c:extLst>
        </c:ser>
        <c:ser>
          <c:idx val="1"/>
          <c:order val="1"/>
          <c:tx>
            <c:strRef>
              <c:f>Sheet1!$C$1</c:f>
              <c:strCache>
                <c:ptCount val="1"/>
                <c:pt idx="0">
                  <c:v>Series 2</c:v>
                </c:pt>
              </c:strCache>
            </c:strRef>
          </c:tx>
          <c:spPr>
            <a:ln w="6350" cap="rnd">
              <a:solidFill>
                <a:srgbClr val="CE295E"/>
              </a:solidFill>
              <a:round/>
            </a:ln>
            <a:effectLst/>
          </c:spPr>
          <c:marker>
            <c:symbol val="circle"/>
            <c:size val="5"/>
            <c:spPr>
              <a:solidFill>
                <a:srgbClr val="C00000"/>
              </a:solidFill>
              <a:ln w="6350">
                <a:noFill/>
              </a:ln>
              <a:effectLst/>
            </c:spPr>
          </c:marker>
          <c:cat>
            <c:numRef>
              <c:f>Sheet1!$A$2:$A$7</c:f>
              <c:numCache>
                <c:formatCode>m/d/yyyy</c:formatCode>
                <c:ptCount val="6"/>
                <c:pt idx="0">
                  <c:v>43105</c:v>
                </c:pt>
                <c:pt idx="1">
                  <c:v>43106</c:v>
                </c:pt>
                <c:pt idx="2">
                  <c:v>43107</c:v>
                </c:pt>
                <c:pt idx="3">
                  <c:v>43108</c:v>
                </c:pt>
                <c:pt idx="4">
                  <c:v>43109</c:v>
                </c:pt>
                <c:pt idx="5">
                  <c:v>43110</c:v>
                </c:pt>
              </c:numCache>
            </c:numRef>
          </c:cat>
          <c:val>
            <c:numRef>
              <c:f>Sheet1!$C$2:$C$7</c:f>
              <c:numCache>
                <c:formatCode>General</c:formatCode>
                <c:ptCount val="6"/>
                <c:pt idx="0">
                  <c:v>30</c:v>
                </c:pt>
                <c:pt idx="1">
                  <c:v>50</c:v>
                </c:pt>
                <c:pt idx="2">
                  <c:v>30</c:v>
                </c:pt>
                <c:pt idx="3">
                  <c:v>10</c:v>
                </c:pt>
                <c:pt idx="4">
                  <c:v>5</c:v>
                </c:pt>
                <c:pt idx="5">
                  <c:v>15</c:v>
                </c:pt>
              </c:numCache>
            </c:numRef>
          </c:val>
          <c:smooth val="1"/>
          <c:extLst>
            <c:ext xmlns:c16="http://schemas.microsoft.com/office/drawing/2014/chart" uri="{C3380CC4-5D6E-409C-BE32-E72D297353CC}">
              <c16:uniqueId val="{00000001-D1FC-064D-B5D1-7556CE0662DF}"/>
            </c:ext>
          </c:extLst>
        </c:ser>
        <c:dLbls>
          <c:showLegendKey val="0"/>
          <c:showVal val="0"/>
          <c:showCatName val="0"/>
          <c:showSerName val="0"/>
          <c:showPercent val="0"/>
          <c:showBubbleSize val="0"/>
        </c:dLbls>
        <c:marker val="1"/>
        <c:smooth val="0"/>
        <c:axId val="799105304"/>
        <c:axId val="799112752"/>
      </c:lineChart>
      <c:dateAx>
        <c:axId val="799105304"/>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en-US"/>
          </a:p>
        </c:txPr>
        <c:crossAx val="799112752"/>
        <c:crosses val="autoZero"/>
        <c:auto val="1"/>
        <c:lblOffset val="100"/>
        <c:baseTimeUnit val="days"/>
      </c:dateAx>
      <c:valAx>
        <c:axId val="7991127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en-US"/>
          </a:p>
        </c:txPr>
        <c:crossAx val="799105304"/>
        <c:crosses val="autoZero"/>
        <c:crossBetween val="between"/>
      </c:valAx>
      <c:spPr>
        <a:noFill/>
        <a:ln>
          <a:noFill/>
        </a:ln>
        <a:effectLst/>
      </c:spPr>
    </c:plotArea>
    <c:plotVisOnly val="1"/>
    <c:dispBlanksAs val="zero"/>
    <c:showDLblsOverMax val="0"/>
  </c:chart>
  <c:spPr>
    <a:noFill/>
    <a:ln>
      <a:noFill/>
    </a:ln>
    <a:effectLst/>
  </c:spPr>
  <c:txPr>
    <a:bodyPr/>
    <a:lstStyle/>
    <a:p>
      <a:pPr>
        <a:defRPr sz="1200">
          <a:latin typeface="Segoe UI" panose="020B0502040204020203" pitchFamily="34" charset="0"/>
          <a:cs typeface="Segoe UI" panose="020B0502040204020203" pitchFamily="34" charset="0"/>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B$1</c:f>
              <c:strCache>
                <c:ptCount val="1"/>
                <c:pt idx="0">
                  <c:v>Series 1</c:v>
                </c:pt>
              </c:strCache>
            </c:strRef>
          </c:tx>
          <c:spPr>
            <a:solidFill>
              <a:srgbClr val="7F7F7F">
                <a:alpha val="80000"/>
              </a:srgbClr>
            </a:solidFill>
            <a:ln cap="rnd">
              <a:noFill/>
              <a:round/>
            </a:ln>
            <a:effectLst/>
          </c:spPr>
          <c:dPt>
            <c:idx val="0"/>
            <c:bubble3D val="0"/>
            <c:spPr>
              <a:solidFill>
                <a:srgbClr val="7F7F7F">
                  <a:alpha val="80000"/>
                </a:srgbClr>
              </a:solidFill>
              <a:ln cap="rnd">
                <a:noFill/>
                <a:round/>
              </a:ln>
              <a:effectLst/>
            </c:spPr>
            <c:extLst>
              <c:ext xmlns:c16="http://schemas.microsoft.com/office/drawing/2014/chart" uri="{C3380CC4-5D6E-409C-BE32-E72D297353CC}">
                <c16:uniqueId val="{00000001-389B-9D49-A2AE-55F571995208}"/>
              </c:ext>
            </c:extLst>
          </c:dPt>
          <c:dPt>
            <c:idx val="1"/>
            <c:bubble3D val="0"/>
            <c:extLst>
              <c:ext xmlns:c16="http://schemas.microsoft.com/office/drawing/2014/chart" uri="{C3380CC4-5D6E-409C-BE32-E72D297353CC}">
                <c16:uniqueId val="{00000002-389B-9D49-A2AE-55F571995208}"/>
              </c:ext>
            </c:extLst>
          </c:dPt>
          <c:dPt>
            <c:idx val="2"/>
            <c:bubble3D val="0"/>
            <c:extLst>
              <c:ext xmlns:c16="http://schemas.microsoft.com/office/drawing/2014/chart" uri="{C3380CC4-5D6E-409C-BE32-E72D297353CC}">
                <c16:uniqueId val="{00000003-389B-9D49-A2AE-55F571995208}"/>
              </c:ext>
            </c:extLst>
          </c:dPt>
          <c:dPt>
            <c:idx val="3"/>
            <c:bubble3D val="0"/>
            <c:extLst>
              <c:ext xmlns:c16="http://schemas.microsoft.com/office/drawing/2014/chart" uri="{C3380CC4-5D6E-409C-BE32-E72D297353CC}">
                <c16:uniqueId val="{00000004-389B-9D49-A2AE-55F571995208}"/>
              </c:ext>
            </c:extLst>
          </c:dPt>
          <c:dPt>
            <c:idx val="4"/>
            <c:bubble3D val="0"/>
            <c:extLst>
              <c:ext xmlns:c16="http://schemas.microsoft.com/office/drawing/2014/chart" uri="{C3380CC4-5D6E-409C-BE32-E72D297353CC}">
                <c16:uniqueId val="{00000005-389B-9D49-A2AE-55F571995208}"/>
              </c:ext>
            </c:extLst>
          </c:dPt>
          <c:dPt>
            <c:idx val="5"/>
            <c:bubble3D val="0"/>
            <c:extLst>
              <c:ext xmlns:c16="http://schemas.microsoft.com/office/drawing/2014/chart" uri="{C3380CC4-5D6E-409C-BE32-E72D297353CC}">
                <c16:uniqueId val="{00000006-389B-9D49-A2AE-55F571995208}"/>
              </c:ext>
            </c:extLst>
          </c:dPt>
          <c:dPt>
            <c:idx val="6"/>
            <c:bubble3D val="0"/>
            <c:extLst>
              <c:ext xmlns:c16="http://schemas.microsoft.com/office/drawing/2014/chart" uri="{C3380CC4-5D6E-409C-BE32-E72D297353CC}">
                <c16:uniqueId val="{00000007-389B-9D49-A2AE-55F571995208}"/>
              </c:ext>
            </c:extLst>
          </c:dPt>
          <c:dPt>
            <c:idx val="7"/>
            <c:bubble3D val="0"/>
            <c:extLst>
              <c:ext xmlns:c16="http://schemas.microsoft.com/office/drawing/2014/chart" uri="{C3380CC4-5D6E-409C-BE32-E72D297353CC}">
                <c16:uniqueId val="{00000008-389B-9D49-A2AE-55F571995208}"/>
              </c:ext>
            </c:extLst>
          </c:dPt>
          <c:dPt>
            <c:idx val="8"/>
            <c:bubble3D val="0"/>
            <c:extLst>
              <c:ext xmlns:c16="http://schemas.microsoft.com/office/drawing/2014/chart" uri="{C3380CC4-5D6E-409C-BE32-E72D297353CC}">
                <c16:uniqueId val="{00000009-389B-9D49-A2AE-55F571995208}"/>
              </c:ext>
            </c:extLst>
          </c:dPt>
          <c:cat>
            <c:numRef>
              <c:f>Sheet1!$A$2:$A$10</c:f>
              <c:numCache>
                <c:formatCode>h:mm\ AM/PM</c:formatCode>
                <c:ptCount val="9"/>
                <c:pt idx="0">
                  <c:v>0.375</c:v>
                </c:pt>
                <c:pt idx="1">
                  <c:v>0.41666666666666669</c:v>
                </c:pt>
                <c:pt idx="2">
                  <c:v>0.45833333333333331</c:v>
                </c:pt>
                <c:pt idx="3">
                  <c:v>0</c:v>
                </c:pt>
                <c:pt idx="4">
                  <c:v>0.54166666666666663</c:v>
                </c:pt>
                <c:pt idx="5">
                  <c:v>0.58333333333333337</c:v>
                </c:pt>
                <c:pt idx="6">
                  <c:v>0.625</c:v>
                </c:pt>
                <c:pt idx="7">
                  <c:v>0.66666666666666663</c:v>
                </c:pt>
                <c:pt idx="8">
                  <c:v>0.70833333333333337</c:v>
                </c:pt>
              </c:numCache>
            </c:numRef>
          </c:cat>
          <c:val>
            <c:numRef>
              <c:f>Sheet1!$B$2:$B$10</c:f>
              <c:numCache>
                <c:formatCode>General</c:formatCode>
                <c:ptCount val="9"/>
                <c:pt idx="0">
                  <c:v>20</c:v>
                </c:pt>
                <c:pt idx="1">
                  <c:v>30</c:v>
                </c:pt>
                <c:pt idx="2">
                  <c:v>40</c:v>
                </c:pt>
                <c:pt idx="3">
                  <c:v>15</c:v>
                </c:pt>
                <c:pt idx="4">
                  <c:v>20</c:v>
                </c:pt>
                <c:pt idx="5">
                  <c:v>40</c:v>
                </c:pt>
                <c:pt idx="6">
                  <c:v>50</c:v>
                </c:pt>
                <c:pt idx="7">
                  <c:v>45</c:v>
                </c:pt>
                <c:pt idx="8">
                  <c:v>30</c:v>
                </c:pt>
              </c:numCache>
            </c:numRef>
          </c:val>
          <c:extLst>
            <c:ext xmlns:c16="http://schemas.microsoft.com/office/drawing/2014/chart" uri="{C3380CC4-5D6E-409C-BE32-E72D297353CC}">
              <c16:uniqueId val="{0000000A-389B-9D49-A2AE-55F571995208}"/>
            </c:ext>
          </c:extLst>
        </c:ser>
        <c:ser>
          <c:idx val="1"/>
          <c:order val="1"/>
          <c:tx>
            <c:strRef>
              <c:f>Sheet1!$C$1</c:f>
              <c:strCache>
                <c:ptCount val="1"/>
                <c:pt idx="0">
                  <c:v>Series 2</c:v>
                </c:pt>
              </c:strCache>
            </c:strRef>
          </c:tx>
          <c:spPr>
            <a:solidFill>
              <a:srgbClr val="404040">
                <a:alpha val="80000"/>
              </a:srgbClr>
            </a:solidFill>
            <a:ln w="25400">
              <a:noFill/>
            </a:ln>
            <a:effectLst/>
          </c:spPr>
          <c:cat>
            <c:numRef>
              <c:f>Sheet1!$A$2:$A$10</c:f>
              <c:numCache>
                <c:formatCode>h:mm\ AM/PM</c:formatCode>
                <c:ptCount val="9"/>
                <c:pt idx="0">
                  <c:v>0.375</c:v>
                </c:pt>
                <c:pt idx="1">
                  <c:v>0.41666666666666669</c:v>
                </c:pt>
                <c:pt idx="2">
                  <c:v>0.45833333333333331</c:v>
                </c:pt>
                <c:pt idx="3">
                  <c:v>0</c:v>
                </c:pt>
                <c:pt idx="4">
                  <c:v>0.54166666666666663</c:v>
                </c:pt>
                <c:pt idx="5">
                  <c:v>0.58333333333333337</c:v>
                </c:pt>
                <c:pt idx="6">
                  <c:v>0.625</c:v>
                </c:pt>
                <c:pt idx="7">
                  <c:v>0.66666666666666663</c:v>
                </c:pt>
                <c:pt idx="8">
                  <c:v>0.70833333333333337</c:v>
                </c:pt>
              </c:numCache>
            </c:numRef>
          </c:cat>
          <c:val>
            <c:numRef>
              <c:f>Sheet1!$C$2:$C$10</c:f>
              <c:numCache>
                <c:formatCode>General</c:formatCode>
                <c:ptCount val="9"/>
                <c:pt idx="0">
                  <c:v>10</c:v>
                </c:pt>
                <c:pt idx="1">
                  <c:v>30</c:v>
                </c:pt>
                <c:pt idx="2">
                  <c:v>15</c:v>
                </c:pt>
                <c:pt idx="3">
                  <c:v>40</c:v>
                </c:pt>
                <c:pt idx="4">
                  <c:v>20</c:v>
                </c:pt>
                <c:pt idx="5">
                  <c:v>35</c:v>
                </c:pt>
                <c:pt idx="6">
                  <c:v>60</c:v>
                </c:pt>
                <c:pt idx="7">
                  <c:v>10</c:v>
                </c:pt>
                <c:pt idx="8">
                  <c:v>40</c:v>
                </c:pt>
              </c:numCache>
            </c:numRef>
          </c:val>
          <c:extLst>
            <c:ext xmlns:c16="http://schemas.microsoft.com/office/drawing/2014/chart" uri="{C3380CC4-5D6E-409C-BE32-E72D297353CC}">
              <c16:uniqueId val="{0000000B-389B-9D49-A2AE-55F571995208}"/>
            </c:ext>
          </c:extLst>
        </c:ser>
        <c:ser>
          <c:idx val="2"/>
          <c:order val="2"/>
          <c:tx>
            <c:strRef>
              <c:f>Sheet1!$D$1</c:f>
              <c:strCache>
                <c:ptCount val="1"/>
                <c:pt idx="0">
                  <c:v>Series 3</c:v>
                </c:pt>
              </c:strCache>
            </c:strRef>
          </c:tx>
          <c:spPr>
            <a:solidFill>
              <a:srgbClr val="D6222B">
                <a:alpha val="73663"/>
              </a:srgbClr>
            </a:solidFill>
            <a:ln>
              <a:noFill/>
            </a:ln>
            <a:effectLst/>
          </c:spPr>
          <c:cat>
            <c:numRef>
              <c:f>Sheet1!$A$2:$A$10</c:f>
              <c:numCache>
                <c:formatCode>h:mm\ AM/PM</c:formatCode>
                <c:ptCount val="9"/>
                <c:pt idx="0">
                  <c:v>0.375</c:v>
                </c:pt>
                <c:pt idx="1">
                  <c:v>0.41666666666666669</c:v>
                </c:pt>
                <c:pt idx="2">
                  <c:v>0.45833333333333331</c:v>
                </c:pt>
                <c:pt idx="3">
                  <c:v>0</c:v>
                </c:pt>
                <c:pt idx="4">
                  <c:v>0.54166666666666663</c:v>
                </c:pt>
                <c:pt idx="5">
                  <c:v>0.58333333333333337</c:v>
                </c:pt>
                <c:pt idx="6">
                  <c:v>0.625</c:v>
                </c:pt>
                <c:pt idx="7">
                  <c:v>0.66666666666666663</c:v>
                </c:pt>
                <c:pt idx="8">
                  <c:v>0.70833333333333337</c:v>
                </c:pt>
              </c:numCache>
            </c:numRef>
          </c:cat>
          <c:val>
            <c:numRef>
              <c:f>Sheet1!$D$2:$D$10</c:f>
              <c:numCache>
                <c:formatCode>General</c:formatCode>
                <c:ptCount val="9"/>
                <c:pt idx="0">
                  <c:v>15</c:v>
                </c:pt>
                <c:pt idx="1">
                  <c:v>20</c:v>
                </c:pt>
                <c:pt idx="2">
                  <c:v>25</c:v>
                </c:pt>
                <c:pt idx="3">
                  <c:v>20</c:v>
                </c:pt>
                <c:pt idx="4">
                  <c:v>5</c:v>
                </c:pt>
                <c:pt idx="5">
                  <c:v>25</c:v>
                </c:pt>
                <c:pt idx="6">
                  <c:v>30</c:v>
                </c:pt>
                <c:pt idx="7">
                  <c:v>30</c:v>
                </c:pt>
                <c:pt idx="8">
                  <c:v>45</c:v>
                </c:pt>
              </c:numCache>
            </c:numRef>
          </c:val>
          <c:extLst>
            <c:ext xmlns:c16="http://schemas.microsoft.com/office/drawing/2014/chart" uri="{C3380CC4-5D6E-409C-BE32-E72D297353CC}">
              <c16:uniqueId val="{0000000C-389B-9D49-A2AE-55F571995208}"/>
            </c:ext>
          </c:extLst>
        </c:ser>
        <c:dLbls>
          <c:showLegendKey val="0"/>
          <c:showVal val="0"/>
          <c:showCatName val="0"/>
          <c:showSerName val="0"/>
          <c:showPercent val="0"/>
          <c:showBubbleSize val="0"/>
        </c:dLbls>
        <c:axId val="799104128"/>
        <c:axId val="799104520"/>
      </c:areaChart>
      <c:catAx>
        <c:axId val="799104128"/>
        <c:scaling>
          <c:orientation val="minMax"/>
        </c:scaling>
        <c:delete val="0"/>
        <c:axPos val="b"/>
        <c:numFmt formatCode="h:mm\ AM/P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Poppins" pitchFamily="2" charset="77"/>
                <a:ea typeface="+mn-ea"/>
                <a:cs typeface="Poppins" pitchFamily="2" charset="77"/>
              </a:defRPr>
            </a:pPr>
            <a:endParaRPr lang="en-US"/>
          </a:p>
        </c:txPr>
        <c:crossAx val="799104520"/>
        <c:crosses val="autoZero"/>
        <c:auto val="1"/>
        <c:lblAlgn val="ctr"/>
        <c:lblOffset val="100"/>
        <c:noMultiLvlLbl val="0"/>
      </c:catAx>
      <c:valAx>
        <c:axId val="7991045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Poppins" pitchFamily="2" charset="77"/>
                <a:ea typeface="+mn-ea"/>
                <a:cs typeface="Poppins" pitchFamily="2" charset="77"/>
              </a:defRPr>
            </a:pPr>
            <a:endParaRPr lang="en-US"/>
          </a:p>
        </c:txPr>
        <c:crossAx val="799104128"/>
        <c:crosses val="autoZero"/>
        <c:crossBetween val="midCat"/>
      </c:valAx>
      <c:spPr>
        <a:noFill/>
        <a:ln cap="rnd">
          <a:noFill/>
        </a:ln>
        <a:effectLst>
          <a:softEdge rad="0"/>
        </a:effectLst>
      </c:spPr>
    </c:plotArea>
    <c:plotVisOnly val="1"/>
    <c:dispBlanksAs val="gap"/>
    <c:showDLblsOverMax val="0"/>
  </c:chart>
  <c:spPr>
    <a:noFill/>
    <a:ln>
      <a:noFill/>
    </a:ln>
    <a:effectLst/>
  </c:spPr>
  <c:txPr>
    <a:bodyPr/>
    <a:lstStyle/>
    <a:p>
      <a:pPr>
        <a:defRPr>
          <a:latin typeface="Poppins" pitchFamily="2" charset="77"/>
          <a:cs typeface="Poppins" pitchFamily="2" charset="77"/>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spPr>
            <a:scene3d>
              <a:camera prst="orthographicFront"/>
              <a:lightRig rig="threePt" dir="t"/>
            </a:scene3d>
            <a:sp3d>
              <a:bevelT w="508000" h="508000"/>
              <a:contourClr>
                <a:srgbClr val="000000"/>
              </a:contourClr>
            </a:sp3d>
          </c:spPr>
          <c:dPt>
            <c:idx val="0"/>
            <c:bubble3D val="0"/>
            <c:explosion val="29"/>
            <c:spPr>
              <a:solidFill>
                <a:srgbClr val="7F7F7F"/>
              </a:solidFill>
              <a:ln w="25400">
                <a:solidFill>
                  <a:schemeClr val="lt1"/>
                </a:solidFill>
              </a:ln>
              <a:effectLst/>
              <a:scene3d>
                <a:camera prst="orthographicFront"/>
                <a:lightRig rig="threePt" dir="t"/>
              </a:scene3d>
              <a:sp3d contourW="25400">
                <a:bevelT w="508000" h="508000"/>
                <a:contourClr>
                  <a:schemeClr val="lt1"/>
                </a:contourClr>
              </a:sp3d>
            </c:spPr>
            <c:extLst>
              <c:ext xmlns:c16="http://schemas.microsoft.com/office/drawing/2014/chart" uri="{C3380CC4-5D6E-409C-BE32-E72D297353CC}">
                <c16:uniqueId val="{00000001-4973-0346-BBE4-B7F4AA787275}"/>
              </c:ext>
            </c:extLst>
          </c:dPt>
          <c:dPt>
            <c:idx val="1"/>
            <c:bubble3D val="0"/>
            <c:explosion val="14"/>
            <c:spPr>
              <a:solidFill>
                <a:srgbClr val="404040"/>
              </a:solidFill>
              <a:ln w="25400">
                <a:solidFill>
                  <a:schemeClr val="lt1"/>
                </a:solidFill>
              </a:ln>
              <a:effectLst/>
              <a:scene3d>
                <a:camera prst="orthographicFront"/>
                <a:lightRig rig="threePt" dir="t"/>
              </a:scene3d>
              <a:sp3d contourW="25400">
                <a:bevelT w="508000" h="508000"/>
                <a:contourClr>
                  <a:schemeClr val="lt1"/>
                </a:contourClr>
              </a:sp3d>
            </c:spPr>
            <c:extLst>
              <c:ext xmlns:c16="http://schemas.microsoft.com/office/drawing/2014/chart" uri="{C3380CC4-5D6E-409C-BE32-E72D297353CC}">
                <c16:uniqueId val="{00000003-4973-0346-BBE4-B7F4AA787275}"/>
              </c:ext>
            </c:extLst>
          </c:dPt>
          <c:dPt>
            <c:idx val="2"/>
            <c:bubble3D val="0"/>
            <c:explosion val="34"/>
            <c:spPr>
              <a:solidFill>
                <a:srgbClr val="D6222B"/>
              </a:solidFill>
              <a:ln w="25400">
                <a:solidFill>
                  <a:schemeClr val="lt1"/>
                </a:solidFill>
              </a:ln>
              <a:effectLst/>
              <a:scene3d>
                <a:camera prst="orthographicFront"/>
                <a:lightRig rig="threePt" dir="t"/>
              </a:scene3d>
              <a:sp3d contourW="25400">
                <a:bevelT w="508000" h="508000"/>
                <a:contourClr>
                  <a:schemeClr val="lt1"/>
                </a:contourClr>
              </a:sp3d>
            </c:spPr>
            <c:extLst>
              <c:ext xmlns:c16="http://schemas.microsoft.com/office/drawing/2014/chart" uri="{C3380CC4-5D6E-409C-BE32-E72D297353CC}">
                <c16:uniqueId val="{00000005-4973-0346-BBE4-B7F4AA787275}"/>
              </c:ext>
            </c:extLst>
          </c:dPt>
          <c:dPt>
            <c:idx val="3"/>
            <c:bubble3D val="0"/>
            <c:spPr>
              <a:solidFill>
                <a:srgbClr val="A6A6A6"/>
              </a:solidFill>
              <a:ln w="25400">
                <a:solidFill>
                  <a:schemeClr val="lt1"/>
                </a:solidFill>
              </a:ln>
              <a:effectLst/>
              <a:scene3d>
                <a:camera prst="orthographicFront"/>
                <a:lightRig rig="threePt" dir="t"/>
              </a:scene3d>
              <a:sp3d contourW="25400">
                <a:bevelT w="508000" h="508000"/>
                <a:contourClr>
                  <a:schemeClr val="lt1"/>
                </a:contourClr>
              </a:sp3d>
            </c:spPr>
            <c:extLst>
              <c:ext xmlns:c16="http://schemas.microsoft.com/office/drawing/2014/chart" uri="{C3380CC4-5D6E-409C-BE32-E72D297353CC}">
                <c16:uniqueId val="{00000007-4973-0346-BBE4-B7F4AA787275}"/>
              </c:ext>
            </c:extLst>
          </c:dPt>
          <c:cat>
            <c:strRef>
              <c:f>Sheet1!$A$2:$A$5</c:f>
              <c:strCache>
                <c:ptCount val="4"/>
                <c:pt idx="0">
                  <c:v>1st Qtr</c:v>
                </c:pt>
                <c:pt idx="1">
                  <c:v>2nd Qtr</c:v>
                </c:pt>
                <c:pt idx="2">
                  <c:v>3rd Qtr</c:v>
                </c:pt>
                <c:pt idx="3">
                  <c:v>4th Qtr</c:v>
                </c:pt>
              </c:strCache>
            </c:strRef>
          </c:cat>
          <c:val>
            <c:numRef>
              <c:f>Sheet1!$B$2:$B$5</c:f>
              <c:numCache>
                <c:formatCode>0%</c:formatCode>
                <c:ptCount val="4"/>
                <c:pt idx="0">
                  <c:v>0.45</c:v>
                </c:pt>
                <c:pt idx="1">
                  <c:v>0.25</c:v>
                </c:pt>
                <c:pt idx="2">
                  <c:v>0.2</c:v>
                </c:pt>
                <c:pt idx="3">
                  <c:v>0.1</c:v>
                </c:pt>
              </c:numCache>
            </c:numRef>
          </c:val>
          <c:extLst>
            <c:ext xmlns:c16="http://schemas.microsoft.com/office/drawing/2014/chart" uri="{C3380CC4-5D6E-409C-BE32-E72D297353CC}">
              <c16:uniqueId val="{00000008-4973-0346-BBE4-B7F4AA787275}"/>
            </c:ext>
          </c:extLst>
        </c:ser>
        <c:dLbls>
          <c:showLegendKey val="0"/>
          <c:showVal val="0"/>
          <c:showCatName val="0"/>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tx>
            <c:strRef>
              <c:f>Sheet1!$B$1</c:f>
              <c:strCache>
                <c:ptCount val="1"/>
                <c:pt idx="0">
                  <c:v>Series 1</c:v>
                </c:pt>
              </c:strCache>
            </c:strRef>
          </c:tx>
          <c:spPr>
            <a:ln w="12700" cap="rnd">
              <a:solidFill>
                <a:srgbClr val="CE295E"/>
              </a:solidFill>
              <a:round/>
            </a:ln>
            <a:effectLst/>
          </c:spPr>
          <c:marker>
            <c:symbol val="circle"/>
            <c:size val="5"/>
            <c:spPr>
              <a:solidFill>
                <a:srgbClr val="C00000"/>
              </a:solidFill>
              <a:ln w="9525">
                <a:noFill/>
              </a:ln>
              <a:effectLst/>
            </c:spPr>
          </c:marker>
          <c:cat>
            <c:numRef>
              <c:f>Sheet1!$A$2:$A$6</c:f>
              <c:numCache>
                <c:formatCode>m/d/yyyy</c:formatCode>
                <c:ptCount val="5"/>
                <c:pt idx="0">
                  <c:v>37261</c:v>
                </c:pt>
                <c:pt idx="1">
                  <c:v>37262</c:v>
                </c:pt>
                <c:pt idx="2">
                  <c:v>37263</c:v>
                </c:pt>
                <c:pt idx="3">
                  <c:v>37264</c:v>
                </c:pt>
                <c:pt idx="4">
                  <c:v>37265</c:v>
                </c:pt>
              </c:numCache>
            </c:numRef>
          </c:cat>
          <c:val>
            <c:numRef>
              <c:f>Sheet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406F-E544-ADEA-A91C6DB8C6B2}"/>
            </c:ext>
          </c:extLst>
        </c:ser>
        <c:ser>
          <c:idx val="1"/>
          <c:order val="1"/>
          <c:tx>
            <c:strRef>
              <c:f>Sheet1!$C$1</c:f>
              <c:strCache>
                <c:ptCount val="1"/>
                <c:pt idx="0">
                  <c:v>Series 2</c:v>
                </c:pt>
              </c:strCache>
            </c:strRef>
          </c:tx>
          <c:spPr>
            <a:ln w="12700" cap="rnd">
              <a:solidFill>
                <a:srgbClr val="404040"/>
              </a:solidFill>
              <a:round/>
            </a:ln>
            <a:effectLst/>
          </c:spPr>
          <c:marker>
            <c:symbol val="circle"/>
            <c:size val="5"/>
            <c:spPr>
              <a:solidFill>
                <a:srgbClr val="404040"/>
              </a:solidFill>
              <a:ln w="9525">
                <a:noFill/>
              </a:ln>
              <a:effectLst/>
            </c:spPr>
          </c:marker>
          <c:cat>
            <c:numRef>
              <c:f>Sheet1!$A$2:$A$6</c:f>
              <c:numCache>
                <c:formatCode>m/d/yyyy</c:formatCode>
                <c:ptCount val="5"/>
                <c:pt idx="0">
                  <c:v>37261</c:v>
                </c:pt>
                <c:pt idx="1">
                  <c:v>37262</c:v>
                </c:pt>
                <c:pt idx="2">
                  <c:v>37263</c:v>
                </c:pt>
                <c:pt idx="3">
                  <c:v>37264</c:v>
                </c:pt>
                <c:pt idx="4">
                  <c:v>37265</c:v>
                </c:pt>
              </c:numCache>
            </c:numRef>
          </c:cat>
          <c:val>
            <c:numRef>
              <c:f>Sheet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406F-E544-ADEA-A91C6DB8C6B2}"/>
            </c:ext>
          </c:extLst>
        </c:ser>
        <c:dLbls>
          <c:showLegendKey val="0"/>
          <c:showVal val="0"/>
          <c:showCatName val="0"/>
          <c:showSerName val="0"/>
          <c:showPercent val="0"/>
          <c:showBubbleSize val="0"/>
        </c:dLbls>
        <c:axId val="509731144"/>
        <c:axId val="509722520"/>
      </c:radarChart>
      <c:catAx>
        <c:axId val="509731144"/>
        <c:scaling>
          <c:orientation val="minMax"/>
        </c:scaling>
        <c:delete val="1"/>
        <c:axPos val="b"/>
        <c:numFmt formatCode="m/d/yyyy" sourceLinked="1"/>
        <c:majorTickMark val="none"/>
        <c:minorTickMark val="none"/>
        <c:tickLblPos val="nextTo"/>
        <c:crossAx val="509722520"/>
        <c:crosses val="autoZero"/>
        <c:auto val="1"/>
        <c:lblAlgn val="ctr"/>
        <c:lblOffset val="100"/>
        <c:noMultiLvlLbl val="0"/>
      </c:catAx>
      <c:valAx>
        <c:axId val="509722520"/>
        <c:scaling>
          <c:orientation val="minMax"/>
        </c:scaling>
        <c:delete val="1"/>
        <c:axPos val="l"/>
        <c:majorGridlines>
          <c:spPr>
            <a:ln w="9525" cap="flat" cmpd="sng" algn="ctr">
              <a:solidFill>
                <a:schemeClr val="bg1">
                  <a:lumMod val="85000"/>
                </a:schemeClr>
              </a:solidFill>
              <a:round/>
            </a:ln>
            <a:effectLst/>
          </c:spPr>
        </c:majorGridlines>
        <c:numFmt formatCode="General" sourceLinked="1"/>
        <c:majorTickMark val="none"/>
        <c:minorTickMark val="none"/>
        <c:tickLblPos val="nextTo"/>
        <c:crossAx val="509731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134699853587395E-2"/>
          <c:y val="5.8823529411764705E-2"/>
          <c:w val="0.56661786237189105"/>
          <c:h val="0.84967320261438395"/>
        </c:manualLayout>
      </c:layout>
      <c:bubbleChart>
        <c:varyColors val="0"/>
        <c:ser>
          <c:idx val="0"/>
          <c:order val="0"/>
          <c:tx>
            <c:strRef>
              <c:f>Sheet1!$A$2</c:f>
              <c:strCache>
                <c:ptCount val="1"/>
                <c:pt idx="0">
                  <c:v>Y Value</c:v>
                </c:pt>
              </c:strCache>
            </c:strRef>
          </c:tx>
          <c:invertIfNegative val="1"/>
          <c:dPt>
            <c:idx val="0"/>
            <c:invertIfNegative val="1"/>
            <c:bubble3D val="0"/>
            <c:spPr>
              <a:solidFill>
                <a:schemeClr val="tx1">
                  <a:lumMod val="75000"/>
                  <a:lumOff val="25000"/>
                </a:schemeClr>
              </a:solidFill>
            </c:spPr>
            <c:extLst>
              <c:ext xmlns:c16="http://schemas.microsoft.com/office/drawing/2014/chart" uri="{C3380CC4-5D6E-409C-BE32-E72D297353CC}">
                <c16:uniqueId val="{00000001-0E8A-CA41-8070-06DE805F1DCA}"/>
              </c:ext>
            </c:extLst>
          </c:dPt>
          <c:dPt>
            <c:idx val="1"/>
            <c:invertIfNegative val="1"/>
            <c:bubble3D val="0"/>
            <c:spPr>
              <a:solidFill>
                <a:srgbClr val="C00000"/>
              </a:solidFill>
            </c:spPr>
            <c:extLst>
              <c:ext xmlns:c16="http://schemas.microsoft.com/office/drawing/2014/chart" uri="{C3380CC4-5D6E-409C-BE32-E72D297353CC}">
                <c16:uniqueId val="{00000003-0E8A-CA41-8070-06DE805F1DCA}"/>
              </c:ext>
            </c:extLst>
          </c:dPt>
          <c:dPt>
            <c:idx val="2"/>
            <c:invertIfNegative val="1"/>
            <c:bubble3D val="0"/>
            <c:spPr>
              <a:solidFill>
                <a:schemeClr val="bg1">
                  <a:lumMod val="65000"/>
                </a:schemeClr>
              </a:solidFill>
            </c:spPr>
            <c:extLst>
              <c:ext xmlns:c16="http://schemas.microsoft.com/office/drawing/2014/chart" uri="{C3380CC4-5D6E-409C-BE32-E72D297353CC}">
                <c16:uniqueId val="{00000005-0E8A-CA41-8070-06DE805F1DCA}"/>
              </c:ext>
            </c:extLst>
          </c:dPt>
          <c:dPt>
            <c:idx val="3"/>
            <c:invertIfNegative val="1"/>
            <c:bubble3D val="0"/>
            <c:spPr>
              <a:solidFill>
                <a:srgbClr val="FF0000"/>
              </a:solidFill>
            </c:spPr>
            <c:extLst>
              <c:ext xmlns:c16="http://schemas.microsoft.com/office/drawing/2014/chart" uri="{C3380CC4-5D6E-409C-BE32-E72D297353CC}">
                <c16:uniqueId val="{00000007-0E8A-CA41-8070-06DE805F1DCA}"/>
              </c:ext>
            </c:extLst>
          </c:dPt>
          <c:xVal>
            <c:numRef>
              <c:f>Sheet1!$B$1:$J$1</c:f>
              <c:numCache>
                <c:formatCode>s\t\a\nd\a\rd</c:formatCode>
                <c:ptCount val="9"/>
                <c:pt idx="0">
                  <c:v>20</c:v>
                </c:pt>
                <c:pt idx="1">
                  <c:v>30</c:v>
                </c:pt>
                <c:pt idx="2">
                  <c:v>80</c:v>
                </c:pt>
                <c:pt idx="3">
                  <c:v>50</c:v>
                </c:pt>
              </c:numCache>
            </c:numRef>
          </c:xVal>
          <c:yVal>
            <c:numRef>
              <c:f>Sheet1!$B$2:$J$2</c:f>
              <c:numCache>
                <c:formatCode>s\t\a\nd\a\rd</c:formatCode>
                <c:ptCount val="9"/>
                <c:pt idx="0">
                  <c:v>20</c:v>
                </c:pt>
                <c:pt idx="1">
                  <c:v>50</c:v>
                </c:pt>
                <c:pt idx="2">
                  <c:v>40</c:v>
                </c:pt>
                <c:pt idx="3">
                  <c:v>75</c:v>
                </c:pt>
              </c:numCache>
            </c:numRef>
          </c:yVal>
          <c:bubbleSize>
            <c:numRef>
              <c:f>Sheet1!$B$3:$J$3</c:f>
              <c:numCache>
                <c:formatCode>s\t\a\nd\a\rd</c:formatCode>
                <c:ptCount val="9"/>
                <c:pt idx="0">
                  <c:v>1</c:v>
                </c:pt>
                <c:pt idx="1">
                  <c:v>5</c:v>
                </c:pt>
                <c:pt idx="2">
                  <c:v>2</c:v>
                </c:pt>
                <c:pt idx="3">
                  <c:v>4</c:v>
                </c:pt>
              </c:numCache>
            </c:numRef>
          </c:bubbleSize>
          <c:bubble3D val="0"/>
          <c:extLst>
            <c:ext xmlns:c16="http://schemas.microsoft.com/office/drawing/2014/chart" uri="{C3380CC4-5D6E-409C-BE32-E72D297353CC}">
              <c16:uniqueId val="{00000008-0E8A-CA41-8070-06DE805F1DCA}"/>
            </c:ext>
          </c:extLst>
        </c:ser>
        <c:dLbls>
          <c:showLegendKey val="0"/>
          <c:showVal val="0"/>
          <c:showCatName val="0"/>
          <c:showSerName val="0"/>
          <c:showPercent val="0"/>
          <c:showBubbleSize val="0"/>
        </c:dLbls>
        <c:bubbleScale val="100"/>
        <c:showNegBubbles val="0"/>
        <c:axId val="176145880"/>
        <c:axId val="176146272"/>
      </c:bubbleChart>
      <c:valAx>
        <c:axId val="176145880"/>
        <c:scaling>
          <c:orientation val="minMax"/>
          <c:max val="100"/>
          <c:min val="0"/>
        </c:scaling>
        <c:delete val="1"/>
        <c:axPos val="b"/>
        <c:numFmt formatCode="s\t\a\nd\a\rd" sourceLinked="1"/>
        <c:majorTickMark val="out"/>
        <c:minorTickMark val="none"/>
        <c:tickLblPos val="none"/>
        <c:crossAx val="176146272"/>
        <c:crossesAt val="0"/>
        <c:crossBetween val="midCat"/>
        <c:majorUnit val="20"/>
        <c:minorUnit val="4"/>
      </c:valAx>
      <c:valAx>
        <c:axId val="176146272"/>
        <c:scaling>
          <c:orientation val="minMax"/>
          <c:max val="100"/>
          <c:min val="0"/>
        </c:scaling>
        <c:delete val="1"/>
        <c:axPos val="l"/>
        <c:numFmt formatCode="s\t\a\nd\a\rd" sourceLinked="1"/>
        <c:majorTickMark val="out"/>
        <c:minorTickMark val="none"/>
        <c:tickLblPos val="none"/>
        <c:crossAx val="176145880"/>
        <c:crossesAt val="0"/>
        <c:crossBetween val="midCat"/>
        <c:majorUnit val="10"/>
        <c:minorUnit val="2"/>
      </c:valAx>
    </c:plotArea>
    <c:plotVisOnly val="1"/>
    <c:dispBlanksAs val="gap"/>
    <c:showDLblsOverMax val="0"/>
  </c:chart>
  <c:txPr>
    <a:bodyPr/>
    <a:lstStyle/>
    <a:p>
      <a:pPr>
        <a:defRPr sz="1800"/>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299638989169717"/>
          <c:y val="3.1180400890868598E-2"/>
          <c:w val="0.68411552346570392"/>
          <c:h val="0.84855233853006651"/>
        </c:manualLayout>
      </c:layout>
      <c:scatterChart>
        <c:scatterStyle val="lineMarker"/>
        <c:varyColors val="0"/>
        <c:ser>
          <c:idx val="0"/>
          <c:order val="0"/>
          <c:tx>
            <c:strRef>
              <c:f>Sheet1!$A$2</c:f>
              <c:strCache>
                <c:ptCount val="1"/>
                <c:pt idx="0">
                  <c:v>Y-Value</c:v>
                </c:pt>
              </c:strCache>
            </c:strRef>
          </c:tx>
          <c:spPr>
            <a:ln w="28575">
              <a:noFill/>
            </a:ln>
          </c:spPr>
          <c:marker>
            <c:symbol val="diamond"/>
            <c:size val="11"/>
            <c:spPr>
              <a:solidFill>
                <a:srgbClr val="FF0000"/>
              </a:solidFill>
              <a:ln>
                <a:noFill/>
              </a:ln>
            </c:spPr>
          </c:marker>
          <c:dLbls>
            <c:dLbl>
              <c:idx val="4"/>
              <c:layout>
                <c:manualLayout>
                  <c:x val="-5.2015604681404422E-3"/>
                  <c:y val="-8.9119951009757128E-3"/>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6B2-6C47-84D9-16C64CC1D4BA}"/>
                </c:ext>
              </c:extLst>
            </c:dLbl>
            <c:dLbl>
              <c:idx val="5"/>
              <c:layout>
                <c:manualLayout>
                  <c:x val="-5.2015604681404422E-3"/>
                  <c:y val="1.4853325168292861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6B2-6C47-84D9-16C64CC1D4BA}"/>
                </c:ext>
              </c:extLst>
            </c:dLbl>
            <c:spPr>
              <a:noFill/>
              <a:ln>
                <a:noFill/>
              </a:ln>
              <a:effectLst/>
            </c:spPr>
            <c:txPr>
              <a:bodyPr/>
              <a:lstStyle/>
              <a:p>
                <a:pPr>
                  <a:defRPr b="0"/>
                </a:pPr>
                <a:endParaRPr lang="en-US"/>
              </a:p>
            </c:txPr>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xVal>
            <c:numRef>
              <c:f>Sheet1!$B$1:$J$1</c:f>
              <c:numCache>
                <c:formatCode>0%</c:formatCode>
                <c:ptCount val="9"/>
                <c:pt idx="0">
                  <c:v>0.70000000000000051</c:v>
                </c:pt>
                <c:pt idx="1">
                  <c:v>0.79</c:v>
                </c:pt>
                <c:pt idx="2">
                  <c:v>0.74000000000000055</c:v>
                </c:pt>
                <c:pt idx="3">
                  <c:v>0.54</c:v>
                </c:pt>
                <c:pt idx="4">
                  <c:v>0.5</c:v>
                </c:pt>
                <c:pt idx="5">
                  <c:v>0.44</c:v>
                </c:pt>
                <c:pt idx="6">
                  <c:v>0.68</c:v>
                </c:pt>
                <c:pt idx="7">
                  <c:v>0.3300000000000004</c:v>
                </c:pt>
                <c:pt idx="8">
                  <c:v>0.39000000000000035</c:v>
                </c:pt>
              </c:numCache>
            </c:numRef>
          </c:xVal>
          <c:yVal>
            <c:numRef>
              <c:f>Sheet1!$B$2:$J$2</c:f>
              <c:numCache>
                <c:formatCode>0%</c:formatCode>
                <c:ptCount val="9"/>
                <c:pt idx="0">
                  <c:v>0.45</c:v>
                </c:pt>
                <c:pt idx="1">
                  <c:v>0.3300000000000004</c:v>
                </c:pt>
                <c:pt idx="2">
                  <c:v>0.21000000000000013</c:v>
                </c:pt>
                <c:pt idx="3">
                  <c:v>0.29000000000000026</c:v>
                </c:pt>
                <c:pt idx="4">
                  <c:v>0.41000000000000025</c:v>
                </c:pt>
                <c:pt idx="5">
                  <c:v>0.38000000000000034</c:v>
                </c:pt>
                <c:pt idx="6">
                  <c:v>0.54</c:v>
                </c:pt>
                <c:pt idx="7">
                  <c:v>0.5</c:v>
                </c:pt>
                <c:pt idx="8">
                  <c:v>0.1</c:v>
                </c:pt>
              </c:numCache>
            </c:numRef>
          </c:yVal>
          <c:smooth val="0"/>
          <c:extLst>
            <c:ext xmlns:c16="http://schemas.microsoft.com/office/drawing/2014/chart" uri="{C3380CC4-5D6E-409C-BE32-E72D297353CC}">
              <c16:uniqueId val="{00000002-A6B2-6C47-84D9-16C64CC1D4BA}"/>
            </c:ext>
          </c:extLst>
        </c:ser>
        <c:dLbls>
          <c:showLegendKey val="0"/>
          <c:showVal val="0"/>
          <c:showCatName val="1"/>
          <c:showSerName val="0"/>
          <c:showPercent val="0"/>
          <c:showBubbleSize val="0"/>
        </c:dLbls>
        <c:axId val="176143920"/>
        <c:axId val="176144312"/>
      </c:scatterChart>
      <c:valAx>
        <c:axId val="176143920"/>
        <c:scaling>
          <c:orientation val="minMax"/>
          <c:max val="1"/>
          <c:min val="0"/>
        </c:scaling>
        <c:delete val="0"/>
        <c:axPos val="b"/>
        <c:numFmt formatCode="0%" sourceLinked="1"/>
        <c:majorTickMark val="none"/>
        <c:minorTickMark val="none"/>
        <c:tickLblPos val="none"/>
        <c:spPr>
          <a:ln>
            <a:noFill/>
          </a:ln>
        </c:spPr>
        <c:crossAx val="176144312"/>
        <c:crosses val="autoZero"/>
        <c:crossBetween val="midCat"/>
        <c:majorUnit val="1"/>
        <c:minorUnit val="1"/>
      </c:valAx>
      <c:valAx>
        <c:axId val="176144312"/>
        <c:scaling>
          <c:orientation val="minMax"/>
          <c:max val="1"/>
          <c:min val="0"/>
        </c:scaling>
        <c:delete val="1"/>
        <c:axPos val="l"/>
        <c:numFmt formatCode="0%" sourceLinked="1"/>
        <c:majorTickMark val="none"/>
        <c:minorTickMark val="none"/>
        <c:tickLblPos val="none"/>
        <c:crossAx val="176143920"/>
        <c:crosses val="autoZero"/>
        <c:crossBetween val="midCat"/>
        <c:majorUnit val="10"/>
        <c:minorUnit val="10"/>
      </c:valAx>
      <c:spPr>
        <a:noFill/>
        <a:ln w="25400">
          <a:noFill/>
        </a:ln>
      </c:spPr>
    </c:plotArea>
    <c:plotVisOnly val="1"/>
    <c:dispBlanksAs val="gap"/>
    <c:showDLblsOverMax val="0"/>
  </c:chart>
  <c:txPr>
    <a:bodyPr/>
    <a:lstStyle/>
    <a:p>
      <a:pPr>
        <a:defRPr sz="12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99153737658676"/>
          <c:y val="7.3170731707317069E-2"/>
          <c:w val="0.58533145275035259"/>
          <c:h val="0.92017738359201751"/>
        </c:manualLayout>
      </c:layout>
      <c:radarChart>
        <c:radarStyle val="marker"/>
        <c:varyColors val="0"/>
        <c:ser>
          <c:idx val="0"/>
          <c:order val="0"/>
          <c:tx>
            <c:strRef>
              <c:f>Sheet1!$A$2</c:f>
              <c:strCache>
                <c:ptCount val="1"/>
                <c:pt idx="0">
                  <c:v>Label A</c:v>
                </c:pt>
              </c:strCache>
            </c:strRef>
          </c:tx>
          <c:spPr>
            <a:ln>
              <a:solidFill>
                <a:srgbClr val="FF0000"/>
              </a:solidFill>
            </a:ln>
          </c:spPr>
          <c:marker>
            <c:spPr>
              <a:solidFill>
                <a:srgbClr val="FF0000"/>
              </a:solidFill>
              <a:ln>
                <a:solidFill>
                  <a:srgbClr val="FF0000"/>
                </a:solidFill>
              </a:ln>
            </c:spPr>
          </c:marker>
          <c:cat>
            <c:strRef>
              <c:f>Sheet1!$B$1:$F$1</c:f>
              <c:strCache>
                <c:ptCount val="5"/>
                <c:pt idx="0">
                  <c:v>Criterion 1</c:v>
                </c:pt>
                <c:pt idx="1">
                  <c:v>Criterion 2</c:v>
                </c:pt>
                <c:pt idx="2">
                  <c:v>Criterion 3</c:v>
                </c:pt>
                <c:pt idx="3">
                  <c:v>Criterion 4</c:v>
                </c:pt>
                <c:pt idx="4">
                  <c:v>Criterion 5</c:v>
                </c:pt>
              </c:strCache>
            </c:strRef>
          </c:cat>
          <c:val>
            <c:numRef>
              <c:f>Sheet1!$B$2:$F$2</c:f>
              <c:numCache>
                <c:formatCode>s\t\a\nd\a\rd</c:formatCode>
                <c:ptCount val="5"/>
                <c:pt idx="0">
                  <c:v>50</c:v>
                </c:pt>
                <c:pt idx="1">
                  <c:v>80</c:v>
                </c:pt>
                <c:pt idx="2">
                  <c:v>90</c:v>
                </c:pt>
                <c:pt idx="3">
                  <c:v>70</c:v>
                </c:pt>
                <c:pt idx="4">
                  <c:v>50</c:v>
                </c:pt>
              </c:numCache>
            </c:numRef>
          </c:val>
          <c:extLst>
            <c:ext xmlns:c16="http://schemas.microsoft.com/office/drawing/2014/chart" uri="{C3380CC4-5D6E-409C-BE32-E72D297353CC}">
              <c16:uniqueId val="{00000000-D747-6641-862E-8F3B5D0AC176}"/>
            </c:ext>
          </c:extLst>
        </c:ser>
        <c:ser>
          <c:idx val="3"/>
          <c:order val="1"/>
          <c:tx>
            <c:strRef>
              <c:f>Sheet1!$A$3</c:f>
              <c:strCache>
                <c:ptCount val="1"/>
                <c:pt idx="0">
                  <c:v>Label B</c:v>
                </c:pt>
              </c:strCache>
            </c:strRef>
          </c:tx>
          <c:spPr>
            <a:ln w="12700">
              <a:solidFill>
                <a:schemeClr val="tx1"/>
              </a:solidFill>
              <a:prstDash val="sysDash"/>
            </a:ln>
          </c:spPr>
          <c:marker>
            <c:spPr>
              <a:ln w="12700">
                <a:solidFill>
                  <a:schemeClr val="tx1"/>
                </a:solidFill>
                <a:prstDash val="sysDash"/>
              </a:ln>
            </c:spPr>
          </c:marker>
          <c:cat>
            <c:strRef>
              <c:f>Sheet1!$B$1:$F$1</c:f>
              <c:strCache>
                <c:ptCount val="5"/>
                <c:pt idx="0">
                  <c:v>Criterion 1</c:v>
                </c:pt>
                <c:pt idx="1">
                  <c:v>Criterion 2</c:v>
                </c:pt>
                <c:pt idx="2">
                  <c:v>Criterion 3</c:v>
                </c:pt>
                <c:pt idx="3">
                  <c:v>Criterion 4</c:v>
                </c:pt>
                <c:pt idx="4">
                  <c:v>Criterion 5</c:v>
                </c:pt>
              </c:strCache>
            </c:strRef>
          </c:cat>
          <c:val>
            <c:numRef>
              <c:f>Sheet1!$B$3:$F$3</c:f>
              <c:numCache>
                <c:formatCode>s\t\a\nd\a\rd</c:formatCode>
                <c:ptCount val="5"/>
                <c:pt idx="0">
                  <c:v>80</c:v>
                </c:pt>
                <c:pt idx="1">
                  <c:v>60</c:v>
                </c:pt>
                <c:pt idx="2">
                  <c:v>50</c:v>
                </c:pt>
                <c:pt idx="3">
                  <c:v>30</c:v>
                </c:pt>
                <c:pt idx="4">
                  <c:v>80</c:v>
                </c:pt>
              </c:numCache>
            </c:numRef>
          </c:val>
          <c:extLst>
            <c:ext xmlns:c16="http://schemas.microsoft.com/office/drawing/2014/chart" uri="{C3380CC4-5D6E-409C-BE32-E72D297353CC}">
              <c16:uniqueId val="{00000001-D747-6641-862E-8F3B5D0AC176}"/>
            </c:ext>
          </c:extLst>
        </c:ser>
        <c:ser>
          <c:idx val="1"/>
          <c:order val="2"/>
          <c:tx>
            <c:strRef>
              <c:f>Sheet1!$A$4</c:f>
              <c:strCache>
                <c:ptCount val="1"/>
                <c:pt idx="0">
                  <c:v>Label C</c:v>
                </c:pt>
              </c:strCache>
            </c:strRef>
          </c:tx>
          <c:spPr>
            <a:ln w="12700">
              <a:solidFill>
                <a:srgbClr val="FF0000"/>
              </a:solidFill>
              <a:prstDash val="dash"/>
            </a:ln>
          </c:spPr>
          <c:marker>
            <c:spPr>
              <a:solidFill>
                <a:srgbClr val="FF0000"/>
              </a:solidFill>
              <a:ln w="12700">
                <a:solidFill>
                  <a:srgbClr val="FF0000"/>
                </a:solidFill>
                <a:prstDash val="dash"/>
              </a:ln>
            </c:spPr>
          </c:marker>
          <c:cat>
            <c:strRef>
              <c:f>Sheet1!$B$1:$F$1</c:f>
              <c:strCache>
                <c:ptCount val="5"/>
                <c:pt idx="0">
                  <c:v>Criterion 1</c:v>
                </c:pt>
                <c:pt idx="1">
                  <c:v>Criterion 2</c:v>
                </c:pt>
                <c:pt idx="2">
                  <c:v>Criterion 3</c:v>
                </c:pt>
                <c:pt idx="3">
                  <c:v>Criterion 4</c:v>
                </c:pt>
                <c:pt idx="4">
                  <c:v>Criterion 5</c:v>
                </c:pt>
              </c:strCache>
            </c:strRef>
          </c:cat>
          <c:val>
            <c:numRef>
              <c:f>Sheet1!$B$4:$F$4</c:f>
              <c:numCache>
                <c:formatCode>s\t\a\nd\a\rd</c:formatCode>
                <c:ptCount val="5"/>
                <c:pt idx="0">
                  <c:v>40</c:v>
                </c:pt>
                <c:pt idx="1">
                  <c:v>60</c:v>
                </c:pt>
                <c:pt idx="2">
                  <c:v>80</c:v>
                </c:pt>
                <c:pt idx="3">
                  <c:v>50</c:v>
                </c:pt>
                <c:pt idx="4">
                  <c:v>60</c:v>
                </c:pt>
              </c:numCache>
            </c:numRef>
          </c:val>
          <c:extLst>
            <c:ext xmlns:c16="http://schemas.microsoft.com/office/drawing/2014/chart" uri="{C3380CC4-5D6E-409C-BE32-E72D297353CC}">
              <c16:uniqueId val="{00000002-D747-6641-862E-8F3B5D0AC176}"/>
            </c:ext>
          </c:extLst>
        </c:ser>
        <c:ser>
          <c:idx val="2"/>
          <c:order val="3"/>
          <c:tx>
            <c:strRef>
              <c:f>Sheet1!$A$5</c:f>
              <c:strCache>
                <c:ptCount val="1"/>
                <c:pt idx="0">
                  <c:v>Label D</c:v>
                </c:pt>
              </c:strCache>
            </c:strRef>
          </c:tx>
          <c:spPr>
            <a:ln>
              <a:solidFill>
                <a:srgbClr val="C00000"/>
              </a:solidFill>
            </a:ln>
          </c:spPr>
          <c:marker>
            <c:spPr>
              <a:solidFill>
                <a:srgbClr val="C00000"/>
              </a:solidFill>
              <a:ln>
                <a:solidFill>
                  <a:srgbClr val="C00000"/>
                </a:solidFill>
              </a:ln>
            </c:spPr>
          </c:marker>
          <c:cat>
            <c:strRef>
              <c:f>Sheet1!$B$1:$F$1</c:f>
              <c:strCache>
                <c:ptCount val="5"/>
                <c:pt idx="0">
                  <c:v>Criterion 1</c:v>
                </c:pt>
                <c:pt idx="1">
                  <c:v>Criterion 2</c:v>
                </c:pt>
                <c:pt idx="2">
                  <c:v>Criterion 3</c:v>
                </c:pt>
                <c:pt idx="3">
                  <c:v>Criterion 4</c:v>
                </c:pt>
                <c:pt idx="4">
                  <c:v>Criterion 5</c:v>
                </c:pt>
              </c:strCache>
            </c:strRef>
          </c:cat>
          <c:val>
            <c:numRef>
              <c:f>Sheet1!$B$5:$F$5</c:f>
              <c:numCache>
                <c:formatCode>s\t\a\nd\a\rd</c:formatCode>
                <c:ptCount val="5"/>
                <c:pt idx="0">
                  <c:v>30</c:v>
                </c:pt>
                <c:pt idx="1">
                  <c:v>40</c:v>
                </c:pt>
                <c:pt idx="2">
                  <c:v>10</c:v>
                </c:pt>
                <c:pt idx="3">
                  <c:v>40</c:v>
                </c:pt>
                <c:pt idx="4">
                  <c:v>30</c:v>
                </c:pt>
              </c:numCache>
            </c:numRef>
          </c:val>
          <c:extLst>
            <c:ext xmlns:c16="http://schemas.microsoft.com/office/drawing/2014/chart" uri="{C3380CC4-5D6E-409C-BE32-E72D297353CC}">
              <c16:uniqueId val="{00000003-D747-6641-862E-8F3B5D0AC176}"/>
            </c:ext>
          </c:extLst>
        </c:ser>
        <c:dLbls>
          <c:showLegendKey val="0"/>
          <c:showVal val="0"/>
          <c:showCatName val="0"/>
          <c:showSerName val="0"/>
          <c:showPercent val="0"/>
          <c:showBubbleSize val="0"/>
        </c:dLbls>
        <c:axId val="637843568"/>
        <c:axId val="637842392"/>
      </c:radarChart>
      <c:catAx>
        <c:axId val="637843568"/>
        <c:scaling>
          <c:orientation val="minMax"/>
        </c:scaling>
        <c:delete val="0"/>
        <c:axPos val="b"/>
        <c:majorGridlines/>
        <c:numFmt formatCode="General" sourceLinked="1"/>
        <c:majorTickMark val="out"/>
        <c:minorTickMark val="none"/>
        <c:tickLblPos val="nextTo"/>
        <c:txPr>
          <a:bodyPr rot="0" vert="horz"/>
          <a:lstStyle/>
          <a:p>
            <a:pPr>
              <a:defRPr/>
            </a:pPr>
            <a:endParaRPr lang="en-US"/>
          </a:p>
        </c:txPr>
        <c:crossAx val="637842392"/>
        <c:crosses val="autoZero"/>
        <c:auto val="0"/>
        <c:lblAlgn val="ctr"/>
        <c:lblOffset val="100"/>
        <c:noMultiLvlLbl val="0"/>
      </c:catAx>
      <c:valAx>
        <c:axId val="637842392"/>
        <c:scaling>
          <c:orientation val="minMax"/>
        </c:scaling>
        <c:delete val="0"/>
        <c:axPos val="l"/>
        <c:numFmt formatCode="s\t\a\nd\a\rd" sourceLinked="1"/>
        <c:majorTickMark val="none"/>
        <c:minorTickMark val="cross"/>
        <c:tickLblPos val="none"/>
        <c:crossAx val="637843568"/>
        <c:crosses val="autoZero"/>
        <c:crossBetween val="between"/>
        <c:minorUnit val="20"/>
      </c:valAx>
    </c:plotArea>
    <c:legend>
      <c:legendPos val="r"/>
      <c:layout>
        <c:manualLayout>
          <c:xMode val="edge"/>
          <c:yMode val="edge"/>
          <c:x val="0.77179257476481988"/>
          <c:y val="0.64517484390353697"/>
          <c:w val="9.8370579279125417E-2"/>
          <c:h val="0.259688737355872"/>
        </c:manualLayout>
      </c:layout>
      <c:overlay val="0"/>
    </c:legend>
    <c:plotVisOnly val="1"/>
    <c:dispBlanksAs val="gap"/>
    <c:showDLblsOverMax val="0"/>
  </c:chart>
  <c:txPr>
    <a:bodyPr/>
    <a:lstStyle/>
    <a:p>
      <a:pPr>
        <a:defRPr sz="1400">
          <a:solidFill>
            <a:schemeClr val="tx1">
              <a:lumMod val="75000"/>
              <a:lumOff val="25000"/>
            </a:schemeClr>
          </a:solidFil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010180904080828E-2"/>
          <c:y val="8.9080424303832131E-2"/>
          <c:w val="0.75516981117651161"/>
          <c:h val="0.88879571383360811"/>
        </c:manualLayout>
      </c:layout>
      <c:barChart>
        <c:barDir val="bar"/>
        <c:grouping val="stacked"/>
        <c:varyColors val="0"/>
        <c:ser>
          <c:idx val="0"/>
          <c:order val="0"/>
          <c:tx>
            <c:strRef>
              <c:f>Sheet1!$A$2</c:f>
              <c:strCache>
                <c:ptCount val="1"/>
                <c:pt idx="0">
                  <c:v>Group 1</c:v>
                </c:pt>
              </c:strCache>
            </c:strRef>
          </c:tx>
          <c:spPr>
            <a:solidFill>
              <a:srgbClr val="C00000"/>
            </a:solidFill>
            <a:ln w="23380">
              <a:noFill/>
            </a:ln>
          </c:spPr>
          <c:invertIfNegative val="0"/>
          <c:dLbls>
            <c:numFmt formatCode="0" sourceLinked="0"/>
            <c:spPr>
              <a:noFill/>
              <a:ln w="23380">
                <a:noFill/>
              </a:ln>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s\t\a\nd\a\rd</c:formatCode>
                <c:ptCount val="4"/>
                <c:pt idx="0">
                  <c:v>20.399999999999999</c:v>
                </c:pt>
                <c:pt idx="1">
                  <c:v>27.4</c:v>
                </c:pt>
                <c:pt idx="2">
                  <c:v>90</c:v>
                </c:pt>
                <c:pt idx="3">
                  <c:v>20.399999999999999</c:v>
                </c:pt>
              </c:numCache>
            </c:numRef>
          </c:val>
          <c:extLst>
            <c:ext xmlns:c16="http://schemas.microsoft.com/office/drawing/2014/chart" uri="{C3380CC4-5D6E-409C-BE32-E72D297353CC}">
              <c16:uniqueId val="{00000000-FD0B-E744-B794-6BD1C040D218}"/>
            </c:ext>
          </c:extLst>
        </c:ser>
        <c:ser>
          <c:idx val="1"/>
          <c:order val="1"/>
          <c:tx>
            <c:strRef>
              <c:f>Sheet1!$A$3</c:f>
              <c:strCache>
                <c:ptCount val="1"/>
                <c:pt idx="0">
                  <c:v>Group 2</c:v>
                </c:pt>
              </c:strCache>
            </c:strRef>
          </c:tx>
          <c:spPr>
            <a:solidFill>
              <a:schemeClr val="tx1">
                <a:lumMod val="50000"/>
                <a:lumOff val="50000"/>
              </a:schemeClr>
            </a:solidFill>
            <a:ln w="23380">
              <a:noFill/>
            </a:ln>
          </c:spPr>
          <c:invertIfNegative val="0"/>
          <c:dLbls>
            <c:numFmt formatCode="0" sourceLinked="0"/>
            <c:spPr>
              <a:noFill/>
              <a:ln w="23380">
                <a:noFill/>
              </a:ln>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3:$E$3</c:f>
              <c:numCache>
                <c:formatCode>s\t\a\nd\a\rd</c:formatCode>
                <c:ptCount val="4"/>
                <c:pt idx="0">
                  <c:v>30.6</c:v>
                </c:pt>
                <c:pt idx="1">
                  <c:v>38.6</c:v>
                </c:pt>
                <c:pt idx="2">
                  <c:v>34.6</c:v>
                </c:pt>
                <c:pt idx="3">
                  <c:v>31.6</c:v>
                </c:pt>
              </c:numCache>
            </c:numRef>
          </c:val>
          <c:extLst>
            <c:ext xmlns:c16="http://schemas.microsoft.com/office/drawing/2014/chart" uri="{C3380CC4-5D6E-409C-BE32-E72D297353CC}">
              <c16:uniqueId val="{00000001-FD0B-E744-B794-6BD1C040D218}"/>
            </c:ext>
          </c:extLst>
        </c:ser>
        <c:ser>
          <c:idx val="2"/>
          <c:order val="2"/>
          <c:tx>
            <c:strRef>
              <c:f>Sheet1!$A$4</c:f>
              <c:strCache>
                <c:ptCount val="1"/>
                <c:pt idx="0">
                  <c:v>Sum</c:v>
                </c:pt>
              </c:strCache>
            </c:strRef>
          </c:tx>
          <c:spPr>
            <a:noFill/>
            <a:ln w="23380">
              <a:noFill/>
            </a:ln>
          </c:spPr>
          <c:invertIfNegative val="0"/>
          <c:dLbls>
            <c:numFmt formatCode="0" sourceLinked="0"/>
            <c:spPr>
              <a:noFill/>
              <a:ln w="23380">
                <a:noFill/>
              </a:ln>
            </c:sp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4:$E$4</c:f>
              <c:numCache>
                <c:formatCode>s\t\a\nd\a\rd</c:formatCode>
                <c:ptCount val="4"/>
                <c:pt idx="0">
                  <c:v>51</c:v>
                </c:pt>
                <c:pt idx="1">
                  <c:v>66</c:v>
                </c:pt>
                <c:pt idx="2">
                  <c:v>124.6</c:v>
                </c:pt>
                <c:pt idx="3">
                  <c:v>52</c:v>
                </c:pt>
              </c:numCache>
            </c:numRef>
          </c:val>
          <c:extLst>
            <c:ext xmlns:c16="http://schemas.microsoft.com/office/drawing/2014/chart" uri="{C3380CC4-5D6E-409C-BE32-E72D297353CC}">
              <c16:uniqueId val="{00000002-FD0B-E744-B794-6BD1C040D218}"/>
            </c:ext>
          </c:extLst>
        </c:ser>
        <c:dLbls>
          <c:showLegendKey val="0"/>
          <c:showVal val="0"/>
          <c:showCatName val="0"/>
          <c:showSerName val="0"/>
          <c:showPercent val="0"/>
          <c:showBubbleSize val="0"/>
        </c:dLbls>
        <c:gapWidth val="106"/>
        <c:overlap val="100"/>
        <c:axId val="632863056"/>
        <c:axId val="632863448"/>
      </c:barChart>
      <c:catAx>
        <c:axId val="632863056"/>
        <c:scaling>
          <c:orientation val="minMax"/>
        </c:scaling>
        <c:delete val="0"/>
        <c:axPos val="l"/>
        <c:numFmt formatCode="General" sourceLinked="1"/>
        <c:majorTickMark val="none"/>
        <c:minorTickMark val="none"/>
        <c:tickLblPos val="nextTo"/>
        <c:spPr>
          <a:ln w="12700">
            <a:solidFill>
              <a:schemeClr val="tx2">
                <a:lumMod val="60000"/>
                <a:lumOff val="40000"/>
              </a:schemeClr>
            </a:solidFill>
            <a:prstDash val="solid"/>
          </a:ln>
        </c:spPr>
        <c:txPr>
          <a:bodyPr rot="0" vert="horz"/>
          <a:lstStyle/>
          <a:p>
            <a:pPr>
              <a:defRPr/>
            </a:pPr>
            <a:endParaRPr lang="en-US"/>
          </a:p>
        </c:txPr>
        <c:crossAx val="632863448"/>
        <c:crosses val="autoZero"/>
        <c:auto val="1"/>
        <c:lblAlgn val="ctr"/>
        <c:lblOffset val="100"/>
        <c:tickLblSkip val="1"/>
        <c:tickMarkSkip val="1"/>
        <c:noMultiLvlLbl val="0"/>
      </c:catAx>
      <c:valAx>
        <c:axId val="632863448"/>
        <c:scaling>
          <c:orientation val="minMax"/>
          <c:max val="135"/>
        </c:scaling>
        <c:delete val="1"/>
        <c:axPos val="b"/>
        <c:numFmt formatCode="s\t\a\nd\a\rd" sourceLinked="1"/>
        <c:majorTickMark val="out"/>
        <c:minorTickMark val="none"/>
        <c:tickLblPos val="none"/>
        <c:crossAx val="632863056"/>
        <c:crosses val="autoZero"/>
        <c:crossBetween val="between"/>
      </c:valAx>
      <c:spPr>
        <a:noFill/>
        <a:ln w="23380">
          <a:noFill/>
        </a:ln>
      </c:spPr>
    </c:plotArea>
    <c:plotVisOnly val="1"/>
    <c:dispBlanksAs val="gap"/>
    <c:showDLblsOverMax val="0"/>
  </c:chart>
  <c:spPr>
    <a:noFill/>
    <a:ln>
      <a:noFill/>
    </a:ln>
  </c:spPr>
  <c:txPr>
    <a:bodyPr/>
    <a:lstStyle/>
    <a:p>
      <a:pPr>
        <a:defRPr sz="1400" b="0" i="0" u="none" strike="noStrike" baseline="0">
          <a:solidFill>
            <a:schemeClr val="tx1"/>
          </a:solidFill>
          <a:latin typeface="Segoe UI" panose="020B0502040204020203" pitchFamily="34" charset="0"/>
          <a:ea typeface="Arial"/>
          <a:cs typeface="Segoe UI" panose="020B0502040204020203" pitchFamily="34" charset="0"/>
        </a:defRPr>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336946990182057E-2"/>
          <c:y val="5.6338028169014086E-2"/>
          <c:w val="0.931663053009818"/>
          <c:h val="0.91314553990610325"/>
        </c:manualLayout>
      </c:layout>
      <c:barChart>
        <c:barDir val="bar"/>
        <c:grouping val="percentStacked"/>
        <c:varyColors val="0"/>
        <c:ser>
          <c:idx val="0"/>
          <c:order val="0"/>
          <c:tx>
            <c:strRef>
              <c:f>Sheet1!$A$2</c:f>
              <c:strCache>
                <c:ptCount val="1"/>
                <c:pt idx="0">
                  <c:v>Group 1</c:v>
                </c:pt>
              </c:strCache>
            </c:strRef>
          </c:tx>
          <c:spPr>
            <a:solidFill>
              <a:srgbClr val="C00000"/>
            </a:solidFill>
            <a:ln w="23428">
              <a:noFill/>
            </a:ln>
          </c:spPr>
          <c:invertIfNegative val="0"/>
          <c:dLbls>
            <c:spPr>
              <a:noFill/>
              <a:ln w="23428">
                <a:noFill/>
              </a:ln>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0%</c:formatCode>
                <c:ptCount val="4"/>
                <c:pt idx="0">
                  <c:v>0.27</c:v>
                </c:pt>
                <c:pt idx="1">
                  <c:v>0.33000000000000007</c:v>
                </c:pt>
                <c:pt idx="2">
                  <c:v>0.64000000000000012</c:v>
                </c:pt>
                <c:pt idx="3">
                  <c:v>0.31000000000000005</c:v>
                </c:pt>
              </c:numCache>
            </c:numRef>
          </c:val>
          <c:extLst>
            <c:ext xmlns:c16="http://schemas.microsoft.com/office/drawing/2014/chart" uri="{C3380CC4-5D6E-409C-BE32-E72D297353CC}">
              <c16:uniqueId val="{00000000-1A51-5642-B609-8B9507DEC453}"/>
            </c:ext>
          </c:extLst>
        </c:ser>
        <c:ser>
          <c:idx val="1"/>
          <c:order val="1"/>
          <c:tx>
            <c:strRef>
              <c:f>Sheet1!$A$3</c:f>
              <c:strCache>
                <c:ptCount val="1"/>
                <c:pt idx="0">
                  <c:v>Group 2</c:v>
                </c:pt>
              </c:strCache>
            </c:strRef>
          </c:tx>
          <c:spPr>
            <a:solidFill>
              <a:schemeClr val="tx1">
                <a:lumMod val="50000"/>
                <a:lumOff val="50000"/>
              </a:schemeClr>
            </a:solidFill>
            <a:ln w="23428">
              <a:noFill/>
            </a:ln>
          </c:spPr>
          <c:invertIfNegative val="0"/>
          <c:dLbls>
            <c:spPr>
              <a:noFill/>
              <a:ln w="23428">
                <a:noFill/>
              </a:ln>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3:$E$3</c:f>
              <c:numCache>
                <c:formatCode>0%</c:formatCode>
                <c:ptCount val="4"/>
                <c:pt idx="0">
                  <c:v>0.41000000000000003</c:v>
                </c:pt>
                <c:pt idx="1">
                  <c:v>0.47000000000000003</c:v>
                </c:pt>
                <c:pt idx="2">
                  <c:v>0.25</c:v>
                </c:pt>
                <c:pt idx="3">
                  <c:v>0.48000000000000004</c:v>
                </c:pt>
              </c:numCache>
            </c:numRef>
          </c:val>
          <c:extLst>
            <c:ext xmlns:c16="http://schemas.microsoft.com/office/drawing/2014/chart" uri="{C3380CC4-5D6E-409C-BE32-E72D297353CC}">
              <c16:uniqueId val="{00000001-1A51-5642-B609-8B9507DEC453}"/>
            </c:ext>
          </c:extLst>
        </c:ser>
        <c:ser>
          <c:idx val="2"/>
          <c:order val="2"/>
          <c:tx>
            <c:strRef>
              <c:f>Sheet1!$A$4</c:f>
              <c:strCache>
                <c:ptCount val="1"/>
                <c:pt idx="0">
                  <c:v>Group 3</c:v>
                </c:pt>
              </c:strCache>
            </c:strRef>
          </c:tx>
          <c:spPr>
            <a:solidFill>
              <a:schemeClr val="tx1">
                <a:lumMod val="75000"/>
                <a:lumOff val="25000"/>
              </a:schemeClr>
            </a:solidFill>
            <a:ln w="23428">
              <a:noFill/>
            </a:ln>
          </c:spPr>
          <c:invertIfNegative val="0"/>
          <c:dLbls>
            <c:spPr>
              <a:noFill/>
              <a:ln w="23428">
                <a:noFill/>
              </a:ln>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4:$E$4</c:f>
              <c:numCache>
                <c:formatCode>0%</c:formatCode>
                <c:ptCount val="4"/>
                <c:pt idx="0">
                  <c:v>0.32000000000000006</c:v>
                </c:pt>
                <c:pt idx="1">
                  <c:v>0.2</c:v>
                </c:pt>
                <c:pt idx="2">
                  <c:v>0.11</c:v>
                </c:pt>
                <c:pt idx="3">
                  <c:v>0.21000000000000002</c:v>
                </c:pt>
              </c:numCache>
            </c:numRef>
          </c:val>
          <c:extLst>
            <c:ext xmlns:c16="http://schemas.microsoft.com/office/drawing/2014/chart" uri="{C3380CC4-5D6E-409C-BE32-E72D297353CC}">
              <c16:uniqueId val="{00000002-1A51-5642-B609-8B9507DEC453}"/>
            </c:ext>
          </c:extLst>
        </c:ser>
        <c:dLbls>
          <c:showLegendKey val="0"/>
          <c:showVal val="0"/>
          <c:showCatName val="0"/>
          <c:showSerName val="0"/>
          <c:showPercent val="0"/>
          <c:showBubbleSize val="0"/>
        </c:dLbls>
        <c:gapWidth val="106"/>
        <c:overlap val="100"/>
        <c:serLines>
          <c:spPr>
            <a:ln w="19050" cap="rnd">
              <a:solidFill>
                <a:schemeClr val="tx2">
                  <a:lumMod val="60000"/>
                  <a:lumOff val="40000"/>
                </a:schemeClr>
              </a:solidFill>
              <a:prstDash val="sysDot"/>
            </a:ln>
          </c:spPr>
        </c:serLines>
        <c:axId val="632864232"/>
        <c:axId val="632864624"/>
      </c:barChart>
      <c:catAx>
        <c:axId val="632864232"/>
        <c:scaling>
          <c:orientation val="minMax"/>
        </c:scaling>
        <c:delete val="0"/>
        <c:axPos val="l"/>
        <c:numFmt formatCode="General" sourceLinked="1"/>
        <c:majorTickMark val="none"/>
        <c:minorTickMark val="none"/>
        <c:tickLblPos val="nextTo"/>
        <c:spPr>
          <a:ln w="12700">
            <a:solidFill>
              <a:schemeClr val="tx2">
                <a:lumMod val="60000"/>
                <a:lumOff val="40000"/>
              </a:schemeClr>
            </a:solidFill>
            <a:prstDash val="solid"/>
          </a:ln>
        </c:spPr>
        <c:txPr>
          <a:bodyPr rot="0" vert="horz"/>
          <a:lstStyle/>
          <a:p>
            <a:pPr>
              <a:defRPr/>
            </a:pPr>
            <a:endParaRPr lang="en-US"/>
          </a:p>
        </c:txPr>
        <c:crossAx val="632864624"/>
        <c:crosses val="autoZero"/>
        <c:auto val="1"/>
        <c:lblAlgn val="ctr"/>
        <c:lblOffset val="100"/>
        <c:tickLblSkip val="1"/>
        <c:tickMarkSkip val="1"/>
        <c:noMultiLvlLbl val="0"/>
      </c:catAx>
      <c:valAx>
        <c:axId val="632864624"/>
        <c:scaling>
          <c:orientation val="minMax"/>
        </c:scaling>
        <c:delete val="1"/>
        <c:axPos val="b"/>
        <c:numFmt formatCode="0%" sourceLinked="1"/>
        <c:majorTickMark val="out"/>
        <c:minorTickMark val="none"/>
        <c:tickLblPos val="none"/>
        <c:crossAx val="632864232"/>
        <c:crosses val="autoZero"/>
        <c:crossBetween val="between"/>
      </c:valAx>
      <c:spPr>
        <a:noFill/>
        <a:ln w="9525" cap="rnd">
          <a:noFill/>
          <a:prstDash val="sysDot"/>
        </a:ln>
      </c:spPr>
    </c:plotArea>
    <c:plotVisOnly val="1"/>
    <c:dispBlanksAs val="gap"/>
    <c:showDLblsOverMax val="0"/>
  </c:chart>
  <c:spPr>
    <a:noFill/>
    <a:ln>
      <a:noFill/>
    </a:ln>
  </c:spPr>
  <c:txPr>
    <a:bodyPr/>
    <a:lstStyle/>
    <a:p>
      <a:pPr>
        <a:defRPr sz="1400" b="0" i="0" u="none" strike="noStrike" baseline="0">
          <a:solidFill>
            <a:schemeClr val="tx1"/>
          </a:solidFill>
          <a:latin typeface="Segoe UI" panose="020B0502040204020203" pitchFamily="34" charset="0"/>
          <a:ea typeface="Arial"/>
          <a:cs typeface="Segoe UI" panose="020B0502040204020203" pitchFamily="34" charset="0"/>
        </a:defRPr>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64912280701754E-2"/>
          <c:y val="2.7100271002710102E-2"/>
          <c:w val="0.97807017543859953"/>
          <c:h val="0.82655826558265411"/>
        </c:manualLayout>
      </c:layout>
      <c:barChart>
        <c:barDir val="col"/>
        <c:grouping val="stacked"/>
        <c:varyColors val="0"/>
        <c:ser>
          <c:idx val="0"/>
          <c:order val="0"/>
          <c:tx>
            <c:strRef>
              <c:f>Sheet1!$A$2</c:f>
              <c:strCache>
                <c:ptCount val="1"/>
                <c:pt idx="0">
                  <c:v>East</c:v>
                </c:pt>
              </c:strCache>
            </c:strRef>
          </c:tx>
          <c:spPr>
            <a:noFill/>
            <a:ln w="25311">
              <a:noFill/>
            </a:ln>
          </c:spPr>
          <c:invertIfNegative val="0"/>
          <c:cat>
            <c:strRef>
              <c:f>Sheet1!$B$1:$F$1</c:f>
              <c:strCache>
                <c:ptCount val="5"/>
                <c:pt idx="0">
                  <c:v>Total</c:v>
                </c:pt>
                <c:pt idx="1">
                  <c:v>Label A</c:v>
                </c:pt>
                <c:pt idx="2">
                  <c:v>Label B</c:v>
                </c:pt>
                <c:pt idx="3">
                  <c:v>Label C</c:v>
                </c:pt>
                <c:pt idx="4">
                  <c:v>Label D</c:v>
                </c:pt>
              </c:strCache>
            </c:strRef>
          </c:cat>
          <c:val>
            <c:numRef>
              <c:f>Sheet1!$B$2:$F$2</c:f>
              <c:numCache>
                <c:formatCode>General</c:formatCode>
                <c:ptCount val="5"/>
                <c:pt idx="1">
                  <c:v>10</c:v>
                </c:pt>
                <c:pt idx="2">
                  <c:v>8</c:v>
                </c:pt>
                <c:pt idx="3">
                  <c:v>5</c:v>
                </c:pt>
              </c:numCache>
            </c:numRef>
          </c:val>
          <c:extLst>
            <c:ext xmlns:c16="http://schemas.microsoft.com/office/drawing/2014/chart" uri="{C3380CC4-5D6E-409C-BE32-E72D297353CC}">
              <c16:uniqueId val="{00000000-30C8-F142-A197-1C4CE453E200}"/>
            </c:ext>
          </c:extLst>
        </c:ser>
        <c:ser>
          <c:idx val="2"/>
          <c:order val="1"/>
          <c:tx>
            <c:strRef>
              <c:f>Sheet1!$A$4</c:f>
              <c:strCache>
                <c:ptCount val="1"/>
              </c:strCache>
            </c:strRef>
          </c:tx>
          <c:spPr>
            <a:solidFill>
              <a:schemeClr val="accent1"/>
            </a:solidFill>
            <a:ln w="25311">
              <a:noFill/>
            </a:ln>
          </c:spPr>
          <c:invertIfNegative val="0"/>
          <c:dPt>
            <c:idx val="0"/>
            <c:invertIfNegative val="0"/>
            <c:bubble3D val="0"/>
            <c:spPr>
              <a:solidFill>
                <a:srgbClr val="C00000"/>
              </a:solidFill>
              <a:ln w="25311">
                <a:noFill/>
              </a:ln>
            </c:spPr>
            <c:extLst>
              <c:ext xmlns:c16="http://schemas.microsoft.com/office/drawing/2014/chart" uri="{C3380CC4-5D6E-409C-BE32-E72D297353CC}">
                <c16:uniqueId val="{00000002-30C8-F142-A197-1C4CE453E200}"/>
              </c:ext>
            </c:extLst>
          </c:dPt>
          <c:dPt>
            <c:idx val="1"/>
            <c:invertIfNegative val="0"/>
            <c:bubble3D val="0"/>
            <c:spPr>
              <a:solidFill>
                <a:schemeClr val="tx1">
                  <a:lumMod val="65000"/>
                  <a:lumOff val="35000"/>
                </a:schemeClr>
              </a:solidFill>
              <a:ln w="25311">
                <a:noFill/>
              </a:ln>
            </c:spPr>
            <c:extLst>
              <c:ext xmlns:c16="http://schemas.microsoft.com/office/drawing/2014/chart" uri="{C3380CC4-5D6E-409C-BE32-E72D297353CC}">
                <c16:uniqueId val="{00000004-30C8-F142-A197-1C4CE453E200}"/>
              </c:ext>
            </c:extLst>
          </c:dPt>
          <c:dPt>
            <c:idx val="2"/>
            <c:invertIfNegative val="0"/>
            <c:bubble3D val="0"/>
            <c:spPr>
              <a:solidFill>
                <a:schemeClr val="tx1">
                  <a:lumMod val="65000"/>
                  <a:lumOff val="35000"/>
                </a:schemeClr>
              </a:solidFill>
              <a:ln w="25311">
                <a:noFill/>
              </a:ln>
            </c:spPr>
            <c:extLst>
              <c:ext xmlns:c16="http://schemas.microsoft.com/office/drawing/2014/chart" uri="{C3380CC4-5D6E-409C-BE32-E72D297353CC}">
                <c16:uniqueId val="{00000005-30C8-F142-A197-1C4CE453E200}"/>
              </c:ext>
            </c:extLst>
          </c:dPt>
          <c:dPt>
            <c:idx val="3"/>
            <c:invertIfNegative val="0"/>
            <c:bubble3D val="0"/>
            <c:spPr>
              <a:solidFill>
                <a:schemeClr val="tx1">
                  <a:lumMod val="65000"/>
                  <a:lumOff val="35000"/>
                </a:schemeClr>
              </a:solidFill>
              <a:ln w="25311">
                <a:noFill/>
              </a:ln>
            </c:spPr>
            <c:extLst>
              <c:ext xmlns:c16="http://schemas.microsoft.com/office/drawing/2014/chart" uri="{C3380CC4-5D6E-409C-BE32-E72D297353CC}">
                <c16:uniqueId val="{00000006-30C8-F142-A197-1C4CE453E200}"/>
              </c:ext>
            </c:extLst>
          </c:dPt>
          <c:dPt>
            <c:idx val="4"/>
            <c:invertIfNegative val="0"/>
            <c:bubble3D val="0"/>
            <c:spPr>
              <a:solidFill>
                <a:schemeClr val="tx1">
                  <a:lumMod val="65000"/>
                  <a:lumOff val="35000"/>
                </a:schemeClr>
              </a:solidFill>
              <a:ln w="25311">
                <a:noFill/>
              </a:ln>
            </c:spPr>
            <c:extLst>
              <c:ext xmlns:c16="http://schemas.microsoft.com/office/drawing/2014/chart" uri="{C3380CC4-5D6E-409C-BE32-E72D297353CC}">
                <c16:uniqueId val="{00000007-30C8-F142-A197-1C4CE453E200}"/>
              </c:ext>
            </c:extLst>
          </c:dPt>
          <c:dLbls>
            <c:spPr>
              <a:noFill/>
              <a:ln w="25311">
                <a:noFill/>
              </a:ln>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Total</c:v>
                </c:pt>
                <c:pt idx="1">
                  <c:v>Label A</c:v>
                </c:pt>
                <c:pt idx="2">
                  <c:v>Label B</c:v>
                </c:pt>
                <c:pt idx="3">
                  <c:v>Label C</c:v>
                </c:pt>
                <c:pt idx="4">
                  <c:v>Label D</c:v>
                </c:pt>
              </c:strCache>
            </c:strRef>
          </c:cat>
          <c:val>
            <c:numRef>
              <c:f>Sheet1!$B$4:$F$4</c:f>
              <c:numCache>
                <c:formatCode>General</c:formatCode>
                <c:ptCount val="5"/>
                <c:pt idx="0">
                  <c:v>11</c:v>
                </c:pt>
                <c:pt idx="1">
                  <c:v>1</c:v>
                </c:pt>
                <c:pt idx="2">
                  <c:v>2</c:v>
                </c:pt>
                <c:pt idx="3">
                  <c:v>3</c:v>
                </c:pt>
                <c:pt idx="4">
                  <c:v>5</c:v>
                </c:pt>
              </c:numCache>
            </c:numRef>
          </c:val>
          <c:extLst>
            <c:ext xmlns:c16="http://schemas.microsoft.com/office/drawing/2014/chart" uri="{C3380CC4-5D6E-409C-BE32-E72D297353CC}">
              <c16:uniqueId val="{00000003-30C8-F142-A197-1C4CE453E200}"/>
            </c:ext>
          </c:extLst>
        </c:ser>
        <c:dLbls>
          <c:showLegendKey val="0"/>
          <c:showVal val="0"/>
          <c:showCatName val="0"/>
          <c:showSerName val="0"/>
          <c:showPercent val="0"/>
          <c:showBubbleSize val="0"/>
        </c:dLbls>
        <c:gapWidth val="50"/>
        <c:overlap val="100"/>
        <c:axId val="524923344"/>
        <c:axId val="524923736"/>
      </c:barChart>
      <c:catAx>
        <c:axId val="524923344"/>
        <c:scaling>
          <c:orientation val="minMax"/>
        </c:scaling>
        <c:delete val="0"/>
        <c:axPos val="b"/>
        <c:numFmt formatCode="General" sourceLinked="1"/>
        <c:majorTickMark val="none"/>
        <c:minorTickMark val="none"/>
        <c:tickLblPos val="nextTo"/>
        <c:spPr>
          <a:ln w="12656">
            <a:solidFill>
              <a:schemeClr val="tx2">
                <a:lumMod val="60000"/>
                <a:lumOff val="40000"/>
              </a:schemeClr>
            </a:solidFill>
            <a:prstDash val="solid"/>
          </a:ln>
        </c:spPr>
        <c:txPr>
          <a:bodyPr rot="0" vert="horz"/>
          <a:lstStyle/>
          <a:p>
            <a:pPr>
              <a:defRPr/>
            </a:pPr>
            <a:endParaRPr lang="en-US"/>
          </a:p>
        </c:txPr>
        <c:crossAx val="524923736"/>
        <c:crosses val="autoZero"/>
        <c:auto val="1"/>
        <c:lblAlgn val="ctr"/>
        <c:lblOffset val="100"/>
        <c:tickLblSkip val="1"/>
        <c:tickMarkSkip val="1"/>
        <c:noMultiLvlLbl val="0"/>
      </c:catAx>
      <c:valAx>
        <c:axId val="524923736"/>
        <c:scaling>
          <c:orientation val="minMax"/>
        </c:scaling>
        <c:delete val="1"/>
        <c:axPos val="l"/>
        <c:numFmt formatCode="General" sourceLinked="1"/>
        <c:majorTickMark val="out"/>
        <c:minorTickMark val="none"/>
        <c:tickLblPos val="none"/>
        <c:crossAx val="524923344"/>
        <c:crosses val="autoZero"/>
        <c:crossBetween val="between"/>
      </c:valAx>
      <c:spPr>
        <a:noFill/>
        <a:ln w="25311">
          <a:noFill/>
        </a:ln>
      </c:spPr>
    </c:plotArea>
    <c:plotVisOnly val="1"/>
    <c:dispBlanksAs val="gap"/>
    <c:showDLblsOverMax val="0"/>
  </c:chart>
  <c:spPr>
    <a:noFill/>
    <a:ln>
      <a:noFill/>
    </a:ln>
  </c:spPr>
  <c:txPr>
    <a:bodyPr/>
    <a:lstStyle/>
    <a:p>
      <a:pPr>
        <a:defRPr sz="1400" b="0" i="0" u="none" strike="noStrike" baseline="0">
          <a:solidFill>
            <a:schemeClr val="tx1"/>
          </a:solidFill>
          <a:latin typeface="Segoe UI" panose="020B0502040204020203" pitchFamily="34" charset="0"/>
          <a:ea typeface="Arial"/>
          <a:cs typeface="Segoe UI" panose="020B0502040204020203" pitchFamily="34" charset="0"/>
        </a:defRPr>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27298601574644"/>
        </c:manualLayout>
      </c:layout>
      <c:barChart>
        <c:barDir val="col"/>
        <c:grouping val="stacked"/>
        <c:varyColors val="0"/>
        <c:ser>
          <c:idx val="0"/>
          <c:order val="0"/>
          <c:tx>
            <c:strRef>
              <c:f>Sheet1!$A$2</c:f>
              <c:strCache>
                <c:ptCount val="1"/>
                <c:pt idx="0">
                  <c:v>East</c:v>
                </c:pt>
              </c:strCache>
            </c:strRef>
          </c:tx>
          <c:spPr>
            <a:noFill/>
            <a:ln w="25300">
              <a:noFill/>
            </a:ln>
          </c:spPr>
          <c:invertIfNegative val="0"/>
          <c:cat>
            <c:strRef>
              <c:f>Sheet1!$B$1:$H$1</c:f>
              <c:strCache>
                <c:ptCount val="7"/>
                <c:pt idx="0">
                  <c:v>Total</c:v>
                </c:pt>
                <c:pt idx="1">
                  <c:v>Label A</c:v>
                </c:pt>
                <c:pt idx="2">
                  <c:v>Label B</c:v>
                </c:pt>
                <c:pt idx="3">
                  <c:v>Label C</c:v>
                </c:pt>
                <c:pt idx="4">
                  <c:v>Label D</c:v>
                </c:pt>
                <c:pt idx="5">
                  <c:v>Label E</c:v>
                </c:pt>
                <c:pt idx="6">
                  <c:v>Label F</c:v>
                </c:pt>
              </c:strCache>
            </c:strRef>
          </c:cat>
          <c:val>
            <c:numRef>
              <c:f>Sheet1!$B$2:$H$2</c:f>
              <c:numCache>
                <c:formatCode>General</c:formatCode>
                <c:ptCount val="7"/>
                <c:pt idx="1">
                  <c:v>15.5</c:v>
                </c:pt>
                <c:pt idx="2">
                  <c:v>14</c:v>
                </c:pt>
                <c:pt idx="3">
                  <c:v>12</c:v>
                </c:pt>
                <c:pt idx="4">
                  <c:v>9</c:v>
                </c:pt>
                <c:pt idx="5">
                  <c:v>5</c:v>
                </c:pt>
              </c:numCache>
            </c:numRef>
          </c:val>
          <c:extLst>
            <c:ext xmlns:c16="http://schemas.microsoft.com/office/drawing/2014/chart" uri="{C3380CC4-5D6E-409C-BE32-E72D297353CC}">
              <c16:uniqueId val="{00000000-DF84-6646-9575-212D49059C26}"/>
            </c:ext>
          </c:extLst>
        </c:ser>
        <c:ser>
          <c:idx val="1"/>
          <c:order val="1"/>
          <c:tx>
            <c:strRef>
              <c:f>Sheet1!$A$3</c:f>
              <c:strCache>
                <c:ptCount val="1"/>
              </c:strCache>
            </c:strRef>
          </c:tx>
          <c:spPr>
            <a:solidFill>
              <a:schemeClr val="tx1">
                <a:lumMod val="50000"/>
                <a:lumOff val="50000"/>
              </a:schemeClr>
            </a:solidFill>
            <a:ln w="12650">
              <a:solidFill>
                <a:srgbClr val="FFFFFF"/>
              </a:solidFill>
              <a:prstDash val="solid"/>
            </a:ln>
          </c:spPr>
          <c:invertIfNegative val="0"/>
          <c:dLbls>
            <c:spPr>
              <a:noFill/>
              <a:ln w="25300">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Label A</c:v>
                </c:pt>
                <c:pt idx="2">
                  <c:v>Label B</c:v>
                </c:pt>
                <c:pt idx="3">
                  <c:v>Label C</c:v>
                </c:pt>
                <c:pt idx="4">
                  <c:v>Label D</c:v>
                </c:pt>
                <c:pt idx="5">
                  <c:v>Label E</c:v>
                </c:pt>
                <c:pt idx="6">
                  <c:v>Label F</c:v>
                </c:pt>
              </c:strCache>
            </c:strRef>
          </c:cat>
          <c:val>
            <c:numRef>
              <c:f>Sheet1!$B$3:$H$3</c:f>
              <c:numCache>
                <c:formatCode>General</c:formatCode>
                <c:ptCount val="7"/>
                <c:pt idx="0">
                  <c:v>5</c:v>
                </c:pt>
                <c:pt idx="6">
                  <c:v>5</c:v>
                </c:pt>
              </c:numCache>
            </c:numRef>
          </c:val>
          <c:extLst>
            <c:ext xmlns:c16="http://schemas.microsoft.com/office/drawing/2014/chart" uri="{C3380CC4-5D6E-409C-BE32-E72D297353CC}">
              <c16:uniqueId val="{00000001-DF84-6646-9575-212D49059C26}"/>
            </c:ext>
          </c:extLst>
        </c:ser>
        <c:ser>
          <c:idx val="2"/>
          <c:order val="2"/>
          <c:tx>
            <c:strRef>
              <c:f>Sheet1!$A$4</c:f>
              <c:strCache>
                <c:ptCount val="1"/>
              </c:strCache>
            </c:strRef>
          </c:tx>
          <c:spPr>
            <a:solidFill>
              <a:schemeClr val="tx1">
                <a:lumMod val="75000"/>
                <a:lumOff val="25000"/>
              </a:schemeClr>
            </a:solidFill>
            <a:ln w="12650">
              <a:solidFill>
                <a:srgbClr val="FFFFFF"/>
              </a:solidFill>
              <a:prstDash val="solid"/>
            </a:ln>
          </c:spPr>
          <c:invertIfNegative val="0"/>
          <c:dLbls>
            <c:spPr>
              <a:noFill/>
              <a:ln w="25300">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Label A</c:v>
                </c:pt>
                <c:pt idx="2">
                  <c:v>Label B</c:v>
                </c:pt>
                <c:pt idx="3">
                  <c:v>Label C</c:v>
                </c:pt>
                <c:pt idx="4">
                  <c:v>Label D</c:v>
                </c:pt>
                <c:pt idx="5">
                  <c:v>Label E</c:v>
                </c:pt>
                <c:pt idx="6">
                  <c:v>Label F</c:v>
                </c:pt>
              </c:strCache>
            </c:strRef>
          </c:cat>
          <c:val>
            <c:numRef>
              <c:f>Sheet1!$B$4:$H$4</c:f>
              <c:numCache>
                <c:formatCode>General</c:formatCode>
                <c:ptCount val="7"/>
                <c:pt idx="0">
                  <c:v>4</c:v>
                </c:pt>
                <c:pt idx="5">
                  <c:v>4</c:v>
                </c:pt>
              </c:numCache>
            </c:numRef>
          </c:val>
          <c:extLst>
            <c:ext xmlns:c16="http://schemas.microsoft.com/office/drawing/2014/chart" uri="{C3380CC4-5D6E-409C-BE32-E72D297353CC}">
              <c16:uniqueId val="{00000002-DF84-6646-9575-212D49059C26}"/>
            </c:ext>
          </c:extLst>
        </c:ser>
        <c:ser>
          <c:idx val="3"/>
          <c:order val="3"/>
          <c:tx>
            <c:strRef>
              <c:f>Sheet1!$A$5</c:f>
              <c:strCache>
                <c:ptCount val="1"/>
              </c:strCache>
            </c:strRef>
          </c:tx>
          <c:spPr>
            <a:solidFill>
              <a:schemeClr val="accent6">
                <a:lumMod val="50000"/>
              </a:schemeClr>
            </a:solidFill>
            <a:ln w="12650">
              <a:solidFill>
                <a:srgbClr val="FFFFFF"/>
              </a:solidFill>
              <a:prstDash val="solid"/>
            </a:ln>
          </c:spPr>
          <c:invertIfNegative val="0"/>
          <c:dLbls>
            <c:spPr>
              <a:noFill/>
              <a:ln w="25300">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Label A</c:v>
                </c:pt>
                <c:pt idx="2">
                  <c:v>Label B</c:v>
                </c:pt>
                <c:pt idx="3">
                  <c:v>Label C</c:v>
                </c:pt>
                <c:pt idx="4">
                  <c:v>Label D</c:v>
                </c:pt>
                <c:pt idx="5">
                  <c:v>Label E</c:v>
                </c:pt>
                <c:pt idx="6">
                  <c:v>Label F</c:v>
                </c:pt>
              </c:strCache>
            </c:strRef>
          </c:cat>
          <c:val>
            <c:numRef>
              <c:f>Sheet1!$B$5:$H$5</c:f>
              <c:numCache>
                <c:formatCode>General</c:formatCode>
                <c:ptCount val="7"/>
                <c:pt idx="0">
                  <c:v>3</c:v>
                </c:pt>
                <c:pt idx="4">
                  <c:v>3</c:v>
                </c:pt>
              </c:numCache>
            </c:numRef>
          </c:val>
          <c:extLst>
            <c:ext xmlns:c16="http://schemas.microsoft.com/office/drawing/2014/chart" uri="{C3380CC4-5D6E-409C-BE32-E72D297353CC}">
              <c16:uniqueId val="{00000003-DF84-6646-9575-212D49059C26}"/>
            </c:ext>
          </c:extLst>
        </c:ser>
        <c:ser>
          <c:idx val="4"/>
          <c:order val="4"/>
          <c:tx>
            <c:strRef>
              <c:f>Sheet1!$A$6</c:f>
              <c:strCache>
                <c:ptCount val="1"/>
              </c:strCache>
            </c:strRef>
          </c:tx>
          <c:spPr>
            <a:solidFill>
              <a:schemeClr val="accent1">
                <a:lumMod val="50000"/>
              </a:schemeClr>
            </a:solidFill>
            <a:ln w="12650">
              <a:solidFill>
                <a:srgbClr val="FFFFFF"/>
              </a:solidFill>
              <a:prstDash val="solid"/>
            </a:ln>
          </c:spPr>
          <c:invertIfNegative val="0"/>
          <c:dLbls>
            <c:spPr>
              <a:noFill/>
              <a:ln w="25300">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Label A</c:v>
                </c:pt>
                <c:pt idx="2">
                  <c:v>Label B</c:v>
                </c:pt>
                <c:pt idx="3">
                  <c:v>Label C</c:v>
                </c:pt>
                <c:pt idx="4">
                  <c:v>Label D</c:v>
                </c:pt>
                <c:pt idx="5">
                  <c:v>Label E</c:v>
                </c:pt>
                <c:pt idx="6">
                  <c:v>Label F</c:v>
                </c:pt>
              </c:strCache>
            </c:strRef>
          </c:cat>
          <c:val>
            <c:numRef>
              <c:f>Sheet1!$B$6:$H$6</c:f>
              <c:numCache>
                <c:formatCode>General</c:formatCode>
                <c:ptCount val="7"/>
                <c:pt idx="0">
                  <c:v>2</c:v>
                </c:pt>
                <c:pt idx="3">
                  <c:v>2</c:v>
                </c:pt>
              </c:numCache>
            </c:numRef>
          </c:val>
          <c:extLst>
            <c:ext xmlns:c16="http://schemas.microsoft.com/office/drawing/2014/chart" uri="{C3380CC4-5D6E-409C-BE32-E72D297353CC}">
              <c16:uniqueId val="{00000004-DF84-6646-9575-212D49059C26}"/>
            </c:ext>
          </c:extLst>
        </c:ser>
        <c:ser>
          <c:idx val="5"/>
          <c:order val="5"/>
          <c:tx>
            <c:strRef>
              <c:f>Sheet1!$A$7</c:f>
              <c:strCache>
                <c:ptCount val="1"/>
              </c:strCache>
            </c:strRef>
          </c:tx>
          <c:spPr>
            <a:solidFill>
              <a:srgbClr val="C00000"/>
            </a:solidFill>
            <a:ln w="12650">
              <a:solidFill>
                <a:srgbClr val="FFFFFF"/>
              </a:solidFill>
              <a:prstDash val="solid"/>
            </a:ln>
          </c:spPr>
          <c:invertIfNegative val="0"/>
          <c:dLbls>
            <c:spPr>
              <a:noFill/>
              <a:ln w="25300">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Label A</c:v>
                </c:pt>
                <c:pt idx="2">
                  <c:v>Label B</c:v>
                </c:pt>
                <c:pt idx="3">
                  <c:v>Label C</c:v>
                </c:pt>
                <c:pt idx="4">
                  <c:v>Label D</c:v>
                </c:pt>
                <c:pt idx="5">
                  <c:v>Label E</c:v>
                </c:pt>
                <c:pt idx="6">
                  <c:v>Label F</c:v>
                </c:pt>
              </c:strCache>
            </c:strRef>
          </c:cat>
          <c:val>
            <c:numRef>
              <c:f>Sheet1!$B$7:$H$7</c:f>
              <c:numCache>
                <c:formatCode>General</c:formatCode>
                <c:ptCount val="7"/>
                <c:pt idx="0">
                  <c:v>1.5</c:v>
                </c:pt>
                <c:pt idx="2">
                  <c:v>1.5</c:v>
                </c:pt>
              </c:numCache>
            </c:numRef>
          </c:val>
          <c:extLst>
            <c:ext xmlns:c16="http://schemas.microsoft.com/office/drawing/2014/chart" uri="{C3380CC4-5D6E-409C-BE32-E72D297353CC}">
              <c16:uniqueId val="{00000005-DF84-6646-9575-212D49059C26}"/>
            </c:ext>
          </c:extLst>
        </c:ser>
        <c:ser>
          <c:idx val="6"/>
          <c:order val="6"/>
          <c:tx>
            <c:strRef>
              <c:f>Sheet1!$A$8</c:f>
              <c:strCache>
                <c:ptCount val="1"/>
              </c:strCache>
            </c:strRef>
          </c:tx>
          <c:spPr>
            <a:solidFill>
              <a:srgbClr val="FF0000"/>
            </a:solidFill>
            <a:ln w="12650">
              <a:solidFill>
                <a:srgbClr val="FFFFFF"/>
              </a:solidFill>
              <a:prstDash val="solid"/>
            </a:ln>
          </c:spPr>
          <c:invertIfNegative val="0"/>
          <c:dLbls>
            <c:spPr>
              <a:noFill/>
              <a:ln w="25300">
                <a:noFill/>
              </a:ln>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Label A</c:v>
                </c:pt>
                <c:pt idx="2">
                  <c:v>Label B</c:v>
                </c:pt>
                <c:pt idx="3">
                  <c:v>Label C</c:v>
                </c:pt>
                <c:pt idx="4">
                  <c:v>Label D</c:v>
                </c:pt>
                <c:pt idx="5">
                  <c:v>Label E</c:v>
                </c:pt>
                <c:pt idx="6">
                  <c:v>Label F</c:v>
                </c:pt>
              </c:strCache>
            </c:strRef>
          </c:cat>
          <c:val>
            <c:numRef>
              <c:f>Sheet1!$B$8:$H$8</c:f>
              <c:numCache>
                <c:formatCode>General</c:formatCode>
                <c:ptCount val="7"/>
                <c:pt idx="0">
                  <c:v>1.5</c:v>
                </c:pt>
                <c:pt idx="1">
                  <c:v>1.5</c:v>
                </c:pt>
              </c:numCache>
            </c:numRef>
          </c:val>
          <c:extLst>
            <c:ext xmlns:c16="http://schemas.microsoft.com/office/drawing/2014/chart" uri="{C3380CC4-5D6E-409C-BE32-E72D297353CC}">
              <c16:uniqueId val="{00000006-DF84-6646-9575-212D49059C26}"/>
            </c:ext>
          </c:extLst>
        </c:ser>
        <c:dLbls>
          <c:showLegendKey val="0"/>
          <c:showVal val="0"/>
          <c:showCatName val="0"/>
          <c:showSerName val="0"/>
          <c:showPercent val="0"/>
          <c:showBubbleSize val="0"/>
        </c:dLbls>
        <c:gapWidth val="40"/>
        <c:overlap val="100"/>
        <c:axId val="628211744"/>
        <c:axId val="628212136"/>
      </c:barChart>
      <c:catAx>
        <c:axId val="628211744"/>
        <c:scaling>
          <c:orientation val="minMax"/>
        </c:scaling>
        <c:delete val="0"/>
        <c:axPos val="b"/>
        <c:numFmt formatCode="General" sourceLinked="1"/>
        <c:majorTickMark val="none"/>
        <c:minorTickMark val="none"/>
        <c:tickLblPos val="nextTo"/>
        <c:spPr>
          <a:ln w="12650">
            <a:solidFill>
              <a:schemeClr val="tx2">
                <a:lumMod val="60000"/>
                <a:lumOff val="40000"/>
              </a:schemeClr>
            </a:solidFill>
            <a:prstDash val="solid"/>
          </a:ln>
        </c:spPr>
        <c:txPr>
          <a:bodyPr rot="0" vert="horz"/>
          <a:lstStyle/>
          <a:p>
            <a:pPr>
              <a:defRPr/>
            </a:pPr>
            <a:endParaRPr lang="en-US"/>
          </a:p>
        </c:txPr>
        <c:crossAx val="628212136"/>
        <c:crosses val="autoZero"/>
        <c:auto val="1"/>
        <c:lblAlgn val="ctr"/>
        <c:lblOffset val="100"/>
        <c:tickLblSkip val="1"/>
        <c:tickMarkSkip val="1"/>
        <c:noMultiLvlLbl val="0"/>
      </c:catAx>
      <c:valAx>
        <c:axId val="628212136"/>
        <c:scaling>
          <c:orientation val="minMax"/>
        </c:scaling>
        <c:delete val="1"/>
        <c:axPos val="l"/>
        <c:numFmt formatCode="General" sourceLinked="1"/>
        <c:majorTickMark val="out"/>
        <c:minorTickMark val="none"/>
        <c:tickLblPos val="none"/>
        <c:crossAx val="628211744"/>
        <c:crosses val="autoZero"/>
        <c:crossBetween val="between"/>
      </c:valAx>
      <c:spPr>
        <a:noFill/>
        <a:ln w="25300">
          <a:noFill/>
        </a:ln>
      </c:spPr>
    </c:plotArea>
    <c:plotVisOnly val="1"/>
    <c:dispBlanksAs val="gap"/>
    <c:showDLblsOverMax val="0"/>
  </c:chart>
  <c:spPr>
    <a:noFill/>
    <a:ln>
      <a:noFill/>
    </a:ln>
  </c:spPr>
  <c:txPr>
    <a:bodyPr/>
    <a:lstStyle/>
    <a:p>
      <a:pPr>
        <a:defRPr sz="1400" b="0" i="0" u="none" strike="noStrike" baseline="0">
          <a:solidFill>
            <a:schemeClr val="tx1"/>
          </a:solidFill>
          <a:latin typeface="Segoe UI" panose="020B0502040204020203" pitchFamily="34" charset="0"/>
          <a:ea typeface="Arial"/>
          <a:cs typeface="Segoe UI" panose="020B0502040204020203"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3389759225669478E-3"/>
          <c:w val="1"/>
          <c:h val="0.80180835161580066"/>
        </c:manualLayout>
      </c:layout>
      <c:barChart>
        <c:barDir val="col"/>
        <c:grouping val="clustered"/>
        <c:varyColors val="0"/>
        <c:ser>
          <c:idx val="0"/>
          <c:order val="0"/>
          <c:tx>
            <c:strRef>
              <c:f>Sheet1!$A$2</c:f>
              <c:strCache>
                <c:ptCount val="1"/>
                <c:pt idx="0">
                  <c:v>Group 1</c:v>
                </c:pt>
              </c:strCache>
            </c:strRef>
          </c:tx>
          <c:spPr>
            <a:pattFill prst="dkUpDiag">
              <a:fgClr>
                <a:srgbClr val="C00000"/>
              </a:fgClr>
              <a:bgClr>
                <a:schemeClr val="bg1"/>
              </a:bgClr>
            </a:pattFill>
            <a:ln w="25314">
              <a:noFill/>
            </a:ln>
          </c:spPr>
          <c:invertIfNegative val="0"/>
          <c:dLbls>
            <c:spPr>
              <a:noFill/>
              <a:ln w="25314">
                <a:no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General</c:formatCode>
                <c:ptCount val="4"/>
                <c:pt idx="0">
                  <c:v>20</c:v>
                </c:pt>
                <c:pt idx="1">
                  <c:v>27</c:v>
                </c:pt>
                <c:pt idx="2">
                  <c:v>90</c:v>
                </c:pt>
                <c:pt idx="3">
                  <c:v>20</c:v>
                </c:pt>
              </c:numCache>
            </c:numRef>
          </c:val>
          <c:extLst>
            <c:ext xmlns:c16="http://schemas.microsoft.com/office/drawing/2014/chart" uri="{C3380CC4-5D6E-409C-BE32-E72D297353CC}">
              <c16:uniqueId val="{00000000-C39F-EC43-88B5-1214BA124B90}"/>
            </c:ext>
          </c:extLst>
        </c:ser>
        <c:ser>
          <c:idx val="1"/>
          <c:order val="1"/>
          <c:tx>
            <c:strRef>
              <c:f>Sheet1!$A$3</c:f>
              <c:strCache>
                <c:ptCount val="1"/>
                <c:pt idx="0">
                  <c:v>Group 2</c:v>
                </c:pt>
              </c:strCache>
            </c:strRef>
          </c:tx>
          <c:spPr>
            <a:solidFill>
              <a:srgbClr val="C00000"/>
            </a:solidFill>
            <a:ln w="25314">
              <a:noFill/>
            </a:ln>
          </c:spPr>
          <c:invertIfNegative val="0"/>
          <c:dLbls>
            <c:spPr>
              <a:noFill/>
              <a:ln w="25314">
                <a:no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3:$E$3</c:f>
              <c:numCache>
                <c:formatCode>General</c:formatCode>
                <c:ptCount val="4"/>
                <c:pt idx="0">
                  <c:v>31</c:v>
                </c:pt>
                <c:pt idx="1">
                  <c:v>39</c:v>
                </c:pt>
                <c:pt idx="2">
                  <c:v>35</c:v>
                </c:pt>
                <c:pt idx="3">
                  <c:v>32</c:v>
                </c:pt>
              </c:numCache>
            </c:numRef>
          </c:val>
          <c:extLst>
            <c:ext xmlns:c16="http://schemas.microsoft.com/office/drawing/2014/chart" uri="{C3380CC4-5D6E-409C-BE32-E72D297353CC}">
              <c16:uniqueId val="{00000001-C39F-EC43-88B5-1214BA124B90}"/>
            </c:ext>
          </c:extLst>
        </c:ser>
        <c:dLbls>
          <c:showLegendKey val="0"/>
          <c:showVal val="1"/>
          <c:showCatName val="0"/>
          <c:showSerName val="0"/>
          <c:showPercent val="0"/>
          <c:showBubbleSize val="0"/>
        </c:dLbls>
        <c:gapWidth val="300"/>
        <c:overlap val="21"/>
        <c:axId val="592973120"/>
        <c:axId val="592973512"/>
      </c:barChart>
      <c:catAx>
        <c:axId val="592973120"/>
        <c:scaling>
          <c:orientation val="minMax"/>
        </c:scaling>
        <c:delete val="0"/>
        <c:axPos val="b"/>
        <c:numFmt formatCode="General" sourceLinked="1"/>
        <c:majorTickMark val="none"/>
        <c:minorTickMark val="none"/>
        <c:tickLblPos val="nextTo"/>
        <c:spPr>
          <a:ln w="12657">
            <a:solidFill>
              <a:schemeClr val="tx2">
                <a:lumMod val="60000"/>
                <a:lumOff val="40000"/>
              </a:schemeClr>
            </a:solidFill>
            <a:prstDash val="solid"/>
          </a:ln>
        </c:spPr>
        <c:txPr>
          <a:bodyPr rot="0" vert="horz"/>
          <a:lstStyle/>
          <a:p>
            <a:pPr>
              <a:defRPr/>
            </a:pPr>
            <a:endParaRPr lang="en-US"/>
          </a:p>
        </c:txPr>
        <c:crossAx val="592973512"/>
        <c:crosses val="autoZero"/>
        <c:auto val="1"/>
        <c:lblAlgn val="ctr"/>
        <c:lblOffset val="100"/>
        <c:tickLblSkip val="1"/>
        <c:tickMarkSkip val="1"/>
        <c:noMultiLvlLbl val="0"/>
      </c:catAx>
      <c:valAx>
        <c:axId val="592973512"/>
        <c:scaling>
          <c:orientation val="minMax"/>
        </c:scaling>
        <c:delete val="1"/>
        <c:axPos val="l"/>
        <c:numFmt formatCode="General" sourceLinked="1"/>
        <c:majorTickMark val="out"/>
        <c:minorTickMark val="none"/>
        <c:tickLblPos val="none"/>
        <c:crossAx val="592973120"/>
        <c:crosses val="autoZero"/>
        <c:crossBetween val="between"/>
      </c:valAx>
      <c:spPr>
        <a:noFill/>
        <a:ln w="25314">
          <a:noFill/>
        </a:ln>
      </c:spPr>
    </c:plotArea>
    <c:legend>
      <c:legendPos val="b"/>
      <c:layout>
        <c:manualLayout>
          <c:xMode val="edge"/>
          <c:yMode val="edge"/>
          <c:x val="0.39340659340659434"/>
          <c:y val="0.93087557603686799"/>
          <c:w val="0.21208791208791244"/>
          <c:h val="6.4516129032258132E-2"/>
        </c:manualLayout>
      </c:layout>
      <c:overlay val="0"/>
      <c:spPr>
        <a:solidFill>
          <a:schemeClr val="bg1"/>
        </a:solidFill>
        <a:ln w="25314">
          <a:noFill/>
        </a:ln>
      </c:spPr>
    </c:legend>
    <c:plotVisOnly val="1"/>
    <c:dispBlanksAs val="gap"/>
    <c:showDLblsOverMax val="0"/>
  </c:chart>
  <c:spPr>
    <a:noFill/>
    <a:ln>
      <a:noFill/>
    </a:ln>
  </c:spPr>
  <c:txPr>
    <a:bodyPr/>
    <a:lstStyle/>
    <a:p>
      <a:pPr>
        <a:defRPr sz="1400" b="0" i="0" u="none" strike="noStrike" baseline="0">
          <a:solidFill>
            <a:schemeClr val="tx1"/>
          </a:solidFill>
          <a:latin typeface="Segoe UI" panose="020B0502040204020203" pitchFamily="34" charset="0"/>
          <a:ea typeface="Arial"/>
          <a:cs typeface="Segoe UI" panose="020B0502040204020203"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22631835636326"/>
          <c:y val="2.4752475247524754E-2"/>
          <c:w val="0.89077368164363668"/>
          <c:h val="0.84158415841584155"/>
        </c:manualLayout>
      </c:layout>
      <c:barChart>
        <c:barDir val="col"/>
        <c:grouping val="stacked"/>
        <c:varyColors val="0"/>
        <c:ser>
          <c:idx val="3"/>
          <c:order val="0"/>
          <c:tx>
            <c:strRef>
              <c:f>Sheet1!$A$2</c:f>
              <c:strCache>
                <c:ptCount val="1"/>
                <c:pt idx="0">
                  <c:v>Group 1</c:v>
                </c:pt>
              </c:strCache>
            </c:strRef>
          </c:tx>
          <c:spPr>
            <a:solidFill>
              <a:schemeClr val="tx1">
                <a:lumMod val="50000"/>
                <a:lumOff val="50000"/>
              </a:schemeClr>
            </a:solidFill>
            <a:ln w="25298">
              <a:noFill/>
            </a:ln>
          </c:spPr>
          <c:invertIfNegative val="0"/>
          <c:dLbls>
            <c:spPr>
              <a:noFill/>
              <a:ln w="25298">
                <a:noFill/>
              </a:ln>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2:$E$2</c:f>
              <c:numCache>
                <c:formatCode>General</c:formatCode>
                <c:ptCount val="4"/>
                <c:pt idx="0">
                  <c:v>20</c:v>
                </c:pt>
                <c:pt idx="1">
                  <c:v>27</c:v>
                </c:pt>
                <c:pt idx="2">
                  <c:v>90</c:v>
                </c:pt>
                <c:pt idx="3">
                  <c:v>20</c:v>
                </c:pt>
              </c:numCache>
            </c:numRef>
          </c:val>
          <c:extLst>
            <c:ext xmlns:c16="http://schemas.microsoft.com/office/drawing/2014/chart" uri="{C3380CC4-5D6E-409C-BE32-E72D297353CC}">
              <c16:uniqueId val="{00000000-FDCF-8E4A-934A-475BADBBF5E6}"/>
            </c:ext>
          </c:extLst>
        </c:ser>
        <c:ser>
          <c:idx val="0"/>
          <c:order val="1"/>
          <c:tx>
            <c:strRef>
              <c:f>Sheet1!$A$3</c:f>
              <c:strCache>
                <c:ptCount val="1"/>
                <c:pt idx="0">
                  <c:v>Group 2</c:v>
                </c:pt>
              </c:strCache>
            </c:strRef>
          </c:tx>
          <c:spPr>
            <a:solidFill>
              <a:srgbClr val="C00000"/>
            </a:solidFill>
            <a:ln w="25298">
              <a:noFill/>
            </a:ln>
          </c:spPr>
          <c:invertIfNegative val="0"/>
          <c:dLbls>
            <c:spPr>
              <a:noFill/>
              <a:ln w="25298">
                <a:noFill/>
              </a:ln>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3:$E$3</c:f>
              <c:numCache>
                <c:formatCode>General</c:formatCode>
                <c:ptCount val="4"/>
                <c:pt idx="0">
                  <c:v>31</c:v>
                </c:pt>
                <c:pt idx="1">
                  <c:v>39</c:v>
                </c:pt>
                <c:pt idx="2">
                  <c:v>35</c:v>
                </c:pt>
                <c:pt idx="3">
                  <c:v>20</c:v>
                </c:pt>
              </c:numCache>
            </c:numRef>
          </c:val>
          <c:extLst>
            <c:ext xmlns:c16="http://schemas.microsoft.com/office/drawing/2014/chart" uri="{C3380CC4-5D6E-409C-BE32-E72D297353CC}">
              <c16:uniqueId val="{00000001-FDCF-8E4A-934A-475BADBBF5E6}"/>
            </c:ext>
          </c:extLst>
        </c:ser>
        <c:ser>
          <c:idx val="1"/>
          <c:order val="2"/>
          <c:tx>
            <c:strRef>
              <c:f>Sheet1!$A$4</c:f>
              <c:strCache>
                <c:ptCount val="1"/>
              </c:strCache>
            </c:strRef>
          </c:tx>
          <c:spPr>
            <a:noFill/>
            <a:ln w="25298">
              <a:noFill/>
            </a:ln>
          </c:spPr>
          <c:invertIfNegative val="0"/>
          <c:dLbls>
            <c:dLbl>
              <c:idx val="0"/>
              <c:layout>
                <c:manualLayout>
                  <c:x val="-3.1662092881448012E-5"/>
                  <c:y val="3.584235557082995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DCF-8E4A-934A-475BADBBF5E6}"/>
                </c:ext>
              </c:extLst>
            </c:dLbl>
            <c:dLbl>
              <c:idx val="1"/>
              <c:layout>
                <c:manualLayout>
                  <c:x val="5.79521196754939E-4"/>
                  <c:y val="7.606504292336566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DCF-8E4A-934A-475BADBBF5E6}"/>
                </c:ext>
              </c:extLst>
            </c:dLbl>
            <c:dLbl>
              <c:idx val="2"/>
              <c:layout>
                <c:manualLayout>
                  <c:x val="-2.3199514560227831E-3"/>
                  <c:y val="0.2009411332287852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DCF-8E4A-934A-475BADBBF5E6}"/>
                </c:ext>
              </c:extLst>
            </c:dLbl>
            <c:dLbl>
              <c:idx val="3"/>
              <c:layout>
                <c:manualLayout>
                  <c:x val="6.6919906344078094E-3"/>
                  <c:y val="5.849068938619090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DCF-8E4A-934A-475BADBBF5E6}"/>
                </c:ext>
              </c:extLst>
            </c:dLbl>
            <c:spPr>
              <a:noFill/>
              <a:ln w="25298">
                <a:noFill/>
              </a:ln>
            </c:spPr>
            <c:txPr>
              <a:bodyPr/>
              <a:lstStyle/>
              <a:p>
                <a:pPr>
                  <a:defRPr b="1"/>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Label A</c:v>
                </c:pt>
                <c:pt idx="1">
                  <c:v>Label B</c:v>
                </c:pt>
                <c:pt idx="2">
                  <c:v>Label C</c:v>
                </c:pt>
                <c:pt idx="3">
                  <c:v>Label D</c:v>
                </c:pt>
              </c:strCache>
            </c:strRef>
          </c:cat>
          <c:val>
            <c:numRef>
              <c:f>Sheet1!$B$4:$E$4</c:f>
              <c:numCache>
                <c:formatCode>General</c:formatCode>
                <c:ptCount val="4"/>
                <c:pt idx="0">
                  <c:v>51</c:v>
                </c:pt>
                <c:pt idx="1">
                  <c:v>66</c:v>
                </c:pt>
                <c:pt idx="2">
                  <c:v>125</c:v>
                </c:pt>
                <c:pt idx="3">
                  <c:v>52</c:v>
                </c:pt>
              </c:numCache>
            </c:numRef>
          </c:val>
          <c:extLst>
            <c:ext xmlns:c16="http://schemas.microsoft.com/office/drawing/2014/chart" uri="{C3380CC4-5D6E-409C-BE32-E72D297353CC}">
              <c16:uniqueId val="{00000006-FDCF-8E4A-934A-475BADBBF5E6}"/>
            </c:ext>
          </c:extLst>
        </c:ser>
        <c:dLbls>
          <c:showLegendKey val="0"/>
          <c:showVal val="1"/>
          <c:showCatName val="0"/>
          <c:showSerName val="0"/>
          <c:showPercent val="0"/>
          <c:showBubbleSize val="0"/>
        </c:dLbls>
        <c:gapWidth val="250"/>
        <c:overlap val="100"/>
        <c:axId val="593002272"/>
        <c:axId val="593002664"/>
      </c:barChart>
      <c:catAx>
        <c:axId val="593002272"/>
        <c:scaling>
          <c:orientation val="minMax"/>
        </c:scaling>
        <c:delete val="0"/>
        <c:axPos val="b"/>
        <c:numFmt formatCode="General" sourceLinked="1"/>
        <c:majorTickMark val="none"/>
        <c:minorTickMark val="none"/>
        <c:tickLblPos val="nextTo"/>
        <c:spPr>
          <a:ln w="12649">
            <a:solidFill>
              <a:schemeClr val="tx2">
                <a:lumMod val="60000"/>
                <a:lumOff val="40000"/>
              </a:schemeClr>
            </a:solidFill>
            <a:prstDash val="solid"/>
          </a:ln>
        </c:spPr>
        <c:txPr>
          <a:bodyPr rot="0" vert="horz"/>
          <a:lstStyle/>
          <a:p>
            <a:pPr>
              <a:defRPr/>
            </a:pPr>
            <a:endParaRPr lang="en-US"/>
          </a:p>
        </c:txPr>
        <c:crossAx val="593002664"/>
        <c:crosses val="autoZero"/>
        <c:auto val="1"/>
        <c:lblAlgn val="ctr"/>
        <c:lblOffset val="100"/>
        <c:tickLblSkip val="1"/>
        <c:tickMarkSkip val="1"/>
        <c:noMultiLvlLbl val="0"/>
      </c:catAx>
      <c:valAx>
        <c:axId val="593002664"/>
        <c:scaling>
          <c:orientation val="minMax"/>
          <c:max val="200"/>
        </c:scaling>
        <c:delete val="1"/>
        <c:axPos val="l"/>
        <c:numFmt formatCode="General" sourceLinked="1"/>
        <c:majorTickMark val="out"/>
        <c:minorTickMark val="none"/>
        <c:tickLblPos val="none"/>
        <c:crossAx val="593002272"/>
        <c:crosses val="autoZero"/>
        <c:crossBetween val="between"/>
      </c:valAx>
      <c:spPr>
        <a:noFill/>
        <a:ln w="25298">
          <a:noFill/>
        </a:ln>
      </c:spPr>
    </c:plotArea>
    <c:plotVisOnly val="1"/>
    <c:dispBlanksAs val="gap"/>
    <c:showDLblsOverMax val="0"/>
  </c:chart>
  <c:spPr>
    <a:noFill/>
    <a:ln>
      <a:noFill/>
    </a:ln>
  </c:spPr>
  <c:txPr>
    <a:bodyPr/>
    <a:lstStyle/>
    <a:p>
      <a:pPr>
        <a:defRPr sz="1400" b="0" i="0" u="none" strike="noStrike" baseline="0">
          <a:solidFill>
            <a:schemeClr val="tx1"/>
          </a:solidFill>
          <a:latin typeface="Segoe UI" panose="020B0502040204020203" pitchFamily="34" charset="0"/>
          <a:ea typeface="Arial"/>
          <a:cs typeface="Segoe UI" panose="020B0502040204020203" pitchFamily="34"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10499821107229534"/>
          <c:y val="7.3106124281253154E-2"/>
          <c:w val="0.86291468259701798"/>
          <c:h val="0.78096080224274278"/>
        </c:manualLayout>
      </c:layout>
      <c:barChart>
        <c:barDir val="col"/>
        <c:grouping val="clustered"/>
        <c:varyColors val="0"/>
        <c:ser>
          <c:idx val="0"/>
          <c:order val="0"/>
          <c:tx>
            <c:strRef>
              <c:f>Sheet1!$A$2</c:f>
              <c:strCache>
                <c:ptCount val="1"/>
                <c:pt idx="0">
                  <c:v>Group 1</c:v>
                </c:pt>
              </c:strCache>
            </c:strRef>
          </c:tx>
          <c:spPr>
            <a:solidFill>
              <a:schemeClr val="accent6">
                <a:shade val="76000"/>
              </a:schemeClr>
            </a:solidFill>
            <a:ln>
              <a:noFill/>
            </a:ln>
            <a:effectLst/>
          </c:spPr>
          <c:invertIfNegative val="0"/>
          <c:dPt>
            <c:idx val="0"/>
            <c:invertIfNegative val="0"/>
            <c:bubble3D val="0"/>
            <c:spPr>
              <a:solidFill>
                <a:schemeClr val="accent6">
                  <a:shade val="76000"/>
                </a:schemeClr>
              </a:solidFill>
              <a:ln>
                <a:noFill/>
              </a:ln>
              <a:effectLst/>
            </c:spPr>
            <c:extLst>
              <c:ext xmlns:c16="http://schemas.microsoft.com/office/drawing/2014/chart" uri="{C3380CC4-5D6E-409C-BE32-E72D297353CC}">
                <c16:uniqueId val="{00000001-1301-0548-9216-3B58CAC57C19}"/>
              </c:ext>
            </c:extLst>
          </c:dPt>
          <c:dPt>
            <c:idx val="2"/>
            <c:invertIfNegative val="0"/>
            <c:bubble3D val="0"/>
            <c:spPr>
              <a:solidFill>
                <a:schemeClr val="accent6">
                  <a:shade val="76000"/>
                </a:schemeClr>
              </a:solidFill>
              <a:ln>
                <a:noFill/>
              </a:ln>
              <a:effectLst/>
            </c:spPr>
            <c:extLst>
              <c:ext xmlns:c16="http://schemas.microsoft.com/office/drawing/2014/chart" uri="{C3380CC4-5D6E-409C-BE32-E72D297353CC}">
                <c16:uniqueId val="{00000003-1301-0548-9216-3B58CAC57C19}"/>
              </c:ext>
            </c:extLst>
          </c:dPt>
          <c:dPt>
            <c:idx val="3"/>
            <c:invertIfNegative val="0"/>
            <c:bubble3D val="0"/>
            <c:spPr>
              <a:solidFill>
                <a:schemeClr val="accent6">
                  <a:shade val="76000"/>
                </a:schemeClr>
              </a:solidFill>
              <a:ln>
                <a:noFill/>
              </a:ln>
              <a:effectLst/>
            </c:spPr>
            <c:extLst>
              <c:ext xmlns:c16="http://schemas.microsoft.com/office/drawing/2014/chart" uri="{C3380CC4-5D6E-409C-BE32-E72D297353CC}">
                <c16:uniqueId val="{00000005-1301-0548-9216-3B58CAC57C19}"/>
              </c:ext>
            </c:extLst>
          </c:dPt>
          <c:dPt>
            <c:idx val="4"/>
            <c:invertIfNegative val="0"/>
            <c:bubble3D val="0"/>
            <c:spPr>
              <a:solidFill>
                <a:schemeClr val="accent6">
                  <a:shade val="76000"/>
                </a:schemeClr>
              </a:solidFill>
              <a:ln>
                <a:noFill/>
              </a:ln>
              <a:effectLst/>
            </c:spPr>
            <c:extLst>
              <c:ext xmlns:c16="http://schemas.microsoft.com/office/drawing/2014/chart" uri="{C3380CC4-5D6E-409C-BE32-E72D297353CC}">
                <c16:uniqueId val="{00000007-1301-0548-9216-3B58CAC57C19}"/>
              </c:ext>
            </c:extLst>
          </c:dPt>
          <c:dPt>
            <c:idx val="5"/>
            <c:invertIfNegative val="0"/>
            <c:bubble3D val="0"/>
            <c:spPr>
              <a:solidFill>
                <a:schemeClr val="accent6">
                  <a:shade val="76000"/>
                </a:schemeClr>
              </a:solidFill>
              <a:ln>
                <a:noFill/>
              </a:ln>
              <a:effectLst/>
            </c:spPr>
            <c:extLst>
              <c:ext xmlns:c16="http://schemas.microsoft.com/office/drawing/2014/chart" uri="{C3380CC4-5D6E-409C-BE32-E72D297353CC}">
                <c16:uniqueId val="{00000009-1301-0548-9216-3B58CAC57C19}"/>
              </c:ext>
            </c:extLst>
          </c:dPt>
          <c:dLbls>
            <c:numFmt formatCode="0" sourceLinked="0"/>
            <c:spPr>
              <a:noFill/>
              <a:ln w="25291">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Segoe UI" panose="020B0502040204020203" pitchFamily="34" charset="0"/>
                    <a:ea typeface="Arial"/>
                    <a:cs typeface="Segoe UI" panose="020B0502040204020203"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Label A</c:v>
                </c:pt>
                <c:pt idx="1">
                  <c:v>Label B</c:v>
                </c:pt>
                <c:pt idx="2">
                  <c:v>Label C</c:v>
                </c:pt>
                <c:pt idx="3">
                  <c:v>Label D</c:v>
                </c:pt>
                <c:pt idx="4">
                  <c:v>Label E</c:v>
                </c:pt>
                <c:pt idx="5">
                  <c:v>Label F</c:v>
                </c:pt>
              </c:strCache>
            </c:strRef>
          </c:cat>
          <c:val>
            <c:numRef>
              <c:f>Sheet1!$B$2:$G$2</c:f>
              <c:numCache>
                <c:formatCode>General</c:formatCode>
                <c:ptCount val="6"/>
                <c:pt idx="0">
                  <c:v>20.399999999999999</c:v>
                </c:pt>
                <c:pt idx="1">
                  <c:v>27.4</c:v>
                </c:pt>
                <c:pt idx="2">
                  <c:v>90</c:v>
                </c:pt>
                <c:pt idx="3">
                  <c:v>20.399999999999999</c:v>
                </c:pt>
                <c:pt idx="4">
                  <c:v>40</c:v>
                </c:pt>
                <c:pt idx="5">
                  <c:v>55</c:v>
                </c:pt>
              </c:numCache>
            </c:numRef>
          </c:val>
          <c:extLst>
            <c:ext xmlns:c16="http://schemas.microsoft.com/office/drawing/2014/chart" uri="{C3380CC4-5D6E-409C-BE32-E72D297353CC}">
              <c16:uniqueId val="{0000000A-1301-0548-9216-3B58CAC57C19}"/>
            </c:ext>
          </c:extLst>
        </c:ser>
        <c:dLbls>
          <c:showLegendKey val="0"/>
          <c:showVal val="0"/>
          <c:showCatName val="0"/>
          <c:showSerName val="0"/>
          <c:showPercent val="0"/>
          <c:showBubbleSize val="0"/>
        </c:dLbls>
        <c:gapWidth val="275"/>
        <c:overlap val="100"/>
        <c:axId val="308165800"/>
        <c:axId val="308166192"/>
      </c:barChart>
      <c:lineChart>
        <c:grouping val="standard"/>
        <c:varyColors val="0"/>
        <c:ser>
          <c:idx val="1"/>
          <c:order val="1"/>
          <c:tx>
            <c:strRef>
              <c:f>Sheet1!$A$3</c:f>
              <c:strCache>
                <c:ptCount val="1"/>
                <c:pt idx="0">
                  <c:v>Group 2</c:v>
                </c:pt>
              </c:strCache>
            </c:strRef>
          </c:tx>
          <c:spPr>
            <a:ln w="38100" cap="rnd" cmpd="sng" algn="ctr">
              <a:solidFill>
                <a:schemeClr val="tx1">
                  <a:lumMod val="50000"/>
                  <a:lumOff val="50000"/>
                </a:schemeClr>
              </a:solidFill>
              <a:prstDash val="solid"/>
              <a:round/>
            </a:ln>
            <a:effectLst/>
          </c:spPr>
          <c:marker>
            <c:symbol val="circle"/>
            <c:size val="11"/>
            <c:spPr>
              <a:solidFill>
                <a:schemeClr val="bg1"/>
              </a:solidFill>
              <a:ln w="12700" cap="flat" cmpd="sng" algn="ctr">
                <a:solidFill>
                  <a:schemeClr val="tx1">
                    <a:lumMod val="50000"/>
                    <a:lumOff val="50000"/>
                  </a:schemeClr>
                </a:solidFill>
                <a:prstDash val="solid"/>
                <a:round/>
              </a:ln>
              <a:effectLst/>
            </c:spPr>
          </c:marker>
          <c:cat>
            <c:strRef>
              <c:f>Sheet1!$B$1:$G$1</c:f>
              <c:strCache>
                <c:ptCount val="6"/>
                <c:pt idx="0">
                  <c:v>Label A</c:v>
                </c:pt>
                <c:pt idx="1">
                  <c:v>Label B</c:v>
                </c:pt>
                <c:pt idx="2">
                  <c:v>Label C</c:v>
                </c:pt>
                <c:pt idx="3">
                  <c:v>Label D</c:v>
                </c:pt>
                <c:pt idx="4">
                  <c:v>Label E</c:v>
                </c:pt>
                <c:pt idx="5">
                  <c:v>Label F</c:v>
                </c:pt>
              </c:strCache>
            </c:strRef>
          </c:cat>
          <c:val>
            <c:numRef>
              <c:f>Sheet1!$B$3:$G$3</c:f>
              <c:numCache>
                <c:formatCode>General</c:formatCode>
                <c:ptCount val="6"/>
                <c:pt idx="0">
                  <c:v>5</c:v>
                </c:pt>
                <c:pt idx="1">
                  <c:v>3</c:v>
                </c:pt>
                <c:pt idx="2">
                  <c:v>6</c:v>
                </c:pt>
                <c:pt idx="3">
                  <c:v>9</c:v>
                </c:pt>
                <c:pt idx="4">
                  <c:v>10</c:v>
                </c:pt>
                <c:pt idx="5">
                  <c:v>3</c:v>
                </c:pt>
              </c:numCache>
            </c:numRef>
          </c:val>
          <c:smooth val="1"/>
          <c:extLst>
            <c:ext xmlns:c16="http://schemas.microsoft.com/office/drawing/2014/chart" uri="{C3380CC4-5D6E-409C-BE32-E72D297353CC}">
              <c16:uniqueId val="{0000000B-1301-0548-9216-3B58CAC57C19}"/>
            </c:ext>
          </c:extLst>
        </c:ser>
        <c:dLbls>
          <c:showLegendKey val="0"/>
          <c:showVal val="0"/>
          <c:showCatName val="0"/>
          <c:showSerName val="0"/>
          <c:showPercent val="0"/>
          <c:showBubbleSize val="0"/>
        </c:dLbls>
        <c:marker val="1"/>
        <c:smooth val="0"/>
        <c:axId val="548772544"/>
        <c:axId val="308165408"/>
      </c:lineChart>
      <c:catAx>
        <c:axId val="548772544"/>
        <c:scaling>
          <c:orientation val="minMax"/>
        </c:scaling>
        <c:delete val="0"/>
        <c:axPos val="b"/>
        <c:numFmt formatCode="General" sourceLinked="1"/>
        <c:majorTickMark val="none"/>
        <c:minorTickMark val="none"/>
        <c:tickLblPos val="nextTo"/>
        <c:spPr>
          <a:noFill/>
          <a:ln w="12645" cap="flat" cmpd="sng" algn="ctr">
            <a:solidFill>
              <a:schemeClr val="tx2">
                <a:lumMod val="60000"/>
                <a:lumOff val="40000"/>
              </a:schemeClr>
            </a:solidFill>
            <a:prstDash val="solid"/>
            <a:round/>
          </a:ln>
          <a:effectLst/>
        </c:spPr>
        <c:txPr>
          <a:bodyPr rot="0" spcFirstLastPara="1" vertOverflow="ellipsis" wrap="square" anchor="ctr" anchorCtr="1"/>
          <a:lstStyle/>
          <a:p>
            <a:pPr>
              <a:defRPr sz="1400" b="0" i="0" u="none" strike="noStrike" kern="1200" baseline="0">
                <a:solidFill>
                  <a:schemeClr val="tx1">
                    <a:lumMod val="75000"/>
                    <a:lumOff val="25000"/>
                  </a:schemeClr>
                </a:solidFill>
                <a:latin typeface="Segoe UI" panose="020B0502040204020203" pitchFamily="34" charset="0"/>
                <a:ea typeface="Arial"/>
                <a:cs typeface="Segoe UI" panose="020B0502040204020203" pitchFamily="34" charset="0"/>
              </a:defRPr>
            </a:pPr>
            <a:endParaRPr lang="en-US"/>
          </a:p>
        </c:txPr>
        <c:crossAx val="308165408"/>
        <c:crosses val="autoZero"/>
        <c:auto val="1"/>
        <c:lblAlgn val="ctr"/>
        <c:lblOffset val="100"/>
        <c:tickLblSkip val="1"/>
        <c:tickMarkSkip val="1"/>
        <c:noMultiLvlLbl val="0"/>
      </c:catAx>
      <c:valAx>
        <c:axId val="308165408"/>
        <c:scaling>
          <c:orientation val="minMax"/>
        </c:scaling>
        <c:delete val="0"/>
        <c:axPos val="r"/>
        <c:majorGridlines>
          <c:spPr>
            <a:ln w="12700" cap="flat" cmpd="sng" algn="ctr">
              <a:solidFill>
                <a:schemeClr val="tx2">
                  <a:lumMod val="20000"/>
                  <a:lumOff val="80000"/>
                </a:schemeClr>
              </a:solidFill>
              <a:prstDash val="solid"/>
              <a:round/>
            </a:ln>
            <a:effectLst/>
          </c:spPr>
        </c:majorGridlines>
        <c:numFmt formatCode="General" sourceLinked="1"/>
        <c:majorTickMark val="out"/>
        <c:minorTickMark val="none"/>
        <c:tickLblPos val="nextTo"/>
        <c:spPr>
          <a:noFill/>
          <a:ln w="12645" cap="flat" cmpd="sng" algn="ctr">
            <a:noFill/>
            <a:prstDash val="solid"/>
            <a:round/>
          </a:ln>
          <a:effectLst/>
        </c:spPr>
        <c:txPr>
          <a:bodyPr rot="0" spcFirstLastPara="1" vertOverflow="ellipsis" wrap="square" anchor="ctr" anchorCtr="1"/>
          <a:lstStyle/>
          <a:p>
            <a:pPr>
              <a:defRPr sz="1400" b="0" i="0" u="none" strike="noStrike" kern="1200" baseline="0">
                <a:solidFill>
                  <a:schemeClr val="tx1">
                    <a:lumMod val="75000"/>
                    <a:lumOff val="25000"/>
                  </a:schemeClr>
                </a:solidFill>
                <a:latin typeface="Segoe UI" panose="020B0502040204020203" pitchFamily="34" charset="0"/>
                <a:ea typeface="Arial"/>
                <a:cs typeface="Segoe UI" panose="020B0502040204020203" pitchFamily="34" charset="0"/>
              </a:defRPr>
            </a:pPr>
            <a:endParaRPr lang="en-US"/>
          </a:p>
        </c:txPr>
        <c:crossAx val="548772544"/>
        <c:crosses val="max"/>
        <c:crossBetween val="between"/>
      </c:valAx>
      <c:catAx>
        <c:axId val="308165800"/>
        <c:scaling>
          <c:orientation val="minMax"/>
        </c:scaling>
        <c:delete val="1"/>
        <c:axPos val="b"/>
        <c:numFmt formatCode="General" sourceLinked="1"/>
        <c:majorTickMark val="out"/>
        <c:minorTickMark val="none"/>
        <c:tickLblPos val="none"/>
        <c:crossAx val="308166192"/>
        <c:crosses val="autoZero"/>
        <c:auto val="1"/>
        <c:lblAlgn val="ctr"/>
        <c:lblOffset val="100"/>
        <c:noMultiLvlLbl val="0"/>
      </c:catAx>
      <c:valAx>
        <c:axId val="308166192"/>
        <c:scaling>
          <c:orientation val="minMax"/>
        </c:scaling>
        <c:delete val="0"/>
        <c:axPos val="r"/>
        <c:numFmt formatCode="General" sourceLinked="1"/>
        <c:majorTickMark val="none"/>
        <c:minorTickMark val="none"/>
        <c:tickLblPos val="none"/>
        <c:spPr>
          <a:noFill/>
          <a:ln w="9484" cap="flat" cmpd="sng" algn="ctr">
            <a:noFill/>
            <a:prstDash val="solid"/>
            <a:round/>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Segoe UI" panose="020B0502040204020203" pitchFamily="34" charset="0"/>
                <a:ea typeface="Arial"/>
                <a:cs typeface="Segoe UI" panose="020B0502040204020203" pitchFamily="34" charset="0"/>
              </a:defRPr>
            </a:pPr>
            <a:endParaRPr lang="en-US"/>
          </a:p>
        </c:txPr>
        <c:crossAx val="308165800"/>
        <c:crosses val="max"/>
        <c:crossBetween val="between"/>
      </c:valAx>
      <c:spPr>
        <a:noFill/>
        <a:ln w="25291">
          <a:noFill/>
        </a:ln>
        <a:effectLst/>
      </c:spPr>
    </c:plotArea>
    <c:plotVisOnly val="1"/>
    <c:dispBlanksAs val="gap"/>
    <c:showDLblsOverMax val="0"/>
  </c:chart>
  <c:spPr>
    <a:noFill/>
    <a:ln w="12700" cap="flat" cmpd="sng" algn="ctr">
      <a:noFill/>
      <a:prstDash val="solid"/>
      <a:miter lim="800000"/>
    </a:ln>
    <a:effectLst/>
  </c:spPr>
  <c:txPr>
    <a:bodyPr/>
    <a:lstStyle/>
    <a:p>
      <a:pPr>
        <a:defRPr sz="1400" b="0" i="0" u="none" strike="noStrike" baseline="0">
          <a:solidFill>
            <a:schemeClr val="tx1">
              <a:lumMod val="75000"/>
              <a:lumOff val="25000"/>
            </a:schemeClr>
          </a:solidFill>
          <a:latin typeface="Segoe UI" panose="020B0502040204020203" pitchFamily="34" charset="0"/>
          <a:ea typeface="Arial"/>
          <a:cs typeface="Segoe UI" panose="020B0502040204020203" pitchFamily="34" charset="0"/>
        </a:defRPr>
      </a:pPr>
      <a:endParaRPr lang="en-US"/>
    </a:p>
  </c:txPr>
  <c:externalData r:id="rId3">
    <c:autoUpdate val="0"/>
  </c:externalData>
  <c:userShapes r:id="rId4"/>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51</cx:f>
        <cx:lvl ptCount="50">
          <cx:pt idx="0">Category 1</cx:pt>
          <cx:pt idx="1">Category 3</cx:pt>
          <cx:pt idx="2">Category 1</cx:pt>
          <cx:pt idx="3">Category 2</cx:pt>
          <cx:pt idx="4">Category 4</cx:pt>
          <cx:pt idx="5">Category 1</cx:pt>
          <cx:pt idx="6">Category 4</cx:pt>
          <cx:pt idx="7">Category 3</cx:pt>
          <cx:pt idx="8">Category 4</cx:pt>
          <cx:pt idx="9">Category 1</cx:pt>
          <cx:pt idx="10">Category 2</cx:pt>
          <cx:pt idx="11">Category 4</cx:pt>
          <cx:pt idx="12">Category 4</cx:pt>
          <cx:pt idx="13">Category 2</cx:pt>
          <cx:pt idx="14">Category 1</cx:pt>
          <cx:pt idx="15">Category 1</cx:pt>
          <cx:pt idx="16">Category 1</cx:pt>
          <cx:pt idx="17">Category 4</cx:pt>
          <cx:pt idx="18">Category 4</cx:pt>
          <cx:pt idx="19">Category 4</cx:pt>
          <cx:pt idx="20">Category 1</cx:pt>
          <cx:pt idx="21">Category 1</cx:pt>
          <cx:pt idx="22">Category 4</cx:pt>
          <cx:pt idx="23">Category 1</cx:pt>
          <cx:pt idx="24">Category 1</cx:pt>
          <cx:pt idx="25">Category 4</cx:pt>
          <cx:pt idx="26">Category 1</cx:pt>
          <cx:pt idx="27">Category 4</cx:pt>
          <cx:pt idx="28">Category 4</cx:pt>
          <cx:pt idx="29">Category 4</cx:pt>
          <cx:pt idx="30">Category 4</cx:pt>
          <cx:pt idx="31">Category 2</cx:pt>
          <cx:pt idx="32">Category 4</cx:pt>
          <cx:pt idx="33">Category 1</cx:pt>
          <cx:pt idx="34">Category 4</cx:pt>
          <cx:pt idx="35">Category 1</cx:pt>
          <cx:pt idx="36">Category 4</cx:pt>
          <cx:pt idx="37">Category 2</cx:pt>
          <cx:pt idx="38">Category 4</cx:pt>
          <cx:pt idx="39">Category 3</cx:pt>
          <cx:pt idx="40">Category 4</cx:pt>
          <cx:pt idx="41">Category 4</cx:pt>
          <cx:pt idx="42">Category 2</cx:pt>
          <cx:pt idx="43">Category 4</cx:pt>
          <cx:pt idx="44">Category 1</cx:pt>
          <cx:pt idx="45">Category 1</cx:pt>
          <cx:pt idx="46">Category 1</cx:pt>
          <cx:pt idx="47">Category 2</cx:pt>
          <cx:pt idx="48">Category 4</cx:pt>
          <cx:pt idx="49">Category 4</cx:pt>
        </cx:lvl>
      </cx:strDim>
      <cx:numDim type="val">
        <cx:f>Sheet1!$B$2:$B$51</cx:f>
        <cx:lvl ptCount="50" formatCode="General">
          <cx:pt idx="0">1</cx:pt>
          <cx:pt idx="1">1</cx:pt>
          <cx:pt idx="2">1</cx:pt>
          <cx:pt idx="3">1</cx:pt>
          <cx:pt idx="4">1</cx:pt>
          <cx:pt idx="5">1</cx:pt>
          <cx:pt idx="6">1</cx:pt>
          <cx:pt idx="7">1</cx:pt>
          <cx:pt idx="8">1</cx:pt>
          <cx:pt idx="9">1</cx:pt>
          <cx:pt idx="10">1</cx:pt>
          <cx:pt idx="11">1</cx:pt>
          <cx:pt idx="12">1</cx:pt>
          <cx:pt idx="13">1</cx:pt>
          <cx:pt idx="14">1</cx:pt>
          <cx:pt idx="15">1</cx:pt>
          <cx:pt idx="16">1</cx:pt>
          <cx:pt idx="17">1</cx:pt>
          <cx:pt idx="18">1</cx:pt>
          <cx:pt idx="19">1</cx:pt>
          <cx:pt idx="20">1</cx:pt>
          <cx:pt idx="21">1</cx:pt>
          <cx:pt idx="22">1</cx:pt>
          <cx:pt idx="23">1</cx:pt>
          <cx:pt idx="24">1</cx:pt>
          <cx:pt idx="25">1</cx:pt>
          <cx:pt idx="26">1</cx:pt>
          <cx:pt idx="27">1</cx:pt>
          <cx:pt idx="28">1</cx:pt>
          <cx:pt idx="29">1</cx:pt>
          <cx:pt idx="30">1</cx:pt>
          <cx:pt idx="31">1</cx:pt>
          <cx:pt idx="32">1</cx:pt>
          <cx:pt idx="33">1</cx:pt>
          <cx:pt idx="34">1</cx:pt>
          <cx:pt idx="35">1</cx:pt>
          <cx:pt idx="36">1</cx:pt>
          <cx:pt idx="37">1</cx:pt>
          <cx:pt idx="38">1</cx:pt>
          <cx:pt idx="39">1</cx:pt>
          <cx:pt idx="40">1</cx:pt>
          <cx:pt idx="41">1</cx:pt>
          <cx:pt idx="42">1</cx:pt>
          <cx:pt idx="43">1</cx:pt>
          <cx:pt idx="44">1</cx:pt>
          <cx:pt idx="45">1</cx:pt>
          <cx:pt idx="46">1</cx:pt>
          <cx:pt idx="47">1</cx:pt>
          <cx:pt idx="48">1</cx:pt>
          <cx:pt idx="49">1</cx:pt>
        </cx:lvl>
      </cx:numDim>
    </cx:data>
  </cx:chartData>
  <cx:chart>
    <cx:plotArea>
      <cx:plotAreaRegion>
        <cx:plotSurface>
          <cx:spPr>
            <a:solidFill>
              <a:schemeClr val="bg1"/>
            </a:solidFill>
          </cx:spPr>
        </cx:plotSurface>
        <cx:series layoutId="clusteredColumn" uniqueId="{0CFFC480-DD52-7A4B-847E-E339E5BCE088}">
          <cx:tx>
            <cx:txData>
              <cx:f>Sheet1!$B$1</cx:f>
              <cx:v>Series1</cx:v>
            </cx:txData>
          </cx:tx>
          <cx:spPr>
            <a:solidFill>
              <a:srgbClr val="D6222B"/>
            </a:solidFill>
            <a:effectLst>
              <a:outerShdw blurRad="50800" dir="5400000" algn="ctr" rotWithShape="0">
                <a:srgbClr val="000000">
                  <a:alpha val="43137"/>
                </a:srgbClr>
              </a:outerShdw>
            </a:effectLst>
          </cx:spPr>
          <cx:dataPt idx="0">
            <cx:spPr>
              <a:solidFill>
                <a:srgbClr val="D6222B"/>
              </a:solidFill>
            </cx:spPr>
          </cx:dataPt>
          <cx:dataPt idx="1">
            <cx:spPr>
              <a:solidFill>
                <a:srgbClr val="D6222B"/>
              </a:solidFill>
            </cx:spPr>
          </cx:dataPt>
          <cx:dataLabels>
            <cx:txPr>
              <a:bodyPr vertOverflow="overflow" horzOverflow="overflow" wrap="square" lIns="0" tIns="0" rIns="0" bIns="0"/>
              <a:lstStyle/>
              <a:p>
                <a:pPr algn="ctr" rtl="0">
                  <a:defRPr sz="1400" b="1" i="0">
                    <a:solidFill>
                      <a:srgbClr val="595959"/>
                    </a:solidFill>
                    <a:latin typeface="Segoe UI" panose="020B0502040204020203" pitchFamily="34" charset="0"/>
                    <a:ea typeface="Segoe UI" panose="020B0502040204020203" pitchFamily="34" charset="0"/>
                    <a:cs typeface="Segoe UI" panose="020B0502040204020203" pitchFamily="34" charset="0"/>
                  </a:defRPr>
                </a:pPr>
                <a:endParaRPr lang="en-US" sz="1400" b="1">
                  <a:latin typeface="Segoe UI" panose="020B0502040204020203" pitchFamily="34" charset="0"/>
                  <a:cs typeface="Segoe UI" panose="020B0502040204020203" pitchFamily="34" charset="0"/>
                </a:endParaRPr>
              </a:p>
            </cx:txPr>
          </cx:dataLabels>
          <cx:dataId val="0"/>
          <cx:layoutPr>
            <cx:aggregation/>
          </cx:layoutPr>
          <cx:axisId val="1"/>
        </cx:series>
        <cx:series layoutId="paretoLine" ownerIdx="0" uniqueId="{93D2397E-40E2-8742-AB6B-E166F809028B}">
          <cx:spPr>
            <a:ln>
              <a:solidFill>
                <a:schemeClr val="tx1"/>
              </a:solidFill>
            </a:ln>
          </cx:spPr>
          <cx:axisId val="2"/>
        </cx:series>
      </cx:plotAreaRegion>
      <cx:axis id="0">
        <cx:catScaling gapWidth="0"/>
        <cx:tickLabels/>
        <cx:txPr>
          <a:bodyPr vertOverflow="overflow" horzOverflow="overflow" wrap="square" lIns="0" tIns="0" rIns="0" bIns="0"/>
          <a:lstStyle/>
          <a:p>
            <a:pPr algn="ctr" rtl="0">
              <a:defRPr sz="1400" b="0" i="0">
                <a:solidFill>
                  <a:srgbClr val="595959"/>
                </a:solidFill>
                <a:latin typeface="Segoe UI" panose="020B0502040204020203" pitchFamily="34" charset="0"/>
                <a:ea typeface="Segoe UI" panose="020B0502040204020203" pitchFamily="34" charset="0"/>
                <a:cs typeface="Segoe UI" panose="020B0502040204020203" pitchFamily="34" charset="0"/>
              </a:defRPr>
            </a:pPr>
            <a:endParaRPr lang="en-US" sz="1400">
              <a:latin typeface="Segoe UI" panose="020B0502040204020203" pitchFamily="34" charset="0"/>
              <a:cs typeface="Segoe UI" panose="020B0502040204020203" pitchFamily="34" charset="0"/>
            </a:endParaRPr>
          </a:p>
        </cx:txPr>
      </cx:axis>
      <cx:axis id="1">
        <cx:valScaling/>
        <cx:majorGridlines/>
        <cx:tickLabels/>
        <cx:txPr>
          <a:bodyPr vertOverflow="overflow" horzOverflow="overflow" wrap="square" lIns="0" tIns="0" rIns="0" bIns="0"/>
          <a:lstStyle/>
          <a:p>
            <a:pPr algn="ctr" rtl="0">
              <a:defRPr sz="1200" b="0" i="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defRPr>
            </a:pPr>
            <a:endParaRPr lang="en-US" sz="1200">
              <a:solidFill>
                <a:schemeClr val="bg1">
                  <a:lumMod val="50000"/>
                </a:schemeClr>
              </a:solidFill>
              <a:latin typeface="Segoe UI" panose="020B0502040204020203" pitchFamily="34" charset="0"/>
              <a:cs typeface="Segoe UI" panose="020B0502040204020203" pitchFamily="34" charset="0"/>
            </a:endParaRPr>
          </a:p>
        </cx:txPr>
      </cx:axis>
      <cx:axis id="2">
        <cx:valScaling max="1" min="0"/>
        <cx:units unit="percentage"/>
        <cx:tickLabels/>
        <cx:txPr>
          <a:bodyPr vertOverflow="overflow" horzOverflow="overflow" wrap="square" lIns="0" tIns="0" rIns="0" bIns="0"/>
          <a:lstStyle/>
          <a:p>
            <a:pPr algn="ctr" rtl="0">
              <a:defRPr sz="1200" b="0" i="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defRPr>
            </a:pPr>
            <a:endParaRPr lang="en-US" sz="1200">
              <a:solidFill>
                <a:schemeClr val="bg1">
                  <a:lumMod val="50000"/>
                </a:schemeClr>
              </a:solidFill>
              <a:latin typeface="Segoe UI" panose="020B0502040204020203" pitchFamily="34" charset="0"/>
              <a:cs typeface="Segoe UI" panose="020B0502040204020203" pitchFamily="34" charset="0"/>
            </a:endParaRPr>
          </a:p>
        </cx:txPr>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9">
  <a:schemeClr val="accent6"/>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895</cdr:x>
      <cdr:y>0</cdr:y>
    </cdr:from>
    <cdr:to>
      <cdr:x>0.19775</cdr:x>
      <cdr:y>0.07075</cdr:y>
    </cdr:to>
    <cdr:sp macro="" textlink="">
      <cdr:nvSpPr>
        <cdr:cNvPr id="1025" name="Text Box 1"/>
        <cdr:cNvSpPr txBox="1">
          <a:spLocks xmlns:a="http://schemas.openxmlformats.org/drawingml/2006/main" noChangeArrowheads="1"/>
        </cdr:cNvSpPr>
      </cdr:nvSpPr>
      <cdr:spPr bwMode="auto">
        <a:xfrm xmlns:a="http://schemas.openxmlformats.org/drawingml/2006/main">
          <a:off x="1328471" y="-519865"/>
          <a:ext cx="57836" cy="304600"/>
        </a:xfrm>
        <a:prstGeom xmlns:a="http://schemas.openxmlformats.org/drawingml/2006/main" prst="rect">
          <a:avLst/>
        </a:prstGeom>
        <a:noFill xmlns:a="http://schemas.openxmlformats.org/drawingml/2006/main"/>
        <a:ln xmlns:a="http://schemas.openxmlformats.org/drawingml/2006/main" w="9525">
          <a:noFill/>
          <a:miter lim="800000"/>
          <a:headEnd/>
          <a:tailEnd/>
        </a:ln>
      </cdr:spPr>
    </cdr:sp>
  </cdr:relSizeAnchor>
  <cdr:relSizeAnchor xmlns:cdr="http://schemas.openxmlformats.org/drawingml/2006/chartDrawing">
    <cdr:from>
      <cdr:x>0.11028</cdr:x>
      <cdr:y>0.04403</cdr:y>
    </cdr:from>
    <cdr:to>
      <cdr:x>0.22944</cdr:x>
      <cdr:y>0.10173</cdr:y>
    </cdr:to>
    <cdr:sp macro="" textlink="">
      <cdr:nvSpPr>
        <cdr:cNvPr id="1026" name="Text Box 2"/>
        <cdr:cNvSpPr txBox="1">
          <a:spLocks xmlns:a="http://schemas.openxmlformats.org/drawingml/2006/main" noChangeArrowheads="1"/>
        </cdr:cNvSpPr>
      </cdr:nvSpPr>
      <cdr:spPr bwMode="auto">
        <a:xfrm xmlns:a="http://schemas.openxmlformats.org/drawingml/2006/main">
          <a:off x="1269428" y="189087"/>
          <a:ext cx="1371646" cy="247775"/>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32004" rIns="0" bIns="0" anchor="t" upright="1">
          <a:spAutoFit/>
        </a:bodyPr>
        <a:lstStyle xmlns:a="http://schemas.openxmlformats.org/drawingml/2006/main"/>
        <a:p xmlns:a="http://schemas.openxmlformats.org/drawingml/2006/main">
          <a:pPr algn="ctr" rtl="0">
            <a:defRPr sz="1000"/>
          </a:pPr>
          <a:r>
            <a:rPr lang="de-DE" sz="1400" b="0" i="0" u="none" strike="noStrike" cap="all" baseline="0" dirty="0">
              <a:solidFill>
                <a:srgbClr val="C00000"/>
              </a:solidFill>
              <a:latin typeface="+mj-lt"/>
              <a:cs typeface="Arial"/>
            </a:rPr>
            <a:t>Group 1</a:t>
          </a:r>
        </a:p>
      </cdr:txBody>
    </cdr:sp>
  </cdr:relSizeAnchor>
  <cdr:relSizeAnchor xmlns:cdr="http://schemas.openxmlformats.org/drawingml/2006/chartDrawing">
    <cdr:from>
      <cdr:x>0.21887</cdr:x>
      <cdr:y>0.04119</cdr:y>
    </cdr:from>
    <cdr:to>
      <cdr:x>0.39181</cdr:x>
      <cdr:y>0.09889</cdr:y>
    </cdr:to>
    <cdr:sp macro="" textlink="">
      <cdr:nvSpPr>
        <cdr:cNvPr id="1027" name="Text Box 3"/>
        <cdr:cNvSpPr txBox="1">
          <a:spLocks xmlns:a="http://schemas.openxmlformats.org/drawingml/2006/main" noChangeArrowheads="1"/>
        </cdr:cNvSpPr>
      </cdr:nvSpPr>
      <cdr:spPr bwMode="auto">
        <a:xfrm xmlns:a="http://schemas.openxmlformats.org/drawingml/2006/main">
          <a:off x="2519451" y="176895"/>
          <a:ext cx="1990706" cy="247775"/>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27432" tIns="32004" rIns="0" bIns="0" anchor="t" upright="1">
          <a:spAutoFit/>
        </a:bodyPr>
        <a:lstStyle xmlns:a="http://schemas.openxmlformats.org/drawingml/2006/main"/>
        <a:p xmlns:a="http://schemas.openxmlformats.org/drawingml/2006/main">
          <a:pPr algn="ctr" rtl="0">
            <a:defRPr sz="1000"/>
          </a:pPr>
          <a:r>
            <a:rPr lang="de-DE" sz="1400" b="0" i="0" u="none" strike="noStrike" cap="all" baseline="0" dirty="0">
              <a:solidFill>
                <a:schemeClr val="tx1">
                  <a:lumMod val="50000"/>
                  <a:lumOff val="50000"/>
                </a:schemeClr>
              </a:solidFill>
              <a:latin typeface="+mj-lt"/>
              <a:cs typeface="Arial"/>
            </a:rPr>
            <a:t>Group 2</a:t>
          </a:r>
        </a:p>
      </cdr:txBody>
    </cdr:sp>
  </cdr:relSizeAnchor>
</c:userShapes>
</file>

<file path=ppt/drawings/drawing2.xml><?xml version="1.0" encoding="utf-8"?>
<c:userShapes xmlns:c="http://schemas.openxmlformats.org/drawingml/2006/chart">
  <cdr:relSizeAnchor xmlns:cdr="http://schemas.openxmlformats.org/drawingml/2006/chartDrawing">
    <cdr:from>
      <cdr:x>0.06771</cdr:x>
      <cdr:y>0.017</cdr:y>
    </cdr:from>
    <cdr:to>
      <cdr:x>0.35733</cdr:x>
      <cdr:y>0.07255</cdr:y>
    </cdr:to>
    <cdr:sp macro="" textlink="">
      <cdr:nvSpPr>
        <cdr:cNvPr id="1028" name="Text Box 4"/>
        <cdr:cNvSpPr txBox="1">
          <a:spLocks xmlns:a="http://schemas.openxmlformats.org/drawingml/2006/main" noChangeArrowheads="1"/>
        </cdr:cNvSpPr>
      </cdr:nvSpPr>
      <cdr:spPr bwMode="auto">
        <a:xfrm xmlns:a="http://schemas.openxmlformats.org/drawingml/2006/main">
          <a:off x="779462" y="73001"/>
          <a:ext cx="3333750" cy="238527"/>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18288" tIns="22860" rIns="0" bIns="0" anchor="t" upright="1">
          <a:spAutoFit/>
        </a:bodyPr>
        <a:lstStyle xmlns:a="http://schemas.openxmlformats.org/drawingml/2006/main"/>
        <a:p xmlns:a="http://schemas.openxmlformats.org/drawingml/2006/main">
          <a:pPr algn="ctr" rtl="0">
            <a:defRPr sz="1000"/>
          </a:pPr>
          <a:r>
            <a:rPr lang="de-DE" sz="1400" b="0" i="0" u="none" strike="noStrike" cap="all" baseline="0" dirty="0">
              <a:solidFill>
                <a:srgbClr val="D61B22"/>
              </a:solidFill>
              <a:latin typeface="+mj-lt"/>
            </a:rPr>
            <a:t>Group 1</a:t>
          </a:r>
        </a:p>
      </cdr:txBody>
    </cdr:sp>
  </cdr:relSizeAnchor>
  <cdr:relSizeAnchor xmlns:cdr="http://schemas.openxmlformats.org/drawingml/2006/chartDrawing">
    <cdr:from>
      <cdr:x>0.35733</cdr:x>
      <cdr:y>0.017</cdr:y>
    </cdr:from>
    <cdr:to>
      <cdr:x>0.80168</cdr:x>
      <cdr:y>0.07255</cdr:y>
    </cdr:to>
    <cdr:sp macro="" textlink="">
      <cdr:nvSpPr>
        <cdr:cNvPr id="1029" name="Text Box 5"/>
        <cdr:cNvSpPr txBox="1">
          <a:spLocks xmlns:a="http://schemas.openxmlformats.org/drawingml/2006/main" noChangeArrowheads="1"/>
        </cdr:cNvSpPr>
      </cdr:nvSpPr>
      <cdr:spPr bwMode="auto">
        <a:xfrm xmlns:a="http://schemas.openxmlformats.org/drawingml/2006/main">
          <a:off x="4113211" y="73001"/>
          <a:ext cx="5114925" cy="238527"/>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18288" tIns="22860" rIns="0" bIns="0" anchor="t" upright="1">
          <a:spAutoFit/>
        </a:bodyPr>
        <a:lstStyle xmlns:a="http://schemas.openxmlformats.org/drawingml/2006/main"/>
        <a:p xmlns:a="http://schemas.openxmlformats.org/drawingml/2006/main">
          <a:pPr algn="ctr" rtl="0">
            <a:defRPr sz="1000"/>
          </a:pPr>
          <a:r>
            <a:rPr lang="de-DE" sz="1400" b="0" i="0" u="none" strike="noStrike" cap="all" baseline="0" dirty="0">
              <a:solidFill>
                <a:schemeClr val="tx1">
                  <a:lumMod val="50000"/>
                  <a:lumOff val="50000"/>
                </a:schemeClr>
              </a:solidFill>
              <a:latin typeface="+mj-lt"/>
            </a:rPr>
            <a:t>Group 2</a:t>
          </a:r>
        </a:p>
      </cdr:txBody>
    </cdr:sp>
  </cdr:relSizeAnchor>
  <cdr:relSizeAnchor xmlns:cdr="http://schemas.openxmlformats.org/drawingml/2006/chartDrawing">
    <cdr:from>
      <cdr:x>0.80416</cdr:x>
      <cdr:y>0.017</cdr:y>
    </cdr:from>
    <cdr:to>
      <cdr:x>1</cdr:x>
      <cdr:y>0.07255</cdr:y>
    </cdr:to>
    <cdr:sp macro="" textlink="">
      <cdr:nvSpPr>
        <cdr:cNvPr id="1030" name="Text Box 6"/>
        <cdr:cNvSpPr txBox="1">
          <a:spLocks xmlns:a="http://schemas.openxmlformats.org/drawingml/2006/main" noChangeArrowheads="1"/>
        </cdr:cNvSpPr>
      </cdr:nvSpPr>
      <cdr:spPr bwMode="auto">
        <a:xfrm xmlns:a="http://schemas.openxmlformats.org/drawingml/2006/main">
          <a:off x="9256712" y="73001"/>
          <a:ext cx="2254250" cy="238527"/>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18288" tIns="22860" rIns="0" bIns="0" anchor="t" upright="1">
          <a:spAutoFit/>
        </a:bodyPr>
        <a:lstStyle xmlns:a="http://schemas.openxmlformats.org/drawingml/2006/main"/>
        <a:p xmlns:a="http://schemas.openxmlformats.org/drawingml/2006/main">
          <a:pPr algn="ctr" rtl="0">
            <a:defRPr sz="1000"/>
          </a:pPr>
          <a:r>
            <a:rPr lang="de-DE" sz="1400" b="0" i="0" u="none" strike="noStrike" cap="all" baseline="0" dirty="0">
              <a:solidFill>
                <a:schemeClr val="tx1">
                  <a:lumMod val="75000"/>
                  <a:lumOff val="25000"/>
                </a:schemeClr>
              </a:solidFill>
              <a:latin typeface="+mj-lt"/>
            </a:rPr>
            <a:t>Group 3</a:t>
          </a:r>
        </a:p>
      </cdr:txBody>
    </cdr:sp>
  </cdr:relSizeAnchor>
</c:userShapes>
</file>

<file path=ppt/drawings/drawing3.xml><?xml version="1.0" encoding="utf-8"?>
<c:userShapes xmlns:c="http://schemas.openxmlformats.org/drawingml/2006/chart">
  <cdr:relSizeAnchor xmlns:cdr="http://schemas.openxmlformats.org/drawingml/2006/chartDrawing">
    <cdr:from>
      <cdr:x>0.17362</cdr:x>
      <cdr:y>0.09846</cdr:y>
    </cdr:from>
    <cdr:to>
      <cdr:x>0.23927</cdr:x>
      <cdr:y>0.09846</cdr:y>
    </cdr:to>
    <cdr:cxnSp macro="">
      <cdr:nvCxnSpPr>
        <cdr:cNvPr id="3" name="Straight Connector 2">
          <a:extLst xmlns:a="http://schemas.openxmlformats.org/drawingml/2006/main">
            <a:ext uri="{FF2B5EF4-FFF2-40B4-BE49-F238E27FC236}">
              <a16:creationId xmlns:a16="http://schemas.microsoft.com/office/drawing/2014/main" id="{7228EA0E-83AA-6F80-374F-4697637FB0E0}"/>
            </a:ext>
          </a:extLst>
        </cdr:cNvPr>
        <cdr:cNvCxnSpPr/>
      </cdr:nvCxnSpPr>
      <cdr:spPr>
        <a:xfrm xmlns:a="http://schemas.openxmlformats.org/drawingml/2006/main">
          <a:off x="1999008" y="422808"/>
          <a:ext cx="755904" cy="0"/>
        </a:xfrm>
        <a:prstGeom xmlns:a="http://schemas.openxmlformats.org/drawingml/2006/main" prst="line">
          <a:avLst/>
        </a:prstGeom>
        <a:ln xmlns:a="http://schemas.openxmlformats.org/drawingml/2006/main" w="12700">
          <a:solidFill>
            <a:srgbClr val="9A8DAF"/>
          </a:solidFill>
          <a:prstDash val="dash"/>
        </a:l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dr:relSizeAnchor xmlns:cdr="http://schemas.openxmlformats.org/drawingml/2006/chartDrawing">
    <cdr:from>
      <cdr:x>0.17362</cdr:x>
      <cdr:y>0.1666</cdr:y>
    </cdr:from>
    <cdr:to>
      <cdr:x>0.43389</cdr:x>
      <cdr:y>0.1666</cdr:y>
    </cdr:to>
    <cdr:cxnSp macro="">
      <cdr:nvCxnSpPr>
        <cdr:cNvPr id="4" name="Straight Connector 3">
          <a:extLst xmlns:a="http://schemas.openxmlformats.org/drawingml/2006/main">
            <a:ext uri="{FF2B5EF4-FFF2-40B4-BE49-F238E27FC236}">
              <a16:creationId xmlns:a16="http://schemas.microsoft.com/office/drawing/2014/main" id="{5AE8DF12-1138-E57D-AC23-9CA38675409B}"/>
            </a:ext>
          </a:extLst>
        </cdr:cNvPr>
        <cdr:cNvCxnSpPr/>
      </cdr:nvCxnSpPr>
      <cdr:spPr>
        <a:xfrm xmlns:a="http://schemas.openxmlformats.org/drawingml/2006/main">
          <a:off x="1999008" y="715416"/>
          <a:ext cx="2996680" cy="0"/>
        </a:xfrm>
        <a:prstGeom xmlns:a="http://schemas.openxmlformats.org/drawingml/2006/main" prst="line">
          <a:avLst/>
        </a:prstGeom>
        <a:ln xmlns:a="http://schemas.openxmlformats.org/drawingml/2006/main" w="12700">
          <a:solidFill>
            <a:srgbClr val="9A8DAF"/>
          </a:solidFill>
          <a:prstDash val="dash"/>
        </a:l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dr:relSizeAnchor xmlns:cdr="http://schemas.openxmlformats.org/drawingml/2006/chartDrawing">
    <cdr:from>
      <cdr:x>0.17362</cdr:x>
      <cdr:y>0.3048</cdr:y>
    </cdr:from>
    <cdr:to>
      <cdr:x>0.62659</cdr:x>
      <cdr:y>0.3048</cdr:y>
    </cdr:to>
    <cdr:cxnSp macro="">
      <cdr:nvCxnSpPr>
        <cdr:cNvPr id="7" name="Straight Connector 6">
          <a:extLst xmlns:a="http://schemas.openxmlformats.org/drawingml/2006/main">
            <a:ext uri="{FF2B5EF4-FFF2-40B4-BE49-F238E27FC236}">
              <a16:creationId xmlns:a16="http://schemas.microsoft.com/office/drawing/2014/main" id="{90BDC11E-78FA-8B95-6718-FE509E313B1A}"/>
            </a:ext>
          </a:extLst>
        </cdr:cNvPr>
        <cdr:cNvCxnSpPr/>
      </cdr:nvCxnSpPr>
      <cdr:spPr>
        <a:xfrm xmlns:a="http://schemas.openxmlformats.org/drawingml/2006/main">
          <a:off x="1999008" y="1308855"/>
          <a:ext cx="5215341" cy="0"/>
        </a:xfrm>
        <a:prstGeom xmlns:a="http://schemas.openxmlformats.org/drawingml/2006/main" prst="line">
          <a:avLst/>
        </a:prstGeom>
        <a:ln xmlns:a="http://schemas.openxmlformats.org/drawingml/2006/main" w="12700">
          <a:solidFill>
            <a:srgbClr val="9A8DAF"/>
          </a:solidFill>
          <a:prstDash val="dash"/>
        </a:l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dr:relSizeAnchor xmlns:cdr="http://schemas.openxmlformats.org/drawingml/2006/chartDrawing">
    <cdr:from>
      <cdr:x>0.17362</cdr:x>
      <cdr:y>0.50852</cdr:y>
    </cdr:from>
    <cdr:to>
      <cdr:x>0.82607</cdr:x>
      <cdr:y>0.50852</cdr:y>
    </cdr:to>
    <cdr:cxnSp macro="">
      <cdr:nvCxnSpPr>
        <cdr:cNvPr id="9" name="Straight Connector 8">
          <a:extLst xmlns:a="http://schemas.openxmlformats.org/drawingml/2006/main">
            <a:ext uri="{FF2B5EF4-FFF2-40B4-BE49-F238E27FC236}">
              <a16:creationId xmlns:a16="http://schemas.microsoft.com/office/drawing/2014/main" id="{26A28425-D06C-1490-EED2-92D8EDE0820A}"/>
            </a:ext>
          </a:extLst>
        </cdr:cNvPr>
        <cdr:cNvCxnSpPr/>
      </cdr:nvCxnSpPr>
      <cdr:spPr>
        <a:xfrm xmlns:a="http://schemas.openxmlformats.org/drawingml/2006/main">
          <a:off x="1999008" y="2183669"/>
          <a:ext cx="7511973" cy="0"/>
        </a:xfrm>
        <a:prstGeom xmlns:a="http://schemas.openxmlformats.org/drawingml/2006/main" prst="line">
          <a:avLst/>
        </a:prstGeom>
        <a:ln xmlns:a="http://schemas.openxmlformats.org/drawingml/2006/main" w="12700">
          <a:solidFill>
            <a:srgbClr val="9A8DAF"/>
          </a:solidFill>
          <a:prstDash val="dash"/>
        </a:l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cdr:x>
      <cdr:y>0.75839</cdr:y>
    </cdr:from>
    <cdr:to>
      <cdr:x>0.09218</cdr:x>
      <cdr:y>0.82064</cdr:y>
    </cdr:to>
    <cdr:sp macro="" textlink="">
      <cdr:nvSpPr>
        <cdr:cNvPr id="1025" name="Text Box 1"/>
        <cdr:cNvSpPr txBox="1">
          <a:spLocks xmlns:a="http://schemas.openxmlformats.org/drawingml/2006/main" noChangeArrowheads="1"/>
        </cdr:cNvSpPr>
      </cdr:nvSpPr>
      <cdr:spPr bwMode="auto">
        <a:xfrm xmlns:a="http://schemas.openxmlformats.org/drawingml/2006/main">
          <a:off x="0" y="3256668"/>
          <a:ext cx="1062288" cy="267312"/>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36576" tIns="27432" rIns="0" bIns="0" anchor="t" upright="1"/>
        <a:lstStyle xmlns:a="http://schemas.openxmlformats.org/drawingml/2006/main"/>
        <a:p xmlns:a="http://schemas.openxmlformats.org/drawingml/2006/main">
          <a:pPr algn="l" rtl="0">
            <a:defRPr sz="1000"/>
          </a:pPr>
          <a:r>
            <a:rPr lang="de-DE" sz="1400" b="1" i="0" strike="noStrike" cap="all" baseline="0" dirty="0">
              <a:solidFill>
                <a:srgbClr val="C00000"/>
              </a:solidFill>
              <a:latin typeface="Segoe UI" panose="020B0502040204020203" pitchFamily="34" charset="0"/>
              <a:cs typeface="Segoe UI" panose="020B0502040204020203" pitchFamily="34" charset="0"/>
            </a:rPr>
            <a:t>Group 1</a:t>
          </a:r>
        </a:p>
      </cdr:txBody>
    </cdr:sp>
  </cdr:relSizeAnchor>
</c:userShapes>
</file>

<file path=ppt/drawings/drawing5.xml><?xml version="1.0" encoding="utf-8"?>
<c:userShapes xmlns:c="http://schemas.openxmlformats.org/drawingml/2006/chart">
  <cdr:relSizeAnchor xmlns:cdr="http://schemas.openxmlformats.org/drawingml/2006/chartDrawing">
    <cdr:from>
      <cdr:x>0.38629</cdr:x>
      <cdr:y>0.45043</cdr:y>
    </cdr:from>
    <cdr:to>
      <cdr:x>0.59966</cdr:x>
      <cdr:y>0.56039</cdr:y>
    </cdr:to>
    <cdr:sp macro="" textlink="">
      <cdr:nvSpPr>
        <cdr:cNvPr id="2" name="Inhaltsplatzhalter 9"/>
        <cdr:cNvSpPr>
          <a:spLocks xmlns:a="http://schemas.openxmlformats.org/drawingml/2006/main" noGrp="1"/>
        </cdr:cNvSpPr>
      </cdr:nvSpPr>
      <cdr:spPr bwMode="auto">
        <a:xfrm xmlns:a="http://schemas.openxmlformats.org/drawingml/2006/main">
          <a:off x="4446570" y="2179496"/>
          <a:ext cx="2456093" cy="532041"/>
        </a:xfrm>
        <a:prstGeom xmlns:a="http://schemas.openxmlformats.org/drawingml/2006/main" prst="rect">
          <a:avLst/>
        </a:prstGeom>
        <a:noFill xmlns:a="http://schemas.openxmlformats.org/drawingml/2006/main"/>
        <a:ln xmlns:a="http://schemas.openxmlformats.org/drawingml/2006/main" w="12700">
          <a:noFill/>
          <a:miter lim="800000"/>
          <a:headEnd/>
          <a:tailEnd/>
        </a:ln>
      </cdr:spPr>
      <cdr:txBody>
        <a:bodyPr xmlns:a="http://schemas.openxmlformats.org/drawingml/2006/main" vert="horz" wrap="square" lIns="0" tIns="108000" rIns="0" bIns="108000" numCol="1" anchor="t" anchorCtr="0" compatLnSpc="1">
          <a:prstTxWarp prst="textNoShape">
            <a:avLst/>
          </a:prstTxWarp>
          <a:spAutoFit/>
        </a:bodyPr>
        <a:lstStyle xmlns:a="http://schemas.openxmlformats.org/drawingml/2006/main">
          <a:lvl1pPr marL="0" indent="0" algn="l" rtl="0" eaLnBrk="0" fontAlgn="base" hangingPunct="0">
            <a:spcBef>
              <a:spcPts val="300"/>
            </a:spcBef>
            <a:spcAft>
              <a:spcPts val="300"/>
            </a:spcAft>
            <a:buFont typeface="Arial" charset="0"/>
            <a:buNone/>
            <a:defRPr lang="de-DE" sz="2000" b="1" kern="1200" dirty="0" smtClean="0">
              <a:solidFill>
                <a:schemeClr val="accent2"/>
              </a:solidFill>
              <a:latin typeface="+mn-lt"/>
              <a:ea typeface="+mn-ea"/>
              <a:cs typeface="+mn-cs"/>
            </a:defRPr>
          </a:lvl1pPr>
          <a:lvl2pPr marL="363538" indent="-188913" algn="l" rtl="0" eaLnBrk="0" fontAlgn="base" hangingPunct="0">
            <a:spcBef>
              <a:spcPts val="300"/>
            </a:spcBef>
            <a:spcAft>
              <a:spcPts val="300"/>
            </a:spcAft>
            <a:buFont typeface="Arial" charset="0"/>
            <a:buChar char="–"/>
            <a:defRPr lang="de-DE" sz="2000" kern="1200" dirty="0" smtClean="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lang="de-DE" sz="1800" kern="1200" dirty="0" smtClean="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lang="de-DE" sz="1600" kern="1200" dirty="0" smtClean="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lang="en-AU" sz="14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algn="ctr">
            <a:lnSpc>
              <a:spcPct val="85000"/>
            </a:lnSpc>
          </a:pPr>
          <a:r>
            <a:rPr lang="en-US" sz="2400" b="0" dirty="0">
              <a:solidFill>
                <a:schemeClr val="tx1"/>
              </a:solidFill>
              <a:latin typeface="Segoe UI" panose="020B0502040204020203" pitchFamily="34" charset="0"/>
              <a:cs typeface="Segoe UI" panose="020B0502040204020203" pitchFamily="34" charset="0"/>
            </a:rPr>
            <a:t>$150M</a:t>
          </a:r>
          <a:endParaRPr lang="de-DE" sz="2800" b="0" dirty="0">
            <a:solidFill>
              <a:schemeClr val="tx1"/>
            </a:solidFill>
            <a:latin typeface="Segoe UI" panose="020B0502040204020203" pitchFamily="34" charset="0"/>
            <a:cs typeface="Segoe UI" panose="020B0502040204020203" pitchFamily="34" charset="0"/>
          </a:endParaRPr>
        </a:p>
      </cdr:txBody>
    </cdr:sp>
  </cdr:relSizeAnchor>
  <cdr:relSizeAnchor xmlns:cdr="http://schemas.openxmlformats.org/drawingml/2006/chartDrawing">
    <cdr:from>
      <cdr:x>0.67448</cdr:x>
      <cdr:y>0.45213</cdr:y>
    </cdr:from>
    <cdr:to>
      <cdr:x>0.80462</cdr:x>
      <cdr:y>0.52002</cdr:y>
    </cdr:to>
    <cdr:sp macro="" textlink="">
      <cdr:nvSpPr>
        <cdr:cNvPr id="3" name="Text Box 1"/>
        <cdr:cNvSpPr txBox="1">
          <a:spLocks xmlns:a="http://schemas.openxmlformats.org/drawingml/2006/main" noChangeArrowheads="1"/>
        </cdr:cNvSpPr>
      </cdr:nvSpPr>
      <cdr:spPr bwMode="auto">
        <a:xfrm xmlns:a="http://schemas.openxmlformats.org/drawingml/2006/main">
          <a:off x="7763903" y="2187722"/>
          <a:ext cx="1498059" cy="328499"/>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400" b="0" i="0" strike="noStrike" dirty="0">
              <a:solidFill>
                <a:schemeClr val="tx2"/>
              </a:solidFill>
              <a:latin typeface="Segoe UI" panose="020B0502040204020203" pitchFamily="34" charset="0"/>
              <a:cs typeface="Segoe UI" panose="020B0502040204020203" pitchFamily="34" charset="0"/>
            </a:rPr>
            <a:t>Label A</a:t>
          </a:r>
        </a:p>
      </cdr:txBody>
    </cdr:sp>
  </cdr:relSizeAnchor>
  <cdr:relSizeAnchor xmlns:cdr="http://schemas.openxmlformats.org/drawingml/2006/chartDrawing">
    <cdr:from>
      <cdr:x>0.19303</cdr:x>
      <cdr:y>0.61918</cdr:y>
    </cdr:from>
    <cdr:to>
      <cdr:x>0.32511</cdr:x>
      <cdr:y>0.68688</cdr:y>
    </cdr:to>
    <cdr:sp macro="" textlink="">
      <cdr:nvSpPr>
        <cdr:cNvPr id="4" name="Text Box 2"/>
        <cdr:cNvSpPr txBox="1">
          <a:spLocks xmlns:a="http://schemas.openxmlformats.org/drawingml/2006/main" noChangeArrowheads="1"/>
        </cdr:cNvSpPr>
      </cdr:nvSpPr>
      <cdr:spPr bwMode="auto">
        <a:xfrm xmlns:a="http://schemas.openxmlformats.org/drawingml/2006/main">
          <a:off x="2221977" y="2996017"/>
          <a:ext cx="1520369" cy="3276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400" b="0" i="0" strike="noStrike" dirty="0">
              <a:solidFill>
                <a:schemeClr val="tx2"/>
              </a:solidFill>
              <a:latin typeface="Segoe UI" panose="020B0502040204020203" pitchFamily="34" charset="0"/>
              <a:cs typeface="Segoe UI" panose="020B0502040204020203" pitchFamily="34" charset="0"/>
            </a:rPr>
            <a:t>Label B</a:t>
          </a:r>
        </a:p>
      </cdr:txBody>
    </cdr:sp>
  </cdr:relSizeAnchor>
  <cdr:relSizeAnchor xmlns:cdr="http://schemas.openxmlformats.org/drawingml/2006/chartDrawing">
    <cdr:from>
      <cdr:x>0.19303</cdr:x>
      <cdr:y>0.31341</cdr:y>
    </cdr:from>
    <cdr:to>
      <cdr:x>0.32427</cdr:x>
      <cdr:y>0.38112</cdr:y>
    </cdr:to>
    <cdr:sp macro="" textlink="">
      <cdr:nvSpPr>
        <cdr:cNvPr id="5" name="Text Box 3"/>
        <cdr:cNvSpPr txBox="1">
          <a:spLocks xmlns:a="http://schemas.openxmlformats.org/drawingml/2006/main" noChangeArrowheads="1"/>
        </cdr:cNvSpPr>
      </cdr:nvSpPr>
      <cdr:spPr bwMode="auto">
        <a:xfrm xmlns:a="http://schemas.openxmlformats.org/drawingml/2006/main">
          <a:off x="2221977" y="1516512"/>
          <a:ext cx="1510642" cy="3276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400" b="0" i="0" strike="noStrike" dirty="0">
              <a:solidFill>
                <a:schemeClr val="tx2"/>
              </a:solidFill>
              <a:latin typeface="Segoe UI" panose="020B0502040204020203" pitchFamily="34" charset="0"/>
              <a:cs typeface="Segoe UI" panose="020B0502040204020203" pitchFamily="34" charset="0"/>
            </a:rPr>
            <a:t>Label C</a:t>
          </a:r>
        </a:p>
      </cdr:txBody>
    </cdr:sp>
  </cdr:relSizeAnchor>
  <cdr:relSizeAnchor xmlns:cdr="http://schemas.openxmlformats.org/drawingml/2006/chartDrawing">
    <cdr:from>
      <cdr:x>0.19303</cdr:x>
      <cdr:y>0.09648</cdr:y>
    </cdr:from>
    <cdr:to>
      <cdr:x>0.2936</cdr:x>
      <cdr:y>0.16418</cdr:y>
    </cdr:to>
    <cdr:sp macro="" textlink="">
      <cdr:nvSpPr>
        <cdr:cNvPr id="6" name="Text Box 4"/>
        <cdr:cNvSpPr txBox="1">
          <a:spLocks xmlns:a="http://schemas.openxmlformats.org/drawingml/2006/main" noChangeArrowheads="1"/>
        </cdr:cNvSpPr>
      </cdr:nvSpPr>
      <cdr:spPr bwMode="auto">
        <a:xfrm xmlns:a="http://schemas.openxmlformats.org/drawingml/2006/main">
          <a:off x="2221977" y="466825"/>
          <a:ext cx="1157591" cy="3276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400" b="0" i="0" strike="noStrike" dirty="0">
              <a:solidFill>
                <a:schemeClr val="tx2"/>
              </a:solidFill>
              <a:latin typeface="Segoe UI" panose="020B0502040204020203" pitchFamily="34" charset="0"/>
              <a:cs typeface="Segoe UI" panose="020B0502040204020203" pitchFamily="34" charset="0"/>
            </a:rPr>
            <a:t>Label D</a:t>
          </a:r>
        </a:p>
      </cdr:txBody>
    </cdr:sp>
  </cdr:relSizeAnchor>
</c:userShapes>
</file>

<file path=ppt/drawings/drawing6.xml><?xml version="1.0" encoding="utf-8"?>
<c:userShapes xmlns:c="http://schemas.openxmlformats.org/drawingml/2006/chart">
  <cdr:relSizeAnchor xmlns:cdr="http://schemas.openxmlformats.org/drawingml/2006/chartDrawing">
    <cdr:from>
      <cdr:x>0.27861</cdr:x>
      <cdr:y>0</cdr:y>
    </cdr:from>
    <cdr:to>
      <cdr:x>0.49753</cdr:x>
      <cdr:y>0.04192</cdr:y>
    </cdr:to>
    <cdr:sp macro="" textlink="">
      <cdr:nvSpPr>
        <cdr:cNvPr id="2" name="Text Box 1"/>
        <cdr:cNvSpPr txBox="1">
          <a:spLocks xmlns:a="http://schemas.openxmlformats.org/drawingml/2006/main" noChangeArrowheads="1"/>
        </cdr:cNvSpPr>
      </cdr:nvSpPr>
      <cdr:spPr bwMode="auto">
        <a:xfrm xmlns:a="http://schemas.openxmlformats.org/drawingml/2006/main">
          <a:off x="3207055" y="0"/>
          <a:ext cx="2520000" cy="180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200" b="0" i="0" strike="noStrike" cap="all" baseline="0" dirty="0">
              <a:solidFill>
                <a:schemeClr val="tx1">
                  <a:lumMod val="75000"/>
                  <a:lumOff val="25000"/>
                </a:schemeClr>
              </a:solidFill>
              <a:latin typeface="Segoe UI" panose="020B0502040204020203" pitchFamily="34" charset="0"/>
              <a:cs typeface="Segoe UI" panose="020B0502040204020203" pitchFamily="34" charset="0"/>
            </a:rPr>
            <a:t>Label A</a:t>
          </a:r>
        </a:p>
      </cdr:txBody>
    </cdr:sp>
  </cdr:relSizeAnchor>
  <cdr:relSizeAnchor xmlns:cdr="http://schemas.openxmlformats.org/drawingml/2006/chartDrawing">
    <cdr:from>
      <cdr:x>0.27861</cdr:x>
      <cdr:y>0.05682</cdr:y>
    </cdr:from>
    <cdr:to>
      <cdr:x>0.49753</cdr:x>
      <cdr:y>0.09873</cdr:y>
    </cdr:to>
    <cdr:sp macro="" textlink="">
      <cdr:nvSpPr>
        <cdr:cNvPr id="3" name="Text Box 2"/>
        <cdr:cNvSpPr txBox="1">
          <a:spLocks xmlns:a="http://schemas.openxmlformats.org/drawingml/2006/main" noChangeArrowheads="1"/>
        </cdr:cNvSpPr>
      </cdr:nvSpPr>
      <cdr:spPr bwMode="auto">
        <a:xfrm xmlns:a="http://schemas.openxmlformats.org/drawingml/2006/main">
          <a:off x="3207055" y="243982"/>
          <a:ext cx="2520000" cy="180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200" b="0" i="0" strike="noStrike" cap="all" baseline="0" dirty="0">
              <a:solidFill>
                <a:schemeClr val="tx1">
                  <a:lumMod val="50000"/>
                  <a:lumOff val="50000"/>
                </a:schemeClr>
              </a:solidFill>
              <a:latin typeface="Segoe UI" panose="020B0502040204020203" pitchFamily="34" charset="0"/>
              <a:cs typeface="Segoe UI" panose="020B0502040204020203" pitchFamily="34" charset="0"/>
            </a:rPr>
            <a:t>Label B</a:t>
          </a:r>
        </a:p>
      </cdr:txBody>
    </cdr:sp>
  </cdr:relSizeAnchor>
  <cdr:relSizeAnchor xmlns:cdr="http://schemas.openxmlformats.org/drawingml/2006/chartDrawing">
    <cdr:from>
      <cdr:x>0.27861</cdr:x>
      <cdr:y>0.1127</cdr:y>
    </cdr:from>
    <cdr:to>
      <cdr:x>0.49753</cdr:x>
      <cdr:y>0.15462</cdr:y>
    </cdr:to>
    <cdr:sp macro="" textlink="">
      <cdr:nvSpPr>
        <cdr:cNvPr id="4" name="Text Box 3"/>
        <cdr:cNvSpPr txBox="1">
          <a:spLocks xmlns:a="http://schemas.openxmlformats.org/drawingml/2006/main" noChangeArrowheads="1"/>
        </cdr:cNvSpPr>
      </cdr:nvSpPr>
      <cdr:spPr bwMode="auto">
        <a:xfrm xmlns:a="http://schemas.openxmlformats.org/drawingml/2006/main">
          <a:off x="3207055" y="483947"/>
          <a:ext cx="2520000" cy="180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200" b="0" i="0" strike="noStrike" cap="all" baseline="0" dirty="0">
              <a:solidFill>
                <a:srgbClr val="FF0000"/>
              </a:solidFill>
              <a:latin typeface="Segoe UI" panose="020B0502040204020203" pitchFamily="34" charset="0"/>
              <a:cs typeface="Segoe UI" panose="020B0502040204020203" pitchFamily="34" charset="0"/>
            </a:rPr>
            <a:t>Label C</a:t>
          </a:r>
        </a:p>
      </cdr:txBody>
    </cdr:sp>
  </cdr:relSizeAnchor>
  <cdr:relSizeAnchor xmlns:cdr="http://schemas.openxmlformats.org/drawingml/2006/chartDrawing">
    <cdr:from>
      <cdr:x>0.27861</cdr:x>
      <cdr:y>0.1622</cdr:y>
    </cdr:from>
    <cdr:to>
      <cdr:x>0.49753</cdr:x>
      <cdr:y>0.20412</cdr:y>
    </cdr:to>
    <cdr:sp macro="" textlink="">
      <cdr:nvSpPr>
        <cdr:cNvPr id="5" name="Text Box 4"/>
        <cdr:cNvSpPr txBox="1">
          <a:spLocks xmlns:a="http://schemas.openxmlformats.org/drawingml/2006/main" noChangeArrowheads="1"/>
        </cdr:cNvSpPr>
      </cdr:nvSpPr>
      <cdr:spPr bwMode="auto">
        <a:xfrm xmlns:a="http://schemas.openxmlformats.org/drawingml/2006/main">
          <a:off x="3207055" y="696530"/>
          <a:ext cx="2520000" cy="180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200" b="0" i="0" strike="noStrike" cap="all" baseline="0" dirty="0">
              <a:solidFill>
                <a:srgbClr val="C00000"/>
              </a:solidFill>
              <a:latin typeface="Segoe UI" panose="020B0502040204020203" pitchFamily="34" charset="0"/>
              <a:cs typeface="Segoe UI" panose="020B0502040204020203" pitchFamily="34" charset="0"/>
            </a:rPr>
            <a:t>Label D</a:t>
          </a:r>
        </a:p>
      </cdr:txBody>
    </cdr:sp>
  </cdr:relSizeAnchor>
  <cdr:relSizeAnchor xmlns:cdr="http://schemas.openxmlformats.org/drawingml/2006/chartDrawing">
    <cdr:from>
      <cdr:x>0.27861</cdr:x>
      <cdr:y>0.21775</cdr:y>
    </cdr:from>
    <cdr:to>
      <cdr:x>0.49753</cdr:x>
      <cdr:y>0.25967</cdr:y>
    </cdr:to>
    <cdr:sp macro="" textlink="">
      <cdr:nvSpPr>
        <cdr:cNvPr id="6" name="Text Box 4"/>
        <cdr:cNvSpPr txBox="1">
          <a:spLocks xmlns:a="http://schemas.openxmlformats.org/drawingml/2006/main" noChangeArrowheads="1"/>
        </cdr:cNvSpPr>
      </cdr:nvSpPr>
      <cdr:spPr bwMode="auto">
        <a:xfrm xmlns:a="http://schemas.openxmlformats.org/drawingml/2006/main">
          <a:off x="3207055" y="935069"/>
          <a:ext cx="2520000" cy="180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rtl="0">
            <a:defRPr sz="1000"/>
          </a:pPr>
          <a:r>
            <a:rPr lang="de-DE" sz="1200" b="0" i="0" strike="noStrike" cap="all" baseline="0" dirty="0">
              <a:solidFill>
                <a:schemeClr val="tx1"/>
              </a:solidFill>
              <a:latin typeface="Segoe UI" panose="020B0502040204020203" pitchFamily="34" charset="0"/>
              <a:cs typeface="Segoe UI" panose="020B0502040204020203" pitchFamily="34" charset="0"/>
            </a:rPr>
            <a:t>Label F</a:t>
          </a:r>
        </a:p>
      </cdr:txBody>
    </cdr:sp>
  </cdr:relSizeAnchor>
</c:userShapes>
</file>

<file path=ppt/drawings/drawing7.xml><?xml version="1.0" encoding="utf-8"?>
<c:userShapes xmlns:c="http://schemas.openxmlformats.org/drawingml/2006/chart">
  <cdr:relSizeAnchor xmlns:cdr="http://schemas.openxmlformats.org/drawingml/2006/chartDrawing">
    <cdr:from>
      <cdr:x>0.87803</cdr:x>
      <cdr:y>0.23474</cdr:y>
    </cdr:from>
    <cdr:to>
      <cdr:x>1</cdr:x>
      <cdr:y>0.28504</cdr:y>
    </cdr:to>
    <cdr:sp macro="" textlink="">
      <cdr:nvSpPr>
        <cdr:cNvPr id="2" name="Text Box 1"/>
        <cdr:cNvSpPr txBox="1">
          <a:spLocks xmlns:a="http://schemas.openxmlformats.org/drawingml/2006/main" noChangeArrowheads="1"/>
        </cdr:cNvSpPr>
      </cdr:nvSpPr>
      <cdr:spPr bwMode="auto">
        <a:xfrm xmlns:a="http://schemas.openxmlformats.org/drawingml/2006/main">
          <a:off x="10114172" y="1008027"/>
          <a:ext cx="1404000"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0" i="0" strike="noStrike" cap="all" baseline="0" dirty="0">
              <a:solidFill>
                <a:schemeClr val="tx1">
                  <a:lumMod val="50000"/>
                  <a:lumOff val="50000"/>
                </a:schemeClr>
              </a:solidFill>
              <a:latin typeface="+mj-lt"/>
              <a:cs typeface="Arial"/>
            </a:rPr>
            <a:t>Group A</a:t>
          </a:r>
        </a:p>
      </cdr:txBody>
    </cdr:sp>
  </cdr:relSizeAnchor>
  <cdr:relSizeAnchor xmlns:cdr="http://schemas.openxmlformats.org/drawingml/2006/chartDrawing">
    <cdr:from>
      <cdr:x>0.87803</cdr:x>
      <cdr:y>0.39673</cdr:y>
    </cdr:from>
    <cdr:to>
      <cdr:x>1</cdr:x>
      <cdr:y>0.44703</cdr:y>
    </cdr:to>
    <cdr:sp macro="" textlink="">
      <cdr:nvSpPr>
        <cdr:cNvPr id="3" name="Text Box 2"/>
        <cdr:cNvSpPr txBox="1">
          <a:spLocks xmlns:a="http://schemas.openxmlformats.org/drawingml/2006/main" noChangeArrowheads="1"/>
        </cdr:cNvSpPr>
      </cdr:nvSpPr>
      <cdr:spPr bwMode="auto">
        <a:xfrm xmlns:a="http://schemas.openxmlformats.org/drawingml/2006/main">
          <a:off x="10114172" y="1703624"/>
          <a:ext cx="1404000"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0" i="0" strike="noStrike" cap="all" baseline="0" dirty="0">
              <a:solidFill>
                <a:schemeClr val="accent3"/>
              </a:solidFill>
              <a:latin typeface="+mj-lt"/>
              <a:cs typeface="Arial"/>
            </a:rPr>
            <a:t>Group B</a:t>
          </a:r>
        </a:p>
      </cdr:txBody>
    </cdr:sp>
  </cdr:relSizeAnchor>
  <cdr:relSizeAnchor xmlns:cdr="http://schemas.openxmlformats.org/drawingml/2006/chartDrawing">
    <cdr:from>
      <cdr:x>0.87803</cdr:x>
      <cdr:y>0.15375</cdr:y>
    </cdr:from>
    <cdr:to>
      <cdr:x>1</cdr:x>
      <cdr:y>0.20405</cdr:y>
    </cdr:to>
    <cdr:sp macro="" textlink="">
      <cdr:nvSpPr>
        <cdr:cNvPr id="4" name="Text Box 3"/>
        <cdr:cNvSpPr txBox="1">
          <a:spLocks xmlns:a="http://schemas.openxmlformats.org/drawingml/2006/main" noChangeArrowheads="1"/>
        </cdr:cNvSpPr>
      </cdr:nvSpPr>
      <cdr:spPr bwMode="auto">
        <a:xfrm xmlns:a="http://schemas.openxmlformats.org/drawingml/2006/main">
          <a:off x="10114172" y="660228"/>
          <a:ext cx="1404000"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0" i="0" strike="noStrike" cap="all" baseline="0" dirty="0">
              <a:solidFill>
                <a:schemeClr val="tx1"/>
              </a:solidFill>
              <a:latin typeface="+mj-lt"/>
              <a:cs typeface="Arial"/>
            </a:rPr>
            <a:t>Group C</a:t>
          </a:r>
        </a:p>
      </cdr:txBody>
    </cdr:sp>
  </cdr:relSizeAnchor>
  <cdr:relSizeAnchor xmlns:cdr="http://schemas.openxmlformats.org/drawingml/2006/chartDrawing">
    <cdr:from>
      <cdr:x>0.87803</cdr:x>
      <cdr:y>0.31574</cdr:y>
    </cdr:from>
    <cdr:to>
      <cdr:x>1</cdr:x>
      <cdr:y>0.36604</cdr:y>
    </cdr:to>
    <cdr:sp macro="" textlink="">
      <cdr:nvSpPr>
        <cdr:cNvPr id="5" name="Text Box 4"/>
        <cdr:cNvSpPr txBox="1">
          <a:spLocks xmlns:a="http://schemas.openxmlformats.org/drawingml/2006/main" noChangeArrowheads="1"/>
        </cdr:cNvSpPr>
      </cdr:nvSpPr>
      <cdr:spPr bwMode="auto">
        <a:xfrm xmlns:a="http://schemas.openxmlformats.org/drawingml/2006/main">
          <a:off x="10114172" y="1355826"/>
          <a:ext cx="1404000"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0" i="0" strike="noStrike" cap="all" baseline="0" dirty="0">
              <a:solidFill>
                <a:srgbClr val="FF0000"/>
              </a:solidFill>
              <a:latin typeface="+mj-lt"/>
              <a:cs typeface="Arial"/>
            </a:rPr>
            <a:t>Group D</a:t>
          </a:r>
        </a:p>
      </cdr:txBody>
    </cdr:sp>
  </cdr:relSizeAnchor>
</c:userShapes>
</file>

<file path=ppt/drawings/drawing8.xml><?xml version="1.0" encoding="utf-8"?>
<c:userShapes xmlns:c="http://schemas.openxmlformats.org/drawingml/2006/chart">
  <cdr:relSizeAnchor xmlns:cdr="http://schemas.openxmlformats.org/drawingml/2006/chartDrawing">
    <cdr:from>
      <cdr:x>0.87803</cdr:x>
      <cdr:y>0.23474</cdr:y>
    </cdr:from>
    <cdr:to>
      <cdr:x>1</cdr:x>
      <cdr:y>0.28504</cdr:y>
    </cdr:to>
    <cdr:sp macro="" textlink="">
      <cdr:nvSpPr>
        <cdr:cNvPr id="2" name="Text Box 1"/>
        <cdr:cNvSpPr txBox="1">
          <a:spLocks xmlns:a="http://schemas.openxmlformats.org/drawingml/2006/main" noChangeArrowheads="1"/>
        </cdr:cNvSpPr>
      </cdr:nvSpPr>
      <cdr:spPr bwMode="auto">
        <a:xfrm xmlns:a="http://schemas.openxmlformats.org/drawingml/2006/main">
          <a:off x="10114172" y="1008027"/>
          <a:ext cx="1404000"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0" i="0" strike="noStrike" cap="all" baseline="0" dirty="0">
              <a:solidFill>
                <a:schemeClr val="tx1">
                  <a:lumMod val="50000"/>
                  <a:lumOff val="50000"/>
                </a:schemeClr>
              </a:solidFill>
              <a:latin typeface="+mj-lt"/>
              <a:cs typeface="Arial"/>
            </a:rPr>
            <a:t>Group A</a:t>
          </a:r>
        </a:p>
      </cdr:txBody>
    </cdr:sp>
  </cdr:relSizeAnchor>
  <cdr:relSizeAnchor xmlns:cdr="http://schemas.openxmlformats.org/drawingml/2006/chartDrawing">
    <cdr:from>
      <cdr:x>0.87803</cdr:x>
      <cdr:y>0.39673</cdr:y>
    </cdr:from>
    <cdr:to>
      <cdr:x>1</cdr:x>
      <cdr:y>0.44703</cdr:y>
    </cdr:to>
    <cdr:sp macro="" textlink="">
      <cdr:nvSpPr>
        <cdr:cNvPr id="3" name="Text Box 2"/>
        <cdr:cNvSpPr txBox="1">
          <a:spLocks xmlns:a="http://schemas.openxmlformats.org/drawingml/2006/main" noChangeArrowheads="1"/>
        </cdr:cNvSpPr>
      </cdr:nvSpPr>
      <cdr:spPr bwMode="auto">
        <a:xfrm xmlns:a="http://schemas.openxmlformats.org/drawingml/2006/main">
          <a:off x="10114172" y="1703624"/>
          <a:ext cx="1404000"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0" i="0" strike="noStrike" cap="all" baseline="0" dirty="0">
              <a:solidFill>
                <a:schemeClr val="accent3"/>
              </a:solidFill>
              <a:latin typeface="+mj-lt"/>
              <a:cs typeface="Arial"/>
            </a:rPr>
            <a:t>Group B</a:t>
          </a:r>
        </a:p>
      </cdr:txBody>
    </cdr:sp>
  </cdr:relSizeAnchor>
  <cdr:relSizeAnchor xmlns:cdr="http://schemas.openxmlformats.org/drawingml/2006/chartDrawing">
    <cdr:from>
      <cdr:x>0.87803</cdr:x>
      <cdr:y>0.15375</cdr:y>
    </cdr:from>
    <cdr:to>
      <cdr:x>1</cdr:x>
      <cdr:y>0.20405</cdr:y>
    </cdr:to>
    <cdr:sp macro="" textlink="">
      <cdr:nvSpPr>
        <cdr:cNvPr id="4" name="Text Box 3"/>
        <cdr:cNvSpPr txBox="1">
          <a:spLocks xmlns:a="http://schemas.openxmlformats.org/drawingml/2006/main" noChangeArrowheads="1"/>
        </cdr:cNvSpPr>
      </cdr:nvSpPr>
      <cdr:spPr bwMode="auto">
        <a:xfrm xmlns:a="http://schemas.openxmlformats.org/drawingml/2006/main">
          <a:off x="10114172" y="660228"/>
          <a:ext cx="1404000"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0" i="0" strike="noStrike" cap="all" baseline="0" dirty="0">
              <a:solidFill>
                <a:schemeClr val="tx1"/>
              </a:solidFill>
              <a:latin typeface="+mj-lt"/>
              <a:cs typeface="Arial"/>
            </a:rPr>
            <a:t>Group C</a:t>
          </a:r>
        </a:p>
      </cdr:txBody>
    </cdr:sp>
  </cdr:relSizeAnchor>
  <cdr:relSizeAnchor xmlns:cdr="http://schemas.openxmlformats.org/drawingml/2006/chartDrawing">
    <cdr:from>
      <cdr:x>0.87803</cdr:x>
      <cdr:y>0.31574</cdr:y>
    </cdr:from>
    <cdr:to>
      <cdr:x>1</cdr:x>
      <cdr:y>0.36604</cdr:y>
    </cdr:to>
    <cdr:sp macro="" textlink="">
      <cdr:nvSpPr>
        <cdr:cNvPr id="5" name="Text Box 4"/>
        <cdr:cNvSpPr txBox="1">
          <a:spLocks xmlns:a="http://schemas.openxmlformats.org/drawingml/2006/main" noChangeArrowheads="1"/>
        </cdr:cNvSpPr>
      </cdr:nvSpPr>
      <cdr:spPr bwMode="auto">
        <a:xfrm xmlns:a="http://schemas.openxmlformats.org/drawingml/2006/main">
          <a:off x="10114172" y="1355826"/>
          <a:ext cx="1404000"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0" i="0" strike="noStrike" cap="all" baseline="0" dirty="0">
              <a:solidFill>
                <a:srgbClr val="FF0000"/>
              </a:solidFill>
              <a:latin typeface="+mj-lt"/>
              <a:cs typeface="Arial"/>
            </a:rPr>
            <a:t>Group D</a:t>
          </a:r>
        </a:p>
      </cdr:txBody>
    </cdr:sp>
  </cdr:relSizeAnchor>
</c:userShapes>
</file>

<file path=ppt/drawings/drawing9.xml><?xml version="1.0" encoding="utf-8"?>
<c:userShapes xmlns:c="http://schemas.openxmlformats.org/drawingml/2006/chart">
  <cdr:relSizeAnchor xmlns:cdr="http://schemas.openxmlformats.org/drawingml/2006/chartDrawing">
    <cdr:from>
      <cdr:x>0.87803</cdr:x>
      <cdr:y>0.23474</cdr:y>
    </cdr:from>
    <cdr:to>
      <cdr:x>1</cdr:x>
      <cdr:y>0.28504</cdr:y>
    </cdr:to>
    <cdr:sp macro="" textlink="">
      <cdr:nvSpPr>
        <cdr:cNvPr id="2" name="Text Box 1"/>
        <cdr:cNvSpPr txBox="1">
          <a:spLocks xmlns:a="http://schemas.openxmlformats.org/drawingml/2006/main" noChangeArrowheads="1"/>
        </cdr:cNvSpPr>
      </cdr:nvSpPr>
      <cdr:spPr bwMode="auto">
        <a:xfrm xmlns:a="http://schemas.openxmlformats.org/drawingml/2006/main">
          <a:off x="10114172" y="1008027"/>
          <a:ext cx="1404000"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0" i="0" strike="noStrike" cap="all" baseline="0" dirty="0">
              <a:solidFill>
                <a:schemeClr val="tx1">
                  <a:lumMod val="50000"/>
                  <a:lumOff val="50000"/>
                </a:schemeClr>
              </a:solidFill>
              <a:latin typeface="+mj-lt"/>
              <a:cs typeface="Arial"/>
            </a:rPr>
            <a:t>Group A</a:t>
          </a:r>
        </a:p>
      </cdr:txBody>
    </cdr:sp>
  </cdr:relSizeAnchor>
  <cdr:relSizeAnchor xmlns:cdr="http://schemas.openxmlformats.org/drawingml/2006/chartDrawing">
    <cdr:from>
      <cdr:x>0.87803</cdr:x>
      <cdr:y>0.39673</cdr:y>
    </cdr:from>
    <cdr:to>
      <cdr:x>1</cdr:x>
      <cdr:y>0.44703</cdr:y>
    </cdr:to>
    <cdr:sp macro="" textlink="">
      <cdr:nvSpPr>
        <cdr:cNvPr id="3" name="Text Box 2"/>
        <cdr:cNvSpPr txBox="1">
          <a:spLocks xmlns:a="http://schemas.openxmlformats.org/drawingml/2006/main" noChangeArrowheads="1"/>
        </cdr:cNvSpPr>
      </cdr:nvSpPr>
      <cdr:spPr bwMode="auto">
        <a:xfrm xmlns:a="http://schemas.openxmlformats.org/drawingml/2006/main">
          <a:off x="10114172" y="1703624"/>
          <a:ext cx="1404000"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0" i="0" strike="noStrike" cap="all" baseline="0" dirty="0">
              <a:solidFill>
                <a:schemeClr val="accent3"/>
              </a:solidFill>
              <a:latin typeface="+mj-lt"/>
              <a:cs typeface="Arial"/>
            </a:rPr>
            <a:t>Group B</a:t>
          </a:r>
        </a:p>
      </cdr:txBody>
    </cdr:sp>
  </cdr:relSizeAnchor>
  <cdr:relSizeAnchor xmlns:cdr="http://schemas.openxmlformats.org/drawingml/2006/chartDrawing">
    <cdr:from>
      <cdr:x>0.87803</cdr:x>
      <cdr:y>0.15375</cdr:y>
    </cdr:from>
    <cdr:to>
      <cdr:x>1</cdr:x>
      <cdr:y>0.20405</cdr:y>
    </cdr:to>
    <cdr:sp macro="" textlink="">
      <cdr:nvSpPr>
        <cdr:cNvPr id="4" name="Text Box 3"/>
        <cdr:cNvSpPr txBox="1">
          <a:spLocks xmlns:a="http://schemas.openxmlformats.org/drawingml/2006/main" noChangeArrowheads="1"/>
        </cdr:cNvSpPr>
      </cdr:nvSpPr>
      <cdr:spPr bwMode="auto">
        <a:xfrm xmlns:a="http://schemas.openxmlformats.org/drawingml/2006/main">
          <a:off x="5944160" y="660231"/>
          <a:ext cx="825723" cy="21599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0" i="0" strike="noStrike" cap="all" baseline="0" dirty="0">
              <a:solidFill>
                <a:schemeClr val="tx1"/>
              </a:solidFill>
              <a:latin typeface="+mj-lt"/>
              <a:cs typeface="Arial"/>
            </a:rPr>
            <a:t>Group C</a:t>
          </a:r>
        </a:p>
      </cdr:txBody>
    </cdr:sp>
  </cdr:relSizeAnchor>
  <cdr:relSizeAnchor xmlns:cdr="http://schemas.openxmlformats.org/drawingml/2006/chartDrawing">
    <cdr:from>
      <cdr:x>0.87803</cdr:x>
      <cdr:y>0.31574</cdr:y>
    </cdr:from>
    <cdr:to>
      <cdr:x>1</cdr:x>
      <cdr:y>0.36604</cdr:y>
    </cdr:to>
    <cdr:sp macro="" textlink="">
      <cdr:nvSpPr>
        <cdr:cNvPr id="5" name="Text Box 4"/>
        <cdr:cNvSpPr txBox="1">
          <a:spLocks xmlns:a="http://schemas.openxmlformats.org/drawingml/2006/main" noChangeArrowheads="1"/>
        </cdr:cNvSpPr>
      </cdr:nvSpPr>
      <cdr:spPr bwMode="auto">
        <a:xfrm xmlns:a="http://schemas.openxmlformats.org/drawingml/2006/main">
          <a:off x="10114172" y="1355826"/>
          <a:ext cx="1404000" cy="21600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lIns="45720" tIns="36576" rIns="45720" bIns="0" anchor="t"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a:defRPr sz="1000"/>
          </a:pPr>
          <a:r>
            <a:rPr lang="de-DE" sz="1200" b="0" i="0" strike="noStrike" cap="all" baseline="0" dirty="0">
              <a:solidFill>
                <a:srgbClr val="FF0000"/>
              </a:solidFill>
              <a:latin typeface="+mj-lt"/>
              <a:cs typeface="Arial"/>
            </a:rPr>
            <a:t>Group D</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B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4D34AC-E14C-C240-86BC-C291D5713F5A}" type="datetimeFigureOut">
              <a:rPr lang="en-BR" smtClean="0"/>
              <a:t>02/28/2025</a:t>
            </a:fld>
            <a:endParaRPr lang="en-B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B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B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B767907-6F8C-984F-A1EF-FF39073F4499}" type="slidenum">
              <a:rPr lang="en-BR" smtClean="0"/>
              <a:t>‹#›</a:t>
            </a:fld>
            <a:endParaRPr lang="en-BR"/>
          </a:p>
        </p:txBody>
      </p:sp>
    </p:spTree>
    <p:extLst>
      <p:ext uri="{BB962C8B-B14F-4D97-AF65-F5344CB8AC3E}">
        <p14:creationId xmlns:p14="http://schemas.microsoft.com/office/powerpoint/2010/main" val="35940886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44000" indent="-144000" eaLnBrk="0" hangingPunct="0">
              <a:spcBef>
                <a:spcPts val="100"/>
              </a:spcBef>
              <a:spcAft>
                <a:spcPts val="100"/>
              </a:spcAft>
              <a:tabLst>
                <a:tab pos="192088" algn="l"/>
              </a:tabLst>
            </a:pPr>
            <a:r>
              <a:rPr lang="en-US" sz="1200" b="1">
                <a:latin typeface="Segoe UI" panose="020B0502040204020203" pitchFamily="34" charset="0"/>
                <a:cs typeface="Segoe UI" panose="020B0502040204020203" pitchFamily="34" charset="0"/>
              </a:rPr>
              <a:t>Hints:</a:t>
            </a:r>
          </a:p>
          <a:p>
            <a:pPr marL="144000" indent="-144000" eaLnBrk="0" hangingPunct="0">
              <a:spcBef>
                <a:spcPts val="100"/>
              </a:spcBef>
              <a:spcAft>
                <a:spcPts val="100"/>
              </a:spcAft>
              <a:tabLst>
                <a:tab pos="192088" algn="l"/>
              </a:tabLst>
            </a:pPr>
            <a:r>
              <a:rPr lang="en-US" sz="1200">
                <a:latin typeface="Segoe UI" panose="020B0502040204020203" pitchFamily="34" charset="0"/>
                <a:cs typeface="Segoe UI" panose="020B0502040204020203" pitchFamily="34" charset="0"/>
              </a:rPr>
              <a:t>1	Calculate the total and enter it in the "Sum" row (which is in a transparent bar)</a:t>
            </a:r>
          </a:p>
          <a:p>
            <a:pPr marL="144000" indent="-144000" eaLnBrk="0" hangingPunct="0">
              <a:spcBef>
                <a:spcPts val="100"/>
              </a:spcBef>
              <a:spcAft>
                <a:spcPts val="100"/>
              </a:spcAft>
              <a:tabLst>
                <a:tab pos="192088" algn="l"/>
              </a:tabLst>
            </a:pPr>
            <a:r>
              <a:rPr lang="en-US" sz="1200">
                <a:latin typeface="Segoe UI" panose="020B0502040204020203" pitchFamily="34" charset="0"/>
                <a:cs typeface="Segoe UI" panose="020B0502040204020203" pitchFamily="34" charset="0"/>
              </a:rPr>
              <a:t>2	Left align the total value (which is in a transparent bar)</a:t>
            </a:r>
          </a:p>
          <a:p>
            <a:pPr marL="144000" indent="-144000" eaLnBrk="0" hangingPunct="0">
              <a:spcBef>
                <a:spcPts val="100"/>
              </a:spcBef>
              <a:spcAft>
                <a:spcPts val="100"/>
              </a:spcAft>
              <a:tabLst>
                <a:tab pos="192088" algn="l"/>
              </a:tabLst>
            </a:pPr>
            <a:r>
              <a:rPr lang="en-US" sz="1200">
                <a:latin typeface="Segoe UI" panose="020B0502040204020203" pitchFamily="34" charset="0"/>
                <a:cs typeface="Segoe UI" panose="020B0502040204020203" pitchFamily="34" charset="0"/>
              </a:rPr>
              <a:t>3	Add the legend names manually</a:t>
            </a:r>
          </a:p>
          <a:p>
            <a:pPr marL="144000" indent="-144000" eaLnBrk="0" hangingPunct="0">
              <a:spcBef>
                <a:spcPts val="100"/>
              </a:spcBef>
              <a:spcAft>
                <a:spcPts val="100"/>
              </a:spcAft>
              <a:tabLst>
                <a:tab pos="192088" algn="l"/>
              </a:tabLst>
            </a:pPr>
            <a:r>
              <a:rPr lang="en-US" sz="1200">
                <a:latin typeface="Segoe UI" panose="020B0502040204020203" pitchFamily="34" charset="0"/>
                <a:cs typeface="Segoe UI" panose="020B0502040204020203" pitchFamily="34" charset="0"/>
              </a:rPr>
              <a:t>4	To change the width of the rows select Chart Options and turn on the x-axis, then use Format Axis/Scale to set the length of the x-axis. Once the scale is set, use Chart Options again to remove the x-axis</a:t>
            </a:r>
          </a:p>
        </p:txBody>
      </p:sp>
      <p:sp>
        <p:nvSpPr>
          <p:cNvPr id="4" name="Slide Number Placeholder 3"/>
          <p:cNvSpPr>
            <a:spLocks noGrp="1"/>
          </p:cNvSpPr>
          <p:nvPr>
            <p:ph type="sldNum" sz="quarter" idx="5"/>
          </p:nvPr>
        </p:nvSpPr>
        <p:spPr/>
        <p:txBody>
          <a:bodyPr/>
          <a:lstStyle/>
          <a:p>
            <a:fld id="{DB767907-6F8C-984F-A1EF-FF39073F4499}" type="slidenum">
              <a:rPr lang="en-BR" smtClean="0"/>
              <a:t>13</a:t>
            </a:fld>
            <a:endParaRPr lang="en-BR"/>
          </a:p>
        </p:txBody>
      </p:sp>
    </p:spTree>
    <p:extLst>
      <p:ext uri="{BB962C8B-B14F-4D97-AF65-F5344CB8AC3E}">
        <p14:creationId xmlns:p14="http://schemas.microsoft.com/office/powerpoint/2010/main" val="41864574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2563" indent="-182563">
              <a:spcBef>
                <a:spcPts val="100"/>
              </a:spcBef>
              <a:spcAft>
                <a:spcPts val="100"/>
              </a:spcAft>
              <a:buClr>
                <a:srgbClr val="000000"/>
              </a:buClr>
              <a:buSzPct val="100000"/>
            </a:pPr>
            <a:r>
              <a:rPr lang="en-US" sz="1200" b="1">
                <a:latin typeface="Segoe UI" panose="020B0502040204020203" pitchFamily="34" charset="0"/>
                <a:cs typeface="Segoe UI" panose="020B0502040204020203" pitchFamily="34" charset="0"/>
              </a:rPr>
              <a:t>Hints:</a:t>
            </a:r>
          </a:p>
          <a:p>
            <a:pPr marL="144000" indent="-144000">
              <a:spcBef>
                <a:spcPts val="100"/>
              </a:spcBef>
              <a:spcAft>
                <a:spcPts val="100"/>
              </a:spcAft>
              <a:buClr>
                <a:srgbClr val="000000"/>
              </a:buClr>
              <a:buSzPct val="100000"/>
            </a:pPr>
            <a:r>
              <a:rPr lang="en-US" sz="1200">
                <a:latin typeface="Segoe UI" panose="020B0502040204020203" pitchFamily="34" charset="0"/>
                <a:cs typeface="Segoe UI" panose="020B0502040204020203" pitchFamily="34" charset="0"/>
              </a:rPr>
              <a:t>1	Calculate and enter the value corresponding to the area below the column in the row marked "Space"</a:t>
            </a:r>
          </a:p>
          <a:p>
            <a:pPr marL="144000" indent="-144000">
              <a:spcBef>
                <a:spcPts val="100"/>
              </a:spcBef>
              <a:spcAft>
                <a:spcPts val="100"/>
              </a:spcAft>
              <a:buClr>
                <a:srgbClr val="000000"/>
              </a:buClr>
              <a:buSzPct val="100000"/>
            </a:pPr>
            <a:r>
              <a:rPr lang="en-US" sz="1200">
                <a:latin typeface="Segoe UI" panose="020B0502040204020203" pitchFamily="34" charset="0"/>
                <a:cs typeface="Segoe UI" panose="020B0502040204020203" pitchFamily="34" charset="0"/>
              </a:rPr>
              <a:t>2	Enter the height of the column in the row marked "Column" row</a:t>
            </a:r>
          </a:p>
          <a:p>
            <a:pPr marL="144000" indent="-144000">
              <a:spcBef>
                <a:spcPts val="100"/>
              </a:spcBef>
              <a:spcAft>
                <a:spcPts val="100"/>
              </a:spcAft>
              <a:buClr>
                <a:srgbClr val="000000"/>
              </a:buClr>
              <a:buSzPct val="100000"/>
            </a:pPr>
            <a:r>
              <a:rPr lang="en-US" sz="1200">
                <a:latin typeface="Segoe UI" panose="020B0502040204020203" pitchFamily="34" charset="0"/>
                <a:cs typeface="Segoe UI" panose="020B0502040204020203" pitchFamily="34" charset="0"/>
              </a:rPr>
              <a:t>3	Add/remove columns and rows as required</a:t>
            </a:r>
          </a:p>
          <a:p>
            <a:pPr marL="144000" indent="-144000">
              <a:spcBef>
                <a:spcPts val="100"/>
              </a:spcBef>
              <a:spcAft>
                <a:spcPts val="100"/>
              </a:spcAft>
              <a:buClr>
                <a:srgbClr val="000000"/>
              </a:buClr>
              <a:buSzPct val="100000"/>
            </a:pPr>
            <a:r>
              <a:rPr lang="en-US" sz="1200">
                <a:latin typeface="Segoe UI" panose="020B0502040204020203" pitchFamily="34" charset="0"/>
                <a:cs typeface="Segoe UI" panose="020B0502040204020203" pitchFamily="34" charset="0"/>
              </a:rPr>
              <a:t>4	Add series lines between the columns manually, if required</a:t>
            </a:r>
          </a:p>
          <a:p>
            <a:pPr marL="144000" indent="-144000">
              <a:spcBef>
                <a:spcPts val="100"/>
              </a:spcBef>
              <a:spcAft>
                <a:spcPts val="100"/>
              </a:spcAft>
              <a:buClr>
                <a:srgbClr val="000000"/>
              </a:buClr>
              <a:buSzPct val="100000"/>
            </a:pPr>
            <a:r>
              <a:rPr lang="en-US" sz="1200">
                <a:latin typeface="Segoe UI" panose="020B0502040204020203" pitchFamily="34" charset="0"/>
                <a:cs typeface="Segoe UI" panose="020B0502040204020203" pitchFamily="34" charset="0"/>
              </a:rPr>
              <a:t>5	To change the height of the columns select Chart Options and turn on the y-axis, then use Format Axis/Scale to set the length of the y-axis (check the “Automatic” button). Once the scale is set, use Chart Options again to remove the y-axis</a:t>
            </a:r>
          </a:p>
        </p:txBody>
      </p:sp>
      <p:sp>
        <p:nvSpPr>
          <p:cNvPr id="4" name="Slide Number Placeholder 3"/>
          <p:cNvSpPr>
            <a:spLocks noGrp="1"/>
          </p:cNvSpPr>
          <p:nvPr>
            <p:ph type="sldNum" sz="quarter" idx="5"/>
          </p:nvPr>
        </p:nvSpPr>
        <p:spPr/>
        <p:txBody>
          <a:bodyPr/>
          <a:lstStyle/>
          <a:p>
            <a:fld id="{DB767907-6F8C-984F-A1EF-FF39073F4499}" type="slidenum">
              <a:rPr lang="en-BR" smtClean="0"/>
              <a:t>15</a:t>
            </a:fld>
            <a:endParaRPr lang="en-BR"/>
          </a:p>
        </p:txBody>
      </p:sp>
    </p:spTree>
    <p:extLst>
      <p:ext uri="{BB962C8B-B14F-4D97-AF65-F5344CB8AC3E}">
        <p14:creationId xmlns:p14="http://schemas.microsoft.com/office/powerpoint/2010/main" val="24247819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44000" indent="-144000" eaLnBrk="0" hangingPunct="0">
              <a:spcBef>
                <a:spcPts val="100"/>
              </a:spcBef>
              <a:spcAft>
                <a:spcPts val="100"/>
              </a:spcAft>
              <a:tabLst>
                <a:tab pos="192088" algn="l"/>
              </a:tabLst>
            </a:pPr>
            <a:r>
              <a:rPr lang="en-US" sz="1200" b="1"/>
              <a:t>Hints:</a:t>
            </a:r>
          </a:p>
          <a:p>
            <a:pPr marL="144000" indent="-144000" eaLnBrk="0" hangingPunct="0">
              <a:spcBef>
                <a:spcPts val="100"/>
              </a:spcBef>
              <a:spcAft>
                <a:spcPts val="100"/>
              </a:spcAft>
              <a:tabLst>
                <a:tab pos="192088" algn="l"/>
              </a:tabLst>
            </a:pPr>
            <a:r>
              <a:rPr lang="en-US" sz="1200"/>
              <a:t>1	Insert columns as required </a:t>
            </a:r>
          </a:p>
          <a:p>
            <a:pPr marL="144000" indent="-144000" eaLnBrk="0" hangingPunct="0">
              <a:spcBef>
                <a:spcPts val="100"/>
              </a:spcBef>
              <a:spcAft>
                <a:spcPts val="100"/>
              </a:spcAft>
              <a:tabLst>
                <a:tab pos="192088" algn="l"/>
              </a:tabLst>
            </a:pPr>
            <a:r>
              <a:rPr lang="en-US" sz="1200"/>
              <a:t>2	Double-click on a bar to change the color</a:t>
            </a:r>
          </a:p>
          <a:p>
            <a:pPr marL="144000" indent="-144000" eaLnBrk="0" hangingPunct="0">
              <a:spcBef>
                <a:spcPts val="100"/>
              </a:spcBef>
              <a:spcAft>
                <a:spcPts val="100"/>
              </a:spcAft>
              <a:tabLst>
                <a:tab pos="192088" algn="l"/>
              </a:tabLst>
            </a:pPr>
            <a:r>
              <a:rPr lang="en-US" sz="1200"/>
              <a:t>3	Drag data values outside the columns manually</a:t>
            </a:r>
          </a:p>
          <a:p>
            <a:endParaRPr lang="en-BR"/>
          </a:p>
        </p:txBody>
      </p:sp>
      <p:sp>
        <p:nvSpPr>
          <p:cNvPr id="4" name="Slide Number Placeholder 3"/>
          <p:cNvSpPr>
            <a:spLocks noGrp="1"/>
          </p:cNvSpPr>
          <p:nvPr>
            <p:ph type="sldNum" sz="quarter" idx="5"/>
          </p:nvPr>
        </p:nvSpPr>
        <p:spPr/>
        <p:txBody>
          <a:bodyPr/>
          <a:lstStyle/>
          <a:p>
            <a:fld id="{DB767907-6F8C-984F-A1EF-FF39073F4499}" type="slidenum">
              <a:rPr lang="en-BR" smtClean="0"/>
              <a:t>19</a:t>
            </a:fld>
            <a:endParaRPr lang="en-BR"/>
          </a:p>
        </p:txBody>
      </p:sp>
    </p:spTree>
    <p:extLst>
      <p:ext uri="{BB962C8B-B14F-4D97-AF65-F5344CB8AC3E}">
        <p14:creationId xmlns:p14="http://schemas.microsoft.com/office/powerpoint/2010/main" val="548479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2563" indent="-182563">
              <a:spcBef>
                <a:spcPts val="100"/>
              </a:spcBef>
              <a:spcAft>
                <a:spcPts val="100"/>
              </a:spcAft>
              <a:buClr>
                <a:srgbClr val="000000"/>
              </a:buClr>
              <a:buSzPct val="100000"/>
            </a:pPr>
            <a:r>
              <a:rPr lang="en-US" sz="1200" b="1"/>
              <a:t>Hints:</a:t>
            </a:r>
          </a:p>
          <a:p>
            <a:pPr marL="144000" indent="-144000">
              <a:spcBef>
                <a:spcPts val="100"/>
              </a:spcBef>
              <a:spcAft>
                <a:spcPts val="100"/>
              </a:spcAft>
              <a:buClr>
                <a:srgbClr val="000000"/>
              </a:buClr>
              <a:buSzPct val="100000"/>
            </a:pPr>
            <a:r>
              <a:rPr lang="en-US" sz="1200"/>
              <a:t>1	Insert columns to add slices in pie as required (each will adopt a different color)</a:t>
            </a:r>
          </a:p>
          <a:p>
            <a:pPr marL="144000" indent="-144000">
              <a:spcBef>
                <a:spcPts val="100"/>
              </a:spcBef>
              <a:spcAft>
                <a:spcPts val="100"/>
              </a:spcAft>
              <a:buClr>
                <a:srgbClr val="000000"/>
              </a:buClr>
              <a:buSzPct val="100000"/>
              <a:buFont typeface="Arial" charset="0"/>
              <a:buAutoNum type="arabicPlain" startAt="2"/>
            </a:pPr>
            <a:r>
              <a:rPr lang="en-US" sz="1200"/>
              <a:t>Double-click on a slice to change the color</a:t>
            </a:r>
          </a:p>
          <a:p>
            <a:pPr marL="144000" indent="-144000">
              <a:spcBef>
                <a:spcPts val="100"/>
              </a:spcBef>
              <a:spcAft>
                <a:spcPts val="100"/>
              </a:spcAft>
              <a:buClr>
                <a:srgbClr val="000000"/>
              </a:buClr>
              <a:buSzPct val="100000"/>
              <a:buFont typeface="Arial" charset="0"/>
              <a:buAutoNum type="arabicPlain" startAt="2"/>
            </a:pPr>
            <a:r>
              <a:rPr lang="en-US" sz="1200"/>
              <a:t>To insert segments in bar chart: </a:t>
            </a:r>
          </a:p>
          <a:p>
            <a:pPr marL="266700" indent="-88900">
              <a:spcBef>
                <a:spcPts val="100"/>
              </a:spcBef>
              <a:spcAft>
                <a:spcPts val="100"/>
              </a:spcAft>
              <a:buClr>
                <a:srgbClr val="000000"/>
              </a:buClr>
              <a:buSzPct val="100000"/>
              <a:buFont typeface="Arial" pitchFamily="34" charset="0"/>
              <a:buChar char="–"/>
            </a:pPr>
            <a:r>
              <a:rPr lang="en-US" sz="1200"/>
              <a:t>Double-click on chart, click on either bar segment</a:t>
            </a:r>
          </a:p>
          <a:p>
            <a:pPr marL="266700" indent="-88900">
              <a:spcBef>
                <a:spcPts val="100"/>
              </a:spcBef>
              <a:spcAft>
                <a:spcPts val="100"/>
              </a:spcAft>
              <a:buClr>
                <a:srgbClr val="000000"/>
              </a:buClr>
              <a:buSzPct val="100000"/>
              <a:buFont typeface="Arial" pitchFamily="34" charset="0"/>
              <a:buChar char="–"/>
            </a:pPr>
            <a:r>
              <a:rPr lang="en-US" sz="1200"/>
              <a:t>Right mouse -&gt; Format Data Point…</a:t>
            </a:r>
          </a:p>
          <a:p>
            <a:pPr marL="266700" indent="-88900">
              <a:spcBef>
                <a:spcPts val="100"/>
              </a:spcBef>
              <a:spcAft>
                <a:spcPts val="100"/>
              </a:spcAft>
              <a:buClr>
                <a:srgbClr val="000000"/>
              </a:buClr>
              <a:buSzPct val="100000"/>
              <a:buFont typeface="Arial" pitchFamily="34" charset="0"/>
              <a:buChar char="–"/>
            </a:pPr>
            <a:r>
              <a:rPr lang="en-US" sz="1200"/>
              <a:t>Select Options tab, increase the number after “Second plot contains the last…”</a:t>
            </a:r>
          </a:p>
          <a:p>
            <a:pPr marL="266700" indent="-88900">
              <a:spcBef>
                <a:spcPts val="100"/>
              </a:spcBef>
              <a:spcAft>
                <a:spcPts val="100"/>
              </a:spcAft>
              <a:buClr>
                <a:srgbClr val="000000"/>
              </a:buClr>
              <a:buSzPct val="100000"/>
              <a:buFont typeface="Arial" pitchFamily="34" charset="0"/>
              <a:buChar char="–"/>
            </a:pPr>
            <a:r>
              <a:rPr lang="en-US" sz="1200"/>
              <a:t>Insert columns as required</a:t>
            </a:r>
          </a:p>
        </p:txBody>
      </p:sp>
      <p:sp>
        <p:nvSpPr>
          <p:cNvPr id="4" name="Slide Number Placeholder 3"/>
          <p:cNvSpPr>
            <a:spLocks noGrp="1"/>
          </p:cNvSpPr>
          <p:nvPr>
            <p:ph type="sldNum" sz="quarter" idx="5"/>
          </p:nvPr>
        </p:nvSpPr>
        <p:spPr/>
        <p:txBody>
          <a:bodyPr/>
          <a:lstStyle/>
          <a:p>
            <a:fld id="{DB767907-6F8C-984F-A1EF-FF39073F4499}" type="slidenum">
              <a:rPr lang="en-BR" smtClean="0"/>
              <a:t>25</a:t>
            </a:fld>
            <a:endParaRPr lang="en-BR"/>
          </a:p>
        </p:txBody>
      </p:sp>
    </p:spTree>
    <p:extLst>
      <p:ext uri="{BB962C8B-B14F-4D97-AF65-F5344CB8AC3E}">
        <p14:creationId xmlns:p14="http://schemas.microsoft.com/office/powerpoint/2010/main" val="40689663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44000" indent="-144000">
              <a:spcBef>
                <a:spcPts val="100"/>
              </a:spcBef>
              <a:spcAft>
                <a:spcPts val="100"/>
              </a:spcAft>
              <a:buClr>
                <a:srgbClr val="000000"/>
              </a:buClr>
              <a:buSzPct val="100000"/>
            </a:pPr>
            <a:r>
              <a:rPr lang="en-US" sz="1200" b="1"/>
              <a:t>Hints:</a:t>
            </a:r>
          </a:p>
          <a:p>
            <a:pPr marL="144000" indent="-144000">
              <a:spcBef>
                <a:spcPts val="100"/>
              </a:spcBef>
              <a:spcAft>
                <a:spcPts val="100"/>
              </a:spcAft>
              <a:buClr>
                <a:srgbClr val="000000"/>
              </a:buClr>
              <a:buSzPct val="100000"/>
            </a:pPr>
            <a:r>
              <a:rPr lang="en-US" sz="1200"/>
              <a:t>1	Insert columns/rows as required (each area will adopt a different color)</a:t>
            </a:r>
          </a:p>
          <a:p>
            <a:pPr marL="144000" indent="-144000">
              <a:spcBef>
                <a:spcPts val="100"/>
              </a:spcBef>
              <a:spcAft>
                <a:spcPts val="100"/>
              </a:spcAft>
              <a:buClr>
                <a:srgbClr val="000000"/>
              </a:buClr>
              <a:buSzPct val="100000"/>
            </a:pPr>
            <a:r>
              <a:rPr lang="en-US" sz="1200"/>
              <a:t>2	Double-click on an line/dot to change the color</a:t>
            </a:r>
          </a:p>
          <a:p>
            <a:pPr marL="144000" indent="-144000">
              <a:spcBef>
                <a:spcPts val="100"/>
              </a:spcBef>
              <a:spcAft>
                <a:spcPts val="100"/>
              </a:spcAft>
              <a:buClr>
                <a:srgbClr val="000000"/>
              </a:buClr>
              <a:buSzPct val="100000"/>
            </a:pPr>
            <a:r>
              <a:rPr lang="en-US" sz="1200"/>
              <a:t>3	Edit the axes labels manually</a:t>
            </a:r>
          </a:p>
          <a:p>
            <a:pPr marL="144000" indent="-144000">
              <a:spcBef>
                <a:spcPts val="100"/>
              </a:spcBef>
              <a:spcAft>
                <a:spcPts val="100"/>
              </a:spcAft>
              <a:buClr>
                <a:srgbClr val="000000"/>
              </a:buClr>
              <a:buSzPct val="100000"/>
            </a:pPr>
            <a:r>
              <a:rPr lang="en-US" sz="1200"/>
              <a:t>4	Select "Trend lines" in Data Point Options to add or remove the trend line</a:t>
            </a:r>
          </a:p>
          <a:p>
            <a:endParaRPr lang="en-BR"/>
          </a:p>
        </p:txBody>
      </p:sp>
      <p:sp>
        <p:nvSpPr>
          <p:cNvPr id="4" name="Slide Number Placeholder 3"/>
          <p:cNvSpPr>
            <a:spLocks noGrp="1"/>
          </p:cNvSpPr>
          <p:nvPr>
            <p:ph type="sldNum" sz="quarter" idx="5"/>
          </p:nvPr>
        </p:nvSpPr>
        <p:spPr/>
        <p:txBody>
          <a:bodyPr/>
          <a:lstStyle/>
          <a:p>
            <a:fld id="{DB767907-6F8C-984F-A1EF-FF39073F4499}" type="slidenum">
              <a:rPr lang="en-BR" smtClean="0"/>
              <a:t>30</a:t>
            </a:fld>
            <a:endParaRPr lang="en-BR"/>
          </a:p>
        </p:txBody>
      </p:sp>
    </p:spTree>
    <p:extLst>
      <p:ext uri="{BB962C8B-B14F-4D97-AF65-F5344CB8AC3E}">
        <p14:creationId xmlns:p14="http://schemas.microsoft.com/office/powerpoint/2010/main" val="4955867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38163" indent="-538163">
              <a:spcBef>
                <a:spcPct val="0"/>
              </a:spcBef>
              <a:buClr>
                <a:srgbClr val="000000"/>
              </a:buClr>
              <a:buSzPct val="100000"/>
            </a:pPr>
            <a:r>
              <a:rPr lang="en-US" sz="1200" b="1"/>
              <a:t>Hints:</a:t>
            </a:r>
          </a:p>
          <a:p>
            <a:pPr marL="119063" indent="-119063">
              <a:spcBef>
                <a:spcPct val="0"/>
              </a:spcBef>
              <a:buClr>
                <a:srgbClr val="000000"/>
              </a:buClr>
              <a:buSzPct val="100000"/>
              <a:buFont typeface="+mj-lt"/>
              <a:buAutoNum type="arabicPeriod"/>
            </a:pPr>
            <a:r>
              <a:rPr lang="en-US" sz="1200"/>
              <a:t>Insert the values for the coordinates x and y</a:t>
            </a:r>
          </a:p>
          <a:p>
            <a:pPr marL="119063" indent="-119063">
              <a:spcBef>
                <a:spcPct val="0"/>
              </a:spcBef>
              <a:buClr>
                <a:srgbClr val="000000"/>
              </a:buClr>
              <a:buSzPct val="100000"/>
              <a:buFont typeface="+mj-lt"/>
              <a:buAutoNum type="arabicPeriod"/>
            </a:pPr>
            <a:r>
              <a:rPr lang="en-US" sz="1200"/>
              <a:t>Insert the size of the bubbles in the row “size“</a:t>
            </a:r>
          </a:p>
          <a:p>
            <a:pPr marL="119063" indent="-119063">
              <a:spcBef>
                <a:spcPct val="0"/>
              </a:spcBef>
              <a:buClr>
                <a:srgbClr val="000000"/>
              </a:buClr>
              <a:buSzPct val="100000"/>
              <a:buFont typeface="+mj-lt"/>
              <a:buAutoNum type="arabicPeriod"/>
            </a:pPr>
            <a:r>
              <a:rPr lang="en-US" sz="1200"/>
              <a:t>The axis and legend is drawn in PowerPoint. Resize and rescale them if necessary</a:t>
            </a:r>
          </a:p>
        </p:txBody>
      </p:sp>
      <p:sp>
        <p:nvSpPr>
          <p:cNvPr id="4" name="Slide Number Placeholder 3"/>
          <p:cNvSpPr>
            <a:spLocks noGrp="1"/>
          </p:cNvSpPr>
          <p:nvPr>
            <p:ph type="sldNum" sz="quarter" idx="5"/>
          </p:nvPr>
        </p:nvSpPr>
        <p:spPr/>
        <p:txBody>
          <a:bodyPr/>
          <a:lstStyle/>
          <a:p>
            <a:fld id="{DB767907-6F8C-984F-A1EF-FF39073F4499}" type="slidenum">
              <a:rPr lang="en-BR" smtClean="0"/>
              <a:t>62</a:t>
            </a:fld>
            <a:endParaRPr lang="en-BR"/>
          </a:p>
        </p:txBody>
      </p:sp>
    </p:spTree>
    <p:extLst>
      <p:ext uri="{BB962C8B-B14F-4D97-AF65-F5344CB8AC3E}">
        <p14:creationId xmlns:p14="http://schemas.microsoft.com/office/powerpoint/2010/main" val="7287261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44000" indent="-144000">
              <a:spcBef>
                <a:spcPts val="100"/>
              </a:spcBef>
              <a:spcAft>
                <a:spcPts val="100"/>
              </a:spcAft>
              <a:buClr>
                <a:srgbClr val="000000"/>
              </a:buClr>
              <a:buSzPct val="100000"/>
            </a:pPr>
            <a:r>
              <a:rPr lang="en-US" sz="1200" b="1"/>
              <a:t>Hints:</a:t>
            </a:r>
          </a:p>
          <a:p>
            <a:pPr marL="144000" indent="-144000">
              <a:spcBef>
                <a:spcPts val="100"/>
              </a:spcBef>
              <a:spcAft>
                <a:spcPts val="100"/>
              </a:spcAft>
              <a:buClr>
                <a:srgbClr val="000000"/>
              </a:buClr>
              <a:buSzPct val="100000"/>
            </a:pPr>
            <a:r>
              <a:rPr lang="en-US" sz="1200"/>
              <a:t>1	Insert columns/rows as required (each area will adopt a different color)</a:t>
            </a:r>
          </a:p>
          <a:p>
            <a:pPr marL="144000" indent="-144000">
              <a:spcBef>
                <a:spcPts val="100"/>
              </a:spcBef>
              <a:spcAft>
                <a:spcPts val="100"/>
              </a:spcAft>
              <a:buClr>
                <a:srgbClr val="000000"/>
              </a:buClr>
              <a:buSzPct val="100000"/>
            </a:pPr>
            <a:r>
              <a:rPr lang="en-US" sz="1200"/>
              <a:t>2	Double-click on an area to change the color</a:t>
            </a:r>
          </a:p>
          <a:p>
            <a:endParaRPr lang="en-BR"/>
          </a:p>
        </p:txBody>
      </p:sp>
      <p:sp>
        <p:nvSpPr>
          <p:cNvPr id="4" name="Slide Number Placeholder 3"/>
          <p:cNvSpPr>
            <a:spLocks noGrp="1"/>
          </p:cNvSpPr>
          <p:nvPr>
            <p:ph type="sldNum" sz="quarter" idx="5"/>
          </p:nvPr>
        </p:nvSpPr>
        <p:spPr/>
        <p:txBody>
          <a:bodyPr/>
          <a:lstStyle/>
          <a:p>
            <a:fld id="{DB767907-6F8C-984F-A1EF-FF39073F4499}" type="slidenum">
              <a:rPr lang="en-BR" smtClean="0"/>
              <a:t>64</a:t>
            </a:fld>
            <a:endParaRPr lang="en-BR"/>
          </a:p>
        </p:txBody>
      </p:sp>
    </p:spTree>
    <p:extLst>
      <p:ext uri="{BB962C8B-B14F-4D97-AF65-F5344CB8AC3E}">
        <p14:creationId xmlns:p14="http://schemas.microsoft.com/office/powerpoint/2010/main" val="2946891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2BC73-A9F8-0593-C238-A0317BD52A86}"/>
              </a:ext>
            </a:extLst>
          </p:cNvPr>
          <p:cNvSpPr>
            <a:spLocks noGrp="1"/>
          </p:cNvSpPr>
          <p:nvPr>
            <p:ph type="ctrTitle"/>
          </p:nvPr>
        </p:nvSpPr>
        <p:spPr>
          <a:xfrm>
            <a:off x="1524000" y="1122363"/>
            <a:ext cx="9144000" cy="2387600"/>
          </a:xfrm>
        </p:spPr>
        <p:txBody>
          <a:bodyPr anchor="b"/>
          <a:lstStyle>
            <a:lvl1pPr algn="ctr">
              <a:defRPr sz="6000">
                <a:solidFill>
                  <a:schemeClr val="tx1">
                    <a:lumMod val="75000"/>
                    <a:lumOff val="25000"/>
                  </a:schemeClr>
                </a:solidFill>
              </a:defRPr>
            </a:lvl1pPr>
          </a:lstStyle>
          <a:p>
            <a:r>
              <a:rPr lang="en-US"/>
              <a:t>Click to edit Master title style</a:t>
            </a:r>
            <a:endParaRPr lang="en-BR"/>
          </a:p>
        </p:txBody>
      </p:sp>
      <p:sp>
        <p:nvSpPr>
          <p:cNvPr id="3" name="Subtitle 2">
            <a:extLst>
              <a:ext uri="{FF2B5EF4-FFF2-40B4-BE49-F238E27FC236}">
                <a16:creationId xmlns:a16="http://schemas.microsoft.com/office/drawing/2014/main" id="{7056FCFC-A422-49C7-9353-382BE1642769}"/>
              </a:ext>
            </a:extLst>
          </p:cNvPr>
          <p:cNvSpPr>
            <a:spLocks noGrp="1"/>
          </p:cNvSpPr>
          <p:nvPr>
            <p:ph type="subTitle" idx="1"/>
          </p:nvPr>
        </p:nvSpPr>
        <p:spPr>
          <a:xfrm>
            <a:off x="1524000" y="3602038"/>
            <a:ext cx="9144000" cy="1655762"/>
          </a:xfrm>
        </p:spPr>
        <p:txBody>
          <a:bodyPr/>
          <a:lstStyle>
            <a:lvl1pPr marL="0" indent="0" algn="ctr">
              <a:buNone/>
              <a:defRPr sz="24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BR"/>
          </a:p>
        </p:txBody>
      </p:sp>
      <p:sp>
        <p:nvSpPr>
          <p:cNvPr id="4" name="Date Placeholder 3">
            <a:extLst>
              <a:ext uri="{FF2B5EF4-FFF2-40B4-BE49-F238E27FC236}">
                <a16:creationId xmlns:a16="http://schemas.microsoft.com/office/drawing/2014/main" id="{D78CCCB6-0201-989E-A9D8-7B2D9C3CEB27}"/>
              </a:ext>
            </a:extLst>
          </p:cNvPr>
          <p:cNvSpPr>
            <a:spLocks noGrp="1"/>
          </p:cNvSpPr>
          <p:nvPr>
            <p:ph type="dt" sz="half" idx="10"/>
          </p:nvPr>
        </p:nvSpPr>
        <p:spPr/>
        <p:txBody>
          <a:bodyPr/>
          <a:lstStyle>
            <a:lvl1pPr>
              <a:defRPr>
                <a:solidFill>
                  <a:schemeClr val="tx1">
                    <a:lumMod val="75000"/>
                    <a:lumOff val="25000"/>
                  </a:schemeClr>
                </a:solidFill>
              </a:defRPr>
            </a:lvl1pPr>
          </a:lstStyle>
          <a:p>
            <a:fld id="{0E2186B5-9748-AC4C-88A9-C3A2065956C8}" type="datetime1">
              <a:rPr lang="en-US" smtClean="0"/>
              <a:t>2/28/2025</a:t>
            </a:fld>
            <a:endParaRPr lang="en-BR"/>
          </a:p>
        </p:txBody>
      </p:sp>
      <p:sp>
        <p:nvSpPr>
          <p:cNvPr id="5" name="Footer Placeholder 4">
            <a:extLst>
              <a:ext uri="{FF2B5EF4-FFF2-40B4-BE49-F238E27FC236}">
                <a16:creationId xmlns:a16="http://schemas.microsoft.com/office/drawing/2014/main" id="{F2B04B6B-8606-7884-2701-B27B5836BB81}"/>
              </a:ext>
            </a:extLst>
          </p:cNvPr>
          <p:cNvSpPr>
            <a:spLocks noGrp="1"/>
          </p:cNvSpPr>
          <p:nvPr>
            <p:ph type="ftr" sz="quarter" idx="11"/>
          </p:nvPr>
        </p:nvSpPr>
        <p:spPr/>
        <p:txBody>
          <a:bodyPr/>
          <a:lstStyle>
            <a:lvl1pPr>
              <a:defRPr>
                <a:solidFill>
                  <a:schemeClr val="tx1">
                    <a:lumMod val="75000"/>
                    <a:lumOff val="25000"/>
                  </a:schemeClr>
                </a:solidFill>
              </a:defRPr>
            </a:lvl1pPr>
          </a:lstStyle>
          <a:p>
            <a:r>
              <a:rPr lang="en-US"/>
              <a:t>© 2024 Mobiz. All rights reserved</a:t>
            </a:r>
            <a:endParaRPr lang="en-BR"/>
          </a:p>
        </p:txBody>
      </p:sp>
      <p:sp>
        <p:nvSpPr>
          <p:cNvPr id="6" name="Slide Number Placeholder 5">
            <a:extLst>
              <a:ext uri="{FF2B5EF4-FFF2-40B4-BE49-F238E27FC236}">
                <a16:creationId xmlns:a16="http://schemas.microsoft.com/office/drawing/2014/main" id="{648EB3A7-3F5B-4F92-462A-19FF8142C15D}"/>
              </a:ext>
            </a:extLst>
          </p:cNvPr>
          <p:cNvSpPr>
            <a:spLocks noGrp="1"/>
          </p:cNvSpPr>
          <p:nvPr>
            <p:ph type="sldNum" sz="quarter" idx="12"/>
          </p:nvPr>
        </p:nvSpPr>
        <p:spPr/>
        <p:txBody>
          <a:bodyPr/>
          <a:lstStyle>
            <a:lvl1pPr>
              <a:defRPr>
                <a:solidFill>
                  <a:schemeClr val="tx1">
                    <a:lumMod val="75000"/>
                    <a:lumOff val="25000"/>
                  </a:schemeClr>
                </a:solidFill>
              </a:defRPr>
            </a:lvl1pPr>
          </a:lstStyle>
          <a:p>
            <a:fld id="{A8DDC45B-7265-3747-B738-ED29642119D9}" type="slidenum">
              <a:rPr lang="en-BR" smtClean="0"/>
              <a:pPr/>
              <a:t>‹#›</a:t>
            </a:fld>
            <a:endParaRPr lang="en-BR"/>
          </a:p>
        </p:txBody>
      </p:sp>
    </p:spTree>
    <p:extLst>
      <p:ext uri="{BB962C8B-B14F-4D97-AF65-F5344CB8AC3E}">
        <p14:creationId xmlns:p14="http://schemas.microsoft.com/office/powerpoint/2010/main" val="11752522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9E4EB-E97D-7202-6B08-683AAA8D57FD}"/>
              </a:ext>
            </a:extLst>
          </p:cNvPr>
          <p:cNvSpPr>
            <a:spLocks noGrp="1"/>
          </p:cNvSpPr>
          <p:nvPr>
            <p:ph type="title"/>
          </p:nvPr>
        </p:nvSpPr>
        <p:spPr/>
        <p:txBody>
          <a:bodyPr/>
          <a:lstStyle>
            <a:lvl1pPr>
              <a:defRPr>
                <a:solidFill>
                  <a:srgbClr val="C00000"/>
                </a:solidFill>
              </a:defRPr>
            </a:lvl1pPr>
          </a:lstStyle>
          <a:p>
            <a:r>
              <a:rPr lang="en-US"/>
              <a:t>Click to edit Master title style</a:t>
            </a:r>
            <a:endParaRPr lang="en-BR"/>
          </a:p>
        </p:txBody>
      </p:sp>
      <p:sp>
        <p:nvSpPr>
          <p:cNvPr id="4" name="Date Placeholder 3">
            <a:extLst>
              <a:ext uri="{FF2B5EF4-FFF2-40B4-BE49-F238E27FC236}">
                <a16:creationId xmlns:a16="http://schemas.microsoft.com/office/drawing/2014/main" id="{EDD16BB1-401C-8E9A-6275-85547CC580E9}"/>
              </a:ext>
            </a:extLst>
          </p:cNvPr>
          <p:cNvSpPr>
            <a:spLocks noGrp="1"/>
          </p:cNvSpPr>
          <p:nvPr>
            <p:ph type="dt" sz="half" idx="10"/>
          </p:nvPr>
        </p:nvSpPr>
        <p:spPr/>
        <p:txBody>
          <a:bodyPr/>
          <a:lstStyle>
            <a:lvl1pPr>
              <a:defRPr>
                <a:solidFill>
                  <a:schemeClr val="tx1">
                    <a:lumMod val="50000"/>
                    <a:lumOff val="50000"/>
                  </a:schemeClr>
                </a:solidFill>
              </a:defRPr>
            </a:lvl1pPr>
          </a:lstStyle>
          <a:p>
            <a:fld id="{D718B8EA-BCDD-444E-B3A8-6C9B84F90879}" type="datetime1">
              <a:rPr lang="en-US" smtClean="0"/>
              <a:t>2/28/2025</a:t>
            </a:fld>
            <a:endParaRPr lang="en-BR"/>
          </a:p>
        </p:txBody>
      </p:sp>
      <p:sp>
        <p:nvSpPr>
          <p:cNvPr id="5" name="Footer Placeholder 4">
            <a:extLst>
              <a:ext uri="{FF2B5EF4-FFF2-40B4-BE49-F238E27FC236}">
                <a16:creationId xmlns:a16="http://schemas.microsoft.com/office/drawing/2014/main" id="{CB8FF592-3CFD-91A4-07BA-F9E618076982}"/>
              </a:ext>
            </a:extLst>
          </p:cNvPr>
          <p:cNvSpPr>
            <a:spLocks noGrp="1"/>
          </p:cNvSpPr>
          <p:nvPr>
            <p:ph type="ftr" sz="quarter" idx="11"/>
          </p:nvPr>
        </p:nvSpPr>
        <p:spPr/>
        <p:txBody>
          <a:bodyPr/>
          <a:lstStyle>
            <a:lvl1pPr>
              <a:defRPr>
                <a:solidFill>
                  <a:schemeClr val="tx1">
                    <a:lumMod val="50000"/>
                    <a:lumOff val="50000"/>
                  </a:schemeClr>
                </a:solidFill>
              </a:defRPr>
            </a:lvl1pPr>
          </a:lstStyle>
          <a:p>
            <a:r>
              <a:rPr lang="en-US"/>
              <a:t>© 2024 Mobiz. All rights reserved</a:t>
            </a:r>
            <a:endParaRPr lang="en-BR"/>
          </a:p>
        </p:txBody>
      </p:sp>
      <p:sp>
        <p:nvSpPr>
          <p:cNvPr id="6" name="Slide Number Placeholder 5">
            <a:extLst>
              <a:ext uri="{FF2B5EF4-FFF2-40B4-BE49-F238E27FC236}">
                <a16:creationId xmlns:a16="http://schemas.microsoft.com/office/drawing/2014/main" id="{552372AF-2F88-C729-FE3A-12E5BD1ABB59}"/>
              </a:ext>
            </a:extLst>
          </p:cNvPr>
          <p:cNvSpPr>
            <a:spLocks noGrp="1"/>
          </p:cNvSpPr>
          <p:nvPr>
            <p:ph type="sldNum" sz="quarter" idx="12"/>
          </p:nvPr>
        </p:nvSpPr>
        <p:spPr/>
        <p:txBody>
          <a:bodyPr/>
          <a:lstStyle>
            <a:lvl1pPr>
              <a:defRPr>
                <a:solidFill>
                  <a:schemeClr val="tx1">
                    <a:lumMod val="50000"/>
                    <a:lumOff val="50000"/>
                  </a:schemeClr>
                </a:solidFill>
              </a:defRPr>
            </a:lvl1pPr>
          </a:lstStyle>
          <a:p>
            <a:fld id="{A8DDC45B-7265-3747-B738-ED29642119D9}" type="slidenum">
              <a:rPr lang="en-BR" smtClean="0"/>
              <a:pPr/>
              <a:t>‹#›</a:t>
            </a:fld>
            <a:endParaRPr lang="en-BR"/>
          </a:p>
        </p:txBody>
      </p:sp>
      <p:pic>
        <p:nvPicPr>
          <p:cNvPr id="7" name="Picture 6" descr="A black and red logo&#10;&#10;Description automatically generated">
            <a:extLst>
              <a:ext uri="{FF2B5EF4-FFF2-40B4-BE49-F238E27FC236}">
                <a16:creationId xmlns:a16="http://schemas.microsoft.com/office/drawing/2014/main" id="{710BB6A0-3E74-5558-322F-A0F0A468E1FF}"/>
              </a:ext>
            </a:extLst>
          </p:cNvPr>
          <p:cNvPicPr>
            <a:picLocks noChangeAspect="1"/>
          </p:cNvPicPr>
          <p:nvPr userDrawn="1"/>
        </p:nvPicPr>
        <p:blipFill>
          <a:blip r:embed="rId2"/>
          <a:stretch>
            <a:fillRect/>
          </a:stretch>
        </p:blipFill>
        <p:spPr>
          <a:xfrm>
            <a:off x="11135973" y="472100"/>
            <a:ext cx="717360" cy="402001"/>
          </a:xfrm>
          <a:prstGeom prst="rect">
            <a:avLst/>
          </a:prstGeom>
        </p:spPr>
      </p:pic>
      <p:sp>
        <p:nvSpPr>
          <p:cNvPr id="9" name="Text Placeholder 8">
            <a:extLst>
              <a:ext uri="{FF2B5EF4-FFF2-40B4-BE49-F238E27FC236}">
                <a16:creationId xmlns:a16="http://schemas.microsoft.com/office/drawing/2014/main" id="{29218AD7-BA75-4AE5-657C-EA2614448BA5}"/>
              </a:ext>
            </a:extLst>
          </p:cNvPr>
          <p:cNvSpPr>
            <a:spLocks noGrp="1"/>
          </p:cNvSpPr>
          <p:nvPr>
            <p:ph type="body" sz="quarter" idx="13"/>
          </p:nvPr>
        </p:nvSpPr>
        <p:spPr>
          <a:xfrm>
            <a:off x="338138" y="989191"/>
            <a:ext cx="11518900" cy="429633"/>
          </a:xfrm>
        </p:spPr>
        <p:txBody>
          <a:bodyPr>
            <a:normAutofit/>
          </a:bodyPr>
          <a:lstStyle>
            <a:lvl1pPr marL="0" indent="0">
              <a:buNone/>
              <a:defRPr sz="2000" b="1"/>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2497118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DE1FC24-A94B-318D-2EBD-34058C8B437B}"/>
              </a:ext>
            </a:extLst>
          </p:cNvPr>
          <p:cNvSpPr/>
          <p:nvPr userDrawn="1"/>
        </p:nvSpPr>
        <p:spPr>
          <a:xfrm>
            <a:off x="0" y="0"/>
            <a:ext cx="12192000" cy="6858000"/>
          </a:xfrm>
          <a:prstGeom prst="rect">
            <a:avLst/>
          </a:prstGeom>
          <a:solidFill>
            <a:srgbClr val="C00000"/>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BR"/>
          </a:p>
        </p:txBody>
      </p:sp>
      <p:sp>
        <p:nvSpPr>
          <p:cNvPr id="2" name="Title 1">
            <a:extLst>
              <a:ext uri="{FF2B5EF4-FFF2-40B4-BE49-F238E27FC236}">
                <a16:creationId xmlns:a16="http://schemas.microsoft.com/office/drawing/2014/main" id="{4B4350A4-31EE-E71D-6C4D-0D9B0E7356AA}"/>
              </a:ext>
            </a:extLst>
          </p:cNvPr>
          <p:cNvSpPr>
            <a:spLocks noGrp="1"/>
          </p:cNvSpPr>
          <p:nvPr>
            <p:ph type="title"/>
          </p:nvPr>
        </p:nvSpPr>
        <p:spPr>
          <a:xfrm>
            <a:off x="338667" y="2569369"/>
            <a:ext cx="11540949" cy="1719262"/>
          </a:xfrm>
        </p:spPr>
        <p:txBody>
          <a:bodyPr anchor="ctr"/>
          <a:lstStyle>
            <a:lvl1pPr>
              <a:defRPr sz="6000">
                <a:solidFill>
                  <a:schemeClr val="bg1"/>
                </a:solidFill>
              </a:defRPr>
            </a:lvl1pPr>
          </a:lstStyle>
          <a:p>
            <a:r>
              <a:rPr lang="en-US"/>
              <a:t>Click to edit Master title style</a:t>
            </a:r>
            <a:endParaRPr lang="en-BR"/>
          </a:p>
        </p:txBody>
      </p:sp>
      <p:sp>
        <p:nvSpPr>
          <p:cNvPr id="4" name="Date Placeholder 3">
            <a:extLst>
              <a:ext uri="{FF2B5EF4-FFF2-40B4-BE49-F238E27FC236}">
                <a16:creationId xmlns:a16="http://schemas.microsoft.com/office/drawing/2014/main" id="{19288F30-C9EA-9E61-4869-EAD8149C4695}"/>
              </a:ext>
            </a:extLst>
          </p:cNvPr>
          <p:cNvSpPr>
            <a:spLocks noGrp="1"/>
          </p:cNvSpPr>
          <p:nvPr>
            <p:ph type="dt" sz="half" idx="10"/>
          </p:nvPr>
        </p:nvSpPr>
        <p:spPr/>
        <p:txBody>
          <a:bodyPr/>
          <a:lstStyle>
            <a:lvl1pPr>
              <a:defRPr>
                <a:solidFill>
                  <a:schemeClr val="bg1">
                    <a:lumMod val="95000"/>
                  </a:schemeClr>
                </a:solidFill>
              </a:defRPr>
            </a:lvl1pPr>
          </a:lstStyle>
          <a:p>
            <a:fld id="{8B18D917-C748-164F-828E-D056EDA20698}" type="datetime1">
              <a:rPr lang="en-US" smtClean="0"/>
              <a:t>2/28/2025</a:t>
            </a:fld>
            <a:endParaRPr lang="en-BR"/>
          </a:p>
        </p:txBody>
      </p:sp>
      <p:sp>
        <p:nvSpPr>
          <p:cNvPr id="5" name="Footer Placeholder 4">
            <a:extLst>
              <a:ext uri="{FF2B5EF4-FFF2-40B4-BE49-F238E27FC236}">
                <a16:creationId xmlns:a16="http://schemas.microsoft.com/office/drawing/2014/main" id="{18A443B0-F852-A165-21AF-E1B69B11837F}"/>
              </a:ext>
            </a:extLst>
          </p:cNvPr>
          <p:cNvSpPr>
            <a:spLocks noGrp="1"/>
          </p:cNvSpPr>
          <p:nvPr>
            <p:ph type="ftr" sz="quarter" idx="11"/>
          </p:nvPr>
        </p:nvSpPr>
        <p:spPr/>
        <p:txBody>
          <a:bodyPr/>
          <a:lstStyle>
            <a:lvl1pPr>
              <a:defRPr>
                <a:solidFill>
                  <a:schemeClr val="bg1">
                    <a:lumMod val="95000"/>
                  </a:schemeClr>
                </a:solidFill>
              </a:defRPr>
            </a:lvl1pPr>
          </a:lstStyle>
          <a:p>
            <a:r>
              <a:rPr lang="en-US"/>
              <a:t>© 2024 Mobiz. All rights reserved</a:t>
            </a:r>
            <a:endParaRPr lang="en-BR"/>
          </a:p>
        </p:txBody>
      </p:sp>
      <p:sp>
        <p:nvSpPr>
          <p:cNvPr id="6" name="Slide Number Placeholder 5">
            <a:extLst>
              <a:ext uri="{FF2B5EF4-FFF2-40B4-BE49-F238E27FC236}">
                <a16:creationId xmlns:a16="http://schemas.microsoft.com/office/drawing/2014/main" id="{7A956D27-B929-6133-89A0-29AB4DDBCE70}"/>
              </a:ext>
            </a:extLst>
          </p:cNvPr>
          <p:cNvSpPr>
            <a:spLocks noGrp="1"/>
          </p:cNvSpPr>
          <p:nvPr>
            <p:ph type="sldNum" sz="quarter" idx="12"/>
          </p:nvPr>
        </p:nvSpPr>
        <p:spPr/>
        <p:txBody>
          <a:bodyPr/>
          <a:lstStyle>
            <a:lvl1pPr>
              <a:defRPr>
                <a:solidFill>
                  <a:schemeClr val="bg1">
                    <a:lumMod val="95000"/>
                  </a:schemeClr>
                </a:solidFill>
              </a:defRPr>
            </a:lvl1pPr>
          </a:lstStyle>
          <a:p>
            <a:fld id="{A8DDC45B-7265-3747-B738-ED29642119D9}" type="slidenum">
              <a:rPr lang="en-BR" smtClean="0"/>
              <a:pPr/>
              <a:t>‹#›</a:t>
            </a:fld>
            <a:endParaRPr lang="en-BR"/>
          </a:p>
        </p:txBody>
      </p:sp>
      <p:pic>
        <p:nvPicPr>
          <p:cNvPr id="10" name="Picture 9" descr="A white text on a black background&#10;&#10;Description automatically generated">
            <a:extLst>
              <a:ext uri="{FF2B5EF4-FFF2-40B4-BE49-F238E27FC236}">
                <a16:creationId xmlns:a16="http://schemas.microsoft.com/office/drawing/2014/main" id="{C954A974-ECEA-F961-7985-B9E5BCD953A1}"/>
              </a:ext>
            </a:extLst>
          </p:cNvPr>
          <p:cNvPicPr>
            <a:picLocks noChangeAspect="1"/>
          </p:cNvPicPr>
          <p:nvPr userDrawn="1"/>
        </p:nvPicPr>
        <p:blipFill>
          <a:blip r:embed="rId2"/>
          <a:stretch>
            <a:fillRect/>
          </a:stretch>
        </p:blipFill>
        <p:spPr>
          <a:xfrm>
            <a:off x="11102120" y="483389"/>
            <a:ext cx="777496" cy="402001"/>
          </a:xfrm>
          <a:prstGeom prst="rect">
            <a:avLst/>
          </a:prstGeom>
        </p:spPr>
      </p:pic>
    </p:spTree>
    <p:extLst>
      <p:ext uri="{BB962C8B-B14F-4D97-AF65-F5344CB8AC3E}">
        <p14:creationId xmlns:p14="http://schemas.microsoft.com/office/powerpoint/2010/main" val="14300850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DE1FC24-A94B-318D-2EBD-34058C8B437B}"/>
              </a:ext>
            </a:extLst>
          </p:cNvPr>
          <p:cNvSpPr/>
          <p:nvPr userDrawn="1"/>
        </p:nvSpPr>
        <p:spPr>
          <a:xfrm>
            <a:off x="0" y="0"/>
            <a:ext cx="12192000" cy="6858000"/>
          </a:xfrm>
          <a:prstGeom prst="rect">
            <a:avLst/>
          </a:prstGeom>
          <a:solidFill>
            <a:schemeClr val="tx1">
              <a:lumMod val="75000"/>
              <a:lumOff val="25000"/>
            </a:schemeClr>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BR"/>
          </a:p>
        </p:txBody>
      </p:sp>
      <p:sp>
        <p:nvSpPr>
          <p:cNvPr id="2" name="Title 1">
            <a:extLst>
              <a:ext uri="{FF2B5EF4-FFF2-40B4-BE49-F238E27FC236}">
                <a16:creationId xmlns:a16="http://schemas.microsoft.com/office/drawing/2014/main" id="{4B4350A4-31EE-E71D-6C4D-0D9B0E7356AA}"/>
              </a:ext>
            </a:extLst>
          </p:cNvPr>
          <p:cNvSpPr>
            <a:spLocks noGrp="1"/>
          </p:cNvSpPr>
          <p:nvPr>
            <p:ph type="title"/>
          </p:nvPr>
        </p:nvSpPr>
        <p:spPr>
          <a:xfrm>
            <a:off x="338667" y="2569369"/>
            <a:ext cx="11518371" cy="1719262"/>
          </a:xfrm>
        </p:spPr>
        <p:txBody>
          <a:bodyPr anchor="ctr"/>
          <a:lstStyle>
            <a:lvl1pPr>
              <a:defRPr sz="6000">
                <a:solidFill>
                  <a:schemeClr val="bg1"/>
                </a:solidFill>
              </a:defRPr>
            </a:lvl1pPr>
          </a:lstStyle>
          <a:p>
            <a:r>
              <a:rPr lang="en-US"/>
              <a:t>Click to edit Master title style</a:t>
            </a:r>
            <a:endParaRPr lang="en-BR"/>
          </a:p>
        </p:txBody>
      </p:sp>
      <p:sp>
        <p:nvSpPr>
          <p:cNvPr id="4" name="Date Placeholder 3">
            <a:extLst>
              <a:ext uri="{FF2B5EF4-FFF2-40B4-BE49-F238E27FC236}">
                <a16:creationId xmlns:a16="http://schemas.microsoft.com/office/drawing/2014/main" id="{19288F30-C9EA-9E61-4869-EAD8149C4695}"/>
              </a:ext>
            </a:extLst>
          </p:cNvPr>
          <p:cNvSpPr>
            <a:spLocks noGrp="1"/>
          </p:cNvSpPr>
          <p:nvPr>
            <p:ph type="dt" sz="half" idx="10"/>
          </p:nvPr>
        </p:nvSpPr>
        <p:spPr/>
        <p:txBody>
          <a:bodyPr/>
          <a:lstStyle>
            <a:lvl1pPr>
              <a:defRPr>
                <a:solidFill>
                  <a:schemeClr val="bg1">
                    <a:lumMod val="95000"/>
                  </a:schemeClr>
                </a:solidFill>
              </a:defRPr>
            </a:lvl1pPr>
          </a:lstStyle>
          <a:p>
            <a:fld id="{C8DDC25F-C15E-DE43-B9EC-23D6B96BE83E}" type="datetime1">
              <a:rPr lang="en-US" smtClean="0"/>
              <a:t>2/28/2025</a:t>
            </a:fld>
            <a:endParaRPr lang="en-BR"/>
          </a:p>
        </p:txBody>
      </p:sp>
      <p:sp>
        <p:nvSpPr>
          <p:cNvPr id="5" name="Footer Placeholder 4">
            <a:extLst>
              <a:ext uri="{FF2B5EF4-FFF2-40B4-BE49-F238E27FC236}">
                <a16:creationId xmlns:a16="http://schemas.microsoft.com/office/drawing/2014/main" id="{18A443B0-F852-A165-21AF-E1B69B11837F}"/>
              </a:ext>
            </a:extLst>
          </p:cNvPr>
          <p:cNvSpPr>
            <a:spLocks noGrp="1"/>
          </p:cNvSpPr>
          <p:nvPr>
            <p:ph type="ftr" sz="quarter" idx="11"/>
          </p:nvPr>
        </p:nvSpPr>
        <p:spPr/>
        <p:txBody>
          <a:bodyPr/>
          <a:lstStyle>
            <a:lvl1pPr>
              <a:defRPr>
                <a:solidFill>
                  <a:schemeClr val="bg1">
                    <a:lumMod val="95000"/>
                  </a:schemeClr>
                </a:solidFill>
              </a:defRPr>
            </a:lvl1pPr>
          </a:lstStyle>
          <a:p>
            <a:r>
              <a:rPr lang="en-US"/>
              <a:t>© 2024 Mobiz. All rights reserved</a:t>
            </a:r>
            <a:endParaRPr lang="en-BR"/>
          </a:p>
        </p:txBody>
      </p:sp>
      <p:sp>
        <p:nvSpPr>
          <p:cNvPr id="6" name="Slide Number Placeholder 5">
            <a:extLst>
              <a:ext uri="{FF2B5EF4-FFF2-40B4-BE49-F238E27FC236}">
                <a16:creationId xmlns:a16="http://schemas.microsoft.com/office/drawing/2014/main" id="{7A956D27-B929-6133-89A0-29AB4DDBCE70}"/>
              </a:ext>
            </a:extLst>
          </p:cNvPr>
          <p:cNvSpPr>
            <a:spLocks noGrp="1"/>
          </p:cNvSpPr>
          <p:nvPr>
            <p:ph type="sldNum" sz="quarter" idx="12"/>
          </p:nvPr>
        </p:nvSpPr>
        <p:spPr/>
        <p:txBody>
          <a:bodyPr/>
          <a:lstStyle>
            <a:lvl1pPr>
              <a:defRPr>
                <a:solidFill>
                  <a:schemeClr val="bg1">
                    <a:lumMod val="95000"/>
                  </a:schemeClr>
                </a:solidFill>
              </a:defRPr>
            </a:lvl1pPr>
          </a:lstStyle>
          <a:p>
            <a:fld id="{A8DDC45B-7265-3747-B738-ED29642119D9}" type="slidenum">
              <a:rPr lang="en-BR" smtClean="0"/>
              <a:pPr/>
              <a:t>‹#›</a:t>
            </a:fld>
            <a:endParaRPr lang="en-BR"/>
          </a:p>
        </p:txBody>
      </p:sp>
      <p:pic>
        <p:nvPicPr>
          <p:cNvPr id="10" name="Picture 9" descr="A white text on a black background&#10;&#10;Description automatically generated">
            <a:extLst>
              <a:ext uri="{FF2B5EF4-FFF2-40B4-BE49-F238E27FC236}">
                <a16:creationId xmlns:a16="http://schemas.microsoft.com/office/drawing/2014/main" id="{C954A974-ECEA-F961-7985-B9E5BCD953A1}"/>
              </a:ext>
            </a:extLst>
          </p:cNvPr>
          <p:cNvPicPr>
            <a:picLocks noChangeAspect="1"/>
          </p:cNvPicPr>
          <p:nvPr userDrawn="1"/>
        </p:nvPicPr>
        <p:blipFill>
          <a:blip r:embed="rId2"/>
          <a:stretch>
            <a:fillRect/>
          </a:stretch>
        </p:blipFill>
        <p:spPr>
          <a:xfrm>
            <a:off x="11102120" y="483389"/>
            <a:ext cx="777496" cy="402001"/>
          </a:xfrm>
          <a:prstGeom prst="rect">
            <a:avLst/>
          </a:prstGeom>
        </p:spPr>
      </p:pic>
    </p:spTree>
    <p:extLst>
      <p:ext uri="{BB962C8B-B14F-4D97-AF65-F5344CB8AC3E}">
        <p14:creationId xmlns:p14="http://schemas.microsoft.com/office/powerpoint/2010/main" val="3858242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350A4-31EE-E71D-6C4D-0D9B0E7356AA}"/>
              </a:ext>
            </a:extLst>
          </p:cNvPr>
          <p:cNvSpPr>
            <a:spLocks noGrp="1"/>
          </p:cNvSpPr>
          <p:nvPr>
            <p:ph type="title"/>
          </p:nvPr>
        </p:nvSpPr>
        <p:spPr>
          <a:xfrm>
            <a:off x="831850" y="1709738"/>
            <a:ext cx="10515600" cy="2852737"/>
          </a:xfrm>
        </p:spPr>
        <p:txBody>
          <a:bodyPr anchor="b"/>
          <a:lstStyle>
            <a:lvl1pPr>
              <a:defRPr sz="6000">
                <a:solidFill>
                  <a:schemeClr val="tx1">
                    <a:lumMod val="75000"/>
                    <a:lumOff val="25000"/>
                  </a:schemeClr>
                </a:solidFill>
              </a:defRPr>
            </a:lvl1pPr>
          </a:lstStyle>
          <a:p>
            <a:r>
              <a:rPr lang="en-US"/>
              <a:t>Click to edit Master title style</a:t>
            </a:r>
            <a:endParaRPr lang="en-BR"/>
          </a:p>
        </p:txBody>
      </p:sp>
      <p:sp>
        <p:nvSpPr>
          <p:cNvPr id="3" name="Text Placeholder 2">
            <a:extLst>
              <a:ext uri="{FF2B5EF4-FFF2-40B4-BE49-F238E27FC236}">
                <a16:creationId xmlns:a16="http://schemas.microsoft.com/office/drawing/2014/main" id="{8344A3F7-BB8D-1B6E-5496-133220706652}"/>
              </a:ext>
            </a:extLst>
          </p:cNvPr>
          <p:cNvSpPr>
            <a:spLocks noGrp="1"/>
          </p:cNvSpPr>
          <p:nvPr>
            <p:ph type="body" idx="1"/>
          </p:nvPr>
        </p:nvSpPr>
        <p:spPr>
          <a:xfrm>
            <a:off x="831850" y="4589463"/>
            <a:ext cx="10515600" cy="1500187"/>
          </a:xfrm>
        </p:spPr>
        <p:txBody>
          <a:bodyPr/>
          <a:lstStyle>
            <a:lvl1pPr marL="0" indent="0">
              <a:buNone/>
              <a:defRPr sz="2400">
                <a:solidFill>
                  <a:schemeClr val="tx1">
                    <a:lumMod val="75000"/>
                    <a:lumOff val="25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9288F30-C9EA-9E61-4869-EAD8149C4695}"/>
              </a:ext>
            </a:extLst>
          </p:cNvPr>
          <p:cNvSpPr>
            <a:spLocks noGrp="1"/>
          </p:cNvSpPr>
          <p:nvPr>
            <p:ph type="dt" sz="half" idx="10"/>
          </p:nvPr>
        </p:nvSpPr>
        <p:spPr/>
        <p:txBody>
          <a:bodyPr/>
          <a:lstStyle>
            <a:lvl1pPr>
              <a:defRPr>
                <a:solidFill>
                  <a:schemeClr val="tx1">
                    <a:lumMod val="75000"/>
                    <a:lumOff val="25000"/>
                  </a:schemeClr>
                </a:solidFill>
              </a:defRPr>
            </a:lvl1pPr>
          </a:lstStyle>
          <a:p>
            <a:fld id="{AE526992-3017-6542-A2AE-87C055EAB40C}" type="datetime1">
              <a:rPr lang="en-US" smtClean="0"/>
              <a:t>2/28/2025</a:t>
            </a:fld>
            <a:endParaRPr lang="en-BR"/>
          </a:p>
        </p:txBody>
      </p:sp>
      <p:sp>
        <p:nvSpPr>
          <p:cNvPr id="5" name="Footer Placeholder 4">
            <a:extLst>
              <a:ext uri="{FF2B5EF4-FFF2-40B4-BE49-F238E27FC236}">
                <a16:creationId xmlns:a16="http://schemas.microsoft.com/office/drawing/2014/main" id="{18A443B0-F852-A165-21AF-E1B69B11837F}"/>
              </a:ext>
            </a:extLst>
          </p:cNvPr>
          <p:cNvSpPr>
            <a:spLocks noGrp="1"/>
          </p:cNvSpPr>
          <p:nvPr>
            <p:ph type="ftr" sz="quarter" idx="11"/>
          </p:nvPr>
        </p:nvSpPr>
        <p:spPr/>
        <p:txBody>
          <a:bodyPr/>
          <a:lstStyle>
            <a:lvl1pPr>
              <a:defRPr>
                <a:solidFill>
                  <a:schemeClr val="tx1">
                    <a:lumMod val="75000"/>
                    <a:lumOff val="25000"/>
                  </a:schemeClr>
                </a:solidFill>
              </a:defRPr>
            </a:lvl1pPr>
          </a:lstStyle>
          <a:p>
            <a:r>
              <a:rPr lang="en-US"/>
              <a:t>© 2024 Mobiz. All rights reserved</a:t>
            </a:r>
            <a:endParaRPr lang="en-BR"/>
          </a:p>
        </p:txBody>
      </p:sp>
      <p:sp>
        <p:nvSpPr>
          <p:cNvPr id="6" name="Slide Number Placeholder 5">
            <a:extLst>
              <a:ext uri="{FF2B5EF4-FFF2-40B4-BE49-F238E27FC236}">
                <a16:creationId xmlns:a16="http://schemas.microsoft.com/office/drawing/2014/main" id="{7A956D27-B929-6133-89A0-29AB4DDBCE70}"/>
              </a:ext>
            </a:extLst>
          </p:cNvPr>
          <p:cNvSpPr>
            <a:spLocks noGrp="1"/>
          </p:cNvSpPr>
          <p:nvPr>
            <p:ph type="sldNum" sz="quarter" idx="12"/>
          </p:nvPr>
        </p:nvSpPr>
        <p:spPr/>
        <p:txBody>
          <a:bodyPr/>
          <a:lstStyle>
            <a:lvl1pPr>
              <a:defRPr>
                <a:solidFill>
                  <a:schemeClr val="tx1">
                    <a:lumMod val="75000"/>
                    <a:lumOff val="25000"/>
                  </a:schemeClr>
                </a:solidFill>
              </a:defRPr>
            </a:lvl1pPr>
          </a:lstStyle>
          <a:p>
            <a:fld id="{A8DDC45B-7265-3747-B738-ED29642119D9}" type="slidenum">
              <a:rPr lang="en-BR" smtClean="0"/>
              <a:pPr/>
              <a:t>‹#›</a:t>
            </a:fld>
            <a:endParaRPr lang="en-BR"/>
          </a:p>
        </p:txBody>
      </p:sp>
    </p:spTree>
    <p:extLst>
      <p:ext uri="{BB962C8B-B14F-4D97-AF65-F5344CB8AC3E}">
        <p14:creationId xmlns:p14="http://schemas.microsoft.com/office/powerpoint/2010/main" val="17485214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475E1-84EC-AAF8-6582-E5528CDFAC22}"/>
              </a:ext>
            </a:extLst>
          </p:cNvPr>
          <p:cNvSpPr>
            <a:spLocks noGrp="1"/>
          </p:cNvSpPr>
          <p:nvPr>
            <p:ph type="title"/>
          </p:nvPr>
        </p:nvSpPr>
        <p:spPr/>
        <p:txBody>
          <a:bodyPr/>
          <a:lstStyle>
            <a:lvl1pPr>
              <a:defRPr>
                <a:solidFill>
                  <a:schemeClr val="tx1">
                    <a:lumMod val="75000"/>
                    <a:lumOff val="25000"/>
                  </a:schemeClr>
                </a:solidFill>
              </a:defRPr>
            </a:lvl1pPr>
          </a:lstStyle>
          <a:p>
            <a:r>
              <a:rPr lang="en-US"/>
              <a:t>Click to edit Master title style</a:t>
            </a:r>
            <a:endParaRPr lang="en-BR"/>
          </a:p>
        </p:txBody>
      </p:sp>
      <p:sp>
        <p:nvSpPr>
          <p:cNvPr id="3" name="Date Placeholder 2">
            <a:extLst>
              <a:ext uri="{FF2B5EF4-FFF2-40B4-BE49-F238E27FC236}">
                <a16:creationId xmlns:a16="http://schemas.microsoft.com/office/drawing/2014/main" id="{A15F0BE1-BA49-D602-D5D2-799C45C85290}"/>
              </a:ext>
            </a:extLst>
          </p:cNvPr>
          <p:cNvSpPr>
            <a:spLocks noGrp="1"/>
          </p:cNvSpPr>
          <p:nvPr>
            <p:ph type="dt" sz="half" idx="10"/>
          </p:nvPr>
        </p:nvSpPr>
        <p:spPr/>
        <p:txBody>
          <a:bodyPr/>
          <a:lstStyle>
            <a:lvl1pPr>
              <a:defRPr>
                <a:solidFill>
                  <a:schemeClr val="tx1">
                    <a:lumMod val="50000"/>
                    <a:lumOff val="50000"/>
                  </a:schemeClr>
                </a:solidFill>
              </a:defRPr>
            </a:lvl1pPr>
          </a:lstStyle>
          <a:p>
            <a:fld id="{D5BF15DB-D8EB-3748-9E98-009CC7BFC993}" type="datetime1">
              <a:rPr lang="en-US" smtClean="0"/>
              <a:t>2/28/2025</a:t>
            </a:fld>
            <a:endParaRPr lang="en-BR"/>
          </a:p>
        </p:txBody>
      </p:sp>
      <p:sp>
        <p:nvSpPr>
          <p:cNvPr id="4" name="Footer Placeholder 3">
            <a:extLst>
              <a:ext uri="{FF2B5EF4-FFF2-40B4-BE49-F238E27FC236}">
                <a16:creationId xmlns:a16="http://schemas.microsoft.com/office/drawing/2014/main" id="{F8C08218-46C5-8D34-5A17-E9E1C45BE120}"/>
              </a:ext>
            </a:extLst>
          </p:cNvPr>
          <p:cNvSpPr>
            <a:spLocks noGrp="1"/>
          </p:cNvSpPr>
          <p:nvPr>
            <p:ph type="ftr" sz="quarter" idx="11"/>
          </p:nvPr>
        </p:nvSpPr>
        <p:spPr/>
        <p:txBody>
          <a:bodyPr/>
          <a:lstStyle>
            <a:lvl1pPr>
              <a:defRPr>
                <a:solidFill>
                  <a:schemeClr val="tx1">
                    <a:lumMod val="50000"/>
                    <a:lumOff val="50000"/>
                  </a:schemeClr>
                </a:solidFill>
              </a:defRPr>
            </a:lvl1pPr>
          </a:lstStyle>
          <a:p>
            <a:r>
              <a:rPr lang="en-US"/>
              <a:t>© 2024 Mobiz. All rights reserved</a:t>
            </a:r>
            <a:endParaRPr lang="en-BR"/>
          </a:p>
        </p:txBody>
      </p:sp>
      <p:sp>
        <p:nvSpPr>
          <p:cNvPr id="5" name="Slide Number Placeholder 4">
            <a:extLst>
              <a:ext uri="{FF2B5EF4-FFF2-40B4-BE49-F238E27FC236}">
                <a16:creationId xmlns:a16="http://schemas.microsoft.com/office/drawing/2014/main" id="{CC58FF21-29D8-A8B7-EC46-6598A240AFD1}"/>
              </a:ext>
            </a:extLst>
          </p:cNvPr>
          <p:cNvSpPr>
            <a:spLocks noGrp="1"/>
          </p:cNvSpPr>
          <p:nvPr>
            <p:ph type="sldNum" sz="quarter" idx="12"/>
          </p:nvPr>
        </p:nvSpPr>
        <p:spPr/>
        <p:txBody>
          <a:bodyPr/>
          <a:lstStyle>
            <a:lvl1pPr>
              <a:defRPr>
                <a:solidFill>
                  <a:schemeClr val="tx1">
                    <a:lumMod val="50000"/>
                    <a:lumOff val="50000"/>
                  </a:schemeClr>
                </a:solidFill>
              </a:defRPr>
            </a:lvl1pPr>
          </a:lstStyle>
          <a:p>
            <a:fld id="{A8DDC45B-7265-3747-B738-ED29642119D9}" type="slidenum">
              <a:rPr lang="en-BR" smtClean="0"/>
              <a:pPr/>
              <a:t>‹#›</a:t>
            </a:fld>
            <a:endParaRPr lang="en-BR"/>
          </a:p>
        </p:txBody>
      </p:sp>
      <p:pic>
        <p:nvPicPr>
          <p:cNvPr id="6" name="Picture 5" descr="A black and red logo&#10;&#10;Description automatically generated">
            <a:extLst>
              <a:ext uri="{FF2B5EF4-FFF2-40B4-BE49-F238E27FC236}">
                <a16:creationId xmlns:a16="http://schemas.microsoft.com/office/drawing/2014/main" id="{238523D5-251E-388F-557B-FBB62742B5E1}"/>
              </a:ext>
            </a:extLst>
          </p:cNvPr>
          <p:cNvPicPr>
            <a:picLocks noChangeAspect="1"/>
          </p:cNvPicPr>
          <p:nvPr userDrawn="1"/>
        </p:nvPicPr>
        <p:blipFill>
          <a:blip r:embed="rId2"/>
          <a:stretch>
            <a:fillRect/>
          </a:stretch>
        </p:blipFill>
        <p:spPr>
          <a:xfrm>
            <a:off x="11135973" y="472100"/>
            <a:ext cx="717360" cy="402001"/>
          </a:xfrm>
          <a:prstGeom prst="rect">
            <a:avLst/>
          </a:prstGeom>
        </p:spPr>
      </p:pic>
    </p:spTree>
    <p:extLst>
      <p:ext uri="{BB962C8B-B14F-4D97-AF65-F5344CB8AC3E}">
        <p14:creationId xmlns:p14="http://schemas.microsoft.com/office/powerpoint/2010/main" val="2204012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9062FA-A83E-D808-8F27-FCA836680176}"/>
              </a:ext>
            </a:extLst>
          </p:cNvPr>
          <p:cNvSpPr>
            <a:spLocks noGrp="1"/>
          </p:cNvSpPr>
          <p:nvPr>
            <p:ph type="dt" sz="half" idx="10"/>
          </p:nvPr>
        </p:nvSpPr>
        <p:spPr/>
        <p:txBody>
          <a:bodyPr/>
          <a:lstStyle>
            <a:lvl1pPr>
              <a:defRPr>
                <a:solidFill>
                  <a:schemeClr val="tx1">
                    <a:lumMod val="50000"/>
                    <a:lumOff val="50000"/>
                  </a:schemeClr>
                </a:solidFill>
              </a:defRPr>
            </a:lvl1pPr>
          </a:lstStyle>
          <a:p>
            <a:fld id="{06B94426-5998-504C-BE96-39793410825F}" type="datetime1">
              <a:rPr lang="en-US" smtClean="0"/>
              <a:t>2/28/2025</a:t>
            </a:fld>
            <a:endParaRPr lang="en-BR"/>
          </a:p>
        </p:txBody>
      </p:sp>
      <p:sp>
        <p:nvSpPr>
          <p:cNvPr id="3" name="Footer Placeholder 2">
            <a:extLst>
              <a:ext uri="{FF2B5EF4-FFF2-40B4-BE49-F238E27FC236}">
                <a16:creationId xmlns:a16="http://schemas.microsoft.com/office/drawing/2014/main" id="{6E09AA28-CAF9-6C1D-B4E6-4925E3C47784}"/>
              </a:ext>
            </a:extLst>
          </p:cNvPr>
          <p:cNvSpPr>
            <a:spLocks noGrp="1"/>
          </p:cNvSpPr>
          <p:nvPr>
            <p:ph type="ftr" sz="quarter" idx="11"/>
          </p:nvPr>
        </p:nvSpPr>
        <p:spPr/>
        <p:txBody>
          <a:bodyPr/>
          <a:lstStyle>
            <a:lvl1pPr>
              <a:defRPr>
                <a:solidFill>
                  <a:schemeClr val="tx1">
                    <a:lumMod val="50000"/>
                    <a:lumOff val="50000"/>
                  </a:schemeClr>
                </a:solidFill>
              </a:defRPr>
            </a:lvl1p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AB43A0DE-4CE0-0974-BAA8-4EE06316ACFB}"/>
              </a:ext>
            </a:extLst>
          </p:cNvPr>
          <p:cNvSpPr>
            <a:spLocks noGrp="1"/>
          </p:cNvSpPr>
          <p:nvPr>
            <p:ph type="sldNum" sz="quarter" idx="12"/>
          </p:nvPr>
        </p:nvSpPr>
        <p:spPr/>
        <p:txBody>
          <a:bodyPr/>
          <a:lstStyle>
            <a:lvl1pPr>
              <a:defRPr>
                <a:solidFill>
                  <a:schemeClr val="tx1">
                    <a:lumMod val="50000"/>
                    <a:lumOff val="50000"/>
                  </a:schemeClr>
                </a:solidFill>
              </a:defRPr>
            </a:lvl1pPr>
          </a:lstStyle>
          <a:p>
            <a:fld id="{A8DDC45B-7265-3747-B738-ED29642119D9}" type="slidenum">
              <a:rPr lang="en-BR" smtClean="0"/>
              <a:pPr/>
              <a:t>‹#›</a:t>
            </a:fld>
            <a:endParaRPr lang="en-BR"/>
          </a:p>
        </p:txBody>
      </p:sp>
      <p:pic>
        <p:nvPicPr>
          <p:cNvPr id="5" name="Picture 4" descr="A black and red logo&#10;&#10;Description automatically generated">
            <a:extLst>
              <a:ext uri="{FF2B5EF4-FFF2-40B4-BE49-F238E27FC236}">
                <a16:creationId xmlns:a16="http://schemas.microsoft.com/office/drawing/2014/main" id="{1A9E4C95-D7CA-9B9A-BC13-AF109AFFA020}"/>
              </a:ext>
            </a:extLst>
          </p:cNvPr>
          <p:cNvPicPr>
            <a:picLocks noChangeAspect="1"/>
          </p:cNvPicPr>
          <p:nvPr userDrawn="1"/>
        </p:nvPicPr>
        <p:blipFill>
          <a:blip r:embed="rId2"/>
          <a:stretch>
            <a:fillRect/>
          </a:stretch>
        </p:blipFill>
        <p:spPr>
          <a:xfrm>
            <a:off x="11135973" y="472100"/>
            <a:ext cx="717360" cy="402001"/>
          </a:xfrm>
          <a:prstGeom prst="rect">
            <a:avLst/>
          </a:prstGeom>
        </p:spPr>
      </p:pic>
    </p:spTree>
    <p:extLst>
      <p:ext uri="{BB962C8B-B14F-4D97-AF65-F5344CB8AC3E}">
        <p14:creationId xmlns:p14="http://schemas.microsoft.com/office/powerpoint/2010/main" val="7753593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74A273D-0C97-031C-2D5C-44248DBDF62C}"/>
              </a:ext>
            </a:extLst>
          </p:cNvPr>
          <p:cNvSpPr>
            <a:spLocks noGrp="1"/>
          </p:cNvSpPr>
          <p:nvPr>
            <p:ph type="title"/>
          </p:nvPr>
        </p:nvSpPr>
        <p:spPr>
          <a:xfrm>
            <a:off x="338667" y="365126"/>
            <a:ext cx="11518371" cy="615950"/>
          </a:xfrm>
          <a:prstGeom prst="rect">
            <a:avLst/>
          </a:prstGeom>
        </p:spPr>
        <p:txBody>
          <a:bodyPr vert="horz" lIns="91440" tIns="45720" rIns="91440" bIns="45720" rtlCol="0" anchor="ctr">
            <a:normAutofit/>
          </a:bodyPr>
          <a:lstStyle/>
          <a:p>
            <a:r>
              <a:rPr lang="en-US"/>
              <a:t>Click to edit Master title style</a:t>
            </a:r>
            <a:endParaRPr lang="en-BR"/>
          </a:p>
        </p:txBody>
      </p:sp>
      <p:sp>
        <p:nvSpPr>
          <p:cNvPr id="3" name="Text Placeholder 2">
            <a:extLst>
              <a:ext uri="{FF2B5EF4-FFF2-40B4-BE49-F238E27FC236}">
                <a16:creationId xmlns:a16="http://schemas.microsoft.com/office/drawing/2014/main" id="{0647F88C-E3D7-FE13-8BCA-E5819FF83D96}"/>
              </a:ext>
            </a:extLst>
          </p:cNvPr>
          <p:cNvSpPr>
            <a:spLocks noGrp="1"/>
          </p:cNvSpPr>
          <p:nvPr>
            <p:ph type="body" idx="1"/>
          </p:nvPr>
        </p:nvSpPr>
        <p:spPr>
          <a:xfrm>
            <a:off x="338667" y="1825625"/>
            <a:ext cx="11518371"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R"/>
          </a:p>
        </p:txBody>
      </p:sp>
      <p:sp>
        <p:nvSpPr>
          <p:cNvPr id="4" name="Date Placeholder 3">
            <a:extLst>
              <a:ext uri="{FF2B5EF4-FFF2-40B4-BE49-F238E27FC236}">
                <a16:creationId xmlns:a16="http://schemas.microsoft.com/office/drawing/2014/main" id="{0C169A28-85C0-41FF-CB41-E1324A5C13F9}"/>
              </a:ext>
            </a:extLst>
          </p:cNvPr>
          <p:cNvSpPr>
            <a:spLocks noGrp="1"/>
          </p:cNvSpPr>
          <p:nvPr>
            <p:ph type="dt" sz="half" idx="2"/>
          </p:nvPr>
        </p:nvSpPr>
        <p:spPr>
          <a:xfrm>
            <a:off x="9471378" y="6500990"/>
            <a:ext cx="1270882" cy="220485"/>
          </a:xfrm>
          <a:prstGeom prst="rect">
            <a:avLst/>
          </a:prstGeom>
        </p:spPr>
        <p:txBody>
          <a:bodyPr vert="horz" lIns="91440" tIns="45720" rIns="91440" bIns="45720" rtlCol="0" anchor="ctr"/>
          <a:lstStyle>
            <a:lvl1pPr algn="r">
              <a:defRPr sz="1000">
                <a:solidFill>
                  <a:schemeClr val="tx1">
                    <a:lumMod val="50000"/>
                    <a:lumOff val="50000"/>
                  </a:schemeClr>
                </a:solidFill>
                <a:latin typeface="Segoe UI" panose="020B0502040204020203" pitchFamily="34" charset="0"/>
                <a:cs typeface="Segoe UI" panose="020B0502040204020203" pitchFamily="34" charset="0"/>
              </a:defRPr>
            </a:lvl1pPr>
          </a:lstStyle>
          <a:p>
            <a:fld id="{25FB9025-0A2B-BF44-9DF7-9B721261EC2D}" type="datetime1">
              <a:rPr lang="en-US" smtClean="0"/>
              <a:t>2/28/2025</a:t>
            </a:fld>
            <a:endParaRPr lang="en-BR"/>
          </a:p>
        </p:txBody>
      </p:sp>
      <p:sp>
        <p:nvSpPr>
          <p:cNvPr id="5" name="Footer Placeholder 4">
            <a:extLst>
              <a:ext uri="{FF2B5EF4-FFF2-40B4-BE49-F238E27FC236}">
                <a16:creationId xmlns:a16="http://schemas.microsoft.com/office/drawing/2014/main" id="{F33A4B55-2A57-FCD2-44AD-AF0EA2513CC1}"/>
              </a:ext>
            </a:extLst>
          </p:cNvPr>
          <p:cNvSpPr>
            <a:spLocks noGrp="1"/>
          </p:cNvSpPr>
          <p:nvPr>
            <p:ph type="ftr" sz="quarter" idx="3"/>
          </p:nvPr>
        </p:nvSpPr>
        <p:spPr>
          <a:xfrm>
            <a:off x="338667" y="6492875"/>
            <a:ext cx="4114800" cy="228600"/>
          </a:xfrm>
          <a:prstGeom prst="rect">
            <a:avLst/>
          </a:prstGeom>
        </p:spPr>
        <p:txBody>
          <a:bodyPr vert="horz" lIns="91440" tIns="45720" rIns="91440" bIns="45720" rtlCol="0" anchor="ctr"/>
          <a:lstStyle>
            <a:lvl1pPr algn="l">
              <a:defRPr sz="1000" b="0" i="0">
                <a:solidFill>
                  <a:schemeClr val="tx1">
                    <a:lumMod val="50000"/>
                    <a:lumOff val="50000"/>
                  </a:schemeClr>
                </a:solidFill>
                <a:latin typeface="Segoe UI" panose="020B0502040204020203" pitchFamily="34" charset="0"/>
                <a:cs typeface="Segoe UI" panose="020B0502040204020203" pitchFamily="34" charset="0"/>
              </a:defRPr>
            </a:lvl1pPr>
          </a:lstStyle>
          <a:p>
            <a:r>
              <a:rPr lang="en-US"/>
              <a:t>© 2024 Mobiz. All rights reserved</a:t>
            </a:r>
            <a:endParaRPr lang="en-BR"/>
          </a:p>
        </p:txBody>
      </p:sp>
      <p:sp>
        <p:nvSpPr>
          <p:cNvPr id="6" name="Slide Number Placeholder 5">
            <a:extLst>
              <a:ext uri="{FF2B5EF4-FFF2-40B4-BE49-F238E27FC236}">
                <a16:creationId xmlns:a16="http://schemas.microsoft.com/office/drawing/2014/main" id="{F30C5EE5-609C-E176-1C15-A460F815B15D}"/>
              </a:ext>
            </a:extLst>
          </p:cNvPr>
          <p:cNvSpPr>
            <a:spLocks noGrp="1"/>
          </p:cNvSpPr>
          <p:nvPr>
            <p:ph type="sldNum" sz="quarter" idx="4"/>
          </p:nvPr>
        </p:nvSpPr>
        <p:spPr>
          <a:xfrm>
            <a:off x="10742260" y="6492875"/>
            <a:ext cx="1114778" cy="228600"/>
          </a:xfrm>
          <a:prstGeom prst="rect">
            <a:avLst/>
          </a:prstGeom>
        </p:spPr>
        <p:txBody>
          <a:bodyPr vert="horz" lIns="91440" tIns="45720" rIns="91440" bIns="45720" rtlCol="0" anchor="ctr"/>
          <a:lstStyle>
            <a:lvl1pPr algn="r">
              <a:defRPr sz="1000" b="0" i="0">
                <a:solidFill>
                  <a:schemeClr val="tx1">
                    <a:lumMod val="50000"/>
                    <a:lumOff val="50000"/>
                  </a:schemeClr>
                </a:solidFill>
                <a:latin typeface="Segoe UI" panose="020B0502040204020203" pitchFamily="34" charset="0"/>
                <a:cs typeface="Segoe UI" panose="020B0502040204020203" pitchFamily="34" charset="0"/>
              </a:defRPr>
            </a:lvl1pPr>
          </a:lstStyle>
          <a:p>
            <a:fld id="{A8DDC45B-7265-3747-B738-ED29642119D9}" type="slidenum">
              <a:rPr lang="en-BR" smtClean="0"/>
              <a:pPr/>
              <a:t>‹#›</a:t>
            </a:fld>
            <a:endParaRPr lang="en-BR"/>
          </a:p>
        </p:txBody>
      </p:sp>
    </p:spTree>
    <p:extLst>
      <p:ext uri="{BB962C8B-B14F-4D97-AF65-F5344CB8AC3E}">
        <p14:creationId xmlns:p14="http://schemas.microsoft.com/office/powerpoint/2010/main" val="47580893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8" r:id="rId4"/>
    <p:sldLayoutId id="2147483657" r:id="rId5"/>
    <p:sldLayoutId id="2147483654" r:id="rId6"/>
    <p:sldLayoutId id="2147483655" r:id="rId7"/>
  </p:sldLayoutIdLst>
  <p:hf hdr="0" dt="0"/>
  <p:txStyles>
    <p:titleStyle>
      <a:lvl1pPr algn="l" defTabSz="914400" rtl="0" eaLnBrk="1" latinLnBrk="0" hangingPunct="1">
        <a:lnSpc>
          <a:spcPct val="90000"/>
        </a:lnSpc>
        <a:spcBef>
          <a:spcPct val="0"/>
        </a:spcBef>
        <a:buNone/>
        <a:defRPr sz="2800" b="1" i="0" kern="1200">
          <a:solidFill>
            <a:srgbClr val="C00000"/>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lumMod val="75000"/>
              <a:lumOff val="25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11" userDrawn="1">
          <p15:clr>
            <a:srgbClr val="F26B43"/>
          </p15:clr>
        </p15:guide>
        <p15:guide id="4" pos="7469" userDrawn="1">
          <p15:clr>
            <a:srgbClr val="F26B43"/>
          </p15:clr>
        </p15:guide>
        <p15:guide id="5" orient="horz" pos="4088" userDrawn="1">
          <p15:clr>
            <a:srgbClr val="F26B43"/>
          </p15:clr>
        </p15:guide>
        <p15:guide id="6"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microsoft.com/office/2014/relationships/chartEx" Target="../charts/chartEx1.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slide" Target="slide26.xml"/><Relationship Id="rId13" Type="http://schemas.openxmlformats.org/officeDocument/2006/relationships/image" Target="../media/image10.png"/><Relationship Id="rId18" Type="http://schemas.openxmlformats.org/officeDocument/2006/relationships/slide" Target="slide51.xml"/><Relationship Id="rId3" Type="http://schemas.openxmlformats.org/officeDocument/2006/relationships/image" Target="../media/image4.png"/><Relationship Id="rId21" Type="http://schemas.openxmlformats.org/officeDocument/2006/relationships/image" Target="../media/image16.png"/><Relationship Id="rId7" Type="http://schemas.openxmlformats.org/officeDocument/2006/relationships/image" Target="../media/image7.svg"/><Relationship Id="rId12" Type="http://schemas.openxmlformats.org/officeDocument/2006/relationships/slide" Target="slide3.xml"/><Relationship Id="rId17" Type="http://schemas.openxmlformats.org/officeDocument/2006/relationships/image" Target="../media/image13.svg"/><Relationship Id="rId2" Type="http://schemas.openxmlformats.org/officeDocument/2006/relationships/slide" Target="slide9.xml"/><Relationship Id="rId16" Type="http://schemas.openxmlformats.org/officeDocument/2006/relationships/image" Target="../media/image12.png"/><Relationship Id="rId20" Type="http://schemas.openxmlformats.org/officeDocument/2006/relationships/image" Target="../media/image15.svg"/><Relationship Id="rId1" Type="http://schemas.openxmlformats.org/officeDocument/2006/relationships/slideLayout" Target="../slideLayouts/slideLayout4.xml"/><Relationship Id="rId6" Type="http://schemas.openxmlformats.org/officeDocument/2006/relationships/image" Target="../media/image6.png"/><Relationship Id="rId11" Type="http://schemas.openxmlformats.org/officeDocument/2006/relationships/slide" Target="slide43.xml"/><Relationship Id="rId5" Type="http://schemas.openxmlformats.org/officeDocument/2006/relationships/slide" Target="slide20.xml"/><Relationship Id="rId15" Type="http://schemas.openxmlformats.org/officeDocument/2006/relationships/slide" Target="slide31.xml"/><Relationship Id="rId10" Type="http://schemas.openxmlformats.org/officeDocument/2006/relationships/image" Target="../media/image9.svg"/><Relationship Id="rId19" Type="http://schemas.openxmlformats.org/officeDocument/2006/relationships/image" Target="../media/image14.png"/><Relationship Id="rId4" Type="http://schemas.openxmlformats.org/officeDocument/2006/relationships/image" Target="../media/image5.svg"/><Relationship Id="rId9" Type="http://schemas.openxmlformats.org/officeDocument/2006/relationships/image" Target="../media/image8.png"/><Relationship Id="rId14" Type="http://schemas.openxmlformats.org/officeDocument/2006/relationships/image" Target="../media/image11.svg"/><Relationship Id="rId22" Type="http://schemas.openxmlformats.org/officeDocument/2006/relationships/image" Target="../media/image17.svg"/></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2.xml"/><Relationship Id="rId1" Type="http://schemas.openxmlformats.org/officeDocument/2006/relationships/slideLayout" Target="../slideLayouts/slideLayout3.xml"/><Relationship Id="rId4" Type="http://schemas.openxmlformats.org/officeDocument/2006/relationships/image" Target="../media/image19.svg"/></Relationships>
</file>

<file path=ppt/slides/_rels/slide21.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23.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2.xml"/><Relationship Id="rId1" Type="http://schemas.openxmlformats.org/officeDocument/2006/relationships/slideLayout" Target="../slideLayouts/slideLayout3.xml"/><Relationship Id="rId4" Type="http://schemas.openxmlformats.org/officeDocument/2006/relationships/image" Target="../media/image19.svg"/></Relationships>
</file>

<file path=ppt/slides/_rels/slide27.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2.xml"/><Relationship Id="rId1" Type="http://schemas.openxmlformats.org/officeDocument/2006/relationships/slideLayout" Target="../slideLayouts/slideLayout3.xml"/><Relationship Id="rId4" Type="http://schemas.openxmlformats.org/officeDocument/2006/relationships/image" Target="../media/image19.svg"/></Relationships>
</file>

<file path=ppt/slides/_rels/slide30.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2.xml"/><Relationship Id="rId1" Type="http://schemas.openxmlformats.org/officeDocument/2006/relationships/slideLayout" Target="../slideLayouts/slideLayout3.xml"/><Relationship Id="rId4" Type="http://schemas.openxmlformats.org/officeDocument/2006/relationships/image" Target="../media/image19.sv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tags" Target="../tags/tag2.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2.xml"/><Relationship Id="rId1" Type="http://schemas.openxmlformats.org/officeDocument/2006/relationships/slideLayout" Target="../slideLayouts/slideLayout3.xml"/><Relationship Id="rId4" Type="http://schemas.openxmlformats.org/officeDocument/2006/relationships/image" Target="../media/image19.svg"/></Relationships>
</file>

<file path=ppt/slides/_rels/slide44.xml.rels><?xml version="1.0" encoding="UTF-8" standalone="yes"?>
<Relationships xmlns="http://schemas.openxmlformats.org/package/2006/relationships"><Relationship Id="rId2" Type="http://schemas.openxmlformats.org/officeDocument/2006/relationships/hyperlink" Target="https://mobiz.sharepoint.com/:p:/r/sites/MobizIntranet/Shared%20Documents/Management%20Consulting/8.%20Projects/01_Sanofi/ATLAS/03.Communications/_draft_ATLAS_DC%20Optimization%20Program_Steerco.pptx?d=w6a4df9442e6e4dd5b2e354d8c660b27e&amp;csf=1&amp;web=1&amp;e=iShQJC" TargetMode="Externa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2.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png"/></Relationships>
</file>

<file path=ppt/slides/_rels/slide4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33.png"/><Relationship Id="rId4" Type="http://schemas.openxmlformats.org/officeDocument/2006/relationships/image" Target="../media/image32.svg"/></Relationships>
</file>

<file path=ppt/slides/_rels/slide47.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2.xml"/><Relationship Id="rId1" Type="http://schemas.openxmlformats.org/officeDocument/2006/relationships/slideLayout" Target="../slideLayouts/slideLayout3.xml"/><Relationship Id="rId4" Type="http://schemas.openxmlformats.org/officeDocument/2006/relationships/image" Target="../media/image19.sv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2.xml"/><Relationship Id="rId1" Type="http://schemas.openxmlformats.org/officeDocument/2006/relationships/slideLayout" Target="../slideLayouts/slideLayout3.xml"/><Relationship Id="rId4" Type="http://schemas.openxmlformats.org/officeDocument/2006/relationships/image" Target="../media/image19.svg"/></Relationships>
</file>

<file path=ppt/slides/_rels/slide54.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2.xml"/><Relationship Id="rId4" Type="http://schemas.openxmlformats.org/officeDocument/2006/relationships/chart" Target="../charts/chart22.xml"/></Relationships>
</file>

<file path=ppt/slides/_rels/slide56.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2.xml"/><Relationship Id="rId1" Type="http://schemas.openxmlformats.org/officeDocument/2006/relationships/slideLayout" Target="../slideLayouts/slideLayout3.xml"/><Relationship Id="rId4" Type="http://schemas.openxmlformats.org/officeDocument/2006/relationships/image" Target="../media/image19.sv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notesSlide" Target="../notesSlides/notesSlide6.xml"/><Relationship Id="rId3" Type="http://schemas.openxmlformats.org/officeDocument/2006/relationships/tags" Target="../tags/tag15.xml"/><Relationship Id="rId21" Type="http://schemas.openxmlformats.org/officeDocument/2006/relationships/tags" Target="../tags/tag33.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slideLayout" Target="../slideLayouts/slideLayout2.xml"/><Relationship Id="rId2" Type="http://schemas.openxmlformats.org/officeDocument/2006/relationships/tags" Target="../tags/tag14.xml"/><Relationship Id="rId16" Type="http://schemas.openxmlformats.org/officeDocument/2006/relationships/tags" Target="../tags/tag28.xml"/><Relationship Id="rId20" Type="http://schemas.openxmlformats.org/officeDocument/2006/relationships/tags" Target="../tags/tag32.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tags" Target="../tags/tag36.xml"/><Relationship Id="rId5" Type="http://schemas.openxmlformats.org/officeDocument/2006/relationships/tags" Target="../tags/tag17.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chart" Target="../charts/chart28.xml"/><Relationship Id="rId10" Type="http://schemas.openxmlformats.org/officeDocument/2006/relationships/tags" Target="../tags/tag22.xml"/><Relationship Id="rId19" Type="http://schemas.openxmlformats.org/officeDocument/2006/relationships/tags" Target="../tags/tag31.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 Id="rId27" Type="http://schemas.openxmlformats.org/officeDocument/2006/relationships/chart" Target="../charts/chart2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2.xml"/><Relationship Id="rId1" Type="http://schemas.openxmlformats.org/officeDocument/2006/relationships/slideLayout" Target="../slideLayouts/slideLayout3.xml"/><Relationship Id="rId4" Type="http://schemas.openxmlformats.org/officeDocument/2006/relationships/image" Target="../media/image19.svg"/></Relationships>
</file>

<file path=ppt/slides/_rels/slide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6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 Id="rId9" Type="http://schemas.openxmlformats.org/officeDocument/2006/relationships/image" Target="../media/image11.svg"/></Relationships>
</file>

<file path=ppt/slides/_rels/slide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37.png"/><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8.png"/><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39.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2.xml"/><Relationship Id="rId1" Type="http://schemas.openxmlformats.org/officeDocument/2006/relationships/slideLayout" Target="../slideLayouts/slideLayout3.xml"/><Relationship Id="rId4" Type="http://schemas.openxmlformats.org/officeDocument/2006/relationships/image" Target="../media/image1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cross-section of a city&#10;&#10;Description automatically generated">
            <a:extLst>
              <a:ext uri="{FF2B5EF4-FFF2-40B4-BE49-F238E27FC236}">
                <a16:creationId xmlns:a16="http://schemas.microsoft.com/office/drawing/2014/main" id="{E383546F-599A-AD2B-797A-53457B867131}"/>
              </a:ext>
            </a:extLst>
          </p:cNvPr>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5300"/>
                    </a14:imgEffect>
                  </a14:imgLayer>
                </a14:imgProps>
              </a:ext>
            </a:extLst>
          </a:blip>
          <a:srcRect l="1315" b="2397"/>
          <a:stretch/>
        </p:blipFill>
        <p:spPr>
          <a:xfrm>
            <a:off x="0" y="-32556"/>
            <a:ext cx="12192000" cy="6890556"/>
          </a:xfrm>
          <a:prstGeom prst="rect">
            <a:avLst/>
          </a:prstGeom>
        </p:spPr>
      </p:pic>
      <p:sp>
        <p:nvSpPr>
          <p:cNvPr id="10" name="Rectangle 9">
            <a:extLst>
              <a:ext uri="{FF2B5EF4-FFF2-40B4-BE49-F238E27FC236}">
                <a16:creationId xmlns:a16="http://schemas.microsoft.com/office/drawing/2014/main" id="{1E348095-2BEB-DE5F-158D-9992D3DEED76}"/>
              </a:ext>
            </a:extLst>
          </p:cNvPr>
          <p:cNvSpPr/>
          <p:nvPr/>
        </p:nvSpPr>
        <p:spPr>
          <a:xfrm>
            <a:off x="0" y="2404997"/>
            <a:ext cx="12192000" cy="4453003"/>
          </a:xfrm>
          <a:prstGeom prst="rect">
            <a:avLst/>
          </a:prstGeom>
          <a:solidFill>
            <a:schemeClr val="tx1">
              <a:lumMod val="85000"/>
              <a:lumOff val="15000"/>
              <a:alpha val="69804"/>
            </a:schemeClr>
          </a:solidFill>
          <a:ln>
            <a:noFill/>
          </a:ln>
          <a:effectLst>
            <a:outerShdw blurRad="50800" dist="38100" dir="16200000" rotWithShape="0">
              <a:prstClr val="black">
                <a:alpha val="40000"/>
              </a:prstClr>
            </a:outerShdw>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BR"/>
          </a:p>
        </p:txBody>
      </p:sp>
      <p:sp>
        <p:nvSpPr>
          <p:cNvPr id="17" name="Title 16">
            <a:extLst>
              <a:ext uri="{FF2B5EF4-FFF2-40B4-BE49-F238E27FC236}">
                <a16:creationId xmlns:a16="http://schemas.microsoft.com/office/drawing/2014/main" id="{395BE51E-954E-D9F9-EDBA-5C59C90838DC}"/>
              </a:ext>
            </a:extLst>
          </p:cNvPr>
          <p:cNvSpPr>
            <a:spLocks noGrp="1"/>
          </p:cNvSpPr>
          <p:nvPr>
            <p:ph type="ctrTitle"/>
          </p:nvPr>
        </p:nvSpPr>
        <p:spPr>
          <a:xfrm>
            <a:off x="1932972" y="1458409"/>
            <a:ext cx="9924066" cy="2051553"/>
          </a:xfrm>
        </p:spPr>
        <p:txBody>
          <a:bodyPr>
            <a:normAutofit/>
          </a:bodyPr>
          <a:lstStyle/>
          <a:p>
            <a:r>
              <a:rPr lang="en-US" sz="4400">
                <a:solidFill>
                  <a:schemeClr val="bg1"/>
                </a:solidFill>
              </a:rPr>
              <a:t>AI_powered_interview-Prsentation</a:t>
            </a:r>
            <a:endParaRPr lang="en-BR" sz="4400" dirty="0">
              <a:solidFill>
                <a:schemeClr val="bg1"/>
              </a:solidFill>
            </a:endParaRPr>
          </a:p>
        </p:txBody>
      </p:sp>
      <p:sp>
        <p:nvSpPr>
          <p:cNvPr id="3" name="Subtitle 2">
            <a:extLst>
              <a:ext uri="{FF2B5EF4-FFF2-40B4-BE49-F238E27FC236}">
                <a16:creationId xmlns:a16="http://schemas.microsoft.com/office/drawing/2014/main" id="{9C970D71-7762-A3F4-9C06-93FCA6701022}"/>
              </a:ext>
            </a:extLst>
          </p:cNvPr>
          <p:cNvSpPr>
            <a:spLocks noGrp="1"/>
          </p:cNvSpPr>
          <p:nvPr>
            <p:ph type="subTitle" idx="1"/>
          </p:nvPr>
        </p:nvSpPr>
        <p:spPr>
          <a:xfrm>
            <a:off x="2492679" y="3602038"/>
            <a:ext cx="9144000" cy="1655762"/>
          </a:xfrm>
        </p:spPr>
        <p:txBody>
          <a:bodyPr>
            <a:normAutofit/>
          </a:bodyPr>
          <a:lstStyle/>
          <a:p>
            <a:pPr algn="r"/>
            <a:r>
              <a:rPr lang="en-US" sz="2800" b="1" dirty="0">
                <a:solidFill>
                  <a:schemeClr val="bg1">
                    <a:lumMod val="75000"/>
                  </a:schemeClr>
                </a:solidFill>
              </a:rPr>
              <a:t>(POC)</a:t>
            </a:r>
            <a:endParaRPr lang="en-BR" sz="2800" b="1" dirty="0">
              <a:solidFill>
                <a:schemeClr val="bg1">
                  <a:lumMod val="75000"/>
                </a:schemeClr>
              </a:solidFill>
            </a:endParaRPr>
          </a:p>
        </p:txBody>
      </p:sp>
      <p:sp>
        <p:nvSpPr>
          <p:cNvPr id="4" name="Footer Placeholder 3">
            <a:extLst>
              <a:ext uri="{FF2B5EF4-FFF2-40B4-BE49-F238E27FC236}">
                <a16:creationId xmlns:a16="http://schemas.microsoft.com/office/drawing/2014/main" id="{E94E5DC5-B2CB-1D86-B6B0-3A3EDBE6FABE}"/>
              </a:ext>
            </a:extLst>
          </p:cNvPr>
          <p:cNvSpPr>
            <a:spLocks noGrp="1"/>
          </p:cNvSpPr>
          <p:nvPr>
            <p:ph type="ftr" sz="quarter" idx="11"/>
          </p:nvPr>
        </p:nvSpPr>
        <p:spPr/>
        <p:txBody>
          <a:bodyPr/>
          <a:lstStyle/>
          <a:p>
            <a:r>
              <a:rPr lang="en-US"/>
              <a:t>© 2024 Mobiz. All rights reserved</a:t>
            </a:r>
            <a:endParaRPr lang="en-BR"/>
          </a:p>
        </p:txBody>
      </p:sp>
      <p:sp>
        <p:nvSpPr>
          <p:cNvPr id="5" name="Slide Number Placeholder 4">
            <a:extLst>
              <a:ext uri="{FF2B5EF4-FFF2-40B4-BE49-F238E27FC236}">
                <a16:creationId xmlns:a16="http://schemas.microsoft.com/office/drawing/2014/main" id="{B8841177-8672-0225-E621-FF5DFA1CC2C6}"/>
              </a:ext>
            </a:extLst>
          </p:cNvPr>
          <p:cNvSpPr>
            <a:spLocks noGrp="1"/>
          </p:cNvSpPr>
          <p:nvPr>
            <p:ph type="sldNum" sz="quarter" idx="12"/>
          </p:nvPr>
        </p:nvSpPr>
        <p:spPr/>
        <p:txBody>
          <a:bodyPr/>
          <a:lstStyle/>
          <a:p>
            <a:fld id="{A8DDC45B-7265-3747-B738-ED29642119D9}" type="slidenum">
              <a:rPr lang="en-BR" smtClean="0"/>
              <a:pPr/>
              <a:t>1</a:t>
            </a:fld>
            <a:endParaRPr lang="en-BR"/>
          </a:p>
        </p:txBody>
      </p:sp>
      <p:pic>
        <p:nvPicPr>
          <p:cNvPr id="11" name="Picture 10" descr="A white text on a black background&#10;&#10;Description automatically generated">
            <a:extLst>
              <a:ext uri="{FF2B5EF4-FFF2-40B4-BE49-F238E27FC236}">
                <a16:creationId xmlns:a16="http://schemas.microsoft.com/office/drawing/2014/main" id="{889DDA2D-DD77-9121-0F0E-1086CDDC7C74}"/>
              </a:ext>
            </a:extLst>
          </p:cNvPr>
          <p:cNvPicPr>
            <a:picLocks noChangeAspect="1"/>
          </p:cNvPicPr>
          <p:nvPr/>
        </p:nvPicPr>
        <p:blipFill>
          <a:blip r:embed="rId4"/>
          <a:stretch>
            <a:fillRect/>
          </a:stretch>
        </p:blipFill>
        <p:spPr>
          <a:xfrm>
            <a:off x="555320" y="4740628"/>
            <a:ext cx="3358677" cy="1736589"/>
          </a:xfrm>
          <a:prstGeom prst="rect">
            <a:avLst/>
          </a:prstGeom>
        </p:spPr>
      </p:pic>
      <p:cxnSp>
        <p:nvCxnSpPr>
          <p:cNvPr id="14" name="Straight Connector 13">
            <a:extLst>
              <a:ext uri="{FF2B5EF4-FFF2-40B4-BE49-F238E27FC236}">
                <a16:creationId xmlns:a16="http://schemas.microsoft.com/office/drawing/2014/main" id="{2F57DE1B-8B77-AD34-60B7-29E93C61DF21}"/>
              </a:ext>
            </a:extLst>
          </p:cNvPr>
          <p:cNvCxnSpPr/>
          <p:nvPr/>
        </p:nvCxnSpPr>
        <p:spPr>
          <a:xfrm>
            <a:off x="0" y="2392471"/>
            <a:ext cx="6095999" cy="0"/>
          </a:xfrm>
          <a:prstGeom prst="line">
            <a:avLst/>
          </a:prstGeom>
          <a:ln w="76200">
            <a:solidFill>
              <a:srgbClr val="C00000"/>
            </a:solidFill>
          </a:ln>
        </p:spPr>
        <p:style>
          <a:lnRef idx="1">
            <a:schemeClr val="accent6"/>
          </a:lnRef>
          <a:fillRef idx="0">
            <a:schemeClr val="accent6"/>
          </a:fillRef>
          <a:effectRef idx="0">
            <a:schemeClr val="accent6"/>
          </a:effectRef>
          <a:fontRef idx="minor">
            <a:schemeClr val="tx1"/>
          </a:fontRef>
        </p:style>
      </p:cxnSp>
      <p:sp>
        <p:nvSpPr>
          <p:cNvPr id="18" name="TextBox 17">
            <a:extLst>
              <a:ext uri="{FF2B5EF4-FFF2-40B4-BE49-F238E27FC236}">
                <a16:creationId xmlns:a16="http://schemas.microsoft.com/office/drawing/2014/main" id="{E7C5AF7F-7A48-9091-13F4-FED723BF31FA}"/>
              </a:ext>
            </a:extLst>
          </p:cNvPr>
          <p:cNvSpPr txBox="1"/>
          <p:nvPr/>
        </p:nvSpPr>
        <p:spPr>
          <a:xfrm>
            <a:off x="10170508" y="6107885"/>
            <a:ext cx="1663340" cy="369332"/>
          </a:xfrm>
          <a:prstGeom prst="rect">
            <a:avLst/>
          </a:prstGeom>
          <a:noFill/>
        </p:spPr>
        <p:txBody>
          <a:bodyPr wrap="none" rtlCol="0">
            <a:spAutoFit/>
          </a:bodyPr>
          <a:lstStyle/>
          <a:p>
            <a:r>
              <a:rPr lang="en-US" b="1" dirty="0">
                <a:solidFill>
                  <a:schemeClr val="bg1"/>
                </a:solidFill>
                <a:latin typeface="Segoe UI" panose="020B0502040204020203" pitchFamily="34" charset="0"/>
                <a:cs typeface="Segoe UI" panose="020B0502040204020203" pitchFamily="34" charset="0"/>
              </a:rPr>
              <a:t>5 </a:t>
            </a:r>
            <a:r>
              <a:rPr lang="en-BR" b="1" dirty="0">
                <a:solidFill>
                  <a:schemeClr val="bg1"/>
                </a:solidFill>
                <a:latin typeface="Segoe UI" panose="020B0502040204020203" pitchFamily="34" charset="0"/>
                <a:cs typeface="Segoe UI" panose="020B0502040204020203" pitchFamily="34" charset="0"/>
              </a:rPr>
              <a:t>March 202</a:t>
            </a:r>
            <a:r>
              <a:rPr lang="en-US" b="1" dirty="0">
                <a:solidFill>
                  <a:schemeClr val="bg1"/>
                </a:solidFill>
                <a:latin typeface="Segoe UI" panose="020B0502040204020203" pitchFamily="34" charset="0"/>
                <a:cs typeface="Segoe UI" panose="020B0502040204020203" pitchFamily="34" charset="0"/>
              </a:rPr>
              <a:t>5</a:t>
            </a:r>
            <a:endParaRPr lang="en-BR" b="1"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233504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DCED6-7C98-CFD2-7D1A-C78EB09BDD94}"/>
              </a:ext>
            </a:extLst>
          </p:cNvPr>
          <p:cNvSpPr>
            <a:spLocks noGrp="1"/>
          </p:cNvSpPr>
          <p:nvPr>
            <p:ph type="title"/>
          </p:nvPr>
        </p:nvSpPr>
        <p:spPr/>
        <p:txBody>
          <a:bodyPr/>
          <a:lstStyle/>
          <a:p>
            <a:r>
              <a:rPr lang="en-BR"/>
              <a:t>Data Display Slide</a:t>
            </a:r>
          </a:p>
        </p:txBody>
      </p:sp>
      <p:sp>
        <p:nvSpPr>
          <p:cNvPr id="3" name="Text Placeholder 2">
            <a:extLst>
              <a:ext uri="{FF2B5EF4-FFF2-40B4-BE49-F238E27FC236}">
                <a16:creationId xmlns:a16="http://schemas.microsoft.com/office/drawing/2014/main" id="{E534B81B-3551-9277-26E1-1866C500F742}"/>
              </a:ext>
            </a:extLst>
          </p:cNvPr>
          <p:cNvSpPr>
            <a:spLocks noGrp="1"/>
          </p:cNvSpPr>
          <p:nvPr>
            <p:ph type="body" sz="quarter" idx="13"/>
          </p:nvPr>
        </p:nvSpPr>
        <p:spPr/>
        <p:txBody>
          <a:bodyPr/>
          <a:lstStyle/>
          <a:p>
            <a:r>
              <a:rPr lang="en-US"/>
              <a:t>Table for displaying data</a:t>
            </a:r>
          </a:p>
        </p:txBody>
      </p:sp>
      <mc:AlternateContent xmlns:mc="http://schemas.openxmlformats.org/markup-compatibility/2006" xmlns:cx1="http://schemas.microsoft.com/office/drawing/2015/9/8/chartex">
        <mc:Choice Requires="cx1">
          <p:graphicFrame>
            <p:nvGraphicFramePr>
              <p:cNvPr id="5" name="Chart 4">
                <a:extLst>
                  <a:ext uri="{FF2B5EF4-FFF2-40B4-BE49-F238E27FC236}">
                    <a16:creationId xmlns:a16="http://schemas.microsoft.com/office/drawing/2014/main" id="{1D0990B0-E673-4131-43C1-E8D1BD867216}"/>
                  </a:ext>
                </a:extLst>
              </p:cNvPr>
              <p:cNvGraphicFramePr/>
              <p:nvPr>
                <p:extLst>
                  <p:ext uri="{D42A27DB-BD31-4B8C-83A1-F6EECF244321}">
                    <p14:modId xmlns:p14="http://schemas.microsoft.com/office/powerpoint/2010/main" val="1271162962"/>
                  </p:ext>
                </p:extLst>
              </p:nvPr>
            </p:nvGraphicFramePr>
            <p:xfrm>
              <a:off x="5423770" y="1746063"/>
              <a:ext cx="6329305" cy="4447645"/>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5" name="Chart 4">
                <a:extLst>
                  <a:ext uri="{FF2B5EF4-FFF2-40B4-BE49-F238E27FC236}">
                    <a16:creationId xmlns:a16="http://schemas.microsoft.com/office/drawing/2014/main" id="{1D0990B0-E673-4131-43C1-E8D1BD867216}"/>
                  </a:ext>
                </a:extLst>
              </p:cNvPr>
              <p:cNvPicPr>
                <a:picLocks noGrp="1" noRot="1" noChangeAspect="1" noMove="1" noResize="1" noEditPoints="1" noAdjustHandles="1" noChangeArrowheads="1" noChangeShapeType="1"/>
              </p:cNvPicPr>
              <p:nvPr/>
            </p:nvPicPr>
            <p:blipFill>
              <a:blip r:embed="rId3"/>
              <a:stretch>
                <a:fillRect/>
              </a:stretch>
            </p:blipFill>
            <p:spPr>
              <a:xfrm>
                <a:off x="5423770" y="1746063"/>
                <a:ext cx="6329305" cy="4447645"/>
              </a:xfrm>
              <a:prstGeom prst="rect">
                <a:avLst/>
              </a:prstGeom>
            </p:spPr>
          </p:pic>
        </mc:Fallback>
      </mc:AlternateContent>
      <p:sp>
        <p:nvSpPr>
          <p:cNvPr id="6" name="TextBox 5">
            <a:extLst>
              <a:ext uri="{FF2B5EF4-FFF2-40B4-BE49-F238E27FC236}">
                <a16:creationId xmlns:a16="http://schemas.microsoft.com/office/drawing/2014/main" id="{E69CFE9B-CE0F-A644-506B-572BA6CF017C}"/>
              </a:ext>
            </a:extLst>
          </p:cNvPr>
          <p:cNvSpPr txBox="1"/>
          <p:nvPr/>
        </p:nvSpPr>
        <p:spPr>
          <a:xfrm>
            <a:off x="438779" y="3490912"/>
            <a:ext cx="4183326" cy="1569660"/>
          </a:xfrm>
          <a:prstGeom prst="rect">
            <a:avLst/>
          </a:prstGeom>
          <a:noFill/>
        </p:spPr>
        <p:txBody>
          <a:bodyPr wrap="square" rtlCol="0">
            <a:spAutoFit/>
          </a:bodyPr>
          <a:lstStyle/>
          <a:p>
            <a:r>
              <a:rPr lang="en-US" sz="16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600" err="1">
                <a:solidFill>
                  <a:schemeClr val="tx1">
                    <a:lumMod val="75000"/>
                    <a:lumOff val="25000"/>
                  </a:schemeClr>
                </a:solidFill>
                <a:latin typeface="Segoe UI" panose="020B0502040204020203" pitchFamily="34" charset="0"/>
                <a:cs typeface="Segoe UI" panose="020B0502040204020203" pitchFamily="34" charset="0"/>
              </a:rPr>
              <a:t>amet</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elit</a:t>
            </a:r>
            <a:r>
              <a:rPr lang="en-US" sz="1600">
                <a:solidFill>
                  <a:schemeClr val="tx1">
                    <a:lumMod val="75000"/>
                    <a:lumOff val="25000"/>
                  </a:schemeClr>
                </a:solidFill>
                <a:latin typeface="Segoe UI" panose="020B0502040204020203" pitchFamily="34" charset="0"/>
                <a:cs typeface="Segoe UI" panose="020B0502040204020203" pitchFamily="34" charset="0"/>
              </a:rPr>
              <a:t>, sed do </a:t>
            </a:r>
            <a:r>
              <a:rPr lang="en-US" sz="1600" err="1">
                <a:solidFill>
                  <a:schemeClr val="tx1">
                    <a:lumMod val="75000"/>
                    <a:lumOff val="25000"/>
                  </a:schemeClr>
                </a:solidFill>
                <a:latin typeface="Segoe UI" panose="020B0502040204020203" pitchFamily="34" charset="0"/>
                <a:cs typeface="Segoe UI" panose="020B0502040204020203" pitchFamily="34" charset="0"/>
              </a:rPr>
              <a:t>eiusmod</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tempor</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ut</a:t>
            </a:r>
            <a:r>
              <a:rPr lang="en-US" sz="1600">
                <a:solidFill>
                  <a:schemeClr val="tx1">
                    <a:lumMod val="75000"/>
                    <a:lumOff val="25000"/>
                  </a:schemeClr>
                </a:solidFill>
                <a:latin typeface="Segoe UI" panose="020B0502040204020203" pitchFamily="34" charset="0"/>
                <a:cs typeface="Segoe UI" panose="020B0502040204020203" pitchFamily="34" charset="0"/>
              </a:rPr>
              <a:t> labore et dolore magna </a:t>
            </a:r>
            <a:r>
              <a:rPr lang="en-US" sz="1600" err="1">
                <a:solidFill>
                  <a:schemeClr val="tx1">
                    <a:lumMod val="75000"/>
                    <a:lumOff val="25000"/>
                  </a:schemeClr>
                </a:solidFill>
                <a:latin typeface="Segoe UI" panose="020B0502040204020203" pitchFamily="34" charset="0"/>
                <a:cs typeface="Segoe UI" panose="020B0502040204020203" pitchFamily="34" charset="0"/>
              </a:rPr>
              <a:t>aliqua</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Quis</a:t>
            </a:r>
            <a:r>
              <a:rPr lang="en-US" sz="1600">
                <a:solidFill>
                  <a:schemeClr val="tx1">
                    <a:lumMod val="75000"/>
                    <a:lumOff val="25000"/>
                  </a:schemeClr>
                </a:solidFill>
                <a:latin typeface="Segoe UI" panose="020B0502040204020203" pitchFamily="34" charset="0"/>
                <a:cs typeface="Segoe UI" panose="020B0502040204020203" pitchFamily="34" charset="0"/>
              </a:rPr>
              <a:t> ipsum </a:t>
            </a:r>
            <a:r>
              <a:rPr lang="en-US" sz="1600" err="1">
                <a:solidFill>
                  <a:schemeClr val="tx1">
                    <a:lumMod val="75000"/>
                    <a:lumOff val="25000"/>
                  </a:schemeClr>
                </a:solidFill>
                <a:latin typeface="Segoe UI" panose="020B0502040204020203" pitchFamily="34" charset="0"/>
                <a:cs typeface="Segoe UI" panose="020B0502040204020203" pitchFamily="34" charset="0"/>
              </a:rPr>
              <a:t>suspendisse</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ultrices</a:t>
            </a:r>
            <a:r>
              <a:rPr lang="en-US" sz="1600">
                <a:solidFill>
                  <a:schemeClr val="tx1">
                    <a:lumMod val="75000"/>
                    <a:lumOff val="25000"/>
                  </a:schemeClr>
                </a:solidFill>
                <a:latin typeface="Segoe UI" panose="020B0502040204020203" pitchFamily="34" charset="0"/>
                <a:cs typeface="Segoe UI" panose="020B0502040204020203" pitchFamily="34" charset="0"/>
              </a:rPr>
              <a:t> gravida. </a:t>
            </a:r>
            <a:r>
              <a:rPr lang="en-US" sz="1600" err="1">
                <a:solidFill>
                  <a:schemeClr val="tx1">
                    <a:lumMod val="75000"/>
                    <a:lumOff val="25000"/>
                  </a:schemeClr>
                </a:solidFill>
                <a:latin typeface="Segoe UI" panose="020B0502040204020203" pitchFamily="34" charset="0"/>
                <a:cs typeface="Segoe UI" panose="020B0502040204020203" pitchFamily="34" charset="0"/>
              </a:rPr>
              <a:t>Risus</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commodo</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viverra</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maecenas</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accumsan</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lacus</a:t>
            </a:r>
            <a:r>
              <a:rPr lang="en-US" sz="1600">
                <a:solidFill>
                  <a:schemeClr val="tx1">
                    <a:lumMod val="75000"/>
                    <a:lumOff val="25000"/>
                  </a:schemeClr>
                </a:solidFill>
                <a:latin typeface="Segoe UI" panose="020B0502040204020203" pitchFamily="34" charset="0"/>
                <a:cs typeface="Segoe UI" panose="020B0502040204020203" pitchFamily="34" charset="0"/>
              </a:rPr>
              <a:t> vel </a:t>
            </a:r>
            <a:r>
              <a:rPr lang="en-US" sz="1600" err="1">
                <a:solidFill>
                  <a:schemeClr val="tx1">
                    <a:lumMod val="75000"/>
                    <a:lumOff val="25000"/>
                  </a:schemeClr>
                </a:solidFill>
                <a:latin typeface="Segoe UI" panose="020B0502040204020203" pitchFamily="34" charset="0"/>
                <a:cs typeface="Segoe UI" panose="020B0502040204020203" pitchFamily="34" charset="0"/>
              </a:rPr>
              <a:t>facilisis</a:t>
            </a:r>
            <a:r>
              <a:rPr lang="en-US" sz="1600">
                <a:solidFill>
                  <a:schemeClr val="tx1">
                    <a:lumMod val="75000"/>
                    <a:lumOff val="25000"/>
                  </a:schemeClr>
                </a:solidFill>
                <a:latin typeface="Segoe UI" panose="020B0502040204020203" pitchFamily="34" charset="0"/>
                <a:cs typeface="Segoe UI" panose="020B0502040204020203" pitchFamily="34" charset="0"/>
              </a:rPr>
              <a:t>. </a:t>
            </a:r>
          </a:p>
        </p:txBody>
      </p:sp>
      <p:sp>
        <p:nvSpPr>
          <p:cNvPr id="7" name="TextBox 6">
            <a:extLst>
              <a:ext uri="{FF2B5EF4-FFF2-40B4-BE49-F238E27FC236}">
                <a16:creationId xmlns:a16="http://schemas.microsoft.com/office/drawing/2014/main" id="{2C81EE8E-D878-8D14-23FB-46159B391A23}"/>
              </a:ext>
            </a:extLst>
          </p:cNvPr>
          <p:cNvSpPr txBox="1"/>
          <p:nvPr/>
        </p:nvSpPr>
        <p:spPr>
          <a:xfrm>
            <a:off x="438778" y="2721114"/>
            <a:ext cx="3795019" cy="707886"/>
          </a:xfrm>
          <a:prstGeom prst="rect">
            <a:avLst/>
          </a:prstGeom>
          <a:noFill/>
        </p:spPr>
        <p:txBody>
          <a:bodyPr wrap="square" lIns="91440" tIns="45720" rIns="91440" bIns="45720" rtlCol="0" anchor="t">
            <a:spAutoFit/>
          </a:bodyPr>
          <a:lstStyle/>
          <a:p>
            <a:pPr algn="l"/>
            <a:r>
              <a:rPr lang="en-US" sz="2000" b="1">
                <a:solidFill>
                  <a:srgbClr val="D6222B"/>
                </a:solidFill>
                <a:effectLst/>
                <a:latin typeface="Segoe UI" panose="020B0502040204020203" pitchFamily="34" charset="0"/>
                <a:cs typeface="Segoe UI" panose="020B0502040204020203" pitchFamily="34" charset="0"/>
              </a:rPr>
              <a:t>Short description or analysis of the data</a:t>
            </a:r>
          </a:p>
        </p:txBody>
      </p:sp>
      <p:sp>
        <p:nvSpPr>
          <p:cNvPr id="8" name="Footer Placeholder 7">
            <a:extLst>
              <a:ext uri="{FF2B5EF4-FFF2-40B4-BE49-F238E27FC236}">
                <a16:creationId xmlns:a16="http://schemas.microsoft.com/office/drawing/2014/main" id="{5B3B029C-4EDD-BC20-9FDC-6101B555CF90}"/>
              </a:ext>
            </a:extLst>
          </p:cNvPr>
          <p:cNvSpPr>
            <a:spLocks noGrp="1"/>
          </p:cNvSpPr>
          <p:nvPr>
            <p:ph type="ftr" sz="quarter" idx="11"/>
          </p:nvPr>
        </p:nvSpPr>
        <p:spPr/>
        <p:txBody>
          <a:bodyPr/>
          <a:lstStyle/>
          <a:p>
            <a:r>
              <a:rPr lang="en-US"/>
              <a:t>© 2024 Mobiz. All rights reserved</a:t>
            </a:r>
            <a:endParaRPr lang="en-BR"/>
          </a:p>
        </p:txBody>
      </p:sp>
      <p:sp>
        <p:nvSpPr>
          <p:cNvPr id="9" name="Slide Number Placeholder 8">
            <a:extLst>
              <a:ext uri="{FF2B5EF4-FFF2-40B4-BE49-F238E27FC236}">
                <a16:creationId xmlns:a16="http://schemas.microsoft.com/office/drawing/2014/main" id="{4148A24E-8FEA-42EC-314C-2BB55E0DDDD7}"/>
              </a:ext>
            </a:extLst>
          </p:cNvPr>
          <p:cNvSpPr>
            <a:spLocks noGrp="1"/>
          </p:cNvSpPr>
          <p:nvPr>
            <p:ph type="sldNum" sz="quarter" idx="12"/>
          </p:nvPr>
        </p:nvSpPr>
        <p:spPr/>
        <p:txBody>
          <a:bodyPr/>
          <a:lstStyle/>
          <a:p>
            <a:fld id="{A8DDC45B-7265-3747-B738-ED29642119D9}" type="slidenum">
              <a:rPr lang="en-BR" smtClean="0"/>
              <a:pPr/>
              <a:t>10</a:t>
            </a:fld>
            <a:endParaRPr lang="en-BR"/>
          </a:p>
        </p:txBody>
      </p:sp>
    </p:spTree>
    <p:extLst>
      <p:ext uri="{BB962C8B-B14F-4D97-AF65-F5344CB8AC3E}">
        <p14:creationId xmlns:p14="http://schemas.microsoft.com/office/powerpoint/2010/main" val="24340430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48162-0C84-849D-91BD-E2EC82B9685C}"/>
              </a:ext>
            </a:extLst>
          </p:cNvPr>
          <p:cNvSpPr>
            <a:spLocks noGrp="1"/>
          </p:cNvSpPr>
          <p:nvPr>
            <p:ph type="title"/>
          </p:nvPr>
        </p:nvSpPr>
        <p:spPr/>
        <p:txBody>
          <a:bodyPr/>
          <a:lstStyle/>
          <a:p>
            <a:r>
              <a:rPr lang="en-BR"/>
              <a:t>Data Display Slide</a:t>
            </a:r>
          </a:p>
        </p:txBody>
      </p:sp>
      <p:sp>
        <p:nvSpPr>
          <p:cNvPr id="3" name="Text Placeholder 2">
            <a:extLst>
              <a:ext uri="{FF2B5EF4-FFF2-40B4-BE49-F238E27FC236}">
                <a16:creationId xmlns:a16="http://schemas.microsoft.com/office/drawing/2014/main" id="{B5556A65-8BE7-6AAB-E8AD-63DF7B9F599E}"/>
              </a:ext>
            </a:extLst>
          </p:cNvPr>
          <p:cNvSpPr>
            <a:spLocks noGrp="1"/>
          </p:cNvSpPr>
          <p:nvPr>
            <p:ph type="body" sz="quarter" idx="13"/>
          </p:nvPr>
        </p:nvSpPr>
        <p:spPr/>
        <p:txBody>
          <a:bodyPr/>
          <a:lstStyle/>
          <a:p>
            <a:r>
              <a:rPr lang="en-US"/>
              <a:t>Graph for displaying data</a:t>
            </a:r>
          </a:p>
        </p:txBody>
      </p:sp>
      <p:graphicFrame>
        <p:nvGraphicFramePr>
          <p:cNvPr id="5" name="Chart 4">
            <a:extLst>
              <a:ext uri="{FF2B5EF4-FFF2-40B4-BE49-F238E27FC236}">
                <a16:creationId xmlns:a16="http://schemas.microsoft.com/office/drawing/2014/main" id="{87AA7A0E-1A8C-0544-C43F-BB8EDA041C24}"/>
              </a:ext>
            </a:extLst>
          </p:cNvPr>
          <p:cNvGraphicFramePr/>
          <p:nvPr>
            <p:extLst>
              <p:ext uri="{D42A27DB-BD31-4B8C-83A1-F6EECF244321}">
                <p14:modId xmlns:p14="http://schemas.microsoft.com/office/powerpoint/2010/main" val="1813525093"/>
              </p:ext>
            </p:extLst>
          </p:nvPr>
        </p:nvGraphicFramePr>
        <p:xfrm>
          <a:off x="6096000" y="2014199"/>
          <a:ext cx="5761038" cy="3854609"/>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463C3A5E-2E86-0D8C-C164-6404BE25223C}"/>
              </a:ext>
            </a:extLst>
          </p:cNvPr>
          <p:cNvSpPr txBox="1"/>
          <p:nvPr/>
        </p:nvSpPr>
        <p:spPr>
          <a:xfrm>
            <a:off x="438779" y="3490912"/>
            <a:ext cx="4183326" cy="1569660"/>
          </a:xfrm>
          <a:prstGeom prst="rect">
            <a:avLst/>
          </a:prstGeom>
          <a:noFill/>
        </p:spPr>
        <p:txBody>
          <a:bodyPr wrap="square" rtlCol="0">
            <a:spAutoFit/>
          </a:bodyPr>
          <a:lstStyle/>
          <a:p>
            <a:r>
              <a:rPr lang="en-US" sz="16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600" err="1">
                <a:solidFill>
                  <a:schemeClr val="tx1">
                    <a:lumMod val="75000"/>
                    <a:lumOff val="25000"/>
                  </a:schemeClr>
                </a:solidFill>
                <a:latin typeface="Segoe UI" panose="020B0502040204020203" pitchFamily="34" charset="0"/>
                <a:cs typeface="Segoe UI" panose="020B0502040204020203" pitchFamily="34" charset="0"/>
              </a:rPr>
              <a:t>amet</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elit</a:t>
            </a:r>
            <a:r>
              <a:rPr lang="en-US" sz="1600">
                <a:solidFill>
                  <a:schemeClr val="tx1">
                    <a:lumMod val="75000"/>
                    <a:lumOff val="25000"/>
                  </a:schemeClr>
                </a:solidFill>
                <a:latin typeface="Segoe UI" panose="020B0502040204020203" pitchFamily="34" charset="0"/>
                <a:cs typeface="Segoe UI" panose="020B0502040204020203" pitchFamily="34" charset="0"/>
              </a:rPr>
              <a:t>, sed do </a:t>
            </a:r>
            <a:r>
              <a:rPr lang="en-US" sz="1600" err="1">
                <a:solidFill>
                  <a:schemeClr val="tx1">
                    <a:lumMod val="75000"/>
                    <a:lumOff val="25000"/>
                  </a:schemeClr>
                </a:solidFill>
                <a:latin typeface="Segoe UI" panose="020B0502040204020203" pitchFamily="34" charset="0"/>
                <a:cs typeface="Segoe UI" panose="020B0502040204020203" pitchFamily="34" charset="0"/>
              </a:rPr>
              <a:t>eiusmod</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tempor</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ut</a:t>
            </a:r>
            <a:r>
              <a:rPr lang="en-US" sz="1600">
                <a:solidFill>
                  <a:schemeClr val="tx1">
                    <a:lumMod val="75000"/>
                    <a:lumOff val="25000"/>
                  </a:schemeClr>
                </a:solidFill>
                <a:latin typeface="Segoe UI" panose="020B0502040204020203" pitchFamily="34" charset="0"/>
                <a:cs typeface="Segoe UI" panose="020B0502040204020203" pitchFamily="34" charset="0"/>
              </a:rPr>
              <a:t> labore et dolore magna </a:t>
            </a:r>
            <a:r>
              <a:rPr lang="en-US" sz="1600" err="1">
                <a:solidFill>
                  <a:schemeClr val="tx1">
                    <a:lumMod val="75000"/>
                    <a:lumOff val="25000"/>
                  </a:schemeClr>
                </a:solidFill>
                <a:latin typeface="Segoe UI" panose="020B0502040204020203" pitchFamily="34" charset="0"/>
                <a:cs typeface="Segoe UI" panose="020B0502040204020203" pitchFamily="34" charset="0"/>
              </a:rPr>
              <a:t>aliqua</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Quis</a:t>
            </a:r>
            <a:r>
              <a:rPr lang="en-US" sz="1600">
                <a:solidFill>
                  <a:schemeClr val="tx1">
                    <a:lumMod val="75000"/>
                    <a:lumOff val="25000"/>
                  </a:schemeClr>
                </a:solidFill>
                <a:latin typeface="Segoe UI" panose="020B0502040204020203" pitchFamily="34" charset="0"/>
                <a:cs typeface="Segoe UI" panose="020B0502040204020203" pitchFamily="34" charset="0"/>
              </a:rPr>
              <a:t> ipsum </a:t>
            </a:r>
            <a:r>
              <a:rPr lang="en-US" sz="1600" err="1">
                <a:solidFill>
                  <a:schemeClr val="tx1">
                    <a:lumMod val="75000"/>
                    <a:lumOff val="25000"/>
                  </a:schemeClr>
                </a:solidFill>
                <a:latin typeface="Segoe UI" panose="020B0502040204020203" pitchFamily="34" charset="0"/>
                <a:cs typeface="Segoe UI" panose="020B0502040204020203" pitchFamily="34" charset="0"/>
              </a:rPr>
              <a:t>suspendisse</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ultrices</a:t>
            </a:r>
            <a:r>
              <a:rPr lang="en-US" sz="1600">
                <a:solidFill>
                  <a:schemeClr val="tx1">
                    <a:lumMod val="75000"/>
                    <a:lumOff val="25000"/>
                  </a:schemeClr>
                </a:solidFill>
                <a:latin typeface="Segoe UI" panose="020B0502040204020203" pitchFamily="34" charset="0"/>
                <a:cs typeface="Segoe UI" panose="020B0502040204020203" pitchFamily="34" charset="0"/>
              </a:rPr>
              <a:t> gravida. </a:t>
            </a:r>
            <a:r>
              <a:rPr lang="en-US" sz="1600" err="1">
                <a:solidFill>
                  <a:schemeClr val="tx1">
                    <a:lumMod val="75000"/>
                    <a:lumOff val="25000"/>
                  </a:schemeClr>
                </a:solidFill>
                <a:latin typeface="Segoe UI" panose="020B0502040204020203" pitchFamily="34" charset="0"/>
                <a:cs typeface="Segoe UI" panose="020B0502040204020203" pitchFamily="34" charset="0"/>
              </a:rPr>
              <a:t>Risus</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commodo</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viverra</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maecenas</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accumsan</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lacus</a:t>
            </a:r>
            <a:r>
              <a:rPr lang="en-US" sz="1600">
                <a:solidFill>
                  <a:schemeClr val="tx1">
                    <a:lumMod val="75000"/>
                    <a:lumOff val="25000"/>
                  </a:schemeClr>
                </a:solidFill>
                <a:latin typeface="Segoe UI" panose="020B0502040204020203" pitchFamily="34" charset="0"/>
                <a:cs typeface="Segoe UI" panose="020B0502040204020203" pitchFamily="34" charset="0"/>
              </a:rPr>
              <a:t> vel </a:t>
            </a:r>
            <a:r>
              <a:rPr lang="en-US" sz="1600" err="1">
                <a:solidFill>
                  <a:schemeClr val="tx1">
                    <a:lumMod val="75000"/>
                    <a:lumOff val="25000"/>
                  </a:schemeClr>
                </a:solidFill>
                <a:latin typeface="Segoe UI" panose="020B0502040204020203" pitchFamily="34" charset="0"/>
                <a:cs typeface="Segoe UI" panose="020B0502040204020203" pitchFamily="34" charset="0"/>
              </a:rPr>
              <a:t>facilisis</a:t>
            </a:r>
            <a:r>
              <a:rPr lang="en-US" sz="1600">
                <a:solidFill>
                  <a:schemeClr val="tx1">
                    <a:lumMod val="75000"/>
                    <a:lumOff val="25000"/>
                  </a:schemeClr>
                </a:solidFill>
                <a:latin typeface="Segoe UI" panose="020B0502040204020203" pitchFamily="34" charset="0"/>
                <a:cs typeface="Segoe UI" panose="020B0502040204020203" pitchFamily="34" charset="0"/>
              </a:rPr>
              <a:t>. </a:t>
            </a:r>
          </a:p>
        </p:txBody>
      </p:sp>
      <p:sp>
        <p:nvSpPr>
          <p:cNvPr id="7" name="TextBox 6">
            <a:extLst>
              <a:ext uri="{FF2B5EF4-FFF2-40B4-BE49-F238E27FC236}">
                <a16:creationId xmlns:a16="http://schemas.microsoft.com/office/drawing/2014/main" id="{79DA9981-9EFD-DCEB-C97C-3708B1EEA237}"/>
              </a:ext>
            </a:extLst>
          </p:cNvPr>
          <p:cNvSpPr txBox="1"/>
          <p:nvPr/>
        </p:nvSpPr>
        <p:spPr>
          <a:xfrm>
            <a:off x="438778" y="2721114"/>
            <a:ext cx="3795019" cy="707886"/>
          </a:xfrm>
          <a:prstGeom prst="rect">
            <a:avLst/>
          </a:prstGeom>
          <a:noFill/>
        </p:spPr>
        <p:txBody>
          <a:bodyPr wrap="square" lIns="91440" tIns="45720" rIns="91440" bIns="45720" rtlCol="0" anchor="t">
            <a:spAutoFit/>
          </a:bodyPr>
          <a:lstStyle/>
          <a:p>
            <a:pPr algn="l"/>
            <a:r>
              <a:rPr lang="en-US" sz="2000" b="1">
                <a:solidFill>
                  <a:srgbClr val="D6222B"/>
                </a:solidFill>
                <a:effectLst/>
                <a:latin typeface="Segoe UI" panose="020B0502040204020203" pitchFamily="34" charset="0"/>
                <a:cs typeface="Segoe UI" panose="020B0502040204020203" pitchFamily="34" charset="0"/>
              </a:rPr>
              <a:t>Short description or analysis of the data</a:t>
            </a:r>
          </a:p>
        </p:txBody>
      </p:sp>
      <p:sp>
        <p:nvSpPr>
          <p:cNvPr id="8" name="Footer Placeholder 7">
            <a:extLst>
              <a:ext uri="{FF2B5EF4-FFF2-40B4-BE49-F238E27FC236}">
                <a16:creationId xmlns:a16="http://schemas.microsoft.com/office/drawing/2014/main" id="{60E09427-6906-AB77-D20E-B6587DE2C51B}"/>
              </a:ext>
            </a:extLst>
          </p:cNvPr>
          <p:cNvSpPr>
            <a:spLocks noGrp="1"/>
          </p:cNvSpPr>
          <p:nvPr>
            <p:ph type="ftr" sz="quarter" idx="11"/>
          </p:nvPr>
        </p:nvSpPr>
        <p:spPr/>
        <p:txBody>
          <a:bodyPr/>
          <a:lstStyle/>
          <a:p>
            <a:r>
              <a:rPr lang="en-US"/>
              <a:t>© 2024 Mobiz. All rights reserved</a:t>
            </a:r>
            <a:endParaRPr lang="en-BR"/>
          </a:p>
        </p:txBody>
      </p:sp>
      <p:sp>
        <p:nvSpPr>
          <p:cNvPr id="9" name="Slide Number Placeholder 8">
            <a:extLst>
              <a:ext uri="{FF2B5EF4-FFF2-40B4-BE49-F238E27FC236}">
                <a16:creationId xmlns:a16="http://schemas.microsoft.com/office/drawing/2014/main" id="{7E63D2DF-B88E-F736-BBB7-D0A9644EEF94}"/>
              </a:ext>
            </a:extLst>
          </p:cNvPr>
          <p:cNvSpPr>
            <a:spLocks noGrp="1"/>
          </p:cNvSpPr>
          <p:nvPr>
            <p:ph type="sldNum" sz="quarter" idx="12"/>
          </p:nvPr>
        </p:nvSpPr>
        <p:spPr/>
        <p:txBody>
          <a:bodyPr/>
          <a:lstStyle/>
          <a:p>
            <a:fld id="{A8DDC45B-7265-3747-B738-ED29642119D9}" type="slidenum">
              <a:rPr lang="en-BR" smtClean="0"/>
              <a:pPr/>
              <a:t>11</a:t>
            </a:fld>
            <a:endParaRPr lang="en-BR"/>
          </a:p>
        </p:txBody>
      </p:sp>
    </p:spTree>
    <p:extLst>
      <p:ext uri="{BB962C8B-B14F-4D97-AF65-F5344CB8AC3E}">
        <p14:creationId xmlns:p14="http://schemas.microsoft.com/office/powerpoint/2010/main" val="93592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B0ED58-7C20-4E9D-21C0-39FB612E8059}"/>
              </a:ext>
            </a:extLst>
          </p:cNvPr>
          <p:cNvSpPr>
            <a:spLocks noGrp="1"/>
          </p:cNvSpPr>
          <p:nvPr>
            <p:ph type="title"/>
          </p:nvPr>
        </p:nvSpPr>
        <p:spPr/>
        <p:txBody>
          <a:bodyPr/>
          <a:lstStyle/>
          <a:p>
            <a:r>
              <a:rPr lang="en-BR"/>
              <a:t>Data Display Slide</a:t>
            </a:r>
          </a:p>
        </p:txBody>
      </p:sp>
      <p:sp>
        <p:nvSpPr>
          <p:cNvPr id="3" name="Text Placeholder 2">
            <a:extLst>
              <a:ext uri="{FF2B5EF4-FFF2-40B4-BE49-F238E27FC236}">
                <a16:creationId xmlns:a16="http://schemas.microsoft.com/office/drawing/2014/main" id="{582F5BFF-744F-C26D-4122-3C627310A15E}"/>
              </a:ext>
            </a:extLst>
          </p:cNvPr>
          <p:cNvSpPr>
            <a:spLocks noGrp="1"/>
          </p:cNvSpPr>
          <p:nvPr>
            <p:ph type="body" sz="quarter" idx="13"/>
          </p:nvPr>
        </p:nvSpPr>
        <p:spPr/>
        <p:txBody>
          <a:bodyPr/>
          <a:lstStyle/>
          <a:p>
            <a:r>
              <a:rPr lang="en-BR"/>
              <a:t>Range Bar Chart</a:t>
            </a:r>
          </a:p>
        </p:txBody>
      </p:sp>
      <p:graphicFrame>
        <p:nvGraphicFramePr>
          <p:cNvPr id="4" name="Object 2">
            <a:extLst>
              <a:ext uri="{FF2B5EF4-FFF2-40B4-BE49-F238E27FC236}">
                <a16:creationId xmlns:a16="http://schemas.microsoft.com/office/drawing/2014/main" id="{254DF2E0-3E08-7F38-03C8-F5228A09F6C4}"/>
              </a:ext>
            </a:extLst>
          </p:cNvPr>
          <p:cNvGraphicFramePr>
            <a:graphicFrameLocks noChangeAspect="1"/>
          </p:cNvGraphicFramePr>
          <p:nvPr>
            <p:extLst>
              <p:ext uri="{D42A27DB-BD31-4B8C-83A1-F6EECF244321}">
                <p14:modId xmlns:p14="http://schemas.microsoft.com/office/powerpoint/2010/main" val="3689578406"/>
              </p:ext>
            </p:extLst>
          </p:nvPr>
        </p:nvGraphicFramePr>
        <p:xfrm>
          <a:off x="344488" y="1763713"/>
          <a:ext cx="11510962" cy="4294187"/>
        </p:xfrm>
        <a:graphic>
          <a:graphicData uri="http://schemas.openxmlformats.org/drawingml/2006/chart">
            <c:chart xmlns:c="http://schemas.openxmlformats.org/drawingml/2006/chart" xmlns:r="http://schemas.openxmlformats.org/officeDocument/2006/relationships" r:id="rId2"/>
          </a:graphicData>
        </a:graphic>
      </p:graphicFrame>
      <p:sp>
        <p:nvSpPr>
          <p:cNvPr id="5" name="Footer Placeholder 4">
            <a:extLst>
              <a:ext uri="{FF2B5EF4-FFF2-40B4-BE49-F238E27FC236}">
                <a16:creationId xmlns:a16="http://schemas.microsoft.com/office/drawing/2014/main" id="{FAF4F211-FDB6-1317-5390-D10BD8D59776}"/>
              </a:ext>
            </a:extLst>
          </p:cNvPr>
          <p:cNvSpPr>
            <a:spLocks noGrp="1"/>
          </p:cNvSpPr>
          <p:nvPr>
            <p:ph type="ftr" sz="quarter" idx="11"/>
          </p:nvPr>
        </p:nvSpPr>
        <p:spPr/>
        <p:txBody>
          <a:bodyPr/>
          <a:lstStyle/>
          <a:p>
            <a:r>
              <a:rPr lang="en-US"/>
              <a:t>© 2024 Mobiz. All rights reserved</a:t>
            </a:r>
            <a:endParaRPr lang="en-BR"/>
          </a:p>
        </p:txBody>
      </p:sp>
      <p:sp>
        <p:nvSpPr>
          <p:cNvPr id="6" name="Slide Number Placeholder 5">
            <a:extLst>
              <a:ext uri="{FF2B5EF4-FFF2-40B4-BE49-F238E27FC236}">
                <a16:creationId xmlns:a16="http://schemas.microsoft.com/office/drawing/2014/main" id="{B9FC53DB-6799-A7B4-CF5E-CAB42D7EB34A}"/>
              </a:ext>
            </a:extLst>
          </p:cNvPr>
          <p:cNvSpPr>
            <a:spLocks noGrp="1"/>
          </p:cNvSpPr>
          <p:nvPr>
            <p:ph type="sldNum" sz="quarter" idx="12"/>
          </p:nvPr>
        </p:nvSpPr>
        <p:spPr/>
        <p:txBody>
          <a:bodyPr/>
          <a:lstStyle/>
          <a:p>
            <a:fld id="{A8DDC45B-7265-3747-B738-ED29642119D9}" type="slidenum">
              <a:rPr lang="en-BR" smtClean="0"/>
              <a:pPr/>
              <a:t>12</a:t>
            </a:fld>
            <a:endParaRPr lang="en-BR"/>
          </a:p>
        </p:txBody>
      </p:sp>
    </p:spTree>
    <p:extLst>
      <p:ext uri="{BB962C8B-B14F-4D97-AF65-F5344CB8AC3E}">
        <p14:creationId xmlns:p14="http://schemas.microsoft.com/office/powerpoint/2010/main" val="13472096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D65C7-4216-6B9A-84C2-3B0F49A41A61}"/>
              </a:ext>
            </a:extLst>
          </p:cNvPr>
          <p:cNvSpPr>
            <a:spLocks noGrp="1"/>
          </p:cNvSpPr>
          <p:nvPr>
            <p:ph type="title"/>
          </p:nvPr>
        </p:nvSpPr>
        <p:spPr/>
        <p:txBody>
          <a:bodyPr/>
          <a:lstStyle/>
          <a:p>
            <a:r>
              <a:rPr lang="en-BR"/>
              <a:t>Data Display Slide</a:t>
            </a:r>
          </a:p>
        </p:txBody>
      </p:sp>
      <p:sp>
        <p:nvSpPr>
          <p:cNvPr id="3" name="Text Placeholder 2">
            <a:extLst>
              <a:ext uri="{FF2B5EF4-FFF2-40B4-BE49-F238E27FC236}">
                <a16:creationId xmlns:a16="http://schemas.microsoft.com/office/drawing/2014/main" id="{4647D4F6-3916-6F3B-ECF8-74442D6F11F7}"/>
              </a:ext>
            </a:extLst>
          </p:cNvPr>
          <p:cNvSpPr>
            <a:spLocks noGrp="1"/>
          </p:cNvSpPr>
          <p:nvPr>
            <p:ph type="body" sz="quarter" idx="13"/>
          </p:nvPr>
        </p:nvSpPr>
        <p:spPr/>
        <p:txBody>
          <a:bodyPr/>
          <a:lstStyle/>
          <a:p>
            <a:r>
              <a:rPr lang="en-US"/>
              <a:t>Sub-divided Bar Chart</a:t>
            </a:r>
            <a:endParaRPr lang="en-BR"/>
          </a:p>
        </p:txBody>
      </p:sp>
      <p:graphicFrame>
        <p:nvGraphicFramePr>
          <p:cNvPr id="4" name="Object 2">
            <a:extLst>
              <a:ext uri="{FF2B5EF4-FFF2-40B4-BE49-F238E27FC236}">
                <a16:creationId xmlns:a16="http://schemas.microsoft.com/office/drawing/2014/main" id="{1A499954-F47C-64E1-C410-1EA917721A82}"/>
              </a:ext>
            </a:extLst>
          </p:cNvPr>
          <p:cNvGraphicFramePr>
            <a:graphicFrameLocks noChangeAspect="1"/>
          </p:cNvGraphicFramePr>
          <p:nvPr>
            <p:extLst>
              <p:ext uri="{D42A27DB-BD31-4B8C-83A1-F6EECF244321}">
                <p14:modId xmlns:p14="http://schemas.microsoft.com/office/powerpoint/2010/main" val="2031915313"/>
              </p:ext>
            </p:extLst>
          </p:nvPr>
        </p:nvGraphicFramePr>
        <p:xfrm>
          <a:off x="344488" y="1878217"/>
          <a:ext cx="11510962" cy="4294187"/>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5">
            <a:extLst>
              <a:ext uri="{FF2B5EF4-FFF2-40B4-BE49-F238E27FC236}">
                <a16:creationId xmlns:a16="http://schemas.microsoft.com/office/drawing/2014/main" id="{E9A95B2C-17DD-A7DE-0863-A38C5DAFEF6A}"/>
              </a:ext>
            </a:extLst>
          </p:cNvPr>
          <p:cNvSpPr>
            <a:spLocks noGrp="1"/>
          </p:cNvSpPr>
          <p:nvPr>
            <p:ph type="ftr" sz="quarter" idx="11"/>
          </p:nvPr>
        </p:nvSpPr>
        <p:spPr/>
        <p:txBody>
          <a:bodyPr/>
          <a:lstStyle/>
          <a:p>
            <a:r>
              <a:rPr lang="en-US"/>
              <a:t>© 2024 Mobiz. All rights reserved</a:t>
            </a:r>
            <a:endParaRPr lang="en-BR"/>
          </a:p>
        </p:txBody>
      </p:sp>
      <p:sp>
        <p:nvSpPr>
          <p:cNvPr id="7" name="Slide Number Placeholder 6">
            <a:extLst>
              <a:ext uri="{FF2B5EF4-FFF2-40B4-BE49-F238E27FC236}">
                <a16:creationId xmlns:a16="http://schemas.microsoft.com/office/drawing/2014/main" id="{8C14426D-6B49-C517-AD41-27727179B646}"/>
              </a:ext>
            </a:extLst>
          </p:cNvPr>
          <p:cNvSpPr>
            <a:spLocks noGrp="1"/>
          </p:cNvSpPr>
          <p:nvPr>
            <p:ph type="sldNum" sz="quarter" idx="12"/>
          </p:nvPr>
        </p:nvSpPr>
        <p:spPr/>
        <p:txBody>
          <a:bodyPr/>
          <a:lstStyle/>
          <a:p>
            <a:fld id="{A8DDC45B-7265-3747-B738-ED29642119D9}" type="slidenum">
              <a:rPr lang="en-BR" smtClean="0"/>
              <a:pPr/>
              <a:t>13</a:t>
            </a:fld>
            <a:endParaRPr lang="en-BR"/>
          </a:p>
        </p:txBody>
      </p:sp>
    </p:spTree>
    <p:extLst>
      <p:ext uri="{BB962C8B-B14F-4D97-AF65-F5344CB8AC3E}">
        <p14:creationId xmlns:p14="http://schemas.microsoft.com/office/powerpoint/2010/main" val="25021494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3BA8BB-D61B-6980-8125-5C208D38402D}"/>
              </a:ext>
            </a:extLst>
          </p:cNvPr>
          <p:cNvSpPr>
            <a:spLocks noGrp="1"/>
          </p:cNvSpPr>
          <p:nvPr>
            <p:ph type="title"/>
          </p:nvPr>
        </p:nvSpPr>
        <p:spPr/>
        <p:txBody>
          <a:bodyPr/>
          <a:lstStyle/>
          <a:p>
            <a:r>
              <a:rPr lang="en-BR"/>
              <a:t>Data Display Slide</a:t>
            </a:r>
          </a:p>
        </p:txBody>
      </p:sp>
      <p:sp>
        <p:nvSpPr>
          <p:cNvPr id="3" name="Text Placeholder 2">
            <a:extLst>
              <a:ext uri="{FF2B5EF4-FFF2-40B4-BE49-F238E27FC236}">
                <a16:creationId xmlns:a16="http://schemas.microsoft.com/office/drawing/2014/main" id="{696FF383-BB8F-23AF-4F6D-C5341EF11107}"/>
              </a:ext>
            </a:extLst>
          </p:cNvPr>
          <p:cNvSpPr>
            <a:spLocks noGrp="1"/>
          </p:cNvSpPr>
          <p:nvPr>
            <p:ph type="body" sz="quarter" idx="13"/>
          </p:nvPr>
        </p:nvSpPr>
        <p:spPr/>
        <p:txBody>
          <a:bodyPr/>
          <a:lstStyle/>
          <a:p>
            <a:r>
              <a:rPr lang="en-US"/>
              <a:t>Sub-divided 100% Bar Chart</a:t>
            </a:r>
            <a:endParaRPr lang="en-BR"/>
          </a:p>
          <a:p>
            <a:endParaRPr lang="en-BR"/>
          </a:p>
        </p:txBody>
      </p:sp>
      <p:graphicFrame>
        <p:nvGraphicFramePr>
          <p:cNvPr id="4" name="Object 2">
            <a:extLst>
              <a:ext uri="{FF2B5EF4-FFF2-40B4-BE49-F238E27FC236}">
                <a16:creationId xmlns:a16="http://schemas.microsoft.com/office/drawing/2014/main" id="{525CED3B-F8ED-D56D-72A7-A924BAD3E155}"/>
              </a:ext>
            </a:extLst>
          </p:cNvPr>
          <p:cNvGraphicFramePr>
            <a:graphicFrameLocks noChangeAspect="1"/>
          </p:cNvGraphicFramePr>
          <p:nvPr>
            <p:extLst>
              <p:ext uri="{D42A27DB-BD31-4B8C-83A1-F6EECF244321}">
                <p14:modId xmlns:p14="http://schemas.microsoft.com/office/powerpoint/2010/main" val="3625470909"/>
              </p:ext>
            </p:extLst>
          </p:nvPr>
        </p:nvGraphicFramePr>
        <p:xfrm>
          <a:off x="344488" y="1745991"/>
          <a:ext cx="11510962" cy="4294187"/>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3">
            <a:extLst>
              <a:ext uri="{FF2B5EF4-FFF2-40B4-BE49-F238E27FC236}">
                <a16:creationId xmlns:a16="http://schemas.microsoft.com/office/drawing/2014/main" id="{8051887E-ED6B-D25A-9B35-41D95C1ED544}"/>
              </a:ext>
            </a:extLst>
          </p:cNvPr>
          <p:cNvSpPr>
            <a:spLocks noChangeArrowheads="1"/>
          </p:cNvSpPr>
          <p:nvPr/>
        </p:nvSpPr>
        <p:spPr bwMode="auto">
          <a:xfrm>
            <a:off x="8346738" y="5868809"/>
            <a:ext cx="3510300" cy="731070"/>
          </a:xfrm>
          <a:prstGeom prst="rect">
            <a:avLst/>
          </a:prstGeom>
          <a:solidFill>
            <a:schemeClr val="bg1">
              <a:lumMod val="95000"/>
            </a:schemeClr>
          </a:solidFill>
          <a:ln w="3175">
            <a:noFill/>
            <a:miter lim="800000"/>
            <a:headEnd/>
            <a:tailEnd/>
          </a:ln>
          <a:effectLst/>
        </p:spPr>
        <p:txBody>
          <a:bodyPr wrap="square" lIns="108000" tIns="108000" rIns="72000" bIns="108000" anchor="b">
            <a:spAutoFit/>
          </a:bodyPr>
          <a:lstStyle/>
          <a:p>
            <a:pPr marL="144000" indent="-144000" eaLnBrk="0" hangingPunct="0">
              <a:spcBef>
                <a:spcPts val="100"/>
              </a:spcBef>
              <a:spcAft>
                <a:spcPts val="100"/>
              </a:spcAft>
              <a:tabLst>
                <a:tab pos="192088" algn="l"/>
              </a:tabLst>
            </a:pPr>
            <a:r>
              <a:rPr lang="en-US" sz="1000" b="1">
                <a:latin typeface="Segoe UI" panose="020B0502040204020203" pitchFamily="34" charset="0"/>
                <a:cs typeface="Segoe UI" panose="020B0502040204020203" pitchFamily="34" charset="0"/>
              </a:rPr>
              <a:t>Hints:</a:t>
            </a:r>
          </a:p>
          <a:p>
            <a:pPr marL="144000" indent="-144000" eaLnBrk="0" hangingPunct="0">
              <a:spcBef>
                <a:spcPts val="100"/>
              </a:spcBef>
              <a:spcAft>
                <a:spcPts val="100"/>
              </a:spcAft>
              <a:tabLst>
                <a:tab pos="192088" algn="l"/>
              </a:tabLst>
            </a:pPr>
            <a:r>
              <a:rPr lang="en-US" sz="1000">
                <a:latin typeface="Segoe UI" panose="020B0502040204020203" pitchFamily="34" charset="0"/>
                <a:cs typeface="Segoe UI" panose="020B0502040204020203" pitchFamily="34" charset="0"/>
              </a:rPr>
              <a:t>1	Select Format Series Lines to add/remove trend lines</a:t>
            </a:r>
          </a:p>
          <a:p>
            <a:pPr marL="144000" indent="-144000" eaLnBrk="0" hangingPunct="0">
              <a:spcBef>
                <a:spcPts val="100"/>
              </a:spcBef>
              <a:spcAft>
                <a:spcPts val="100"/>
              </a:spcAft>
              <a:tabLst>
                <a:tab pos="192088" algn="l"/>
              </a:tabLst>
            </a:pPr>
            <a:r>
              <a:rPr lang="en-US" sz="1000">
                <a:latin typeface="Segoe UI" panose="020B0502040204020203" pitchFamily="34" charset="0"/>
                <a:cs typeface="Segoe UI" panose="020B0502040204020203" pitchFamily="34" charset="0"/>
              </a:rPr>
              <a:t>2	Edit Group names manually</a:t>
            </a:r>
          </a:p>
        </p:txBody>
      </p:sp>
      <p:sp>
        <p:nvSpPr>
          <p:cNvPr id="6" name="Footer Placeholder 5">
            <a:extLst>
              <a:ext uri="{FF2B5EF4-FFF2-40B4-BE49-F238E27FC236}">
                <a16:creationId xmlns:a16="http://schemas.microsoft.com/office/drawing/2014/main" id="{E0E26BAC-EEE8-F902-C042-A312C9F023C5}"/>
              </a:ext>
            </a:extLst>
          </p:cNvPr>
          <p:cNvSpPr>
            <a:spLocks noGrp="1"/>
          </p:cNvSpPr>
          <p:nvPr>
            <p:ph type="ftr" sz="quarter" idx="11"/>
          </p:nvPr>
        </p:nvSpPr>
        <p:spPr/>
        <p:txBody>
          <a:bodyPr/>
          <a:lstStyle/>
          <a:p>
            <a:r>
              <a:rPr lang="en-US"/>
              <a:t>© 2024 Mobiz. All rights reserved</a:t>
            </a:r>
            <a:endParaRPr lang="en-BR"/>
          </a:p>
        </p:txBody>
      </p:sp>
      <p:sp>
        <p:nvSpPr>
          <p:cNvPr id="7" name="Slide Number Placeholder 6">
            <a:extLst>
              <a:ext uri="{FF2B5EF4-FFF2-40B4-BE49-F238E27FC236}">
                <a16:creationId xmlns:a16="http://schemas.microsoft.com/office/drawing/2014/main" id="{D2AB2731-4E9F-8FFC-2F61-518ABA106B91}"/>
              </a:ext>
            </a:extLst>
          </p:cNvPr>
          <p:cNvSpPr>
            <a:spLocks noGrp="1"/>
          </p:cNvSpPr>
          <p:nvPr>
            <p:ph type="sldNum" sz="quarter" idx="12"/>
          </p:nvPr>
        </p:nvSpPr>
        <p:spPr/>
        <p:txBody>
          <a:bodyPr/>
          <a:lstStyle/>
          <a:p>
            <a:fld id="{A8DDC45B-7265-3747-B738-ED29642119D9}" type="slidenum">
              <a:rPr lang="en-BR" smtClean="0"/>
              <a:pPr/>
              <a:t>14</a:t>
            </a:fld>
            <a:endParaRPr lang="en-BR"/>
          </a:p>
        </p:txBody>
      </p:sp>
    </p:spTree>
    <p:extLst>
      <p:ext uri="{BB962C8B-B14F-4D97-AF65-F5344CB8AC3E}">
        <p14:creationId xmlns:p14="http://schemas.microsoft.com/office/powerpoint/2010/main" val="12374267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17DB0-5435-343A-561D-C7B8A531CF3A}"/>
              </a:ext>
            </a:extLst>
          </p:cNvPr>
          <p:cNvSpPr>
            <a:spLocks noGrp="1"/>
          </p:cNvSpPr>
          <p:nvPr>
            <p:ph type="title"/>
          </p:nvPr>
        </p:nvSpPr>
        <p:spPr/>
        <p:txBody>
          <a:bodyPr/>
          <a:lstStyle/>
          <a:p>
            <a:r>
              <a:rPr lang="en-BR"/>
              <a:t>Data Display Slide</a:t>
            </a:r>
          </a:p>
        </p:txBody>
      </p:sp>
      <p:sp>
        <p:nvSpPr>
          <p:cNvPr id="3" name="Text Placeholder 2">
            <a:extLst>
              <a:ext uri="{FF2B5EF4-FFF2-40B4-BE49-F238E27FC236}">
                <a16:creationId xmlns:a16="http://schemas.microsoft.com/office/drawing/2014/main" id="{D8C5236D-D802-38E8-08CF-D90374D3FDAF}"/>
              </a:ext>
            </a:extLst>
          </p:cNvPr>
          <p:cNvSpPr>
            <a:spLocks noGrp="1"/>
          </p:cNvSpPr>
          <p:nvPr>
            <p:ph type="body" sz="quarter" idx="13"/>
          </p:nvPr>
        </p:nvSpPr>
        <p:spPr/>
        <p:txBody>
          <a:bodyPr/>
          <a:lstStyle/>
          <a:p>
            <a:r>
              <a:rPr lang="en-BR"/>
              <a:t>Waterfall Chart 1</a:t>
            </a:r>
          </a:p>
        </p:txBody>
      </p:sp>
      <p:graphicFrame>
        <p:nvGraphicFramePr>
          <p:cNvPr id="4" name="Object 2">
            <a:extLst>
              <a:ext uri="{FF2B5EF4-FFF2-40B4-BE49-F238E27FC236}">
                <a16:creationId xmlns:a16="http://schemas.microsoft.com/office/drawing/2014/main" id="{35334674-E5DF-9EEC-DA9A-5D6681380268}"/>
              </a:ext>
            </a:extLst>
          </p:cNvPr>
          <p:cNvGraphicFramePr>
            <a:graphicFrameLocks/>
          </p:cNvGraphicFramePr>
          <p:nvPr>
            <p:extLst>
              <p:ext uri="{D42A27DB-BD31-4B8C-83A1-F6EECF244321}">
                <p14:modId xmlns:p14="http://schemas.microsoft.com/office/powerpoint/2010/main" val="811256115"/>
              </p:ext>
            </p:extLst>
          </p:nvPr>
        </p:nvGraphicFramePr>
        <p:xfrm>
          <a:off x="341856" y="1966824"/>
          <a:ext cx="11513594" cy="4294187"/>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5">
            <a:extLst>
              <a:ext uri="{FF2B5EF4-FFF2-40B4-BE49-F238E27FC236}">
                <a16:creationId xmlns:a16="http://schemas.microsoft.com/office/drawing/2014/main" id="{A7CCCEE7-AE90-0F14-F061-A06FD564BCC2}"/>
              </a:ext>
            </a:extLst>
          </p:cNvPr>
          <p:cNvSpPr>
            <a:spLocks noGrp="1"/>
          </p:cNvSpPr>
          <p:nvPr>
            <p:ph type="ftr" sz="quarter" idx="11"/>
          </p:nvPr>
        </p:nvSpPr>
        <p:spPr/>
        <p:txBody>
          <a:bodyPr/>
          <a:lstStyle/>
          <a:p>
            <a:r>
              <a:rPr lang="en-US"/>
              <a:t>© 2024 Mobiz. All rights reserved</a:t>
            </a:r>
            <a:endParaRPr lang="en-BR"/>
          </a:p>
        </p:txBody>
      </p:sp>
      <p:sp>
        <p:nvSpPr>
          <p:cNvPr id="7" name="Slide Number Placeholder 6">
            <a:extLst>
              <a:ext uri="{FF2B5EF4-FFF2-40B4-BE49-F238E27FC236}">
                <a16:creationId xmlns:a16="http://schemas.microsoft.com/office/drawing/2014/main" id="{C97DF7E3-723E-F211-F061-BCDDC851303F}"/>
              </a:ext>
            </a:extLst>
          </p:cNvPr>
          <p:cNvSpPr>
            <a:spLocks noGrp="1"/>
          </p:cNvSpPr>
          <p:nvPr>
            <p:ph type="sldNum" sz="quarter" idx="12"/>
          </p:nvPr>
        </p:nvSpPr>
        <p:spPr/>
        <p:txBody>
          <a:bodyPr/>
          <a:lstStyle/>
          <a:p>
            <a:fld id="{A8DDC45B-7265-3747-B738-ED29642119D9}" type="slidenum">
              <a:rPr lang="en-BR" smtClean="0"/>
              <a:pPr/>
              <a:t>15</a:t>
            </a:fld>
            <a:endParaRPr lang="en-BR"/>
          </a:p>
        </p:txBody>
      </p:sp>
    </p:spTree>
    <p:extLst>
      <p:ext uri="{BB962C8B-B14F-4D97-AF65-F5344CB8AC3E}">
        <p14:creationId xmlns:p14="http://schemas.microsoft.com/office/powerpoint/2010/main" val="27585296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44307-A2BC-B587-FD10-EE1B8D0CE534}"/>
              </a:ext>
            </a:extLst>
          </p:cNvPr>
          <p:cNvSpPr>
            <a:spLocks noGrp="1"/>
          </p:cNvSpPr>
          <p:nvPr>
            <p:ph type="title"/>
          </p:nvPr>
        </p:nvSpPr>
        <p:spPr/>
        <p:txBody>
          <a:bodyPr/>
          <a:lstStyle/>
          <a:p>
            <a:r>
              <a:rPr lang="en-BR"/>
              <a:t>Data Display Slide</a:t>
            </a:r>
          </a:p>
        </p:txBody>
      </p:sp>
      <p:sp>
        <p:nvSpPr>
          <p:cNvPr id="3" name="Text Placeholder 2">
            <a:extLst>
              <a:ext uri="{FF2B5EF4-FFF2-40B4-BE49-F238E27FC236}">
                <a16:creationId xmlns:a16="http://schemas.microsoft.com/office/drawing/2014/main" id="{C9FBBA0C-C4CE-C623-0E80-E38AD3E12BD0}"/>
              </a:ext>
            </a:extLst>
          </p:cNvPr>
          <p:cNvSpPr>
            <a:spLocks noGrp="1"/>
          </p:cNvSpPr>
          <p:nvPr>
            <p:ph type="body" sz="quarter" idx="13"/>
          </p:nvPr>
        </p:nvSpPr>
        <p:spPr/>
        <p:txBody>
          <a:bodyPr/>
          <a:lstStyle/>
          <a:p>
            <a:r>
              <a:rPr lang="en-BR"/>
              <a:t>Waterfall 2</a:t>
            </a:r>
          </a:p>
        </p:txBody>
      </p:sp>
      <p:graphicFrame>
        <p:nvGraphicFramePr>
          <p:cNvPr id="4" name="Object 2">
            <a:extLst>
              <a:ext uri="{FF2B5EF4-FFF2-40B4-BE49-F238E27FC236}">
                <a16:creationId xmlns:a16="http://schemas.microsoft.com/office/drawing/2014/main" id="{BB114375-0CA1-2FBE-8E63-A56505D3219A}"/>
              </a:ext>
            </a:extLst>
          </p:cNvPr>
          <p:cNvGraphicFramePr>
            <a:graphicFrameLocks/>
          </p:cNvGraphicFramePr>
          <p:nvPr>
            <p:extLst>
              <p:ext uri="{D42A27DB-BD31-4B8C-83A1-F6EECF244321}">
                <p14:modId xmlns:p14="http://schemas.microsoft.com/office/powerpoint/2010/main" val="3045712062"/>
              </p:ext>
            </p:extLst>
          </p:nvPr>
        </p:nvGraphicFramePr>
        <p:xfrm>
          <a:off x="344488" y="2011703"/>
          <a:ext cx="11510962" cy="4294187"/>
        </p:xfrm>
        <a:graphic>
          <a:graphicData uri="http://schemas.openxmlformats.org/drawingml/2006/chart">
            <c:chart xmlns:c="http://schemas.openxmlformats.org/drawingml/2006/chart" xmlns:r="http://schemas.openxmlformats.org/officeDocument/2006/relationships" r:id="rId2"/>
          </a:graphicData>
        </a:graphic>
      </p:graphicFrame>
      <p:sp>
        <p:nvSpPr>
          <p:cNvPr id="5" name="Footer Placeholder 4">
            <a:extLst>
              <a:ext uri="{FF2B5EF4-FFF2-40B4-BE49-F238E27FC236}">
                <a16:creationId xmlns:a16="http://schemas.microsoft.com/office/drawing/2014/main" id="{DD787474-3395-02A2-B674-84B8C2A7A52B}"/>
              </a:ext>
            </a:extLst>
          </p:cNvPr>
          <p:cNvSpPr>
            <a:spLocks noGrp="1"/>
          </p:cNvSpPr>
          <p:nvPr>
            <p:ph type="ftr" sz="quarter" idx="11"/>
          </p:nvPr>
        </p:nvSpPr>
        <p:spPr/>
        <p:txBody>
          <a:bodyPr/>
          <a:lstStyle/>
          <a:p>
            <a:r>
              <a:rPr lang="en-US"/>
              <a:t>© 2024 Mobiz. All rights reserved</a:t>
            </a:r>
            <a:endParaRPr lang="en-BR"/>
          </a:p>
        </p:txBody>
      </p:sp>
      <p:sp>
        <p:nvSpPr>
          <p:cNvPr id="6" name="Slide Number Placeholder 5">
            <a:extLst>
              <a:ext uri="{FF2B5EF4-FFF2-40B4-BE49-F238E27FC236}">
                <a16:creationId xmlns:a16="http://schemas.microsoft.com/office/drawing/2014/main" id="{004B100A-355B-AEDF-DF4F-D378146B866F}"/>
              </a:ext>
            </a:extLst>
          </p:cNvPr>
          <p:cNvSpPr>
            <a:spLocks noGrp="1"/>
          </p:cNvSpPr>
          <p:nvPr>
            <p:ph type="sldNum" sz="quarter" idx="12"/>
          </p:nvPr>
        </p:nvSpPr>
        <p:spPr/>
        <p:txBody>
          <a:bodyPr/>
          <a:lstStyle/>
          <a:p>
            <a:fld id="{A8DDC45B-7265-3747-B738-ED29642119D9}" type="slidenum">
              <a:rPr lang="en-BR" smtClean="0"/>
              <a:pPr/>
              <a:t>16</a:t>
            </a:fld>
            <a:endParaRPr lang="en-BR"/>
          </a:p>
        </p:txBody>
      </p:sp>
    </p:spTree>
    <p:extLst>
      <p:ext uri="{BB962C8B-B14F-4D97-AF65-F5344CB8AC3E}">
        <p14:creationId xmlns:p14="http://schemas.microsoft.com/office/powerpoint/2010/main" val="15456023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B1811-2099-AD43-5D00-E60BA305EF5F}"/>
              </a:ext>
            </a:extLst>
          </p:cNvPr>
          <p:cNvSpPr>
            <a:spLocks noGrp="1"/>
          </p:cNvSpPr>
          <p:nvPr>
            <p:ph type="title"/>
          </p:nvPr>
        </p:nvSpPr>
        <p:spPr/>
        <p:txBody>
          <a:bodyPr/>
          <a:lstStyle/>
          <a:p>
            <a:r>
              <a:rPr lang="en-BR"/>
              <a:t>Data Display Slide</a:t>
            </a:r>
          </a:p>
        </p:txBody>
      </p:sp>
      <p:sp>
        <p:nvSpPr>
          <p:cNvPr id="3" name="Text Placeholder 2">
            <a:extLst>
              <a:ext uri="{FF2B5EF4-FFF2-40B4-BE49-F238E27FC236}">
                <a16:creationId xmlns:a16="http://schemas.microsoft.com/office/drawing/2014/main" id="{2B54F4C0-1D09-6F7B-8F00-2A2746A33F24}"/>
              </a:ext>
            </a:extLst>
          </p:cNvPr>
          <p:cNvSpPr>
            <a:spLocks noGrp="1"/>
          </p:cNvSpPr>
          <p:nvPr>
            <p:ph type="body" sz="quarter" idx="13"/>
          </p:nvPr>
        </p:nvSpPr>
        <p:spPr/>
        <p:txBody>
          <a:bodyPr/>
          <a:lstStyle/>
          <a:p>
            <a:r>
              <a:rPr lang="en-BR"/>
              <a:t>Grouped Column Chart</a:t>
            </a:r>
          </a:p>
        </p:txBody>
      </p:sp>
      <p:graphicFrame>
        <p:nvGraphicFramePr>
          <p:cNvPr id="4" name="Object 2">
            <a:extLst>
              <a:ext uri="{FF2B5EF4-FFF2-40B4-BE49-F238E27FC236}">
                <a16:creationId xmlns:a16="http://schemas.microsoft.com/office/drawing/2014/main" id="{7177D6C5-0A48-FC37-6877-9204F050DDE5}"/>
              </a:ext>
            </a:extLst>
          </p:cNvPr>
          <p:cNvGraphicFramePr>
            <a:graphicFrameLocks/>
          </p:cNvGraphicFramePr>
          <p:nvPr>
            <p:extLst>
              <p:ext uri="{D42A27DB-BD31-4B8C-83A1-F6EECF244321}">
                <p14:modId xmlns:p14="http://schemas.microsoft.com/office/powerpoint/2010/main" val="1684011227"/>
              </p:ext>
            </p:extLst>
          </p:nvPr>
        </p:nvGraphicFramePr>
        <p:xfrm>
          <a:off x="344488" y="1879778"/>
          <a:ext cx="11510962" cy="4294187"/>
        </p:xfrm>
        <a:graphic>
          <a:graphicData uri="http://schemas.openxmlformats.org/drawingml/2006/chart">
            <c:chart xmlns:c="http://schemas.openxmlformats.org/drawingml/2006/chart" xmlns:r="http://schemas.openxmlformats.org/officeDocument/2006/relationships" r:id="rId2"/>
          </a:graphicData>
        </a:graphic>
      </p:graphicFrame>
      <p:sp>
        <p:nvSpPr>
          <p:cNvPr id="5" name="Footer Placeholder 4">
            <a:extLst>
              <a:ext uri="{FF2B5EF4-FFF2-40B4-BE49-F238E27FC236}">
                <a16:creationId xmlns:a16="http://schemas.microsoft.com/office/drawing/2014/main" id="{A5134572-0E58-AA6F-AF12-1084680D2CD5}"/>
              </a:ext>
            </a:extLst>
          </p:cNvPr>
          <p:cNvSpPr>
            <a:spLocks noGrp="1"/>
          </p:cNvSpPr>
          <p:nvPr>
            <p:ph type="ftr" sz="quarter" idx="11"/>
          </p:nvPr>
        </p:nvSpPr>
        <p:spPr/>
        <p:txBody>
          <a:bodyPr/>
          <a:lstStyle/>
          <a:p>
            <a:r>
              <a:rPr lang="en-US"/>
              <a:t>© 2024 Mobiz. All rights reserved</a:t>
            </a:r>
            <a:endParaRPr lang="en-BR"/>
          </a:p>
        </p:txBody>
      </p:sp>
      <p:sp>
        <p:nvSpPr>
          <p:cNvPr id="6" name="Slide Number Placeholder 5">
            <a:extLst>
              <a:ext uri="{FF2B5EF4-FFF2-40B4-BE49-F238E27FC236}">
                <a16:creationId xmlns:a16="http://schemas.microsoft.com/office/drawing/2014/main" id="{A76E3054-0643-A617-9AB2-040D5B78CC4D}"/>
              </a:ext>
            </a:extLst>
          </p:cNvPr>
          <p:cNvSpPr>
            <a:spLocks noGrp="1"/>
          </p:cNvSpPr>
          <p:nvPr>
            <p:ph type="sldNum" sz="quarter" idx="12"/>
          </p:nvPr>
        </p:nvSpPr>
        <p:spPr/>
        <p:txBody>
          <a:bodyPr/>
          <a:lstStyle/>
          <a:p>
            <a:fld id="{A8DDC45B-7265-3747-B738-ED29642119D9}" type="slidenum">
              <a:rPr lang="en-BR" smtClean="0"/>
              <a:pPr/>
              <a:t>17</a:t>
            </a:fld>
            <a:endParaRPr lang="en-BR"/>
          </a:p>
        </p:txBody>
      </p:sp>
    </p:spTree>
    <p:extLst>
      <p:ext uri="{BB962C8B-B14F-4D97-AF65-F5344CB8AC3E}">
        <p14:creationId xmlns:p14="http://schemas.microsoft.com/office/powerpoint/2010/main" val="13306645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D055A3-C1A3-2749-9B6C-054E45E64DC0}"/>
              </a:ext>
            </a:extLst>
          </p:cNvPr>
          <p:cNvSpPr>
            <a:spLocks noGrp="1"/>
          </p:cNvSpPr>
          <p:nvPr>
            <p:ph type="title"/>
          </p:nvPr>
        </p:nvSpPr>
        <p:spPr/>
        <p:txBody>
          <a:bodyPr/>
          <a:lstStyle/>
          <a:p>
            <a:r>
              <a:rPr lang="en-BR"/>
              <a:t>Data Display Slide</a:t>
            </a:r>
          </a:p>
        </p:txBody>
      </p:sp>
      <p:sp>
        <p:nvSpPr>
          <p:cNvPr id="3" name="Text Placeholder 2">
            <a:extLst>
              <a:ext uri="{FF2B5EF4-FFF2-40B4-BE49-F238E27FC236}">
                <a16:creationId xmlns:a16="http://schemas.microsoft.com/office/drawing/2014/main" id="{5A02597F-F086-78FC-4ECC-713A566F1CC3}"/>
              </a:ext>
            </a:extLst>
          </p:cNvPr>
          <p:cNvSpPr>
            <a:spLocks noGrp="1"/>
          </p:cNvSpPr>
          <p:nvPr>
            <p:ph type="body" sz="quarter" idx="13"/>
          </p:nvPr>
        </p:nvSpPr>
        <p:spPr/>
        <p:txBody>
          <a:bodyPr/>
          <a:lstStyle/>
          <a:p>
            <a:r>
              <a:rPr lang="en-US"/>
              <a:t>Sub-divided Column Chart</a:t>
            </a:r>
            <a:endParaRPr lang="en-BR"/>
          </a:p>
        </p:txBody>
      </p:sp>
      <p:graphicFrame>
        <p:nvGraphicFramePr>
          <p:cNvPr id="5" name="Object 2">
            <a:extLst>
              <a:ext uri="{FF2B5EF4-FFF2-40B4-BE49-F238E27FC236}">
                <a16:creationId xmlns:a16="http://schemas.microsoft.com/office/drawing/2014/main" id="{9346B7BE-7023-6596-C9BA-80025D70CE1A}"/>
              </a:ext>
            </a:extLst>
          </p:cNvPr>
          <p:cNvGraphicFramePr>
            <a:graphicFrameLocks/>
          </p:cNvGraphicFramePr>
          <p:nvPr>
            <p:extLst>
              <p:ext uri="{D42A27DB-BD31-4B8C-83A1-F6EECF244321}">
                <p14:modId xmlns:p14="http://schemas.microsoft.com/office/powerpoint/2010/main" val="3240285269"/>
              </p:ext>
            </p:extLst>
          </p:nvPr>
        </p:nvGraphicFramePr>
        <p:xfrm>
          <a:off x="344488" y="1819303"/>
          <a:ext cx="11510962" cy="4294187"/>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Box 2">
            <a:extLst>
              <a:ext uri="{FF2B5EF4-FFF2-40B4-BE49-F238E27FC236}">
                <a16:creationId xmlns:a16="http://schemas.microsoft.com/office/drawing/2014/main" id="{26E97697-63E6-F195-9151-0C92ABACDF50}"/>
              </a:ext>
            </a:extLst>
          </p:cNvPr>
          <p:cNvSpPr txBox="1">
            <a:spLocks noChangeArrowheads="1"/>
          </p:cNvSpPr>
          <p:nvPr/>
        </p:nvSpPr>
        <p:spPr bwMode="auto">
          <a:xfrm>
            <a:off x="341856" y="5193010"/>
            <a:ext cx="1371646" cy="247775"/>
          </a:xfrm>
          <a:prstGeom prst="rect">
            <a:avLst/>
          </a:prstGeom>
          <a:noFill/>
          <a:ln w="9525">
            <a:noFill/>
            <a:miter lim="800000"/>
            <a:headEnd/>
            <a:tailEnd/>
          </a:ln>
        </p:spPr>
        <p:txBody>
          <a:bodyPr wrap="square" lIns="27432" tIns="32004" rIns="0" bIns="0" anchor="t" upright="1">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rtl="0">
              <a:defRPr sz="1000"/>
            </a:pPr>
            <a:r>
              <a:rPr lang="de-DE" sz="1400" b="1" i="0" u="none" strike="noStrike" cap="all" baseline="0">
                <a:solidFill>
                  <a:schemeClr val="tx1">
                    <a:lumMod val="50000"/>
                    <a:lumOff val="50000"/>
                  </a:schemeClr>
                </a:solidFill>
                <a:latin typeface="Segoe UI" panose="020B0502040204020203" pitchFamily="34" charset="0"/>
                <a:cs typeface="Segoe UI" panose="020B0502040204020203" pitchFamily="34" charset="0"/>
              </a:rPr>
              <a:t>Group 1</a:t>
            </a:r>
          </a:p>
        </p:txBody>
      </p:sp>
      <p:sp>
        <p:nvSpPr>
          <p:cNvPr id="7" name="Text Box 3">
            <a:extLst>
              <a:ext uri="{FF2B5EF4-FFF2-40B4-BE49-F238E27FC236}">
                <a16:creationId xmlns:a16="http://schemas.microsoft.com/office/drawing/2014/main" id="{FED781F0-F21E-0F04-2B7B-325B2846ECE3}"/>
              </a:ext>
            </a:extLst>
          </p:cNvPr>
          <p:cNvSpPr txBox="1">
            <a:spLocks noChangeArrowheads="1"/>
          </p:cNvSpPr>
          <p:nvPr/>
        </p:nvSpPr>
        <p:spPr bwMode="auto">
          <a:xfrm>
            <a:off x="341856" y="4720391"/>
            <a:ext cx="1990706" cy="247775"/>
          </a:xfrm>
          <a:prstGeom prst="rect">
            <a:avLst/>
          </a:prstGeom>
          <a:noFill/>
          <a:ln w="9525">
            <a:noFill/>
            <a:miter lim="800000"/>
            <a:headEnd/>
            <a:tailEnd/>
          </a:ln>
        </p:spPr>
        <p:txBody>
          <a:bodyPr wrap="square" lIns="27432" tIns="32004" rIns="0" bIns="0" anchor="t" upright="1">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rtl="0">
              <a:defRPr sz="1000"/>
            </a:pPr>
            <a:r>
              <a:rPr lang="de-DE" sz="1400" b="1" i="0" u="none" strike="noStrike" cap="all" baseline="0">
                <a:solidFill>
                  <a:srgbClr val="C00000"/>
                </a:solidFill>
                <a:latin typeface="Segoe UI" panose="020B0502040204020203" pitchFamily="34" charset="0"/>
                <a:cs typeface="Segoe UI" panose="020B0502040204020203" pitchFamily="34" charset="0"/>
              </a:rPr>
              <a:t>Group 2</a:t>
            </a:r>
          </a:p>
        </p:txBody>
      </p:sp>
      <p:sp>
        <p:nvSpPr>
          <p:cNvPr id="8" name="Footer Placeholder 7">
            <a:extLst>
              <a:ext uri="{FF2B5EF4-FFF2-40B4-BE49-F238E27FC236}">
                <a16:creationId xmlns:a16="http://schemas.microsoft.com/office/drawing/2014/main" id="{913DD56C-178D-200C-3D96-8BA236906938}"/>
              </a:ext>
            </a:extLst>
          </p:cNvPr>
          <p:cNvSpPr>
            <a:spLocks noGrp="1"/>
          </p:cNvSpPr>
          <p:nvPr>
            <p:ph type="ftr" sz="quarter" idx="11"/>
          </p:nvPr>
        </p:nvSpPr>
        <p:spPr/>
        <p:txBody>
          <a:bodyPr/>
          <a:lstStyle/>
          <a:p>
            <a:r>
              <a:rPr lang="en-US"/>
              <a:t>© 2024 Mobiz. All rights reserved</a:t>
            </a:r>
            <a:endParaRPr lang="en-BR"/>
          </a:p>
        </p:txBody>
      </p:sp>
      <p:sp>
        <p:nvSpPr>
          <p:cNvPr id="9" name="Slide Number Placeholder 8">
            <a:extLst>
              <a:ext uri="{FF2B5EF4-FFF2-40B4-BE49-F238E27FC236}">
                <a16:creationId xmlns:a16="http://schemas.microsoft.com/office/drawing/2014/main" id="{15CBA308-F137-DC3B-E216-A6E432BB9A89}"/>
              </a:ext>
            </a:extLst>
          </p:cNvPr>
          <p:cNvSpPr>
            <a:spLocks noGrp="1"/>
          </p:cNvSpPr>
          <p:nvPr>
            <p:ph type="sldNum" sz="quarter" idx="12"/>
          </p:nvPr>
        </p:nvSpPr>
        <p:spPr/>
        <p:txBody>
          <a:bodyPr/>
          <a:lstStyle/>
          <a:p>
            <a:fld id="{A8DDC45B-7265-3747-B738-ED29642119D9}" type="slidenum">
              <a:rPr lang="en-BR" smtClean="0"/>
              <a:pPr/>
              <a:t>18</a:t>
            </a:fld>
            <a:endParaRPr lang="en-BR"/>
          </a:p>
        </p:txBody>
      </p:sp>
    </p:spTree>
    <p:extLst>
      <p:ext uri="{BB962C8B-B14F-4D97-AF65-F5344CB8AC3E}">
        <p14:creationId xmlns:p14="http://schemas.microsoft.com/office/powerpoint/2010/main" val="35508806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DD7400-4D6C-41A9-CCAF-D1039379F1B8}"/>
              </a:ext>
            </a:extLst>
          </p:cNvPr>
          <p:cNvSpPr>
            <a:spLocks noGrp="1"/>
          </p:cNvSpPr>
          <p:nvPr>
            <p:ph type="title"/>
          </p:nvPr>
        </p:nvSpPr>
        <p:spPr/>
        <p:txBody>
          <a:bodyPr/>
          <a:lstStyle/>
          <a:p>
            <a:r>
              <a:rPr lang="en-BR"/>
              <a:t>Data Display Slide</a:t>
            </a:r>
          </a:p>
        </p:txBody>
      </p:sp>
      <p:sp>
        <p:nvSpPr>
          <p:cNvPr id="3" name="Text Placeholder 2">
            <a:extLst>
              <a:ext uri="{FF2B5EF4-FFF2-40B4-BE49-F238E27FC236}">
                <a16:creationId xmlns:a16="http://schemas.microsoft.com/office/drawing/2014/main" id="{88BD464A-9CAB-55DE-A971-7CF4951A8265}"/>
              </a:ext>
            </a:extLst>
          </p:cNvPr>
          <p:cNvSpPr>
            <a:spLocks noGrp="1"/>
          </p:cNvSpPr>
          <p:nvPr>
            <p:ph type="body" sz="quarter" idx="13"/>
          </p:nvPr>
        </p:nvSpPr>
        <p:spPr/>
        <p:txBody>
          <a:bodyPr/>
          <a:lstStyle/>
          <a:p>
            <a:r>
              <a:rPr lang="en-US"/>
              <a:t>Combination Column-line Chart </a:t>
            </a:r>
            <a:endParaRPr lang="en-BR"/>
          </a:p>
        </p:txBody>
      </p:sp>
      <p:graphicFrame>
        <p:nvGraphicFramePr>
          <p:cNvPr id="4" name="Object 2">
            <a:extLst>
              <a:ext uri="{FF2B5EF4-FFF2-40B4-BE49-F238E27FC236}">
                <a16:creationId xmlns:a16="http://schemas.microsoft.com/office/drawing/2014/main" id="{75C63C3B-578F-8D38-F3CD-90043447BA60}"/>
              </a:ext>
            </a:extLst>
          </p:cNvPr>
          <p:cNvGraphicFramePr>
            <a:graphicFrameLocks/>
          </p:cNvGraphicFramePr>
          <p:nvPr>
            <p:extLst>
              <p:ext uri="{D42A27DB-BD31-4B8C-83A1-F6EECF244321}">
                <p14:modId xmlns:p14="http://schemas.microsoft.com/office/powerpoint/2010/main" val="4020647815"/>
              </p:ext>
            </p:extLst>
          </p:nvPr>
        </p:nvGraphicFramePr>
        <p:xfrm>
          <a:off x="333375" y="2027074"/>
          <a:ext cx="11523663" cy="4294187"/>
        </p:xfrm>
        <a:graphic>
          <a:graphicData uri="http://schemas.openxmlformats.org/drawingml/2006/chart">
            <c:chart xmlns:c="http://schemas.openxmlformats.org/drawingml/2006/chart" xmlns:r="http://schemas.openxmlformats.org/officeDocument/2006/relationships" r:id="rId3"/>
          </a:graphicData>
        </a:graphic>
      </p:graphicFrame>
      <p:sp>
        <p:nvSpPr>
          <p:cNvPr id="5" name="Footer Placeholder 4">
            <a:extLst>
              <a:ext uri="{FF2B5EF4-FFF2-40B4-BE49-F238E27FC236}">
                <a16:creationId xmlns:a16="http://schemas.microsoft.com/office/drawing/2014/main" id="{15D684F4-9C56-3B03-9EDB-56E63E98E78F}"/>
              </a:ext>
            </a:extLst>
          </p:cNvPr>
          <p:cNvSpPr>
            <a:spLocks noGrp="1"/>
          </p:cNvSpPr>
          <p:nvPr>
            <p:ph type="ftr" sz="quarter" idx="11"/>
          </p:nvPr>
        </p:nvSpPr>
        <p:spPr/>
        <p:txBody>
          <a:bodyPr/>
          <a:lstStyle/>
          <a:p>
            <a:r>
              <a:rPr lang="en-US"/>
              <a:t>© 2024 Mobiz. All rights reserved</a:t>
            </a:r>
            <a:endParaRPr lang="en-BR"/>
          </a:p>
        </p:txBody>
      </p:sp>
      <p:sp>
        <p:nvSpPr>
          <p:cNvPr id="6" name="Slide Number Placeholder 5">
            <a:extLst>
              <a:ext uri="{FF2B5EF4-FFF2-40B4-BE49-F238E27FC236}">
                <a16:creationId xmlns:a16="http://schemas.microsoft.com/office/drawing/2014/main" id="{40CEED2E-51D3-DF3B-D8B1-891341DC7606}"/>
              </a:ext>
            </a:extLst>
          </p:cNvPr>
          <p:cNvSpPr>
            <a:spLocks noGrp="1"/>
          </p:cNvSpPr>
          <p:nvPr>
            <p:ph type="sldNum" sz="quarter" idx="12"/>
          </p:nvPr>
        </p:nvSpPr>
        <p:spPr/>
        <p:txBody>
          <a:bodyPr/>
          <a:lstStyle/>
          <a:p>
            <a:fld id="{A8DDC45B-7265-3747-B738-ED29642119D9}" type="slidenum">
              <a:rPr lang="en-BR" smtClean="0"/>
              <a:pPr/>
              <a:t>19</a:t>
            </a:fld>
            <a:endParaRPr lang="en-BR"/>
          </a:p>
        </p:txBody>
      </p:sp>
    </p:spTree>
    <p:extLst>
      <p:ext uri="{BB962C8B-B14F-4D97-AF65-F5344CB8AC3E}">
        <p14:creationId xmlns:p14="http://schemas.microsoft.com/office/powerpoint/2010/main" val="778062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259BF4-F670-27A2-CC7D-9BC0815148CB}"/>
              </a:ext>
            </a:extLst>
          </p:cNvPr>
          <p:cNvSpPr>
            <a:spLocks noGrp="1"/>
          </p:cNvSpPr>
          <p:nvPr>
            <p:ph type="title"/>
          </p:nvPr>
        </p:nvSpPr>
        <p:spPr>
          <a:xfrm>
            <a:off x="338667" y="252054"/>
            <a:ext cx="11518371" cy="729021"/>
          </a:xfrm>
        </p:spPr>
        <p:txBody>
          <a:bodyPr>
            <a:normAutofit/>
          </a:bodyPr>
          <a:lstStyle/>
          <a:p>
            <a:r>
              <a:rPr lang="en-BR" sz="4400"/>
              <a:t>Index</a:t>
            </a:r>
          </a:p>
        </p:txBody>
      </p:sp>
      <p:sp>
        <p:nvSpPr>
          <p:cNvPr id="3" name="Footer Placeholder 2">
            <a:extLst>
              <a:ext uri="{FF2B5EF4-FFF2-40B4-BE49-F238E27FC236}">
                <a16:creationId xmlns:a16="http://schemas.microsoft.com/office/drawing/2014/main" id="{A69EBBA2-F6E6-36A6-0BC1-03FBB0E7E1DF}"/>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FC563EE0-7DC6-5621-934C-96B690752B39}"/>
              </a:ext>
            </a:extLst>
          </p:cNvPr>
          <p:cNvSpPr>
            <a:spLocks noGrp="1"/>
          </p:cNvSpPr>
          <p:nvPr>
            <p:ph type="sldNum" sz="quarter" idx="12"/>
          </p:nvPr>
        </p:nvSpPr>
        <p:spPr/>
        <p:txBody>
          <a:bodyPr/>
          <a:lstStyle/>
          <a:p>
            <a:fld id="{A8DDC45B-7265-3747-B738-ED29642119D9}" type="slidenum">
              <a:rPr lang="en-BR" smtClean="0"/>
              <a:pPr/>
              <a:t>2</a:t>
            </a:fld>
            <a:endParaRPr lang="en-BR"/>
          </a:p>
        </p:txBody>
      </p:sp>
      <p:sp>
        <p:nvSpPr>
          <p:cNvPr id="8" name="Text Placeholder 10">
            <a:extLst>
              <a:ext uri="{FF2B5EF4-FFF2-40B4-BE49-F238E27FC236}">
                <a16:creationId xmlns:a16="http://schemas.microsoft.com/office/drawing/2014/main" id="{79D044AC-9656-40BB-A8D1-00B07B3DCC9D}"/>
              </a:ext>
            </a:extLst>
          </p:cNvPr>
          <p:cNvSpPr txBox="1">
            <a:spLocks/>
          </p:cNvSpPr>
          <p:nvPr/>
        </p:nvSpPr>
        <p:spPr bwMode="auto">
          <a:xfrm>
            <a:off x="487892" y="901443"/>
            <a:ext cx="11367557" cy="685786"/>
          </a:xfrm>
          <a:prstGeom prst="rect">
            <a:avLst/>
          </a:prstGeom>
        </p:spPr>
        <p:txBody>
          <a:bodyPr lIns="0" tIns="180000" rIns="0" bIns="0"/>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2"/>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2"/>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1800" b="0" i="0" kern="1200" cap="none" baseline="0">
                <a:solidFill>
                  <a:schemeClr val="tx2"/>
                </a:solidFill>
                <a:latin typeface="+mn-lt"/>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r>
              <a:rPr lang="en-IE" sz="1600">
                <a:solidFill>
                  <a:schemeClr val="bg1">
                    <a:lumMod val="85000"/>
                  </a:schemeClr>
                </a:solidFill>
                <a:latin typeface="Segoe UI" panose="020B0502040204020203" pitchFamily="34" charset="0"/>
                <a:cs typeface="Segoe UI" panose="020B0502040204020203" pitchFamily="34" charset="0"/>
              </a:rPr>
              <a:t>The visuals are organized into categories. Click on the chart type to go to that section of the presentation. Or, put the presentation in ‘slide sorter’ mode to see an overview of all of the diagrams.</a:t>
            </a:r>
            <a:endParaRPr lang="en-US" sz="1600">
              <a:solidFill>
                <a:schemeClr val="bg1">
                  <a:lumMod val="85000"/>
                </a:schemeClr>
              </a:solidFill>
              <a:latin typeface="Segoe UI" panose="020B0502040204020203" pitchFamily="34" charset="0"/>
              <a:cs typeface="Segoe UI" panose="020B0502040204020203" pitchFamily="34" charset="0"/>
            </a:endParaRPr>
          </a:p>
        </p:txBody>
      </p:sp>
      <p:sp>
        <p:nvSpPr>
          <p:cNvPr id="117" name="TextBox 116">
            <a:hlinkClick r:id="rId2" action="ppaction://hlinksldjump"/>
            <a:extLst>
              <a:ext uri="{FF2B5EF4-FFF2-40B4-BE49-F238E27FC236}">
                <a16:creationId xmlns:a16="http://schemas.microsoft.com/office/drawing/2014/main" id="{98972B63-0B3D-0D45-456F-3D312FAFC26D}"/>
              </a:ext>
            </a:extLst>
          </p:cNvPr>
          <p:cNvSpPr txBox="1"/>
          <p:nvPr/>
        </p:nvSpPr>
        <p:spPr>
          <a:xfrm>
            <a:off x="1339405" y="3336911"/>
            <a:ext cx="2357190" cy="369332"/>
          </a:xfrm>
          <a:prstGeom prst="rect">
            <a:avLst/>
          </a:prstGeom>
          <a:noFill/>
        </p:spPr>
        <p:txBody>
          <a:bodyPr wrap="square" rtlCol="0">
            <a:spAutoFit/>
          </a:bodyPr>
          <a:lstStyle/>
          <a:p>
            <a:r>
              <a:rPr lang="en-BR" b="1" dirty="0">
                <a:solidFill>
                  <a:schemeClr val="bg1"/>
                </a:solidFill>
              </a:rPr>
              <a:t>02 | DATA DISPLAY</a:t>
            </a:r>
          </a:p>
        </p:txBody>
      </p:sp>
      <p:sp>
        <p:nvSpPr>
          <p:cNvPr id="120" name="TextBox 119">
            <a:hlinkClick r:id="rId2" action="ppaction://hlinksldjump"/>
            <a:extLst>
              <a:ext uri="{FF2B5EF4-FFF2-40B4-BE49-F238E27FC236}">
                <a16:creationId xmlns:a16="http://schemas.microsoft.com/office/drawing/2014/main" id="{E2954F4E-DE0A-D060-8644-AAB32ADF247B}"/>
              </a:ext>
            </a:extLst>
          </p:cNvPr>
          <p:cNvSpPr txBox="1"/>
          <p:nvPr/>
        </p:nvSpPr>
        <p:spPr>
          <a:xfrm>
            <a:off x="1339405" y="3596288"/>
            <a:ext cx="2674307" cy="338554"/>
          </a:xfrm>
          <a:prstGeom prst="rect">
            <a:avLst/>
          </a:prstGeom>
          <a:noFill/>
        </p:spPr>
        <p:txBody>
          <a:bodyPr wrap="square">
            <a:spAutoFit/>
          </a:bodyPr>
          <a:lstStyle/>
          <a:p>
            <a:r>
              <a:rPr lang="en-US" sz="1600" dirty="0">
                <a:solidFill>
                  <a:schemeClr val="bg1">
                    <a:lumMod val="65000"/>
                  </a:schemeClr>
                </a:solidFill>
                <a:latin typeface="Segoe UI" panose="020B0502040204020203" pitchFamily="34" charset="0"/>
                <a:cs typeface="Segoe UI" panose="020B0502040204020203" pitchFamily="34" charset="0"/>
              </a:rPr>
              <a:t>Column Charts</a:t>
            </a:r>
            <a:endParaRPr lang="en-BR" sz="1600" dirty="0">
              <a:solidFill>
                <a:schemeClr val="bg1">
                  <a:lumMod val="65000"/>
                </a:schemeClr>
              </a:solidFill>
              <a:latin typeface="Segoe UI" panose="020B0502040204020203" pitchFamily="34" charset="0"/>
              <a:cs typeface="Segoe UI" panose="020B0502040204020203" pitchFamily="34" charset="0"/>
            </a:endParaRPr>
          </a:p>
        </p:txBody>
      </p:sp>
      <p:sp>
        <p:nvSpPr>
          <p:cNvPr id="166" name="Oval 165">
            <a:hlinkClick r:id="rId2" action="ppaction://hlinksldjump"/>
            <a:extLst>
              <a:ext uri="{FF2B5EF4-FFF2-40B4-BE49-F238E27FC236}">
                <a16:creationId xmlns:a16="http://schemas.microsoft.com/office/drawing/2014/main" id="{7BA7D935-A893-EE3A-7C02-042BDF6784DA}"/>
              </a:ext>
            </a:extLst>
          </p:cNvPr>
          <p:cNvSpPr/>
          <p:nvPr/>
        </p:nvSpPr>
        <p:spPr>
          <a:xfrm>
            <a:off x="586651" y="3239865"/>
            <a:ext cx="716908" cy="720139"/>
          </a:xfrm>
          <a:prstGeom prst="ellipse">
            <a:avLst/>
          </a:prstGeom>
          <a:solidFill>
            <a:schemeClr val="tx2"/>
          </a:solidFill>
          <a:ln>
            <a:solidFill>
              <a:schemeClr val="bg1"/>
            </a:solidFill>
          </a:ln>
          <a:effectLst>
            <a:outerShdw blurRad="50800" dist="38100" dir="2700000" algn="tl" rotWithShape="0">
              <a:prstClr val="black">
                <a:alpha val="40000"/>
              </a:prstClr>
            </a:outerShdw>
          </a:effectLst>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BR"/>
          </a:p>
        </p:txBody>
      </p:sp>
      <p:pic>
        <p:nvPicPr>
          <p:cNvPr id="129" name="Graphic 128" descr="Bar chart with solid fill">
            <a:hlinkClick r:id="rId2" action="ppaction://hlinksldjump"/>
            <a:extLst>
              <a:ext uri="{FF2B5EF4-FFF2-40B4-BE49-F238E27FC236}">
                <a16:creationId xmlns:a16="http://schemas.microsoft.com/office/drawing/2014/main" id="{E5D3AED6-C7D3-C318-D198-ED6CB1B8E36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4050" y="3372217"/>
            <a:ext cx="457200" cy="457200"/>
          </a:xfrm>
          <a:prstGeom prst="rect">
            <a:avLst/>
          </a:prstGeom>
        </p:spPr>
      </p:pic>
      <p:sp>
        <p:nvSpPr>
          <p:cNvPr id="130" name="TextBox 129">
            <a:hlinkClick r:id="rId5" action="ppaction://hlinksldjump"/>
            <a:extLst>
              <a:ext uri="{FF2B5EF4-FFF2-40B4-BE49-F238E27FC236}">
                <a16:creationId xmlns:a16="http://schemas.microsoft.com/office/drawing/2014/main" id="{65A4837F-E544-CAAA-0BA3-E1B9132177B7}"/>
              </a:ext>
            </a:extLst>
          </p:cNvPr>
          <p:cNvSpPr txBox="1"/>
          <p:nvPr/>
        </p:nvSpPr>
        <p:spPr>
          <a:xfrm>
            <a:off x="1339405" y="4339811"/>
            <a:ext cx="2674307" cy="369332"/>
          </a:xfrm>
          <a:prstGeom prst="rect">
            <a:avLst/>
          </a:prstGeom>
          <a:noFill/>
        </p:spPr>
        <p:txBody>
          <a:bodyPr wrap="square" rtlCol="0">
            <a:spAutoFit/>
          </a:bodyPr>
          <a:lstStyle/>
          <a:p>
            <a:r>
              <a:rPr lang="en-BR" b="1" dirty="0">
                <a:solidFill>
                  <a:schemeClr val="bg1"/>
                </a:solidFill>
              </a:rPr>
              <a:t>03 | DATA DISPLAY</a:t>
            </a:r>
          </a:p>
        </p:txBody>
      </p:sp>
      <p:sp>
        <p:nvSpPr>
          <p:cNvPr id="131" name="TextBox 130">
            <a:hlinkClick r:id="rId5" action="ppaction://hlinksldjump"/>
            <a:extLst>
              <a:ext uri="{FF2B5EF4-FFF2-40B4-BE49-F238E27FC236}">
                <a16:creationId xmlns:a16="http://schemas.microsoft.com/office/drawing/2014/main" id="{E0AEE2F7-F16B-2308-3051-870EBB211750}"/>
              </a:ext>
            </a:extLst>
          </p:cNvPr>
          <p:cNvSpPr txBox="1"/>
          <p:nvPr/>
        </p:nvSpPr>
        <p:spPr>
          <a:xfrm>
            <a:off x="1339405" y="4610763"/>
            <a:ext cx="2674307" cy="338554"/>
          </a:xfrm>
          <a:prstGeom prst="rect">
            <a:avLst/>
          </a:prstGeom>
          <a:noFill/>
        </p:spPr>
        <p:txBody>
          <a:bodyPr wrap="square">
            <a:spAutoFit/>
          </a:bodyPr>
          <a:lstStyle/>
          <a:p>
            <a:r>
              <a:rPr lang="en-US" sz="1600" dirty="0">
                <a:solidFill>
                  <a:schemeClr val="bg1">
                    <a:lumMod val="65000"/>
                  </a:schemeClr>
                </a:solidFill>
                <a:latin typeface="Segoe UI" panose="020B0502040204020203" pitchFamily="34" charset="0"/>
                <a:cs typeface="Segoe UI" panose="020B0502040204020203" pitchFamily="34" charset="0"/>
              </a:rPr>
              <a:t>Pie Charts</a:t>
            </a:r>
            <a:endParaRPr lang="en-BR" sz="1600" dirty="0">
              <a:solidFill>
                <a:schemeClr val="bg1">
                  <a:lumMod val="65000"/>
                </a:schemeClr>
              </a:solidFill>
              <a:latin typeface="Segoe UI" panose="020B0502040204020203" pitchFamily="34" charset="0"/>
              <a:cs typeface="Segoe UI" panose="020B0502040204020203" pitchFamily="34" charset="0"/>
            </a:endParaRPr>
          </a:p>
        </p:txBody>
      </p:sp>
      <p:sp>
        <p:nvSpPr>
          <p:cNvPr id="167" name="Oval 166">
            <a:hlinkClick r:id="rId5" action="ppaction://hlinksldjump"/>
            <a:extLst>
              <a:ext uri="{FF2B5EF4-FFF2-40B4-BE49-F238E27FC236}">
                <a16:creationId xmlns:a16="http://schemas.microsoft.com/office/drawing/2014/main" id="{A293D4FE-21F0-B2F1-FD84-B2AB99D0F0CD}"/>
              </a:ext>
            </a:extLst>
          </p:cNvPr>
          <p:cNvSpPr/>
          <p:nvPr/>
        </p:nvSpPr>
        <p:spPr>
          <a:xfrm>
            <a:off x="586651" y="4256459"/>
            <a:ext cx="716908" cy="720139"/>
          </a:xfrm>
          <a:prstGeom prst="ellipse">
            <a:avLst/>
          </a:prstGeom>
          <a:solidFill>
            <a:schemeClr val="tx2"/>
          </a:solidFill>
          <a:ln>
            <a:solidFill>
              <a:schemeClr val="bg1"/>
            </a:solidFill>
          </a:ln>
          <a:effectLst>
            <a:outerShdw blurRad="50800" dist="38100" dir="2700000" algn="tl" rotWithShape="0">
              <a:prstClr val="black">
                <a:alpha val="40000"/>
              </a:prstClr>
            </a:outerShdw>
          </a:effectLst>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BR"/>
          </a:p>
        </p:txBody>
      </p:sp>
      <p:pic>
        <p:nvPicPr>
          <p:cNvPr id="162" name="Graphic 161" descr="Pie chart with solid fill">
            <a:hlinkClick r:id="rId5" action="ppaction://hlinksldjump"/>
            <a:extLst>
              <a:ext uri="{FF2B5EF4-FFF2-40B4-BE49-F238E27FC236}">
                <a16:creationId xmlns:a16="http://schemas.microsoft.com/office/drawing/2014/main" id="{E5D1C08A-122A-D131-0457-FDF0AE892CB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6206" y="4414337"/>
            <a:ext cx="426575" cy="426575"/>
          </a:xfrm>
          <a:prstGeom prst="rect">
            <a:avLst/>
          </a:prstGeom>
        </p:spPr>
      </p:pic>
      <p:sp>
        <p:nvSpPr>
          <p:cNvPr id="133" name="TextBox 132">
            <a:hlinkClick r:id="rId8" action="ppaction://hlinksldjump"/>
            <a:extLst>
              <a:ext uri="{FF2B5EF4-FFF2-40B4-BE49-F238E27FC236}">
                <a16:creationId xmlns:a16="http://schemas.microsoft.com/office/drawing/2014/main" id="{CB1732DB-8597-6F9D-5937-CF9EBFEAB868}"/>
              </a:ext>
            </a:extLst>
          </p:cNvPr>
          <p:cNvSpPr txBox="1"/>
          <p:nvPr/>
        </p:nvSpPr>
        <p:spPr>
          <a:xfrm>
            <a:off x="1339405" y="5352709"/>
            <a:ext cx="2120149" cy="369332"/>
          </a:xfrm>
          <a:prstGeom prst="rect">
            <a:avLst/>
          </a:prstGeom>
          <a:noFill/>
        </p:spPr>
        <p:txBody>
          <a:bodyPr wrap="square" rtlCol="0">
            <a:spAutoFit/>
          </a:bodyPr>
          <a:lstStyle/>
          <a:p>
            <a:r>
              <a:rPr lang="en-BR" b="1" dirty="0">
                <a:solidFill>
                  <a:schemeClr val="bg1"/>
                </a:solidFill>
              </a:rPr>
              <a:t>04 | </a:t>
            </a:r>
            <a:r>
              <a:rPr lang="en-US" b="1" dirty="0">
                <a:solidFill>
                  <a:schemeClr val="bg1"/>
                </a:solidFill>
              </a:rPr>
              <a:t>ASSESSMENT</a:t>
            </a:r>
            <a:endParaRPr lang="en-BR" b="1" dirty="0">
              <a:solidFill>
                <a:schemeClr val="bg1"/>
              </a:solidFill>
            </a:endParaRPr>
          </a:p>
        </p:txBody>
      </p:sp>
      <p:sp>
        <p:nvSpPr>
          <p:cNvPr id="134" name="TextBox 133">
            <a:hlinkClick r:id="rId8" action="ppaction://hlinksldjump"/>
            <a:extLst>
              <a:ext uri="{FF2B5EF4-FFF2-40B4-BE49-F238E27FC236}">
                <a16:creationId xmlns:a16="http://schemas.microsoft.com/office/drawing/2014/main" id="{B40A295D-0933-F7C2-8886-717FF1B1A7E6}"/>
              </a:ext>
            </a:extLst>
          </p:cNvPr>
          <p:cNvSpPr txBox="1"/>
          <p:nvPr/>
        </p:nvSpPr>
        <p:spPr>
          <a:xfrm>
            <a:off x="1339405" y="5612086"/>
            <a:ext cx="2674307" cy="338554"/>
          </a:xfrm>
          <a:prstGeom prst="rect">
            <a:avLst/>
          </a:prstGeom>
          <a:noFill/>
        </p:spPr>
        <p:txBody>
          <a:bodyPr wrap="square">
            <a:spAutoFit/>
          </a:bodyPr>
          <a:lstStyle/>
          <a:p>
            <a:r>
              <a:rPr lang="en-US" sz="1600">
                <a:solidFill>
                  <a:schemeClr val="bg1">
                    <a:lumMod val="65000"/>
                  </a:schemeClr>
                </a:solidFill>
                <a:latin typeface="Segoe UI" panose="020B0502040204020203" pitchFamily="34" charset="0"/>
                <a:cs typeface="Segoe UI" panose="020B0502040204020203" pitchFamily="34" charset="0"/>
              </a:rPr>
              <a:t>Line Charts</a:t>
            </a:r>
            <a:endParaRPr lang="en-BR" sz="1600">
              <a:solidFill>
                <a:schemeClr val="bg1">
                  <a:lumMod val="65000"/>
                </a:schemeClr>
              </a:solidFill>
              <a:latin typeface="Segoe UI" panose="020B0502040204020203" pitchFamily="34" charset="0"/>
              <a:cs typeface="Segoe UI" panose="020B0502040204020203" pitchFamily="34" charset="0"/>
            </a:endParaRPr>
          </a:p>
        </p:txBody>
      </p:sp>
      <p:sp>
        <p:nvSpPr>
          <p:cNvPr id="168" name="Oval 167">
            <a:hlinkClick r:id="rId8" action="ppaction://hlinksldjump"/>
            <a:extLst>
              <a:ext uri="{FF2B5EF4-FFF2-40B4-BE49-F238E27FC236}">
                <a16:creationId xmlns:a16="http://schemas.microsoft.com/office/drawing/2014/main" id="{79B9020F-2374-80A3-AD34-CF9BCE96FFDF}"/>
              </a:ext>
            </a:extLst>
          </p:cNvPr>
          <p:cNvSpPr/>
          <p:nvPr/>
        </p:nvSpPr>
        <p:spPr>
          <a:xfrm>
            <a:off x="586651" y="5273053"/>
            <a:ext cx="716908" cy="720139"/>
          </a:xfrm>
          <a:prstGeom prst="ellipse">
            <a:avLst/>
          </a:prstGeom>
          <a:solidFill>
            <a:schemeClr val="tx2"/>
          </a:solidFill>
          <a:ln>
            <a:solidFill>
              <a:schemeClr val="bg1"/>
            </a:solidFill>
          </a:ln>
          <a:effectLst>
            <a:outerShdw blurRad="50800" dist="38100" dir="2700000" algn="tl" rotWithShape="0">
              <a:prstClr val="black">
                <a:alpha val="40000"/>
              </a:prstClr>
            </a:outerShdw>
          </a:effectLst>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BR"/>
          </a:p>
        </p:txBody>
      </p:sp>
      <p:pic>
        <p:nvPicPr>
          <p:cNvPr id="164" name="Graphic 163" descr="Upward trend with solid fill">
            <a:hlinkClick r:id="rId8" action="ppaction://hlinksldjump"/>
            <a:extLst>
              <a:ext uri="{FF2B5EF4-FFF2-40B4-BE49-F238E27FC236}">
                <a16:creationId xmlns:a16="http://schemas.microsoft.com/office/drawing/2014/main" id="{4A693CBB-7C7A-150D-143A-DC3526A32DE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0409" y="5409587"/>
            <a:ext cx="469232" cy="469232"/>
          </a:xfrm>
          <a:prstGeom prst="rect">
            <a:avLst/>
          </a:prstGeom>
        </p:spPr>
      </p:pic>
      <p:sp>
        <p:nvSpPr>
          <p:cNvPr id="142" name="TextBox 141">
            <a:hlinkClick r:id="rId11" action="ppaction://hlinksldjump"/>
            <a:extLst>
              <a:ext uri="{FF2B5EF4-FFF2-40B4-BE49-F238E27FC236}">
                <a16:creationId xmlns:a16="http://schemas.microsoft.com/office/drawing/2014/main" id="{58A2342F-D339-AB88-0571-FEDDD0E283D6}"/>
              </a:ext>
            </a:extLst>
          </p:cNvPr>
          <p:cNvSpPr txBox="1"/>
          <p:nvPr/>
        </p:nvSpPr>
        <p:spPr>
          <a:xfrm>
            <a:off x="5170375" y="3412638"/>
            <a:ext cx="2227108" cy="369332"/>
          </a:xfrm>
          <a:prstGeom prst="rect">
            <a:avLst/>
          </a:prstGeom>
          <a:noFill/>
        </p:spPr>
        <p:txBody>
          <a:bodyPr wrap="square" rtlCol="0">
            <a:spAutoFit/>
          </a:bodyPr>
          <a:lstStyle/>
          <a:p>
            <a:r>
              <a:rPr lang="en-BR" b="1">
                <a:solidFill>
                  <a:schemeClr val="bg1"/>
                </a:solidFill>
              </a:rPr>
              <a:t>06 | </a:t>
            </a:r>
            <a:r>
              <a:rPr lang="pt-BR" b="1">
                <a:solidFill>
                  <a:schemeClr val="bg1"/>
                </a:solidFill>
              </a:rPr>
              <a:t>STEERCO</a:t>
            </a:r>
            <a:endParaRPr lang="en-BR" b="1">
              <a:solidFill>
                <a:schemeClr val="bg1"/>
              </a:solidFill>
            </a:endParaRPr>
          </a:p>
        </p:txBody>
      </p:sp>
      <p:sp>
        <p:nvSpPr>
          <p:cNvPr id="169" name="Oval 168">
            <a:hlinkClick r:id="rId11" action="ppaction://hlinksldjump"/>
            <a:extLst>
              <a:ext uri="{FF2B5EF4-FFF2-40B4-BE49-F238E27FC236}">
                <a16:creationId xmlns:a16="http://schemas.microsoft.com/office/drawing/2014/main" id="{3FBF3B4E-0030-FBB1-0F80-8C45166B1783}"/>
              </a:ext>
            </a:extLst>
          </p:cNvPr>
          <p:cNvSpPr/>
          <p:nvPr/>
        </p:nvSpPr>
        <p:spPr>
          <a:xfrm>
            <a:off x="4453467" y="3239865"/>
            <a:ext cx="716908" cy="720139"/>
          </a:xfrm>
          <a:prstGeom prst="ellipse">
            <a:avLst/>
          </a:prstGeom>
          <a:solidFill>
            <a:schemeClr val="tx2"/>
          </a:solidFill>
          <a:ln>
            <a:solidFill>
              <a:schemeClr val="bg1"/>
            </a:solidFill>
          </a:ln>
          <a:effectLst>
            <a:outerShdw blurRad="50800" dist="38100" dir="2700000" algn="tl" rotWithShape="0">
              <a:prstClr val="black">
                <a:alpha val="40000"/>
              </a:prstClr>
            </a:outerShdw>
          </a:effectLst>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BR"/>
          </a:p>
        </p:txBody>
      </p:sp>
      <p:sp>
        <p:nvSpPr>
          <p:cNvPr id="175" name="TextBox 174">
            <a:hlinkClick r:id="rId12" action="ppaction://hlinksldjump"/>
            <a:extLst>
              <a:ext uri="{FF2B5EF4-FFF2-40B4-BE49-F238E27FC236}">
                <a16:creationId xmlns:a16="http://schemas.microsoft.com/office/drawing/2014/main" id="{074A97D8-EFE0-D69B-0F66-D23E51863E28}"/>
              </a:ext>
            </a:extLst>
          </p:cNvPr>
          <p:cNvSpPr txBox="1"/>
          <p:nvPr/>
        </p:nvSpPr>
        <p:spPr>
          <a:xfrm>
            <a:off x="1339405" y="2373580"/>
            <a:ext cx="2342854" cy="369332"/>
          </a:xfrm>
          <a:prstGeom prst="rect">
            <a:avLst/>
          </a:prstGeom>
          <a:noFill/>
        </p:spPr>
        <p:txBody>
          <a:bodyPr wrap="square" rtlCol="0">
            <a:spAutoFit/>
          </a:bodyPr>
          <a:lstStyle/>
          <a:p>
            <a:r>
              <a:rPr lang="en-BR" b="1">
                <a:solidFill>
                  <a:schemeClr val="bg1"/>
                </a:solidFill>
              </a:rPr>
              <a:t>01 | TEXT DISPLAY</a:t>
            </a:r>
          </a:p>
        </p:txBody>
      </p:sp>
      <p:sp>
        <p:nvSpPr>
          <p:cNvPr id="165" name="Oval 164">
            <a:hlinkClick r:id="rId12" action="ppaction://hlinksldjump"/>
            <a:extLst>
              <a:ext uri="{FF2B5EF4-FFF2-40B4-BE49-F238E27FC236}">
                <a16:creationId xmlns:a16="http://schemas.microsoft.com/office/drawing/2014/main" id="{11EFC283-1CB5-ADEE-38A6-FD1F8F651A30}"/>
              </a:ext>
            </a:extLst>
          </p:cNvPr>
          <p:cNvSpPr/>
          <p:nvPr/>
        </p:nvSpPr>
        <p:spPr>
          <a:xfrm>
            <a:off x="586651" y="2223271"/>
            <a:ext cx="716908" cy="720139"/>
          </a:xfrm>
          <a:prstGeom prst="ellipse">
            <a:avLst/>
          </a:prstGeom>
          <a:solidFill>
            <a:schemeClr val="tx2"/>
          </a:solidFill>
          <a:ln>
            <a:solidFill>
              <a:schemeClr val="bg1"/>
            </a:solidFill>
          </a:ln>
          <a:effectLst>
            <a:outerShdw blurRad="50800" dist="38100" dir="2700000" algn="tl" rotWithShape="0">
              <a:prstClr val="black">
                <a:alpha val="40000"/>
              </a:prstClr>
            </a:outerShdw>
          </a:effectLst>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BR"/>
          </a:p>
        </p:txBody>
      </p:sp>
      <p:pic>
        <p:nvPicPr>
          <p:cNvPr id="178" name="Graphic 177" descr="Document with solid fill">
            <a:hlinkClick r:id="rId12" action="ppaction://hlinksldjump"/>
            <a:extLst>
              <a:ext uri="{FF2B5EF4-FFF2-40B4-BE49-F238E27FC236}">
                <a16:creationId xmlns:a16="http://schemas.microsoft.com/office/drawing/2014/main" id="{3A0E31BB-D343-37BE-DBE6-D6D2DEEF9B4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36206" y="2347469"/>
            <a:ext cx="457200" cy="457200"/>
          </a:xfrm>
          <a:prstGeom prst="rect">
            <a:avLst/>
          </a:prstGeom>
        </p:spPr>
      </p:pic>
      <p:sp>
        <p:nvSpPr>
          <p:cNvPr id="139" name="TextBox 138">
            <a:hlinkClick r:id="rId15" action="ppaction://hlinksldjump"/>
            <a:extLst>
              <a:ext uri="{FF2B5EF4-FFF2-40B4-BE49-F238E27FC236}">
                <a16:creationId xmlns:a16="http://schemas.microsoft.com/office/drawing/2014/main" id="{9C20F3FE-48B4-FA7D-4490-13F852141E2D}"/>
              </a:ext>
            </a:extLst>
          </p:cNvPr>
          <p:cNvSpPr txBox="1"/>
          <p:nvPr/>
        </p:nvSpPr>
        <p:spPr>
          <a:xfrm>
            <a:off x="5170375" y="2379421"/>
            <a:ext cx="3163024" cy="369332"/>
          </a:xfrm>
          <a:prstGeom prst="rect">
            <a:avLst/>
          </a:prstGeom>
          <a:noFill/>
        </p:spPr>
        <p:txBody>
          <a:bodyPr wrap="square" rtlCol="0">
            <a:spAutoFit/>
          </a:bodyPr>
          <a:lstStyle/>
          <a:p>
            <a:r>
              <a:rPr lang="en-BR" b="1">
                <a:solidFill>
                  <a:schemeClr val="bg1"/>
                </a:solidFill>
              </a:rPr>
              <a:t>05 | PROJECT MANAGEMENT</a:t>
            </a:r>
          </a:p>
        </p:txBody>
      </p:sp>
      <p:sp>
        <p:nvSpPr>
          <p:cNvPr id="172" name="Oval 171">
            <a:hlinkClick r:id="rId15" action="ppaction://hlinksldjump"/>
            <a:extLst>
              <a:ext uri="{FF2B5EF4-FFF2-40B4-BE49-F238E27FC236}">
                <a16:creationId xmlns:a16="http://schemas.microsoft.com/office/drawing/2014/main" id="{6C174927-B408-825D-01B7-5984FF78C938}"/>
              </a:ext>
            </a:extLst>
          </p:cNvPr>
          <p:cNvSpPr/>
          <p:nvPr/>
        </p:nvSpPr>
        <p:spPr>
          <a:xfrm>
            <a:off x="4453467" y="2223271"/>
            <a:ext cx="716908" cy="720139"/>
          </a:xfrm>
          <a:prstGeom prst="ellipse">
            <a:avLst/>
          </a:prstGeom>
          <a:solidFill>
            <a:schemeClr val="tx2"/>
          </a:solidFill>
          <a:ln>
            <a:solidFill>
              <a:schemeClr val="bg1"/>
            </a:solidFill>
          </a:ln>
          <a:effectLst>
            <a:outerShdw blurRad="50800" dist="38100" dir="2700000" algn="tl" rotWithShape="0">
              <a:prstClr val="black">
                <a:alpha val="40000"/>
              </a:prstClr>
            </a:outerShdw>
          </a:effectLst>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BR"/>
          </a:p>
        </p:txBody>
      </p:sp>
      <p:pic>
        <p:nvPicPr>
          <p:cNvPr id="184" name="Graphic 183" descr="Meeting with solid fill">
            <a:hlinkClick r:id="rId15" action="ppaction://hlinksldjump"/>
            <a:extLst>
              <a:ext uri="{FF2B5EF4-FFF2-40B4-BE49-F238E27FC236}">
                <a16:creationId xmlns:a16="http://schemas.microsoft.com/office/drawing/2014/main" id="{F1847846-E347-4ED4-0902-0F44B8B729F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593824" y="2347469"/>
            <a:ext cx="457200" cy="457200"/>
          </a:xfrm>
          <a:prstGeom prst="rect">
            <a:avLst/>
          </a:prstGeom>
        </p:spPr>
      </p:pic>
      <p:sp>
        <p:nvSpPr>
          <p:cNvPr id="145" name="TextBox 144">
            <a:hlinkClick r:id="rId18" action="ppaction://hlinksldjump"/>
            <a:extLst>
              <a:ext uri="{FF2B5EF4-FFF2-40B4-BE49-F238E27FC236}">
                <a16:creationId xmlns:a16="http://schemas.microsoft.com/office/drawing/2014/main" id="{D5A56F9B-C5A9-579A-AB6F-64A5656F4D50}"/>
              </a:ext>
            </a:extLst>
          </p:cNvPr>
          <p:cNvSpPr txBox="1"/>
          <p:nvPr/>
        </p:nvSpPr>
        <p:spPr>
          <a:xfrm>
            <a:off x="5170375" y="4429232"/>
            <a:ext cx="2954722" cy="369332"/>
          </a:xfrm>
          <a:prstGeom prst="rect">
            <a:avLst/>
          </a:prstGeom>
          <a:noFill/>
        </p:spPr>
        <p:txBody>
          <a:bodyPr wrap="square" rtlCol="0">
            <a:spAutoFit/>
          </a:bodyPr>
          <a:lstStyle/>
          <a:p>
            <a:r>
              <a:rPr lang="en-BR" b="1">
                <a:solidFill>
                  <a:schemeClr val="bg1"/>
                </a:solidFill>
              </a:rPr>
              <a:t>07 | </a:t>
            </a:r>
            <a:r>
              <a:rPr lang="pt-BR" b="1">
                <a:solidFill>
                  <a:schemeClr val="bg1"/>
                </a:solidFill>
              </a:rPr>
              <a:t>KICK OFF MEETING</a:t>
            </a:r>
            <a:endParaRPr lang="en-BR" b="1">
              <a:solidFill>
                <a:schemeClr val="bg1"/>
              </a:solidFill>
            </a:endParaRPr>
          </a:p>
        </p:txBody>
      </p:sp>
      <p:sp>
        <p:nvSpPr>
          <p:cNvPr id="170" name="Oval 169">
            <a:hlinkClick r:id="rId18" action="ppaction://hlinksldjump"/>
            <a:extLst>
              <a:ext uri="{FF2B5EF4-FFF2-40B4-BE49-F238E27FC236}">
                <a16:creationId xmlns:a16="http://schemas.microsoft.com/office/drawing/2014/main" id="{716CF54B-EF89-6AA7-5F36-686147C06576}"/>
              </a:ext>
            </a:extLst>
          </p:cNvPr>
          <p:cNvSpPr/>
          <p:nvPr/>
        </p:nvSpPr>
        <p:spPr>
          <a:xfrm>
            <a:off x="4453467" y="4256459"/>
            <a:ext cx="716908" cy="720139"/>
          </a:xfrm>
          <a:prstGeom prst="ellipse">
            <a:avLst/>
          </a:prstGeom>
          <a:solidFill>
            <a:schemeClr val="tx2"/>
          </a:solidFill>
          <a:ln>
            <a:solidFill>
              <a:schemeClr val="bg1"/>
            </a:solidFill>
          </a:ln>
          <a:effectLst>
            <a:outerShdw blurRad="50800" dist="38100" dir="2700000" algn="tl" rotWithShape="0">
              <a:prstClr val="black">
                <a:alpha val="40000"/>
              </a:prstClr>
            </a:outerShdw>
          </a:effectLst>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BR"/>
          </a:p>
        </p:txBody>
      </p:sp>
      <p:pic>
        <p:nvPicPr>
          <p:cNvPr id="16" name="Graphic 15" descr="Board Of Directors with solid fill">
            <a:hlinkClick r:id="rId11" action="ppaction://hlinksldjump"/>
            <a:extLst>
              <a:ext uri="{FF2B5EF4-FFF2-40B4-BE49-F238E27FC236}">
                <a16:creationId xmlns:a16="http://schemas.microsoft.com/office/drawing/2014/main" id="{8E84036F-7429-3D9E-B1C8-8F7059236E7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565989" y="3350059"/>
            <a:ext cx="491865" cy="491865"/>
          </a:xfrm>
          <a:prstGeom prst="rect">
            <a:avLst/>
          </a:prstGeom>
        </p:spPr>
      </p:pic>
      <p:pic>
        <p:nvPicPr>
          <p:cNvPr id="18" name="Graphic 17" descr="Race Flag with solid fill">
            <a:hlinkClick r:id="rId18" action="ppaction://hlinksldjump"/>
            <a:extLst>
              <a:ext uri="{FF2B5EF4-FFF2-40B4-BE49-F238E27FC236}">
                <a16:creationId xmlns:a16="http://schemas.microsoft.com/office/drawing/2014/main" id="{5848EC37-0582-7A69-D913-524E7DF118B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514343" y="4328767"/>
            <a:ext cx="595156" cy="595156"/>
          </a:xfrm>
          <a:prstGeom prst="rect">
            <a:avLst/>
          </a:prstGeom>
        </p:spPr>
      </p:pic>
    </p:spTree>
    <p:extLst>
      <p:ext uri="{BB962C8B-B14F-4D97-AF65-F5344CB8AC3E}">
        <p14:creationId xmlns:p14="http://schemas.microsoft.com/office/powerpoint/2010/main" val="1750920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0604E-B2EF-ECC8-12D9-84F5CA917796}"/>
              </a:ext>
            </a:extLst>
          </p:cNvPr>
          <p:cNvSpPr>
            <a:spLocks noGrp="1"/>
          </p:cNvSpPr>
          <p:nvPr>
            <p:ph type="title"/>
          </p:nvPr>
        </p:nvSpPr>
        <p:spPr/>
        <p:txBody>
          <a:bodyPr/>
          <a:lstStyle/>
          <a:p>
            <a:r>
              <a:rPr lang="en-BR"/>
              <a:t>03 | Data Display Slides</a:t>
            </a:r>
          </a:p>
        </p:txBody>
      </p:sp>
      <p:sp>
        <p:nvSpPr>
          <p:cNvPr id="3" name="TextBox 2">
            <a:extLst>
              <a:ext uri="{FF2B5EF4-FFF2-40B4-BE49-F238E27FC236}">
                <a16:creationId xmlns:a16="http://schemas.microsoft.com/office/drawing/2014/main" id="{8F94E9E8-19EB-2FAB-A8FD-34387D4FE7FC}"/>
              </a:ext>
            </a:extLst>
          </p:cNvPr>
          <p:cNvSpPr txBox="1"/>
          <p:nvPr/>
        </p:nvSpPr>
        <p:spPr>
          <a:xfrm>
            <a:off x="388771" y="3840918"/>
            <a:ext cx="2131289" cy="584775"/>
          </a:xfrm>
          <a:prstGeom prst="rect">
            <a:avLst/>
          </a:prstGeom>
          <a:noFill/>
        </p:spPr>
        <p:txBody>
          <a:bodyPr wrap="none" rtlCol="0">
            <a:spAutoFit/>
          </a:bodyPr>
          <a:lstStyle/>
          <a:p>
            <a:r>
              <a:rPr lang="en-US" sz="3200" b="1">
                <a:solidFill>
                  <a:schemeClr val="accent1">
                    <a:lumMod val="20000"/>
                    <a:lumOff val="80000"/>
                  </a:schemeClr>
                </a:solidFill>
                <a:latin typeface="Segoe UI" panose="020B0502040204020203" pitchFamily="34" charset="0"/>
                <a:cs typeface="Segoe UI" panose="020B0502040204020203" pitchFamily="34" charset="0"/>
              </a:rPr>
              <a:t>Pie Charts</a:t>
            </a:r>
            <a:endParaRPr lang="en-BR" sz="3200" b="1">
              <a:solidFill>
                <a:schemeClr val="accent1">
                  <a:lumMod val="20000"/>
                  <a:lumOff val="80000"/>
                </a:schemeClr>
              </a:solidFill>
              <a:latin typeface="Segoe UI" panose="020B0502040204020203" pitchFamily="34" charset="0"/>
              <a:cs typeface="Segoe UI" panose="020B0502040204020203" pitchFamily="34" charset="0"/>
            </a:endParaRPr>
          </a:p>
        </p:txBody>
      </p:sp>
      <p:sp>
        <p:nvSpPr>
          <p:cNvPr id="4" name="Footer Placeholder 3">
            <a:extLst>
              <a:ext uri="{FF2B5EF4-FFF2-40B4-BE49-F238E27FC236}">
                <a16:creationId xmlns:a16="http://schemas.microsoft.com/office/drawing/2014/main" id="{B492A74D-7731-B2E5-BE2C-F743253DA8F3}"/>
              </a:ext>
            </a:extLst>
          </p:cNvPr>
          <p:cNvSpPr>
            <a:spLocks noGrp="1"/>
          </p:cNvSpPr>
          <p:nvPr>
            <p:ph type="ftr" sz="quarter" idx="11"/>
          </p:nvPr>
        </p:nvSpPr>
        <p:spPr/>
        <p:txBody>
          <a:bodyPr/>
          <a:lstStyle/>
          <a:p>
            <a:r>
              <a:rPr lang="en-US"/>
              <a:t>© 2024 Mobiz. All rights reserved</a:t>
            </a:r>
            <a:endParaRPr lang="en-BR"/>
          </a:p>
        </p:txBody>
      </p:sp>
      <p:sp>
        <p:nvSpPr>
          <p:cNvPr id="5" name="Slide Number Placeholder 4">
            <a:extLst>
              <a:ext uri="{FF2B5EF4-FFF2-40B4-BE49-F238E27FC236}">
                <a16:creationId xmlns:a16="http://schemas.microsoft.com/office/drawing/2014/main" id="{B1B16DF5-3DAB-614B-9BCE-9E0D78075519}"/>
              </a:ext>
            </a:extLst>
          </p:cNvPr>
          <p:cNvSpPr>
            <a:spLocks noGrp="1"/>
          </p:cNvSpPr>
          <p:nvPr>
            <p:ph type="sldNum" sz="quarter" idx="12"/>
          </p:nvPr>
        </p:nvSpPr>
        <p:spPr/>
        <p:txBody>
          <a:bodyPr/>
          <a:lstStyle/>
          <a:p>
            <a:fld id="{A8DDC45B-7265-3747-B738-ED29642119D9}" type="slidenum">
              <a:rPr lang="en-BR" smtClean="0"/>
              <a:pPr/>
              <a:t>20</a:t>
            </a:fld>
            <a:endParaRPr lang="en-BR"/>
          </a:p>
        </p:txBody>
      </p:sp>
      <p:sp>
        <p:nvSpPr>
          <p:cNvPr id="9" name="TextBox 8">
            <a:hlinkClick r:id="rId2" action="ppaction://hlinksldjump"/>
            <a:extLst>
              <a:ext uri="{FF2B5EF4-FFF2-40B4-BE49-F238E27FC236}">
                <a16:creationId xmlns:a16="http://schemas.microsoft.com/office/drawing/2014/main" id="{011E1E29-7D6C-588C-96BB-0FBEDE02644A}"/>
              </a:ext>
            </a:extLst>
          </p:cNvPr>
          <p:cNvSpPr txBox="1"/>
          <p:nvPr/>
        </p:nvSpPr>
        <p:spPr>
          <a:xfrm>
            <a:off x="391754" y="780820"/>
            <a:ext cx="543739" cy="246221"/>
          </a:xfrm>
          <a:prstGeom prst="rect">
            <a:avLst/>
          </a:prstGeom>
          <a:noFill/>
        </p:spPr>
        <p:txBody>
          <a:bodyPr wrap="none" rtlCol="0">
            <a:spAutoFit/>
          </a:bodyPr>
          <a:lstStyle/>
          <a:p>
            <a:r>
              <a:rPr lang="en-BR" sz="1000">
                <a:solidFill>
                  <a:schemeClr val="accent3">
                    <a:lumMod val="60000"/>
                    <a:lumOff val="40000"/>
                  </a:schemeClr>
                </a:solidFill>
                <a:latin typeface="Segoe UI" panose="020B0502040204020203" pitchFamily="34" charset="0"/>
                <a:cs typeface="Segoe UI" panose="020B0502040204020203" pitchFamily="34" charset="0"/>
              </a:rPr>
              <a:t>INDEX</a:t>
            </a:r>
          </a:p>
        </p:txBody>
      </p:sp>
      <p:pic>
        <p:nvPicPr>
          <p:cNvPr id="10" name="Graphic 9" descr="Home with solid fill">
            <a:hlinkClick r:id="rId2" action="ppaction://hlinksldjump"/>
            <a:extLst>
              <a:ext uri="{FF2B5EF4-FFF2-40B4-BE49-F238E27FC236}">
                <a16:creationId xmlns:a16="http://schemas.microsoft.com/office/drawing/2014/main" id="{9052B9C4-11F3-976E-FA31-5FF8BDAC952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1754" y="317458"/>
            <a:ext cx="543739" cy="543739"/>
          </a:xfrm>
          <a:prstGeom prst="rect">
            <a:avLst/>
          </a:prstGeom>
        </p:spPr>
      </p:pic>
    </p:spTree>
    <p:extLst>
      <p:ext uri="{BB962C8B-B14F-4D97-AF65-F5344CB8AC3E}">
        <p14:creationId xmlns:p14="http://schemas.microsoft.com/office/powerpoint/2010/main" val="24822332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48162-0C84-849D-91BD-E2EC82B9685C}"/>
              </a:ext>
            </a:extLst>
          </p:cNvPr>
          <p:cNvSpPr>
            <a:spLocks noGrp="1"/>
          </p:cNvSpPr>
          <p:nvPr>
            <p:ph type="title"/>
          </p:nvPr>
        </p:nvSpPr>
        <p:spPr/>
        <p:txBody>
          <a:bodyPr/>
          <a:lstStyle/>
          <a:p>
            <a:r>
              <a:rPr lang="en-BR"/>
              <a:t>Data Display Slide</a:t>
            </a:r>
          </a:p>
        </p:txBody>
      </p:sp>
      <p:sp>
        <p:nvSpPr>
          <p:cNvPr id="3" name="Text Placeholder 2">
            <a:extLst>
              <a:ext uri="{FF2B5EF4-FFF2-40B4-BE49-F238E27FC236}">
                <a16:creationId xmlns:a16="http://schemas.microsoft.com/office/drawing/2014/main" id="{B5556A65-8BE7-6AAB-E8AD-63DF7B9F599E}"/>
              </a:ext>
            </a:extLst>
          </p:cNvPr>
          <p:cNvSpPr>
            <a:spLocks noGrp="1"/>
          </p:cNvSpPr>
          <p:nvPr>
            <p:ph type="body" sz="quarter" idx="13"/>
          </p:nvPr>
        </p:nvSpPr>
        <p:spPr/>
        <p:txBody>
          <a:bodyPr/>
          <a:lstStyle/>
          <a:p>
            <a:r>
              <a:rPr lang="en-US"/>
              <a:t>Pie chart for displaying data</a:t>
            </a:r>
          </a:p>
        </p:txBody>
      </p:sp>
      <p:graphicFrame>
        <p:nvGraphicFramePr>
          <p:cNvPr id="4" name="Chart 3">
            <a:extLst>
              <a:ext uri="{FF2B5EF4-FFF2-40B4-BE49-F238E27FC236}">
                <a16:creationId xmlns:a16="http://schemas.microsoft.com/office/drawing/2014/main" id="{EAD92EB6-5D36-426C-2830-AC88A0D95A5F}"/>
              </a:ext>
            </a:extLst>
          </p:cNvPr>
          <p:cNvGraphicFramePr/>
          <p:nvPr>
            <p:extLst>
              <p:ext uri="{D42A27DB-BD31-4B8C-83A1-F6EECF244321}">
                <p14:modId xmlns:p14="http://schemas.microsoft.com/office/powerpoint/2010/main" val="3291178542"/>
              </p:ext>
            </p:extLst>
          </p:nvPr>
        </p:nvGraphicFramePr>
        <p:xfrm>
          <a:off x="3215481" y="2145793"/>
          <a:ext cx="5761038" cy="3723016"/>
        </p:xfrm>
        <a:graphic>
          <a:graphicData uri="http://schemas.openxmlformats.org/drawingml/2006/chart">
            <c:chart xmlns:c="http://schemas.openxmlformats.org/drawingml/2006/chart" xmlns:r="http://schemas.openxmlformats.org/officeDocument/2006/relationships" r:id="rId2"/>
          </a:graphicData>
        </a:graphic>
      </p:graphicFrame>
      <p:sp>
        <p:nvSpPr>
          <p:cNvPr id="5" name="Footer Placeholder 4">
            <a:extLst>
              <a:ext uri="{FF2B5EF4-FFF2-40B4-BE49-F238E27FC236}">
                <a16:creationId xmlns:a16="http://schemas.microsoft.com/office/drawing/2014/main" id="{46B7DF6C-8E70-332D-EBF2-D8D5559B2487}"/>
              </a:ext>
            </a:extLst>
          </p:cNvPr>
          <p:cNvSpPr>
            <a:spLocks noGrp="1"/>
          </p:cNvSpPr>
          <p:nvPr>
            <p:ph type="ftr" sz="quarter" idx="11"/>
          </p:nvPr>
        </p:nvSpPr>
        <p:spPr/>
        <p:txBody>
          <a:bodyPr/>
          <a:lstStyle/>
          <a:p>
            <a:r>
              <a:rPr lang="en-US"/>
              <a:t>© 2024 Mobiz. All rights reserved</a:t>
            </a:r>
            <a:endParaRPr lang="en-BR"/>
          </a:p>
        </p:txBody>
      </p:sp>
      <p:sp>
        <p:nvSpPr>
          <p:cNvPr id="6" name="Slide Number Placeholder 5">
            <a:extLst>
              <a:ext uri="{FF2B5EF4-FFF2-40B4-BE49-F238E27FC236}">
                <a16:creationId xmlns:a16="http://schemas.microsoft.com/office/drawing/2014/main" id="{120B8C30-73D1-E48A-128F-5383266A3778}"/>
              </a:ext>
            </a:extLst>
          </p:cNvPr>
          <p:cNvSpPr>
            <a:spLocks noGrp="1"/>
          </p:cNvSpPr>
          <p:nvPr>
            <p:ph type="sldNum" sz="quarter" idx="12"/>
          </p:nvPr>
        </p:nvSpPr>
        <p:spPr/>
        <p:txBody>
          <a:bodyPr/>
          <a:lstStyle/>
          <a:p>
            <a:fld id="{A8DDC45B-7265-3747-B738-ED29642119D9}" type="slidenum">
              <a:rPr lang="en-BR" smtClean="0"/>
              <a:pPr/>
              <a:t>21</a:t>
            </a:fld>
            <a:endParaRPr lang="en-BR"/>
          </a:p>
        </p:txBody>
      </p:sp>
    </p:spTree>
    <p:extLst>
      <p:ext uri="{BB962C8B-B14F-4D97-AF65-F5344CB8AC3E}">
        <p14:creationId xmlns:p14="http://schemas.microsoft.com/office/powerpoint/2010/main" val="17820955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6F54C-AB1A-3BA7-14D6-E327632240BC}"/>
              </a:ext>
            </a:extLst>
          </p:cNvPr>
          <p:cNvSpPr>
            <a:spLocks noGrp="1"/>
          </p:cNvSpPr>
          <p:nvPr>
            <p:ph type="title"/>
          </p:nvPr>
        </p:nvSpPr>
        <p:spPr/>
        <p:txBody>
          <a:bodyPr/>
          <a:lstStyle/>
          <a:p>
            <a:r>
              <a:rPr lang="en-BR"/>
              <a:t>Data Display Slide</a:t>
            </a:r>
          </a:p>
        </p:txBody>
      </p:sp>
      <p:sp>
        <p:nvSpPr>
          <p:cNvPr id="3" name="Text Placeholder 2">
            <a:extLst>
              <a:ext uri="{FF2B5EF4-FFF2-40B4-BE49-F238E27FC236}">
                <a16:creationId xmlns:a16="http://schemas.microsoft.com/office/drawing/2014/main" id="{AAD8BCF8-F487-DC26-3F46-4E5EB9E03863}"/>
              </a:ext>
            </a:extLst>
          </p:cNvPr>
          <p:cNvSpPr>
            <a:spLocks noGrp="1"/>
          </p:cNvSpPr>
          <p:nvPr>
            <p:ph type="body" sz="quarter" idx="13"/>
          </p:nvPr>
        </p:nvSpPr>
        <p:spPr/>
        <p:txBody>
          <a:bodyPr/>
          <a:lstStyle/>
          <a:p>
            <a:r>
              <a:rPr lang="en-US"/>
              <a:t>Doughnut Chart</a:t>
            </a:r>
            <a:endParaRPr lang="en-BR"/>
          </a:p>
        </p:txBody>
      </p:sp>
      <p:graphicFrame>
        <p:nvGraphicFramePr>
          <p:cNvPr id="4" name="Object 3">
            <a:extLst>
              <a:ext uri="{FF2B5EF4-FFF2-40B4-BE49-F238E27FC236}">
                <a16:creationId xmlns:a16="http://schemas.microsoft.com/office/drawing/2014/main" id="{648FBE8B-98A5-5A68-CFF4-F3C17F10F501}"/>
              </a:ext>
            </a:extLst>
          </p:cNvPr>
          <p:cNvGraphicFramePr>
            <a:graphicFrameLocks/>
          </p:cNvGraphicFramePr>
          <p:nvPr>
            <p:custDataLst>
              <p:tags r:id="rId1"/>
            </p:custDataLst>
            <p:extLst>
              <p:ext uri="{D42A27DB-BD31-4B8C-83A1-F6EECF244321}">
                <p14:modId xmlns:p14="http://schemas.microsoft.com/office/powerpoint/2010/main" val="1623085115"/>
              </p:ext>
            </p:extLst>
          </p:nvPr>
        </p:nvGraphicFramePr>
        <p:xfrm>
          <a:off x="344488" y="1654173"/>
          <a:ext cx="11510962" cy="4838701"/>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Straight Connector 4">
            <a:extLst>
              <a:ext uri="{FF2B5EF4-FFF2-40B4-BE49-F238E27FC236}">
                <a16:creationId xmlns:a16="http://schemas.microsoft.com/office/drawing/2014/main" id="{AD108EC2-FEDF-B1AA-D963-B151431B49F5}"/>
              </a:ext>
            </a:extLst>
          </p:cNvPr>
          <p:cNvCxnSpPr/>
          <p:nvPr/>
        </p:nvCxnSpPr>
        <p:spPr>
          <a:xfrm flipH="1">
            <a:off x="2566465" y="3499185"/>
            <a:ext cx="2196000"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638BE68-1D4E-5682-1494-F805259A3E46}"/>
              </a:ext>
            </a:extLst>
          </p:cNvPr>
          <p:cNvCxnSpPr/>
          <p:nvPr/>
        </p:nvCxnSpPr>
        <p:spPr>
          <a:xfrm flipH="1">
            <a:off x="2566465" y="4977790"/>
            <a:ext cx="21960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09CAFF3-A083-C34E-266D-33B2883C1EF3}"/>
              </a:ext>
            </a:extLst>
          </p:cNvPr>
          <p:cNvCxnSpPr/>
          <p:nvPr/>
        </p:nvCxnSpPr>
        <p:spPr>
          <a:xfrm flipH="1">
            <a:off x="2566465" y="2448598"/>
            <a:ext cx="3095033"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1FCB08E-C07E-3A64-95AE-9CE4949A0AD9}"/>
              </a:ext>
            </a:extLst>
          </p:cNvPr>
          <p:cNvCxnSpPr/>
          <p:nvPr/>
        </p:nvCxnSpPr>
        <p:spPr>
          <a:xfrm flipH="1">
            <a:off x="7410450" y="4170394"/>
            <a:ext cx="2196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7D2D911B-61BA-F8EA-ACE3-5955E4915646}"/>
              </a:ext>
            </a:extLst>
          </p:cNvPr>
          <p:cNvSpPr>
            <a:spLocks noGrp="1"/>
          </p:cNvSpPr>
          <p:nvPr>
            <p:ph type="ftr" sz="quarter" idx="11"/>
          </p:nvPr>
        </p:nvSpPr>
        <p:spPr/>
        <p:txBody>
          <a:bodyPr/>
          <a:lstStyle/>
          <a:p>
            <a:r>
              <a:rPr lang="en-US"/>
              <a:t>© 2024 Mobiz. All rights reserved</a:t>
            </a:r>
            <a:endParaRPr lang="en-BR"/>
          </a:p>
        </p:txBody>
      </p:sp>
      <p:sp>
        <p:nvSpPr>
          <p:cNvPr id="10" name="Slide Number Placeholder 9">
            <a:extLst>
              <a:ext uri="{FF2B5EF4-FFF2-40B4-BE49-F238E27FC236}">
                <a16:creationId xmlns:a16="http://schemas.microsoft.com/office/drawing/2014/main" id="{50EE27F9-C509-6561-44D5-5AC4852E873E}"/>
              </a:ext>
            </a:extLst>
          </p:cNvPr>
          <p:cNvSpPr>
            <a:spLocks noGrp="1"/>
          </p:cNvSpPr>
          <p:nvPr>
            <p:ph type="sldNum" sz="quarter" idx="12"/>
          </p:nvPr>
        </p:nvSpPr>
        <p:spPr/>
        <p:txBody>
          <a:bodyPr/>
          <a:lstStyle/>
          <a:p>
            <a:fld id="{A8DDC45B-7265-3747-B738-ED29642119D9}" type="slidenum">
              <a:rPr lang="en-BR" smtClean="0"/>
              <a:pPr/>
              <a:t>22</a:t>
            </a:fld>
            <a:endParaRPr lang="en-BR"/>
          </a:p>
        </p:txBody>
      </p:sp>
    </p:spTree>
    <p:extLst>
      <p:ext uri="{BB962C8B-B14F-4D97-AF65-F5344CB8AC3E}">
        <p14:creationId xmlns:p14="http://schemas.microsoft.com/office/powerpoint/2010/main" val="27743843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EA0760-4266-CEF3-429F-E4669BE139E8}"/>
              </a:ext>
            </a:extLst>
          </p:cNvPr>
          <p:cNvSpPr>
            <a:spLocks noGrp="1"/>
          </p:cNvSpPr>
          <p:nvPr>
            <p:ph type="title"/>
          </p:nvPr>
        </p:nvSpPr>
        <p:spPr/>
        <p:txBody>
          <a:bodyPr/>
          <a:lstStyle/>
          <a:p>
            <a:r>
              <a:rPr lang="en-BR"/>
              <a:t>Data Display Slide</a:t>
            </a:r>
          </a:p>
        </p:txBody>
      </p:sp>
      <p:sp>
        <p:nvSpPr>
          <p:cNvPr id="3" name="Text Placeholder 2">
            <a:extLst>
              <a:ext uri="{FF2B5EF4-FFF2-40B4-BE49-F238E27FC236}">
                <a16:creationId xmlns:a16="http://schemas.microsoft.com/office/drawing/2014/main" id="{C789F809-A6EF-43B9-044C-1A233895BFCC}"/>
              </a:ext>
            </a:extLst>
          </p:cNvPr>
          <p:cNvSpPr>
            <a:spLocks noGrp="1"/>
          </p:cNvSpPr>
          <p:nvPr>
            <p:ph type="body" sz="quarter" idx="13"/>
          </p:nvPr>
        </p:nvSpPr>
        <p:spPr/>
        <p:txBody>
          <a:bodyPr/>
          <a:lstStyle/>
          <a:p>
            <a:r>
              <a:rPr lang="en-US"/>
              <a:t>Combined Pie Charts</a:t>
            </a:r>
            <a:endParaRPr lang="en-BR"/>
          </a:p>
        </p:txBody>
      </p:sp>
      <p:graphicFrame>
        <p:nvGraphicFramePr>
          <p:cNvPr id="4" name="Object 2">
            <a:extLst>
              <a:ext uri="{FF2B5EF4-FFF2-40B4-BE49-F238E27FC236}">
                <a16:creationId xmlns:a16="http://schemas.microsoft.com/office/drawing/2014/main" id="{291145B0-89FD-4882-9115-D8E2CCDA1D38}"/>
              </a:ext>
            </a:extLst>
          </p:cNvPr>
          <p:cNvGraphicFramePr>
            <a:graphicFrameLocks/>
          </p:cNvGraphicFramePr>
          <p:nvPr>
            <p:extLst>
              <p:ext uri="{D42A27DB-BD31-4B8C-83A1-F6EECF244321}">
                <p14:modId xmlns:p14="http://schemas.microsoft.com/office/powerpoint/2010/main" val="3315995417"/>
              </p:ext>
            </p:extLst>
          </p:nvPr>
        </p:nvGraphicFramePr>
        <p:xfrm>
          <a:off x="3271733" y="2031207"/>
          <a:ext cx="5648534" cy="4113154"/>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Box 5">
            <a:extLst>
              <a:ext uri="{FF2B5EF4-FFF2-40B4-BE49-F238E27FC236}">
                <a16:creationId xmlns:a16="http://schemas.microsoft.com/office/drawing/2014/main" id="{CA852BCA-B94E-F0EF-C0C7-57A0C45EDA5A}"/>
              </a:ext>
            </a:extLst>
          </p:cNvPr>
          <p:cNvSpPr txBox="1">
            <a:spLocks noChangeArrowheads="1"/>
          </p:cNvSpPr>
          <p:nvPr/>
        </p:nvSpPr>
        <p:spPr bwMode="auto">
          <a:xfrm flipH="1">
            <a:off x="10135099" y="2277326"/>
            <a:ext cx="918054" cy="215444"/>
          </a:xfrm>
          <a:prstGeom prst="rect">
            <a:avLst/>
          </a:prstGeom>
          <a:noFill/>
          <a:ln w="6350">
            <a:noFill/>
            <a:miter lim="800000"/>
            <a:headEnd/>
            <a:tailEnd/>
          </a:ln>
          <a:effectLst/>
        </p:spPr>
        <p:txBody>
          <a:bodyPr wrap="none" lIns="72000" tIns="0" rIns="72000" bIns="0">
            <a:spAutoFit/>
          </a:bodyPr>
          <a:lstStyle/>
          <a:p>
            <a:pPr algn="l" eaLnBrk="0" hangingPunct="0">
              <a:spcBef>
                <a:spcPct val="50000"/>
              </a:spcBef>
            </a:pPr>
            <a:r>
              <a:rPr lang="en-US" sz="1400" b="1" cap="all">
                <a:solidFill>
                  <a:schemeClr val="tx1"/>
                </a:solidFill>
                <a:latin typeface="Segoe UI" panose="020B0502040204020203" pitchFamily="34" charset="0"/>
                <a:cs typeface="Segoe UI" panose="020B0502040204020203" pitchFamily="34" charset="0"/>
              </a:rPr>
              <a:t>Graph 1</a:t>
            </a:r>
          </a:p>
        </p:txBody>
      </p:sp>
      <p:sp>
        <p:nvSpPr>
          <p:cNvPr id="6" name="Text Box 6">
            <a:extLst>
              <a:ext uri="{FF2B5EF4-FFF2-40B4-BE49-F238E27FC236}">
                <a16:creationId xmlns:a16="http://schemas.microsoft.com/office/drawing/2014/main" id="{6309B5D8-38D2-0E1A-BDD4-542DD8815AD0}"/>
              </a:ext>
            </a:extLst>
          </p:cNvPr>
          <p:cNvSpPr txBox="1">
            <a:spLocks noChangeArrowheads="1"/>
          </p:cNvSpPr>
          <p:nvPr/>
        </p:nvSpPr>
        <p:spPr bwMode="auto">
          <a:xfrm flipH="1">
            <a:off x="10135099" y="2919844"/>
            <a:ext cx="918054" cy="215444"/>
          </a:xfrm>
          <a:prstGeom prst="rect">
            <a:avLst/>
          </a:prstGeom>
          <a:noFill/>
          <a:ln w="6350">
            <a:noFill/>
            <a:miter lim="800000"/>
            <a:headEnd/>
            <a:tailEnd/>
          </a:ln>
          <a:effectLst/>
        </p:spPr>
        <p:txBody>
          <a:bodyPr wrap="none" lIns="72000" tIns="0" rIns="72000" bIns="0">
            <a:spAutoFit/>
          </a:bodyPr>
          <a:lstStyle/>
          <a:p>
            <a:pPr algn="l" eaLnBrk="0" hangingPunct="0">
              <a:spcBef>
                <a:spcPct val="50000"/>
              </a:spcBef>
            </a:pPr>
            <a:r>
              <a:rPr lang="en-US" sz="1400" b="1" cap="all">
                <a:solidFill>
                  <a:schemeClr val="tx1"/>
                </a:solidFill>
                <a:latin typeface="Segoe UI" panose="020B0502040204020203" pitchFamily="34" charset="0"/>
                <a:cs typeface="Segoe UI" panose="020B0502040204020203" pitchFamily="34" charset="0"/>
              </a:rPr>
              <a:t>Graph 2</a:t>
            </a:r>
          </a:p>
        </p:txBody>
      </p:sp>
      <p:sp>
        <p:nvSpPr>
          <p:cNvPr id="7" name="Text Box 7">
            <a:extLst>
              <a:ext uri="{FF2B5EF4-FFF2-40B4-BE49-F238E27FC236}">
                <a16:creationId xmlns:a16="http://schemas.microsoft.com/office/drawing/2014/main" id="{923B7AF6-6BCC-847C-724B-00083B00EAE1}"/>
              </a:ext>
            </a:extLst>
          </p:cNvPr>
          <p:cNvSpPr txBox="1">
            <a:spLocks noChangeArrowheads="1"/>
          </p:cNvSpPr>
          <p:nvPr/>
        </p:nvSpPr>
        <p:spPr bwMode="auto">
          <a:xfrm flipH="1">
            <a:off x="10135098" y="3574572"/>
            <a:ext cx="918054" cy="215444"/>
          </a:xfrm>
          <a:prstGeom prst="rect">
            <a:avLst/>
          </a:prstGeom>
          <a:noFill/>
          <a:ln w="6350">
            <a:noFill/>
            <a:miter lim="800000"/>
            <a:headEnd/>
            <a:tailEnd/>
          </a:ln>
          <a:effectLst/>
        </p:spPr>
        <p:txBody>
          <a:bodyPr wrap="none" lIns="72000" tIns="0" rIns="72000" bIns="0">
            <a:spAutoFit/>
          </a:bodyPr>
          <a:lstStyle/>
          <a:p>
            <a:pPr algn="l" eaLnBrk="0" hangingPunct="0">
              <a:spcBef>
                <a:spcPct val="50000"/>
              </a:spcBef>
            </a:pPr>
            <a:r>
              <a:rPr lang="en-US" sz="1400" b="1" cap="all">
                <a:solidFill>
                  <a:schemeClr val="tx1"/>
                </a:solidFill>
                <a:latin typeface="Segoe UI" panose="020B0502040204020203" pitchFamily="34" charset="0"/>
                <a:cs typeface="Segoe UI" panose="020B0502040204020203" pitchFamily="34" charset="0"/>
              </a:rPr>
              <a:t>Graph 3</a:t>
            </a:r>
          </a:p>
        </p:txBody>
      </p:sp>
      <p:cxnSp>
        <p:nvCxnSpPr>
          <p:cNvPr id="8" name="Straight Connector 7">
            <a:extLst>
              <a:ext uri="{FF2B5EF4-FFF2-40B4-BE49-F238E27FC236}">
                <a16:creationId xmlns:a16="http://schemas.microsoft.com/office/drawing/2014/main" id="{A32CAD89-B68D-17B4-AADE-3929B14AC126}"/>
              </a:ext>
            </a:extLst>
          </p:cNvPr>
          <p:cNvCxnSpPr>
            <a:cxnSpLocks/>
          </p:cNvCxnSpPr>
          <p:nvPr/>
        </p:nvCxnSpPr>
        <p:spPr bwMode="auto">
          <a:xfrm>
            <a:off x="6415088" y="2369660"/>
            <a:ext cx="3539920"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EAE7384-C6F2-E496-2430-BDF1F05C7B4C}"/>
              </a:ext>
            </a:extLst>
          </p:cNvPr>
          <p:cNvCxnSpPr>
            <a:cxnSpLocks/>
          </p:cNvCxnSpPr>
          <p:nvPr/>
        </p:nvCxnSpPr>
        <p:spPr bwMode="auto">
          <a:xfrm>
            <a:off x="6096000" y="3012178"/>
            <a:ext cx="3859008"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7A0EB01-42E6-0412-53B3-E4AFD95B405D}"/>
              </a:ext>
            </a:extLst>
          </p:cNvPr>
          <p:cNvCxnSpPr/>
          <p:nvPr/>
        </p:nvCxnSpPr>
        <p:spPr bwMode="auto">
          <a:xfrm>
            <a:off x="5720005" y="3654696"/>
            <a:ext cx="4235003"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4" name="Footer Placeholder 13">
            <a:extLst>
              <a:ext uri="{FF2B5EF4-FFF2-40B4-BE49-F238E27FC236}">
                <a16:creationId xmlns:a16="http://schemas.microsoft.com/office/drawing/2014/main" id="{C9E813C7-6BF1-3DBB-DB06-9ABE59E50B77}"/>
              </a:ext>
            </a:extLst>
          </p:cNvPr>
          <p:cNvSpPr>
            <a:spLocks noGrp="1"/>
          </p:cNvSpPr>
          <p:nvPr>
            <p:ph type="ftr" sz="quarter" idx="11"/>
          </p:nvPr>
        </p:nvSpPr>
        <p:spPr/>
        <p:txBody>
          <a:bodyPr/>
          <a:lstStyle/>
          <a:p>
            <a:r>
              <a:rPr lang="en-US"/>
              <a:t>© 2024 Mobiz. All rights reserved</a:t>
            </a:r>
            <a:endParaRPr lang="en-BR"/>
          </a:p>
        </p:txBody>
      </p:sp>
      <p:sp>
        <p:nvSpPr>
          <p:cNvPr id="15" name="Slide Number Placeholder 14">
            <a:extLst>
              <a:ext uri="{FF2B5EF4-FFF2-40B4-BE49-F238E27FC236}">
                <a16:creationId xmlns:a16="http://schemas.microsoft.com/office/drawing/2014/main" id="{6CB10701-06F7-C0FE-BA10-19C9E0F90A32}"/>
              </a:ext>
            </a:extLst>
          </p:cNvPr>
          <p:cNvSpPr>
            <a:spLocks noGrp="1"/>
          </p:cNvSpPr>
          <p:nvPr>
            <p:ph type="sldNum" sz="quarter" idx="12"/>
          </p:nvPr>
        </p:nvSpPr>
        <p:spPr/>
        <p:txBody>
          <a:bodyPr/>
          <a:lstStyle/>
          <a:p>
            <a:fld id="{A8DDC45B-7265-3747-B738-ED29642119D9}" type="slidenum">
              <a:rPr lang="en-BR" smtClean="0"/>
              <a:pPr/>
              <a:t>23</a:t>
            </a:fld>
            <a:endParaRPr lang="en-BR"/>
          </a:p>
        </p:txBody>
      </p:sp>
    </p:spTree>
    <p:extLst>
      <p:ext uri="{BB962C8B-B14F-4D97-AF65-F5344CB8AC3E}">
        <p14:creationId xmlns:p14="http://schemas.microsoft.com/office/powerpoint/2010/main" val="8016698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71E22-C63B-AF68-72FC-FFC2F2E5563D}"/>
              </a:ext>
            </a:extLst>
          </p:cNvPr>
          <p:cNvSpPr>
            <a:spLocks noGrp="1"/>
          </p:cNvSpPr>
          <p:nvPr>
            <p:ph type="title"/>
          </p:nvPr>
        </p:nvSpPr>
        <p:spPr/>
        <p:txBody>
          <a:bodyPr/>
          <a:lstStyle/>
          <a:p>
            <a:r>
              <a:rPr lang="en-BR"/>
              <a:t>Data Display Slide</a:t>
            </a:r>
          </a:p>
        </p:txBody>
      </p:sp>
      <p:sp>
        <p:nvSpPr>
          <p:cNvPr id="3" name="Text Placeholder 2">
            <a:extLst>
              <a:ext uri="{FF2B5EF4-FFF2-40B4-BE49-F238E27FC236}">
                <a16:creationId xmlns:a16="http://schemas.microsoft.com/office/drawing/2014/main" id="{4DC56469-52B5-4E9A-503A-8B11981EE0AC}"/>
              </a:ext>
            </a:extLst>
          </p:cNvPr>
          <p:cNvSpPr>
            <a:spLocks noGrp="1"/>
          </p:cNvSpPr>
          <p:nvPr>
            <p:ph type="body" sz="quarter" idx="13"/>
          </p:nvPr>
        </p:nvSpPr>
        <p:spPr/>
        <p:txBody>
          <a:bodyPr/>
          <a:lstStyle/>
          <a:p>
            <a:r>
              <a:rPr lang="en-BR"/>
              <a:t>Multi layer chart</a:t>
            </a:r>
          </a:p>
        </p:txBody>
      </p:sp>
      <p:graphicFrame>
        <p:nvGraphicFramePr>
          <p:cNvPr id="6" name="Chart Placeholder 10">
            <a:extLst>
              <a:ext uri="{FF2B5EF4-FFF2-40B4-BE49-F238E27FC236}">
                <a16:creationId xmlns:a16="http://schemas.microsoft.com/office/drawing/2014/main" id="{B9099C96-0C84-D3F9-2A4F-44E7A87ACE79}"/>
              </a:ext>
            </a:extLst>
          </p:cNvPr>
          <p:cNvGraphicFramePr>
            <a:graphicFrameLocks/>
          </p:cNvGraphicFramePr>
          <p:nvPr>
            <p:extLst>
              <p:ext uri="{D42A27DB-BD31-4B8C-83A1-F6EECF244321}">
                <p14:modId xmlns:p14="http://schemas.microsoft.com/office/powerpoint/2010/main" val="815008528"/>
              </p:ext>
            </p:extLst>
          </p:nvPr>
        </p:nvGraphicFramePr>
        <p:xfrm>
          <a:off x="344488" y="1763713"/>
          <a:ext cx="11510962" cy="4294187"/>
        </p:xfrm>
        <a:graphic>
          <a:graphicData uri="http://schemas.openxmlformats.org/drawingml/2006/chart">
            <c:chart xmlns:c="http://schemas.openxmlformats.org/drawingml/2006/chart" xmlns:r="http://schemas.openxmlformats.org/officeDocument/2006/relationships" r:id="rId2"/>
          </a:graphicData>
        </a:graphic>
      </p:graphicFrame>
      <p:sp>
        <p:nvSpPr>
          <p:cNvPr id="8" name="Footer Placeholder 7">
            <a:extLst>
              <a:ext uri="{FF2B5EF4-FFF2-40B4-BE49-F238E27FC236}">
                <a16:creationId xmlns:a16="http://schemas.microsoft.com/office/drawing/2014/main" id="{943092E9-8641-1BB3-A11D-239278F62CBF}"/>
              </a:ext>
            </a:extLst>
          </p:cNvPr>
          <p:cNvSpPr>
            <a:spLocks noGrp="1"/>
          </p:cNvSpPr>
          <p:nvPr>
            <p:ph type="ftr" sz="quarter" idx="11"/>
          </p:nvPr>
        </p:nvSpPr>
        <p:spPr/>
        <p:txBody>
          <a:bodyPr/>
          <a:lstStyle/>
          <a:p>
            <a:r>
              <a:rPr lang="en-US"/>
              <a:t>© 2024 Mobiz. All rights reserved</a:t>
            </a:r>
            <a:endParaRPr lang="en-BR"/>
          </a:p>
        </p:txBody>
      </p:sp>
      <p:sp>
        <p:nvSpPr>
          <p:cNvPr id="9" name="Slide Number Placeholder 8">
            <a:extLst>
              <a:ext uri="{FF2B5EF4-FFF2-40B4-BE49-F238E27FC236}">
                <a16:creationId xmlns:a16="http://schemas.microsoft.com/office/drawing/2014/main" id="{1C009317-8CC4-9DCD-E868-F30A77FF4B2B}"/>
              </a:ext>
            </a:extLst>
          </p:cNvPr>
          <p:cNvSpPr>
            <a:spLocks noGrp="1"/>
          </p:cNvSpPr>
          <p:nvPr>
            <p:ph type="sldNum" sz="quarter" idx="12"/>
          </p:nvPr>
        </p:nvSpPr>
        <p:spPr/>
        <p:txBody>
          <a:bodyPr/>
          <a:lstStyle/>
          <a:p>
            <a:fld id="{A8DDC45B-7265-3747-B738-ED29642119D9}" type="slidenum">
              <a:rPr lang="en-BR" smtClean="0"/>
              <a:pPr/>
              <a:t>24</a:t>
            </a:fld>
            <a:endParaRPr lang="en-BR"/>
          </a:p>
        </p:txBody>
      </p:sp>
    </p:spTree>
    <p:extLst>
      <p:ext uri="{BB962C8B-B14F-4D97-AF65-F5344CB8AC3E}">
        <p14:creationId xmlns:p14="http://schemas.microsoft.com/office/powerpoint/2010/main" val="17007618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01EB3-9AD3-DD37-2C00-848A1D551AB2}"/>
              </a:ext>
            </a:extLst>
          </p:cNvPr>
          <p:cNvSpPr>
            <a:spLocks noGrp="1"/>
          </p:cNvSpPr>
          <p:nvPr>
            <p:ph type="title"/>
          </p:nvPr>
        </p:nvSpPr>
        <p:spPr/>
        <p:txBody>
          <a:bodyPr/>
          <a:lstStyle/>
          <a:p>
            <a:r>
              <a:rPr lang="en-BR"/>
              <a:t>Data Display Slide</a:t>
            </a:r>
          </a:p>
        </p:txBody>
      </p:sp>
      <p:sp>
        <p:nvSpPr>
          <p:cNvPr id="3" name="Footer Placeholder 2">
            <a:extLst>
              <a:ext uri="{FF2B5EF4-FFF2-40B4-BE49-F238E27FC236}">
                <a16:creationId xmlns:a16="http://schemas.microsoft.com/office/drawing/2014/main" id="{C408AE60-8CDB-1B71-AE9B-D9FBBBA66D0C}"/>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6A6D5B88-9E25-F69B-80D2-3F62FCC5B298}"/>
              </a:ext>
            </a:extLst>
          </p:cNvPr>
          <p:cNvSpPr>
            <a:spLocks noGrp="1"/>
          </p:cNvSpPr>
          <p:nvPr>
            <p:ph type="sldNum" sz="quarter" idx="12"/>
          </p:nvPr>
        </p:nvSpPr>
        <p:spPr/>
        <p:txBody>
          <a:bodyPr/>
          <a:lstStyle/>
          <a:p>
            <a:fld id="{A8DDC45B-7265-3747-B738-ED29642119D9}" type="slidenum">
              <a:rPr lang="en-BR" smtClean="0"/>
              <a:pPr/>
              <a:t>25</a:t>
            </a:fld>
            <a:endParaRPr lang="en-BR"/>
          </a:p>
        </p:txBody>
      </p:sp>
      <p:sp>
        <p:nvSpPr>
          <p:cNvPr id="5" name="Text Placeholder 4">
            <a:extLst>
              <a:ext uri="{FF2B5EF4-FFF2-40B4-BE49-F238E27FC236}">
                <a16:creationId xmlns:a16="http://schemas.microsoft.com/office/drawing/2014/main" id="{4C118CB5-D39D-C8CE-3523-AB7C4A378252}"/>
              </a:ext>
            </a:extLst>
          </p:cNvPr>
          <p:cNvSpPr>
            <a:spLocks noGrp="1"/>
          </p:cNvSpPr>
          <p:nvPr>
            <p:ph type="body" sz="quarter" idx="13"/>
          </p:nvPr>
        </p:nvSpPr>
        <p:spPr/>
        <p:txBody>
          <a:bodyPr/>
          <a:lstStyle/>
          <a:p>
            <a:r>
              <a:rPr lang="en-US"/>
              <a:t>Combination Pie And Column Chart</a:t>
            </a:r>
            <a:endParaRPr lang="en-BR"/>
          </a:p>
        </p:txBody>
      </p:sp>
      <p:graphicFrame>
        <p:nvGraphicFramePr>
          <p:cNvPr id="11" name="Object 2">
            <a:extLst>
              <a:ext uri="{FF2B5EF4-FFF2-40B4-BE49-F238E27FC236}">
                <a16:creationId xmlns:a16="http://schemas.microsoft.com/office/drawing/2014/main" id="{89889F06-6D37-9C54-E94F-F4E0ECB4379B}"/>
              </a:ext>
            </a:extLst>
          </p:cNvPr>
          <p:cNvGraphicFramePr>
            <a:graphicFrameLocks/>
          </p:cNvGraphicFramePr>
          <p:nvPr>
            <p:extLst>
              <p:ext uri="{D42A27DB-BD31-4B8C-83A1-F6EECF244321}">
                <p14:modId xmlns:p14="http://schemas.microsoft.com/office/powerpoint/2010/main" val="3977587368"/>
              </p:ext>
            </p:extLst>
          </p:nvPr>
        </p:nvGraphicFramePr>
        <p:xfrm>
          <a:off x="344488" y="2183958"/>
          <a:ext cx="11510962" cy="354378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609233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0604E-B2EF-ECC8-12D9-84F5CA917796}"/>
              </a:ext>
            </a:extLst>
          </p:cNvPr>
          <p:cNvSpPr>
            <a:spLocks noGrp="1"/>
          </p:cNvSpPr>
          <p:nvPr>
            <p:ph type="title"/>
          </p:nvPr>
        </p:nvSpPr>
        <p:spPr/>
        <p:txBody>
          <a:bodyPr/>
          <a:lstStyle/>
          <a:p>
            <a:r>
              <a:rPr lang="en-BR"/>
              <a:t>04 | Data Display Slides</a:t>
            </a:r>
          </a:p>
        </p:txBody>
      </p:sp>
      <p:sp>
        <p:nvSpPr>
          <p:cNvPr id="3" name="Footer Placeholder 2">
            <a:extLst>
              <a:ext uri="{FF2B5EF4-FFF2-40B4-BE49-F238E27FC236}">
                <a16:creationId xmlns:a16="http://schemas.microsoft.com/office/drawing/2014/main" id="{1F8EEDC2-E4C5-BE87-9306-F07F48E1DB0A}"/>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21FA8A3D-644F-E0F8-660A-9C89F903D734}"/>
              </a:ext>
            </a:extLst>
          </p:cNvPr>
          <p:cNvSpPr>
            <a:spLocks noGrp="1"/>
          </p:cNvSpPr>
          <p:nvPr>
            <p:ph type="sldNum" sz="quarter" idx="12"/>
          </p:nvPr>
        </p:nvSpPr>
        <p:spPr/>
        <p:txBody>
          <a:bodyPr/>
          <a:lstStyle/>
          <a:p>
            <a:fld id="{A8DDC45B-7265-3747-B738-ED29642119D9}" type="slidenum">
              <a:rPr lang="en-BR" smtClean="0"/>
              <a:pPr/>
              <a:t>26</a:t>
            </a:fld>
            <a:endParaRPr lang="en-BR"/>
          </a:p>
        </p:txBody>
      </p:sp>
      <p:sp>
        <p:nvSpPr>
          <p:cNvPr id="5" name="TextBox 4">
            <a:extLst>
              <a:ext uri="{FF2B5EF4-FFF2-40B4-BE49-F238E27FC236}">
                <a16:creationId xmlns:a16="http://schemas.microsoft.com/office/drawing/2014/main" id="{DD292D13-5833-4A29-E318-F17023B4FCDE}"/>
              </a:ext>
            </a:extLst>
          </p:cNvPr>
          <p:cNvSpPr txBox="1"/>
          <p:nvPr/>
        </p:nvSpPr>
        <p:spPr>
          <a:xfrm>
            <a:off x="388771" y="3840918"/>
            <a:ext cx="2338076" cy="584775"/>
          </a:xfrm>
          <a:prstGeom prst="rect">
            <a:avLst/>
          </a:prstGeom>
          <a:noFill/>
        </p:spPr>
        <p:txBody>
          <a:bodyPr wrap="none" rtlCol="0">
            <a:spAutoFit/>
          </a:bodyPr>
          <a:lstStyle/>
          <a:p>
            <a:r>
              <a:rPr lang="en-US" sz="3200" b="1">
                <a:solidFill>
                  <a:schemeClr val="accent1">
                    <a:lumMod val="20000"/>
                    <a:lumOff val="80000"/>
                  </a:schemeClr>
                </a:solidFill>
                <a:latin typeface="Segoe UI" panose="020B0502040204020203" pitchFamily="34" charset="0"/>
                <a:cs typeface="Segoe UI" panose="020B0502040204020203" pitchFamily="34" charset="0"/>
              </a:rPr>
              <a:t>Line Charts</a:t>
            </a:r>
            <a:endParaRPr lang="en-BR" sz="3200" b="1">
              <a:solidFill>
                <a:schemeClr val="accent1">
                  <a:lumMod val="20000"/>
                  <a:lumOff val="80000"/>
                </a:schemeClr>
              </a:solidFill>
              <a:latin typeface="Segoe UI" panose="020B0502040204020203" pitchFamily="34" charset="0"/>
              <a:cs typeface="Segoe UI" panose="020B0502040204020203" pitchFamily="34" charset="0"/>
            </a:endParaRPr>
          </a:p>
        </p:txBody>
      </p:sp>
      <p:sp>
        <p:nvSpPr>
          <p:cNvPr id="9" name="TextBox 8">
            <a:hlinkClick r:id="rId2" action="ppaction://hlinksldjump"/>
            <a:extLst>
              <a:ext uri="{FF2B5EF4-FFF2-40B4-BE49-F238E27FC236}">
                <a16:creationId xmlns:a16="http://schemas.microsoft.com/office/drawing/2014/main" id="{4EE38C5A-8337-CA25-14A6-F4B3AE81FC82}"/>
              </a:ext>
            </a:extLst>
          </p:cNvPr>
          <p:cNvSpPr txBox="1"/>
          <p:nvPr/>
        </p:nvSpPr>
        <p:spPr>
          <a:xfrm>
            <a:off x="391754" y="780820"/>
            <a:ext cx="543739" cy="246221"/>
          </a:xfrm>
          <a:prstGeom prst="rect">
            <a:avLst/>
          </a:prstGeom>
          <a:noFill/>
        </p:spPr>
        <p:txBody>
          <a:bodyPr wrap="none" rtlCol="0">
            <a:spAutoFit/>
          </a:bodyPr>
          <a:lstStyle/>
          <a:p>
            <a:r>
              <a:rPr lang="en-BR" sz="1000">
                <a:solidFill>
                  <a:schemeClr val="accent3">
                    <a:lumMod val="60000"/>
                    <a:lumOff val="40000"/>
                  </a:schemeClr>
                </a:solidFill>
                <a:latin typeface="Segoe UI" panose="020B0502040204020203" pitchFamily="34" charset="0"/>
                <a:cs typeface="Segoe UI" panose="020B0502040204020203" pitchFamily="34" charset="0"/>
              </a:rPr>
              <a:t>INDEX</a:t>
            </a:r>
          </a:p>
        </p:txBody>
      </p:sp>
      <p:pic>
        <p:nvPicPr>
          <p:cNvPr id="10" name="Graphic 9" descr="Home with solid fill">
            <a:hlinkClick r:id="rId2" action="ppaction://hlinksldjump"/>
            <a:extLst>
              <a:ext uri="{FF2B5EF4-FFF2-40B4-BE49-F238E27FC236}">
                <a16:creationId xmlns:a16="http://schemas.microsoft.com/office/drawing/2014/main" id="{F03B0E2C-F984-64AC-71E6-3DEAED0D67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1754" y="317458"/>
            <a:ext cx="543739" cy="543739"/>
          </a:xfrm>
          <a:prstGeom prst="rect">
            <a:avLst/>
          </a:prstGeom>
        </p:spPr>
      </p:pic>
    </p:spTree>
    <p:extLst>
      <p:ext uri="{BB962C8B-B14F-4D97-AF65-F5344CB8AC3E}">
        <p14:creationId xmlns:p14="http://schemas.microsoft.com/office/powerpoint/2010/main" val="19169346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9FFF3A-B9C3-63D6-B565-F596B0A668D8}"/>
              </a:ext>
            </a:extLst>
          </p:cNvPr>
          <p:cNvSpPr>
            <a:spLocks noGrp="1"/>
          </p:cNvSpPr>
          <p:nvPr>
            <p:ph type="title"/>
          </p:nvPr>
        </p:nvSpPr>
        <p:spPr/>
        <p:txBody>
          <a:bodyPr/>
          <a:lstStyle/>
          <a:p>
            <a:r>
              <a:rPr lang="en-BR"/>
              <a:t>Data 	Display</a:t>
            </a:r>
          </a:p>
        </p:txBody>
      </p:sp>
      <p:sp>
        <p:nvSpPr>
          <p:cNvPr id="3" name="Footer Placeholder 2">
            <a:extLst>
              <a:ext uri="{FF2B5EF4-FFF2-40B4-BE49-F238E27FC236}">
                <a16:creationId xmlns:a16="http://schemas.microsoft.com/office/drawing/2014/main" id="{5DAD3765-61B9-9917-55E0-91F46EBD056D}"/>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10062D3C-3803-6CDD-1F74-59B4BC3EA6E9}"/>
              </a:ext>
            </a:extLst>
          </p:cNvPr>
          <p:cNvSpPr>
            <a:spLocks noGrp="1"/>
          </p:cNvSpPr>
          <p:nvPr>
            <p:ph type="sldNum" sz="quarter" idx="12"/>
          </p:nvPr>
        </p:nvSpPr>
        <p:spPr/>
        <p:txBody>
          <a:bodyPr/>
          <a:lstStyle/>
          <a:p>
            <a:fld id="{A8DDC45B-7265-3747-B738-ED29642119D9}" type="slidenum">
              <a:rPr lang="en-BR" smtClean="0"/>
              <a:pPr/>
              <a:t>27</a:t>
            </a:fld>
            <a:endParaRPr lang="en-BR"/>
          </a:p>
        </p:txBody>
      </p:sp>
      <p:sp>
        <p:nvSpPr>
          <p:cNvPr id="5" name="Text Placeholder 4">
            <a:extLst>
              <a:ext uri="{FF2B5EF4-FFF2-40B4-BE49-F238E27FC236}">
                <a16:creationId xmlns:a16="http://schemas.microsoft.com/office/drawing/2014/main" id="{33934F81-E3D3-ACFB-53FF-4B7E2EB4B530}"/>
              </a:ext>
            </a:extLst>
          </p:cNvPr>
          <p:cNvSpPr>
            <a:spLocks noGrp="1"/>
          </p:cNvSpPr>
          <p:nvPr>
            <p:ph type="body" sz="quarter" idx="13"/>
          </p:nvPr>
        </p:nvSpPr>
        <p:spPr/>
        <p:txBody>
          <a:bodyPr/>
          <a:lstStyle/>
          <a:p>
            <a:r>
              <a:rPr lang="en-BR"/>
              <a:t>Line Chart</a:t>
            </a:r>
          </a:p>
        </p:txBody>
      </p:sp>
      <p:graphicFrame>
        <p:nvGraphicFramePr>
          <p:cNvPr id="6" name="Object 2">
            <a:extLst>
              <a:ext uri="{FF2B5EF4-FFF2-40B4-BE49-F238E27FC236}">
                <a16:creationId xmlns:a16="http://schemas.microsoft.com/office/drawing/2014/main" id="{CEA7CBAC-2C47-8327-73E5-902D57D24DEB}"/>
              </a:ext>
            </a:extLst>
          </p:cNvPr>
          <p:cNvGraphicFramePr>
            <a:graphicFrameLocks/>
          </p:cNvGraphicFramePr>
          <p:nvPr>
            <p:extLst>
              <p:ext uri="{D42A27DB-BD31-4B8C-83A1-F6EECF244321}">
                <p14:modId xmlns:p14="http://schemas.microsoft.com/office/powerpoint/2010/main" val="154587179"/>
              </p:ext>
            </p:extLst>
          </p:nvPr>
        </p:nvGraphicFramePr>
        <p:xfrm>
          <a:off x="344488" y="1744822"/>
          <a:ext cx="11510962" cy="42941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223958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9FFF3A-B9C3-63D6-B565-F596B0A668D8}"/>
              </a:ext>
            </a:extLst>
          </p:cNvPr>
          <p:cNvSpPr>
            <a:spLocks noGrp="1"/>
          </p:cNvSpPr>
          <p:nvPr>
            <p:ph type="title"/>
          </p:nvPr>
        </p:nvSpPr>
        <p:spPr/>
        <p:txBody>
          <a:bodyPr/>
          <a:lstStyle/>
          <a:p>
            <a:r>
              <a:rPr lang="en-BR"/>
              <a:t>Data 	Display</a:t>
            </a:r>
          </a:p>
        </p:txBody>
      </p:sp>
      <p:sp>
        <p:nvSpPr>
          <p:cNvPr id="3" name="Footer Placeholder 2">
            <a:extLst>
              <a:ext uri="{FF2B5EF4-FFF2-40B4-BE49-F238E27FC236}">
                <a16:creationId xmlns:a16="http://schemas.microsoft.com/office/drawing/2014/main" id="{5DAD3765-61B9-9917-55E0-91F46EBD056D}"/>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10062D3C-3803-6CDD-1F74-59B4BC3EA6E9}"/>
              </a:ext>
            </a:extLst>
          </p:cNvPr>
          <p:cNvSpPr>
            <a:spLocks noGrp="1"/>
          </p:cNvSpPr>
          <p:nvPr>
            <p:ph type="sldNum" sz="quarter" idx="12"/>
          </p:nvPr>
        </p:nvSpPr>
        <p:spPr/>
        <p:txBody>
          <a:bodyPr/>
          <a:lstStyle/>
          <a:p>
            <a:fld id="{A8DDC45B-7265-3747-B738-ED29642119D9}" type="slidenum">
              <a:rPr lang="en-BR" smtClean="0"/>
              <a:pPr/>
              <a:t>28</a:t>
            </a:fld>
            <a:endParaRPr lang="en-BR"/>
          </a:p>
        </p:txBody>
      </p:sp>
      <p:sp>
        <p:nvSpPr>
          <p:cNvPr id="5" name="Text Placeholder 4">
            <a:extLst>
              <a:ext uri="{FF2B5EF4-FFF2-40B4-BE49-F238E27FC236}">
                <a16:creationId xmlns:a16="http://schemas.microsoft.com/office/drawing/2014/main" id="{33934F81-E3D3-ACFB-53FF-4B7E2EB4B530}"/>
              </a:ext>
            </a:extLst>
          </p:cNvPr>
          <p:cNvSpPr>
            <a:spLocks noGrp="1"/>
          </p:cNvSpPr>
          <p:nvPr>
            <p:ph type="body" sz="quarter" idx="13"/>
          </p:nvPr>
        </p:nvSpPr>
        <p:spPr/>
        <p:txBody>
          <a:bodyPr/>
          <a:lstStyle/>
          <a:p>
            <a:r>
              <a:rPr lang="en-BR"/>
              <a:t>Smooth Line Chart</a:t>
            </a:r>
          </a:p>
        </p:txBody>
      </p:sp>
      <p:graphicFrame>
        <p:nvGraphicFramePr>
          <p:cNvPr id="6" name="Object 2">
            <a:extLst>
              <a:ext uri="{FF2B5EF4-FFF2-40B4-BE49-F238E27FC236}">
                <a16:creationId xmlns:a16="http://schemas.microsoft.com/office/drawing/2014/main" id="{CEA7CBAC-2C47-8327-73E5-902D57D24DEB}"/>
              </a:ext>
            </a:extLst>
          </p:cNvPr>
          <p:cNvGraphicFramePr>
            <a:graphicFrameLocks/>
          </p:cNvGraphicFramePr>
          <p:nvPr/>
        </p:nvGraphicFramePr>
        <p:xfrm>
          <a:off x="344488" y="1744822"/>
          <a:ext cx="11510962" cy="42941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921855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9FFF3A-B9C3-63D6-B565-F596B0A668D8}"/>
              </a:ext>
            </a:extLst>
          </p:cNvPr>
          <p:cNvSpPr>
            <a:spLocks noGrp="1"/>
          </p:cNvSpPr>
          <p:nvPr>
            <p:ph type="title"/>
          </p:nvPr>
        </p:nvSpPr>
        <p:spPr/>
        <p:txBody>
          <a:bodyPr/>
          <a:lstStyle/>
          <a:p>
            <a:r>
              <a:rPr lang="en-BR"/>
              <a:t>Data 	Display</a:t>
            </a:r>
          </a:p>
        </p:txBody>
      </p:sp>
      <p:sp>
        <p:nvSpPr>
          <p:cNvPr id="3" name="Footer Placeholder 2">
            <a:extLst>
              <a:ext uri="{FF2B5EF4-FFF2-40B4-BE49-F238E27FC236}">
                <a16:creationId xmlns:a16="http://schemas.microsoft.com/office/drawing/2014/main" id="{5DAD3765-61B9-9917-55E0-91F46EBD056D}"/>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10062D3C-3803-6CDD-1F74-59B4BC3EA6E9}"/>
              </a:ext>
            </a:extLst>
          </p:cNvPr>
          <p:cNvSpPr>
            <a:spLocks noGrp="1"/>
          </p:cNvSpPr>
          <p:nvPr>
            <p:ph type="sldNum" sz="quarter" idx="12"/>
          </p:nvPr>
        </p:nvSpPr>
        <p:spPr/>
        <p:txBody>
          <a:bodyPr/>
          <a:lstStyle/>
          <a:p>
            <a:fld id="{A8DDC45B-7265-3747-B738-ED29642119D9}" type="slidenum">
              <a:rPr lang="en-BR" smtClean="0"/>
              <a:pPr/>
              <a:t>29</a:t>
            </a:fld>
            <a:endParaRPr lang="en-BR"/>
          </a:p>
        </p:txBody>
      </p:sp>
      <p:sp>
        <p:nvSpPr>
          <p:cNvPr id="5" name="Text Placeholder 4">
            <a:extLst>
              <a:ext uri="{FF2B5EF4-FFF2-40B4-BE49-F238E27FC236}">
                <a16:creationId xmlns:a16="http://schemas.microsoft.com/office/drawing/2014/main" id="{33934F81-E3D3-ACFB-53FF-4B7E2EB4B530}"/>
              </a:ext>
            </a:extLst>
          </p:cNvPr>
          <p:cNvSpPr>
            <a:spLocks noGrp="1"/>
          </p:cNvSpPr>
          <p:nvPr>
            <p:ph type="body" sz="quarter" idx="13"/>
          </p:nvPr>
        </p:nvSpPr>
        <p:spPr/>
        <p:txBody>
          <a:bodyPr/>
          <a:lstStyle/>
          <a:p>
            <a:r>
              <a:rPr lang="en-BR"/>
              <a:t>Smooth Line Chart with Table</a:t>
            </a:r>
          </a:p>
        </p:txBody>
      </p:sp>
      <p:graphicFrame>
        <p:nvGraphicFramePr>
          <p:cNvPr id="6" name="Object 2">
            <a:extLst>
              <a:ext uri="{FF2B5EF4-FFF2-40B4-BE49-F238E27FC236}">
                <a16:creationId xmlns:a16="http://schemas.microsoft.com/office/drawing/2014/main" id="{CEA7CBAC-2C47-8327-73E5-902D57D24DEB}"/>
              </a:ext>
            </a:extLst>
          </p:cNvPr>
          <p:cNvGraphicFramePr>
            <a:graphicFrameLocks/>
          </p:cNvGraphicFramePr>
          <p:nvPr>
            <p:extLst>
              <p:ext uri="{D42A27DB-BD31-4B8C-83A1-F6EECF244321}">
                <p14:modId xmlns:p14="http://schemas.microsoft.com/office/powerpoint/2010/main" val="236649979"/>
              </p:ext>
            </p:extLst>
          </p:nvPr>
        </p:nvGraphicFramePr>
        <p:xfrm>
          <a:off x="5185781" y="1744822"/>
          <a:ext cx="6669669" cy="4294187"/>
        </p:xfrm>
        <a:graphic>
          <a:graphicData uri="http://schemas.openxmlformats.org/drawingml/2006/chart">
            <c:chart xmlns:c="http://schemas.openxmlformats.org/drawingml/2006/chart" xmlns:r="http://schemas.openxmlformats.org/officeDocument/2006/relationships" r:id="rId2"/>
          </a:graphicData>
        </a:graphic>
      </p:graphicFrame>
      <p:cxnSp>
        <p:nvCxnSpPr>
          <p:cNvPr id="8" name="Straight Connector 7">
            <a:extLst>
              <a:ext uri="{FF2B5EF4-FFF2-40B4-BE49-F238E27FC236}">
                <a16:creationId xmlns:a16="http://schemas.microsoft.com/office/drawing/2014/main" id="{B6BA2C2C-43C0-FA13-4ED9-98258436DECB}"/>
              </a:ext>
            </a:extLst>
          </p:cNvPr>
          <p:cNvCxnSpPr/>
          <p:nvPr/>
        </p:nvCxnSpPr>
        <p:spPr>
          <a:xfrm>
            <a:off x="4947781" y="2016691"/>
            <a:ext cx="0" cy="3972214"/>
          </a:xfrm>
          <a:prstGeom prst="line">
            <a:avLst/>
          </a:prstGeom>
          <a:ln w="12700">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1F386D4D-BACA-66E1-F5AC-8CBCE16A0E52}"/>
              </a:ext>
            </a:extLst>
          </p:cNvPr>
          <p:cNvSpPr txBox="1"/>
          <p:nvPr/>
        </p:nvSpPr>
        <p:spPr>
          <a:xfrm>
            <a:off x="334963" y="2110621"/>
            <a:ext cx="4211981" cy="1200329"/>
          </a:xfrm>
          <a:prstGeom prst="rect">
            <a:avLst/>
          </a:prstGeom>
          <a:noFill/>
        </p:spPr>
        <p:txBody>
          <a:bodyPr wrap="square">
            <a:spAutoFit/>
          </a:bodyPr>
          <a:lstStyle/>
          <a:p>
            <a:r>
              <a:rPr lang="en-US" sz="12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200" err="1">
                <a:solidFill>
                  <a:schemeClr val="tx1">
                    <a:lumMod val="75000"/>
                    <a:lumOff val="25000"/>
                  </a:schemeClr>
                </a:solidFill>
                <a:latin typeface="Segoe UI" panose="020B0502040204020203" pitchFamily="34" charset="0"/>
                <a:cs typeface="Segoe UI" panose="020B0502040204020203" pitchFamily="34" charset="0"/>
              </a:rPr>
              <a:t>ame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elit</a:t>
            </a:r>
            <a:r>
              <a:rPr lang="en-US" sz="1200">
                <a:solidFill>
                  <a:schemeClr val="tx1">
                    <a:lumMod val="75000"/>
                    <a:lumOff val="25000"/>
                  </a:schemeClr>
                </a:solidFill>
                <a:latin typeface="Segoe UI" panose="020B0502040204020203" pitchFamily="34" charset="0"/>
                <a:cs typeface="Segoe UI" panose="020B0502040204020203" pitchFamily="34" charset="0"/>
              </a:rPr>
              <a:t>, sed do </a:t>
            </a:r>
            <a:r>
              <a:rPr lang="en-US" sz="1200" err="1">
                <a:solidFill>
                  <a:schemeClr val="tx1">
                    <a:lumMod val="75000"/>
                    <a:lumOff val="25000"/>
                  </a:schemeClr>
                </a:solidFill>
                <a:latin typeface="Segoe UI" panose="020B0502040204020203" pitchFamily="34" charset="0"/>
                <a:cs typeface="Segoe UI" panose="020B0502040204020203" pitchFamily="34" charset="0"/>
              </a:rPr>
              <a:t>eiusmod</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tempo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t</a:t>
            </a:r>
            <a:r>
              <a:rPr lang="en-US" sz="1200">
                <a:solidFill>
                  <a:schemeClr val="tx1">
                    <a:lumMod val="75000"/>
                    <a:lumOff val="25000"/>
                  </a:schemeClr>
                </a:solidFill>
                <a:latin typeface="Segoe UI" panose="020B0502040204020203" pitchFamily="34" charset="0"/>
                <a:cs typeface="Segoe UI" panose="020B0502040204020203" pitchFamily="34" charset="0"/>
              </a:rPr>
              <a:t> labore et dolore magna </a:t>
            </a:r>
            <a:r>
              <a:rPr lang="en-US" sz="1200" err="1">
                <a:solidFill>
                  <a:schemeClr val="tx1">
                    <a:lumMod val="75000"/>
                    <a:lumOff val="25000"/>
                  </a:schemeClr>
                </a:solidFill>
                <a:latin typeface="Segoe UI" panose="020B0502040204020203" pitchFamily="34" charset="0"/>
                <a:cs typeface="Segoe UI" panose="020B0502040204020203" pitchFamily="34" charset="0"/>
              </a:rPr>
              <a:t>aliqua</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Quis</a:t>
            </a:r>
            <a:r>
              <a:rPr lang="en-US" sz="1200">
                <a:solidFill>
                  <a:schemeClr val="tx1">
                    <a:lumMod val="75000"/>
                    <a:lumOff val="25000"/>
                  </a:schemeClr>
                </a:solidFill>
                <a:latin typeface="Segoe UI" panose="020B0502040204020203" pitchFamily="34" charset="0"/>
                <a:cs typeface="Segoe UI" panose="020B0502040204020203" pitchFamily="34" charset="0"/>
              </a:rPr>
              <a:t> ipsum </a:t>
            </a:r>
            <a:r>
              <a:rPr lang="en-US" sz="1200" err="1">
                <a:solidFill>
                  <a:schemeClr val="tx1">
                    <a:lumMod val="75000"/>
                    <a:lumOff val="25000"/>
                  </a:schemeClr>
                </a:solidFill>
                <a:latin typeface="Segoe UI" panose="020B0502040204020203" pitchFamily="34" charset="0"/>
                <a:cs typeface="Segoe UI" panose="020B0502040204020203" pitchFamily="34" charset="0"/>
              </a:rPr>
              <a:t>suspendisse</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ltrices</a:t>
            </a:r>
            <a:r>
              <a:rPr lang="en-US" sz="1200">
                <a:solidFill>
                  <a:schemeClr val="tx1">
                    <a:lumMod val="75000"/>
                    <a:lumOff val="25000"/>
                  </a:schemeClr>
                </a:solidFill>
                <a:latin typeface="Segoe UI" panose="020B0502040204020203" pitchFamily="34" charset="0"/>
                <a:cs typeface="Segoe UI" panose="020B0502040204020203" pitchFamily="34" charset="0"/>
              </a:rPr>
              <a:t> gravida. </a:t>
            </a:r>
            <a:r>
              <a:rPr lang="en-US" sz="1200" err="1">
                <a:solidFill>
                  <a:schemeClr val="tx1">
                    <a:lumMod val="75000"/>
                    <a:lumOff val="25000"/>
                  </a:schemeClr>
                </a:solidFill>
                <a:latin typeface="Segoe UI" panose="020B0502040204020203" pitchFamily="34" charset="0"/>
                <a:cs typeface="Segoe UI" panose="020B0502040204020203" pitchFamily="34" charset="0"/>
              </a:rPr>
              <a:t>Risus</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mmodo</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viverra</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maecenas</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ccumsan</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lacus</a:t>
            </a:r>
            <a:r>
              <a:rPr lang="en-US" sz="1200">
                <a:solidFill>
                  <a:schemeClr val="tx1">
                    <a:lumMod val="75000"/>
                    <a:lumOff val="25000"/>
                  </a:schemeClr>
                </a:solidFill>
                <a:latin typeface="Segoe UI" panose="020B0502040204020203" pitchFamily="34" charset="0"/>
                <a:cs typeface="Segoe UI" panose="020B0502040204020203" pitchFamily="34" charset="0"/>
              </a:rPr>
              <a:t> vel </a:t>
            </a:r>
            <a:r>
              <a:rPr lang="en-US" sz="1200" err="1">
                <a:solidFill>
                  <a:schemeClr val="tx1">
                    <a:lumMod val="75000"/>
                    <a:lumOff val="25000"/>
                  </a:schemeClr>
                </a:solidFill>
                <a:latin typeface="Segoe UI" panose="020B0502040204020203" pitchFamily="34" charset="0"/>
                <a:cs typeface="Segoe UI" panose="020B0502040204020203" pitchFamily="34" charset="0"/>
              </a:rPr>
              <a:t>facilisis</a:t>
            </a:r>
            <a:r>
              <a:rPr lang="en-US" sz="1200">
                <a:solidFill>
                  <a:schemeClr val="tx1">
                    <a:lumMod val="75000"/>
                    <a:lumOff val="25000"/>
                  </a:schemeClr>
                </a:solidFill>
                <a:latin typeface="Segoe UI" panose="020B0502040204020203" pitchFamily="34" charset="0"/>
                <a:cs typeface="Segoe UI" panose="020B0502040204020203" pitchFamily="34" charset="0"/>
              </a:rPr>
              <a:t>. Lorem ipsum dolor sit </a:t>
            </a:r>
            <a:r>
              <a:rPr lang="en-US" sz="1200" err="1">
                <a:solidFill>
                  <a:schemeClr val="tx1">
                    <a:lumMod val="75000"/>
                    <a:lumOff val="25000"/>
                  </a:schemeClr>
                </a:solidFill>
                <a:latin typeface="Segoe UI" panose="020B0502040204020203" pitchFamily="34" charset="0"/>
                <a:cs typeface="Segoe UI" panose="020B0502040204020203" pitchFamily="34" charset="0"/>
              </a:rPr>
              <a:t>ame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elit</a:t>
            </a:r>
            <a:r>
              <a:rPr lang="en-US" sz="1200">
                <a:solidFill>
                  <a:schemeClr val="tx1">
                    <a:lumMod val="75000"/>
                    <a:lumOff val="25000"/>
                  </a:schemeClr>
                </a:solidFill>
                <a:latin typeface="Segoe UI" panose="020B0502040204020203" pitchFamily="34" charset="0"/>
                <a:cs typeface="Segoe UI" panose="020B0502040204020203" pitchFamily="34" charset="0"/>
              </a:rPr>
              <a:t>, sed do </a:t>
            </a:r>
            <a:r>
              <a:rPr lang="en-US" sz="1200" err="1">
                <a:solidFill>
                  <a:schemeClr val="tx1">
                    <a:lumMod val="75000"/>
                    <a:lumOff val="25000"/>
                  </a:schemeClr>
                </a:solidFill>
                <a:latin typeface="Segoe UI" panose="020B0502040204020203" pitchFamily="34" charset="0"/>
                <a:cs typeface="Segoe UI" panose="020B0502040204020203" pitchFamily="34" charset="0"/>
              </a:rPr>
              <a:t>eiusmod</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tempo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t</a:t>
            </a:r>
            <a:r>
              <a:rPr lang="en-US" sz="1200">
                <a:solidFill>
                  <a:schemeClr val="tx1">
                    <a:lumMod val="75000"/>
                    <a:lumOff val="25000"/>
                  </a:schemeClr>
                </a:solidFill>
                <a:latin typeface="Segoe UI" panose="020B0502040204020203" pitchFamily="34" charset="0"/>
                <a:cs typeface="Segoe UI" panose="020B0502040204020203" pitchFamily="34" charset="0"/>
              </a:rPr>
              <a:t> labore et dolore magna. </a:t>
            </a:r>
          </a:p>
        </p:txBody>
      </p:sp>
      <p:sp>
        <p:nvSpPr>
          <p:cNvPr id="10" name="TextBox 9">
            <a:extLst>
              <a:ext uri="{FF2B5EF4-FFF2-40B4-BE49-F238E27FC236}">
                <a16:creationId xmlns:a16="http://schemas.microsoft.com/office/drawing/2014/main" id="{B833C8C4-3779-DF58-E60C-48FE8CE7A5B1}"/>
              </a:ext>
            </a:extLst>
          </p:cNvPr>
          <p:cNvSpPr txBox="1"/>
          <p:nvPr/>
        </p:nvSpPr>
        <p:spPr>
          <a:xfrm>
            <a:off x="334963" y="1788239"/>
            <a:ext cx="1442190" cy="338554"/>
          </a:xfrm>
          <a:prstGeom prst="rect">
            <a:avLst/>
          </a:prstGeom>
          <a:noFill/>
        </p:spPr>
        <p:txBody>
          <a:bodyPr wrap="none" rtlCol="0">
            <a:spAutoFit/>
          </a:bodyPr>
          <a:lstStyle/>
          <a:p>
            <a:r>
              <a:rPr lang="en-BR" sz="1600" b="1">
                <a:solidFill>
                  <a:srgbClr val="C00000"/>
                </a:solidFill>
                <a:latin typeface="Segoe UI" panose="020B0502040204020203" pitchFamily="34" charset="0"/>
                <a:cs typeface="Segoe UI" panose="020B0502040204020203" pitchFamily="34" charset="0"/>
              </a:rPr>
              <a:t>Lorem Ipsum</a:t>
            </a:r>
          </a:p>
        </p:txBody>
      </p:sp>
      <p:graphicFrame>
        <p:nvGraphicFramePr>
          <p:cNvPr id="11" name="Table 10">
            <a:extLst>
              <a:ext uri="{FF2B5EF4-FFF2-40B4-BE49-F238E27FC236}">
                <a16:creationId xmlns:a16="http://schemas.microsoft.com/office/drawing/2014/main" id="{FB7BE501-0CED-CF07-F021-002CC2FDCB7F}"/>
              </a:ext>
            </a:extLst>
          </p:cNvPr>
          <p:cNvGraphicFramePr>
            <a:graphicFrameLocks noGrp="1"/>
          </p:cNvGraphicFramePr>
          <p:nvPr>
            <p:extLst>
              <p:ext uri="{D42A27DB-BD31-4B8C-83A1-F6EECF244321}">
                <p14:modId xmlns:p14="http://schemas.microsoft.com/office/powerpoint/2010/main" val="3082337737"/>
              </p:ext>
            </p:extLst>
          </p:nvPr>
        </p:nvGraphicFramePr>
        <p:xfrm>
          <a:off x="389467" y="3747422"/>
          <a:ext cx="4211975" cy="2221592"/>
        </p:xfrm>
        <a:graphic>
          <a:graphicData uri="http://schemas.openxmlformats.org/drawingml/2006/table">
            <a:tbl>
              <a:tblPr firstRow="1" bandRow="1">
                <a:tableStyleId>{93296810-A885-4BE3-A3E7-6D5BEEA58F35}</a:tableStyleId>
              </a:tblPr>
              <a:tblGrid>
                <a:gridCol w="842395">
                  <a:extLst>
                    <a:ext uri="{9D8B030D-6E8A-4147-A177-3AD203B41FA5}">
                      <a16:colId xmlns:a16="http://schemas.microsoft.com/office/drawing/2014/main" val="880475561"/>
                    </a:ext>
                  </a:extLst>
                </a:gridCol>
                <a:gridCol w="842395">
                  <a:extLst>
                    <a:ext uri="{9D8B030D-6E8A-4147-A177-3AD203B41FA5}">
                      <a16:colId xmlns:a16="http://schemas.microsoft.com/office/drawing/2014/main" val="1924066136"/>
                    </a:ext>
                  </a:extLst>
                </a:gridCol>
                <a:gridCol w="842395">
                  <a:extLst>
                    <a:ext uri="{9D8B030D-6E8A-4147-A177-3AD203B41FA5}">
                      <a16:colId xmlns:a16="http://schemas.microsoft.com/office/drawing/2014/main" val="633193888"/>
                    </a:ext>
                  </a:extLst>
                </a:gridCol>
                <a:gridCol w="842395">
                  <a:extLst>
                    <a:ext uri="{9D8B030D-6E8A-4147-A177-3AD203B41FA5}">
                      <a16:colId xmlns:a16="http://schemas.microsoft.com/office/drawing/2014/main" val="77344037"/>
                    </a:ext>
                  </a:extLst>
                </a:gridCol>
                <a:gridCol w="842395">
                  <a:extLst>
                    <a:ext uri="{9D8B030D-6E8A-4147-A177-3AD203B41FA5}">
                      <a16:colId xmlns:a16="http://schemas.microsoft.com/office/drawing/2014/main" val="1607338223"/>
                    </a:ext>
                  </a:extLst>
                </a:gridCol>
              </a:tblGrid>
              <a:tr h="277699">
                <a:tc>
                  <a:txBody>
                    <a:bodyPr/>
                    <a:lstStyle/>
                    <a:p>
                      <a:pPr algn="ctr"/>
                      <a:endParaRPr lang="en-BR" sz="1200" b="0" i="0">
                        <a:latin typeface="Segoe UI" panose="020B0502040204020203" pitchFamily="34" charset="0"/>
                        <a:cs typeface="Segoe UI" panose="020B0502040204020203" pitchFamily="34" charset="0"/>
                      </a:endParaRPr>
                    </a:p>
                  </a:txBody>
                  <a:tcPr/>
                </a:tc>
                <a:tc>
                  <a:txBody>
                    <a:bodyPr/>
                    <a:lstStyle/>
                    <a:p>
                      <a:pPr algn="ctr"/>
                      <a:r>
                        <a:rPr lang="en-BR" sz="1200" b="1" i="0">
                          <a:latin typeface="Segoe UI" panose="020B0502040204020203" pitchFamily="34" charset="0"/>
                          <a:cs typeface="Segoe UI" panose="020B0502040204020203" pitchFamily="34" charset="0"/>
                        </a:rPr>
                        <a:t>2022</a:t>
                      </a:r>
                    </a:p>
                  </a:txBody>
                  <a:tcPr anchor="ctr"/>
                </a:tc>
                <a:tc>
                  <a:txBody>
                    <a:bodyPr/>
                    <a:lstStyle/>
                    <a:p>
                      <a:pPr algn="ctr"/>
                      <a:r>
                        <a:rPr lang="en-BR" sz="1200" b="1" i="0">
                          <a:latin typeface="Segoe UI" panose="020B0502040204020203" pitchFamily="34" charset="0"/>
                          <a:cs typeface="Segoe UI" panose="020B0502040204020203" pitchFamily="34" charset="0"/>
                        </a:rPr>
                        <a:t>2023</a:t>
                      </a:r>
                    </a:p>
                  </a:txBody>
                  <a:tcPr anchor="ctr"/>
                </a:tc>
                <a:tc>
                  <a:txBody>
                    <a:bodyPr/>
                    <a:lstStyle/>
                    <a:p>
                      <a:pPr algn="ctr"/>
                      <a:r>
                        <a:rPr lang="en-BR" sz="1200" b="1" i="0">
                          <a:latin typeface="Segoe UI" panose="020B0502040204020203" pitchFamily="34" charset="0"/>
                          <a:cs typeface="Segoe UI" panose="020B0502040204020203" pitchFamily="34" charset="0"/>
                        </a:rPr>
                        <a:t>2024</a:t>
                      </a:r>
                    </a:p>
                  </a:txBody>
                  <a:tcPr anchor="ctr"/>
                </a:tc>
                <a:tc>
                  <a:txBody>
                    <a:bodyPr/>
                    <a:lstStyle/>
                    <a:p>
                      <a:pPr algn="ctr"/>
                      <a:r>
                        <a:rPr lang="en-BR" sz="1200" b="1" i="0">
                          <a:latin typeface="Segoe UI" panose="020B0502040204020203" pitchFamily="34" charset="0"/>
                          <a:cs typeface="Segoe UI" panose="020B0502040204020203" pitchFamily="34" charset="0"/>
                        </a:rPr>
                        <a:t>2025</a:t>
                      </a:r>
                    </a:p>
                  </a:txBody>
                  <a:tcPr anchor="ctr"/>
                </a:tc>
                <a:extLst>
                  <a:ext uri="{0D108BD9-81ED-4DB2-BD59-A6C34878D82A}">
                    <a16:rowId xmlns:a16="http://schemas.microsoft.com/office/drawing/2014/main" val="2203743018"/>
                  </a:ext>
                </a:extLst>
              </a:tr>
              <a:tr h="277699">
                <a:tc>
                  <a:txBody>
                    <a:bodyPr/>
                    <a:lstStyle/>
                    <a:p>
                      <a:pPr algn="ctr"/>
                      <a:r>
                        <a:rPr lang="en-BR" sz="1200" b="0" i="0">
                          <a:latin typeface="Segoe UI" panose="020B0502040204020203" pitchFamily="34" charset="0"/>
                          <a:cs typeface="Segoe UI" panose="020B0502040204020203" pitchFamily="34" charset="0"/>
                        </a:rPr>
                        <a:t>Data</a:t>
                      </a: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extLst>
                  <a:ext uri="{0D108BD9-81ED-4DB2-BD59-A6C34878D82A}">
                    <a16:rowId xmlns:a16="http://schemas.microsoft.com/office/drawing/2014/main" val="3405870087"/>
                  </a:ext>
                </a:extLst>
              </a:tr>
              <a:tr h="277699">
                <a:tc>
                  <a:txBody>
                    <a:bodyPr/>
                    <a:lstStyle/>
                    <a:p>
                      <a:pPr algn="ctr"/>
                      <a:r>
                        <a:rPr lang="en-BR" sz="1200" b="0" i="0">
                          <a:latin typeface="Segoe UI" panose="020B0502040204020203" pitchFamily="34" charset="0"/>
                          <a:cs typeface="Segoe UI" panose="020B0502040204020203" pitchFamily="34" charset="0"/>
                        </a:rPr>
                        <a:t>Data</a:t>
                      </a: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extLst>
                  <a:ext uri="{0D108BD9-81ED-4DB2-BD59-A6C34878D82A}">
                    <a16:rowId xmlns:a16="http://schemas.microsoft.com/office/drawing/2014/main" val="4123856554"/>
                  </a:ext>
                </a:extLst>
              </a:tr>
              <a:tr h="277699">
                <a:tc>
                  <a:txBody>
                    <a:bodyPr/>
                    <a:lstStyle/>
                    <a:p>
                      <a:pPr algn="ctr"/>
                      <a:r>
                        <a:rPr lang="en-BR" sz="1200" b="0" i="0">
                          <a:latin typeface="Segoe UI" panose="020B0502040204020203" pitchFamily="34" charset="0"/>
                          <a:cs typeface="Segoe UI" panose="020B0502040204020203" pitchFamily="34" charset="0"/>
                        </a:rPr>
                        <a:t>Data</a:t>
                      </a: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extLst>
                  <a:ext uri="{0D108BD9-81ED-4DB2-BD59-A6C34878D82A}">
                    <a16:rowId xmlns:a16="http://schemas.microsoft.com/office/drawing/2014/main" val="3971460405"/>
                  </a:ext>
                </a:extLst>
              </a:tr>
              <a:tr h="277699">
                <a:tc>
                  <a:txBody>
                    <a:bodyPr/>
                    <a:lstStyle/>
                    <a:p>
                      <a:pPr algn="ctr"/>
                      <a:r>
                        <a:rPr lang="en-BR" sz="1200" b="0" i="0">
                          <a:latin typeface="Segoe UI" panose="020B0502040204020203" pitchFamily="34" charset="0"/>
                          <a:cs typeface="Segoe UI" panose="020B0502040204020203" pitchFamily="34" charset="0"/>
                        </a:rPr>
                        <a:t>Data</a:t>
                      </a: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extLst>
                  <a:ext uri="{0D108BD9-81ED-4DB2-BD59-A6C34878D82A}">
                    <a16:rowId xmlns:a16="http://schemas.microsoft.com/office/drawing/2014/main" val="3297231382"/>
                  </a:ext>
                </a:extLst>
              </a:tr>
              <a:tr h="277699">
                <a:tc>
                  <a:txBody>
                    <a:bodyPr/>
                    <a:lstStyle/>
                    <a:p>
                      <a:pPr algn="ctr"/>
                      <a:r>
                        <a:rPr lang="en-BR" sz="1200" b="0" i="0">
                          <a:latin typeface="Segoe UI" panose="020B0502040204020203" pitchFamily="34" charset="0"/>
                          <a:cs typeface="Segoe UI" panose="020B0502040204020203" pitchFamily="34" charset="0"/>
                        </a:rPr>
                        <a:t>Data</a:t>
                      </a: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extLst>
                  <a:ext uri="{0D108BD9-81ED-4DB2-BD59-A6C34878D82A}">
                    <a16:rowId xmlns:a16="http://schemas.microsoft.com/office/drawing/2014/main" val="1963350489"/>
                  </a:ext>
                </a:extLst>
              </a:tr>
              <a:tr h="277699">
                <a:tc>
                  <a:txBody>
                    <a:bodyPr/>
                    <a:lstStyle/>
                    <a:p>
                      <a:pPr algn="ctr"/>
                      <a:r>
                        <a:rPr lang="en-BR" sz="1200" b="0" i="0">
                          <a:latin typeface="Segoe UI" panose="020B0502040204020203" pitchFamily="34" charset="0"/>
                          <a:cs typeface="Segoe UI" panose="020B0502040204020203" pitchFamily="34" charset="0"/>
                        </a:rPr>
                        <a:t>Data</a:t>
                      </a: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extLst>
                  <a:ext uri="{0D108BD9-81ED-4DB2-BD59-A6C34878D82A}">
                    <a16:rowId xmlns:a16="http://schemas.microsoft.com/office/drawing/2014/main" val="612422566"/>
                  </a:ext>
                </a:extLst>
              </a:tr>
              <a:tr h="277699">
                <a:tc>
                  <a:txBody>
                    <a:bodyPr/>
                    <a:lstStyle/>
                    <a:p>
                      <a:pPr algn="ctr"/>
                      <a:r>
                        <a:rPr lang="en-BR" sz="1200" b="0" i="0">
                          <a:latin typeface="Segoe UI" panose="020B0502040204020203" pitchFamily="34" charset="0"/>
                          <a:cs typeface="Segoe UI" panose="020B0502040204020203" pitchFamily="34" charset="0"/>
                        </a:rPr>
                        <a:t>Data</a:t>
                      </a: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tc>
                  <a:txBody>
                    <a:bodyPr/>
                    <a:lstStyle/>
                    <a:p>
                      <a:pPr algn="ctr"/>
                      <a:endParaRPr lang="en-BR" sz="1200" b="0" i="0">
                        <a:latin typeface="Segoe UI" panose="020B0502040204020203" pitchFamily="34" charset="0"/>
                        <a:cs typeface="Segoe UI" panose="020B0502040204020203" pitchFamily="34" charset="0"/>
                      </a:endParaRPr>
                    </a:p>
                  </a:txBody>
                  <a:tcPr anchor="ctr"/>
                </a:tc>
                <a:extLst>
                  <a:ext uri="{0D108BD9-81ED-4DB2-BD59-A6C34878D82A}">
                    <a16:rowId xmlns:a16="http://schemas.microsoft.com/office/drawing/2014/main" val="2636326411"/>
                  </a:ext>
                </a:extLst>
              </a:tr>
            </a:tbl>
          </a:graphicData>
        </a:graphic>
      </p:graphicFrame>
      <p:cxnSp>
        <p:nvCxnSpPr>
          <p:cNvPr id="12" name="Straight Connector 11">
            <a:extLst>
              <a:ext uri="{FF2B5EF4-FFF2-40B4-BE49-F238E27FC236}">
                <a16:creationId xmlns:a16="http://schemas.microsoft.com/office/drawing/2014/main" id="{0786CBA7-3ACE-23E2-E591-A610F98095F5}"/>
              </a:ext>
            </a:extLst>
          </p:cNvPr>
          <p:cNvCxnSpPr>
            <a:cxnSpLocks/>
          </p:cNvCxnSpPr>
          <p:nvPr/>
        </p:nvCxnSpPr>
        <p:spPr>
          <a:xfrm>
            <a:off x="389467" y="3532340"/>
            <a:ext cx="4157477" cy="0"/>
          </a:xfrm>
          <a:prstGeom prst="line">
            <a:avLst/>
          </a:prstGeom>
          <a:ln w="12700">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14611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0604E-B2EF-ECC8-12D9-84F5CA917796}"/>
              </a:ext>
            </a:extLst>
          </p:cNvPr>
          <p:cNvSpPr>
            <a:spLocks noGrp="1"/>
          </p:cNvSpPr>
          <p:nvPr>
            <p:ph type="title"/>
          </p:nvPr>
        </p:nvSpPr>
        <p:spPr/>
        <p:txBody>
          <a:bodyPr/>
          <a:lstStyle/>
          <a:p>
            <a:r>
              <a:rPr lang="en-BR"/>
              <a:t>01 | Text Display Slides</a:t>
            </a:r>
          </a:p>
        </p:txBody>
      </p:sp>
      <p:sp>
        <p:nvSpPr>
          <p:cNvPr id="4" name="Footer Placeholder 3">
            <a:extLst>
              <a:ext uri="{FF2B5EF4-FFF2-40B4-BE49-F238E27FC236}">
                <a16:creationId xmlns:a16="http://schemas.microsoft.com/office/drawing/2014/main" id="{B08608A0-1ED0-3E57-95C9-B6E9EA822ED7}"/>
              </a:ext>
            </a:extLst>
          </p:cNvPr>
          <p:cNvSpPr>
            <a:spLocks noGrp="1"/>
          </p:cNvSpPr>
          <p:nvPr>
            <p:ph type="ftr" sz="quarter" idx="11"/>
          </p:nvPr>
        </p:nvSpPr>
        <p:spPr/>
        <p:txBody>
          <a:bodyPr/>
          <a:lstStyle/>
          <a:p>
            <a:r>
              <a:rPr lang="en-US"/>
              <a:t>© 2024 Mobiz. All rights reserved</a:t>
            </a:r>
            <a:endParaRPr lang="en-BR"/>
          </a:p>
        </p:txBody>
      </p:sp>
      <p:sp>
        <p:nvSpPr>
          <p:cNvPr id="5" name="Slide Number Placeholder 4">
            <a:extLst>
              <a:ext uri="{FF2B5EF4-FFF2-40B4-BE49-F238E27FC236}">
                <a16:creationId xmlns:a16="http://schemas.microsoft.com/office/drawing/2014/main" id="{C0BDF99A-CF51-50AE-9564-15809C608E3A}"/>
              </a:ext>
            </a:extLst>
          </p:cNvPr>
          <p:cNvSpPr>
            <a:spLocks noGrp="1"/>
          </p:cNvSpPr>
          <p:nvPr>
            <p:ph type="sldNum" sz="quarter" idx="12"/>
          </p:nvPr>
        </p:nvSpPr>
        <p:spPr/>
        <p:txBody>
          <a:bodyPr/>
          <a:lstStyle/>
          <a:p>
            <a:fld id="{A8DDC45B-7265-3747-B738-ED29642119D9}" type="slidenum">
              <a:rPr lang="en-BR" smtClean="0"/>
              <a:pPr/>
              <a:t>3</a:t>
            </a:fld>
            <a:endParaRPr lang="en-BR"/>
          </a:p>
        </p:txBody>
      </p:sp>
      <p:sp>
        <p:nvSpPr>
          <p:cNvPr id="6" name="TextBox 5">
            <a:hlinkClick r:id="rId2" action="ppaction://hlinksldjump"/>
            <a:extLst>
              <a:ext uri="{FF2B5EF4-FFF2-40B4-BE49-F238E27FC236}">
                <a16:creationId xmlns:a16="http://schemas.microsoft.com/office/drawing/2014/main" id="{AAF84FA6-36FE-5DCF-1E8F-403335FFDDB1}"/>
              </a:ext>
            </a:extLst>
          </p:cNvPr>
          <p:cNvSpPr txBox="1"/>
          <p:nvPr/>
        </p:nvSpPr>
        <p:spPr>
          <a:xfrm>
            <a:off x="391754" y="780820"/>
            <a:ext cx="543739" cy="246221"/>
          </a:xfrm>
          <a:prstGeom prst="rect">
            <a:avLst/>
          </a:prstGeom>
          <a:noFill/>
        </p:spPr>
        <p:txBody>
          <a:bodyPr wrap="none" rtlCol="0">
            <a:spAutoFit/>
          </a:bodyPr>
          <a:lstStyle/>
          <a:p>
            <a:r>
              <a:rPr lang="en-BR" sz="1000">
                <a:solidFill>
                  <a:schemeClr val="accent3">
                    <a:lumMod val="60000"/>
                    <a:lumOff val="40000"/>
                  </a:schemeClr>
                </a:solidFill>
                <a:latin typeface="Segoe UI" panose="020B0502040204020203" pitchFamily="34" charset="0"/>
                <a:cs typeface="Segoe UI" panose="020B0502040204020203" pitchFamily="34" charset="0"/>
              </a:rPr>
              <a:t>INDEX</a:t>
            </a:r>
          </a:p>
        </p:txBody>
      </p:sp>
      <p:pic>
        <p:nvPicPr>
          <p:cNvPr id="8" name="Graphic 7" descr="Home with solid fill">
            <a:hlinkClick r:id="rId2" action="ppaction://hlinksldjump"/>
            <a:extLst>
              <a:ext uri="{FF2B5EF4-FFF2-40B4-BE49-F238E27FC236}">
                <a16:creationId xmlns:a16="http://schemas.microsoft.com/office/drawing/2014/main" id="{EFC306D2-D9B6-539A-8608-2DFC563C5A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1754" y="317458"/>
            <a:ext cx="543739" cy="543739"/>
          </a:xfrm>
          <a:prstGeom prst="rect">
            <a:avLst/>
          </a:prstGeom>
        </p:spPr>
      </p:pic>
    </p:spTree>
    <p:extLst>
      <p:ext uri="{BB962C8B-B14F-4D97-AF65-F5344CB8AC3E}">
        <p14:creationId xmlns:p14="http://schemas.microsoft.com/office/powerpoint/2010/main" val="41941194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556B9-7C18-8178-1671-8C14ED1D3380}"/>
              </a:ext>
            </a:extLst>
          </p:cNvPr>
          <p:cNvSpPr>
            <a:spLocks noGrp="1"/>
          </p:cNvSpPr>
          <p:nvPr>
            <p:ph type="title"/>
          </p:nvPr>
        </p:nvSpPr>
        <p:spPr/>
        <p:txBody>
          <a:bodyPr/>
          <a:lstStyle/>
          <a:p>
            <a:r>
              <a:rPr lang="en-BR"/>
              <a:t>Data 	Display</a:t>
            </a:r>
          </a:p>
        </p:txBody>
      </p:sp>
      <p:sp>
        <p:nvSpPr>
          <p:cNvPr id="3" name="Footer Placeholder 2">
            <a:extLst>
              <a:ext uri="{FF2B5EF4-FFF2-40B4-BE49-F238E27FC236}">
                <a16:creationId xmlns:a16="http://schemas.microsoft.com/office/drawing/2014/main" id="{9CB65AE7-E536-5B35-3F78-E3FB3DD505AD}"/>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DF691BAD-83AA-D620-6BCC-B09B4E5E0AE7}"/>
              </a:ext>
            </a:extLst>
          </p:cNvPr>
          <p:cNvSpPr>
            <a:spLocks noGrp="1"/>
          </p:cNvSpPr>
          <p:nvPr>
            <p:ph type="sldNum" sz="quarter" idx="12"/>
          </p:nvPr>
        </p:nvSpPr>
        <p:spPr/>
        <p:txBody>
          <a:bodyPr/>
          <a:lstStyle/>
          <a:p>
            <a:fld id="{A8DDC45B-7265-3747-B738-ED29642119D9}" type="slidenum">
              <a:rPr lang="en-BR" smtClean="0"/>
              <a:pPr/>
              <a:t>30</a:t>
            </a:fld>
            <a:endParaRPr lang="en-BR"/>
          </a:p>
        </p:txBody>
      </p:sp>
      <p:sp>
        <p:nvSpPr>
          <p:cNvPr id="5" name="Text Placeholder 4">
            <a:extLst>
              <a:ext uri="{FF2B5EF4-FFF2-40B4-BE49-F238E27FC236}">
                <a16:creationId xmlns:a16="http://schemas.microsoft.com/office/drawing/2014/main" id="{3AA70562-BCE4-F313-3D44-4EBB87B1123E}"/>
              </a:ext>
            </a:extLst>
          </p:cNvPr>
          <p:cNvSpPr>
            <a:spLocks noGrp="1"/>
          </p:cNvSpPr>
          <p:nvPr>
            <p:ph type="body" sz="quarter" idx="13"/>
          </p:nvPr>
        </p:nvSpPr>
        <p:spPr/>
        <p:txBody>
          <a:bodyPr/>
          <a:lstStyle/>
          <a:p>
            <a:r>
              <a:rPr lang="en-BR"/>
              <a:t>Grouped Correlation</a:t>
            </a:r>
          </a:p>
        </p:txBody>
      </p:sp>
      <p:graphicFrame>
        <p:nvGraphicFramePr>
          <p:cNvPr id="6" name="Object 2">
            <a:extLst>
              <a:ext uri="{FF2B5EF4-FFF2-40B4-BE49-F238E27FC236}">
                <a16:creationId xmlns:a16="http://schemas.microsoft.com/office/drawing/2014/main" id="{0FADD75E-CCBF-00CE-1901-2518224B9093}"/>
              </a:ext>
            </a:extLst>
          </p:cNvPr>
          <p:cNvGraphicFramePr>
            <a:graphicFrameLocks/>
          </p:cNvGraphicFramePr>
          <p:nvPr>
            <p:extLst>
              <p:ext uri="{D42A27DB-BD31-4B8C-83A1-F6EECF244321}">
                <p14:modId xmlns:p14="http://schemas.microsoft.com/office/powerpoint/2010/main" val="82669040"/>
              </p:ext>
            </p:extLst>
          </p:nvPr>
        </p:nvGraphicFramePr>
        <p:xfrm>
          <a:off x="346076" y="1913682"/>
          <a:ext cx="11510962" cy="411797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793703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0604E-B2EF-ECC8-12D9-84F5CA917796}"/>
              </a:ext>
            </a:extLst>
          </p:cNvPr>
          <p:cNvSpPr>
            <a:spLocks noGrp="1"/>
          </p:cNvSpPr>
          <p:nvPr>
            <p:ph type="title"/>
          </p:nvPr>
        </p:nvSpPr>
        <p:spPr/>
        <p:txBody>
          <a:bodyPr/>
          <a:lstStyle/>
          <a:p>
            <a:r>
              <a:rPr lang="en-BR"/>
              <a:t>05 | Project Management Slides</a:t>
            </a:r>
          </a:p>
        </p:txBody>
      </p:sp>
      <p:sp>
        <p:nvSpPr>
          <p:cNvPr id="3" name="Footer Placeholder 2">
            <a:extLst>
              <a:ext uri="{FF2B5EF4-FFF2-40B4-BE49-F238E27FC236}">
                <a16:creationId xmlns:a16="http://schemas.microsoft.com/office/drawing/2014/main" id="{68095314-A106-3EFD-E0E0-EA81158FBF86}"/>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753501AF-249E-1B2A-81C8-A3D2D74D556C}"/>
              </a:ext>
            </a:extLst>
          </p:cNvPr>
          <p:cNvSpPr>
            <a:spLocks noGrp="1"/>
          </p:cNvSpPr>
          <p:nvPr>
            <p:ph type="sldNum" sz="quarter" idx="12"/>
          </p:nvPr>
        </p:nvSpPr>
        <p:spPr/>
        <p:txBody>
          <a:bodyPr/>
          <a:lstStyle/>
          <a:p>
            <a:fld id="{A8DDC45B-7265-3747-B738-ED29642119D9}" type="slidenum">
              <a:rPr lang="en-BR" smtClean="0"/>
              <a:pPr/>
              <a:t>31</a:t>
            </a:fld>
            <a:endParaRPr lang="en-BR"/>
          </a:p>
        </p:txBody>
      </p:sp>
      <p:sp>
        <p:nvSpPr>
          <p:cNvPr id="8" name="TextBox 7">
            <a:hlinkClick r:id="rId2" action="ppaction://hlinksldjump"/>
            <a:extLst>
              <a:ext uri="{FF2B5EF4-FFF2-40B4-BE49-F238E27FC236}">
                <a16:creationId xmlns:a16="http://schemas.microsoft.com/office/drawing/2014/main" id="{F3A3E5D9-2114-798F-AF69-72CB72CA924E}"/>
              </a:ext>
            </a:extLst>
          </p:cNvPr>
          <p:cNvSpPr txBox="1"/>
          <p:nvPr/>
        </p:nvSpPr>
        <p:spPr>
          <a:xfrm>
            <a:off x="391754" y="780820"/>
            <a:ext cx="543739" cy="246221"/>
          </a:xfrm>
          <a:prstGeom prst="rect">
            <a:avLst/>
          </a:prstGeom>
          <a:noFill/>
        </p:spPr>
        <p:txBody>
          <a:bodyPr wrap="none" rtlCol="0">
            <a:spAutoFit/>
          </a:bodyPr>
          <a:lstStyle/>
          <a:p>
            <a:r>
              <a:rPr lang="en-BR" sz="1000">
                <a:solidFill>
                  <a:schemeClr val="accent3">
                    <a:lumMod val="60000"/>
                    <a:lumOff val="40000"/>
                  </a:schemeClr>
                </a:solidFill>
                <a:latin typeface="Segoe UI" panose="020B0502040204020203" pitchFamily="34" charset="0"/>
                <a:cs typeface="Segoe UI" panose="020B0502040204020203" pitchFamily="34" charset="0"/>
              </a:rPr>
              <a:t>INDEX</a:t>
            </a:r>
          </a:p>
        </p:txBody>
      </p:sp>
      <p:pic>
        <p:nvPicPr>
          <p:cNvPr id="9" name="Graphic 8" descr="Home with solid fill">
            <a:hlinkClick r:id="rId2" action="ppaction://hlinksldjump"/>
            <a:extLst>
              <a:ext uri="{FF2B5EF4-FFF2-40B4-BE49-F238E27FC236}">
                <a16:creationId xmlns:a16="http://schemas.microsoft.com/office/drawing/2014/main" id="{246D045C-7623-5A7A-9AA9-27CF27400D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1754" y="317458"/>
            <a:ext cx="543739" cy="543739"/>
          </a:xfrm>
          <a:prstGeom prst="rect">
            <a:avLst/>
          </a:prstGeom>
        </p:spPr>
      </p:pic>
    </p:spTree>
    <p:extLst>
      <p:ext uri="{BB962C8B-B14F-4D97-AF65-F5344CB8AC3E}">
        <p14:creationId xmlns:p14="http://schemas.microsoft.com/office/powerpoint/2010/main" val="29522665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F4FDF-126C-8BB9-3E87-0A0BC5BFAA8B}"/>
              </a:ext>
            </a:extLst>
          </p:cNvPr>
          <p:cNvSpPr>
            <a:spLocks noGrp="1"/>
          </p:cNvSpPr>
          <p:nvPr>
            <p:ph type="title"/>
          </p:nvPr>
        </p:nvSpPr>
        <p:spPr/>
        <p:txBody>
          <a:bodyPr/>
          <a:lstStyle/>
          <a:p>
            <a:r>
              <a:rPr lang="en-BR"/>
              <a:t>Project Management</a:t>
            </a:r>
          </a:p>
        </p:txBody>
      </p:sp>
      <p:sp>
        <p:nvSpPr>
          <p:cNvPr id="3" name="Footer Placeholder 2">
            <a:extLst>
              <a:ext uri="{FF2B5EF4-FFF2-40B4-BE49-F238E27FC236}">
                <a16:creationId xmlns:a16="http://schemas.microsoft.com/office/drawing/2014/main" id="{F666CDE2-2AB2-F28B-0907-197D9563936B}"/>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F13E676B-77D2-F33A-787B-C5EEA7CFE3DF}"/>
              </a:ext>
            </a:extLst>
          </p:cNvPr>
          <p:cNvSpPr>
            <a:spLocks noGrp="1"/>
          </p:cNvSpPr>
          <p:nvPr>
            <p:ph type="sldNum" sz="quarter" idx="12"/>
          </p:nvPr>
        </p:nvSpPr>
        <p:spPr/>
        <p:txBody>
          <a:bodyPr/>
          <a:lstStyle/>
          <a:p>
            <a:fld id="{A8DDC45B-7265-3747-B738-ED29642119D9}" type="slidenum">
              <a:rPr lang="en-BR" smtClean="0"/>
              <a:pPr/>
              <a:t>32</a:t>
            </a:fld>
            <a:endParaRPr lang="en-BR"/>
          </a:p>
        </p:txBody>
      </p:sp>
      <p:sp>
        <p:nvSpPr>
          <p:cNvPr id="5" name="Text Placeholder 4">
            <a:extLst>
              <a:ext uri="{FF2B5EF4-FFF2-40B4-BE49-F238E27FC236}">
                <a16:creationId xmlns:a16="http://schemas.microsoft.com/office/drawing/2014/main" id="{F97CA24D-739A-C58E-2E91-C9E08AE6B2DB}"/>
              </a:ext>
            </a:extLst>
          </p:cNvPr>
          <p:cNvSpPr>
            <a:spLocks noGrp="1"/>
          </p:cNvSpPr>
          <p:nvPr>
            <p:ph type="body" sz="quarter" idx="13"/>
          </p:nvPr>
        </p:nvSpPr>
        <p:spPr/>
        <p:txBody>
          <a:bodyPr/>
          <a:lstStyle/>
          <a:p>
            <a:r>
              <a:rPr lang="en-BR"/>
              <a:t>Project Status</a:t>
            </a:r>
          </a:p>
        </p:txBody>
      </p:sp>
      <p:sp>
        <p:nvSpPr>
          <p:cNvPr id="6" name="Rectangle 2">
            <a:extLst>
              <a:ext uri="{FF2B5EF4-FFF2-40B4-BE49-F238E27FC236}">
                <a16:creationId xmlns:a16="http://schemas.microsoft.com/office/drawing/2014/main" id="{597B49D9-F4C2-22D3-EC4D-E0ECAEDEC841}"/>
              </a:ext>
            </a:extLst>
          </p:cNvPr>
          <p:cNvSpPr txBox="1">
            <a:spLocks noChangeArrowheads="1"/>
          </p:cNvSpPr>
          <p:nvPr/>
        </p:nvSpPr>
        <p:spPr bwMode="auto">
          <a:xfrm>
            <a:off x="808567" y="1635733"/>
            <a:ext cx="5341938" cy="6546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762000" fontAlgn="base">
              <a:spcBef>
                <a:spcPts val="100"/>
              </a:spcBef>
              <a:spcAft>
                <a:spcPts val="100"/>
              </a:spcAft>
              <a:tabLst>
                <a:tab pos="2147888" algn="l"/>
              </a:tabLst>
              <a:defRPr/>
            </a:pPr>
            <a:r>
              <a:rPr lang="en-US" sz="1400" b="1">
                <a:solidFill>
                  <a:srgbClr val="000000"/>
                </a:solidFill>
                <a:latin typeface="Segoe UI" panose="020B0502040204020203" pitchFamily="34" charset="0"/>
                <a:cs typeface="Segoe UI" panose="020B0502040204020203" pitchFamily="34" charset="0"/>
              </a:rPr>
              <a:t>Workstream: </a:t>
            </a:r>
            <a:r>
              <a:rPr lang="en-US" sz="1400">
                <a:solidFill>
                  <a:srgbClr val="000000"/>
                </a:solidFill>
                <a:latin typeface="Segoe UI" panose="020B0502040204020203" pitchFamily="34" charset="0"/>
                <a:cs typeface="Segoe UI" panose="020B0502040204020203" pitchFamily="34" charset="0"/>
              </a:rPr>
              <a:t>&lt;Workstream Name&gt;</a:t>
            </a:r>
            <a:br>
              <a:rPr lang="en-US" sz="1400">
                <a:solidFill>
                  <a:srgbClr val="000000"/>
                </a:solidFill>
                <a:latin typeface="Segoe UI" panose="020B0502040204020203" pitchFamily="34" charset="0"/>
                <a:cs typeface="Segoe UI" panose="020B0502040204020203" pitchFamily="34" charset="0"/>
              </a:rPr>
            </a:br>
            <a:r>
              <a:rPr lang="en-US" sz="1400" b="1">
                <a:solidFill>
                  <a:srgbClr val="000000"/>
                </a:solidFill>
                <a:latin typeface="Segoe UI" panose="020B0502040204020203" pitchFamily="34" charset="0"/>
                <a:cs typeface="Segoe UI" panose="020B0502040204020203" pitchFamily="34" charset="0"/>
              </a:rPr>
              <a:t>Workstream Lead: </a:t>
            </a:r>
            <a:r>
              <a:rPr lang="en-US" sz="1400">
                <a:solidFill>
                  <a:srgbClr val="000000"/>
                </a:solidFill>
                <a:latin typeface="Segoe UI" panose="020B0502040204020203" pitchFamily="34" charset="0"/>
                <a:cs typeface="Segoe UI" panose="020B0502040204020203" pitchFamily="34" charset="0"/>
              </a:rPr>
              <a:t>&lt; Name&gt;</a:t>
            </a:r>
          </a:p>
        </p:txBody>
      </p:sp>
      <p:graphicFrame>
        <p:nvGraphicFramePr>
          <p:cNvPr id="7" name="Group 97">
            <a:extLst>
              <a:ext uri="{FF2B5EF4-FFF2-40B4-BE49-F238E27FC236}">
                <a16:creationId xmlns:a16="http://schemas.microsoft.com/office/drawing/2014/main" id="{2C0E8B23-4771-08AA-AFFC-3DB60CCC888A}"/>
              </a:ext>
            </a:extLst>
          </p:cNvPr>
          <p:cNvGraphicFramePr>
            <a:graphicFrameLocks noGrp="1"/>
          </p:cNvGraphicFramePr>
          <p:nvPr>
            <p:extLst>
              <p:ext uri="{D42A27DB-BD31-4B8C-83A1-F6EECF244321}">
                <p14:modId xmlns:p14="http://schemas.microsoft.com/office/powerpoint/2010/main" val="3196683022"/>
              </p:ext>
            </p:extLst>
          </p:nvPr>
        </p:nvGraphicFramePr>
        <p:xfrm>
          <a:off x="338138" y="2383699"/>
          <a:ext cx="11652443" cy="3996441"/>
        </p:xfrm>
        <a:graphic>
          <a:graphicData uri="http://schemas.openxmlformats.org/drawingml/2006/table">
            <a:tbl>
              <a:tblPr/>
              <a:tblGrid>
                <a:gridCol w="2197983">
                  <a:extLst>
                    <a:ext uri="{9D8B030D-6E8A-4147-A177-3AD203B41FA5}">
                      <a16:colId xmlns:a16="http://schemas.microsoft.com/office/drawing/2014/main" val="20000"/>
                    </a:ext>
                  </a:extLst>
                </a:gridCol>
                <a:gridCol w="575972">
                  <a:extLst>
                    <a:ext uri="{9D8B030D-6E8A-4147-A177-3AD203B41FA5}">
                      <a16:colId xmlns:a16="http://schemas.microsoft.com/office/drawing/2014/main" val="20001"/>
                    </a:ext>
                  </a:extLst>
                </a:gridCol>
                <a:gridCol w="2850494">
                  <a:extLst>
                    <a:ext uri="{9D8B030D-6E8A-4147-A177-3AD203B41FA5}">
                      <a16:colId xmlns:a16="http://schemas.microsoft.com/office/drawing/2014/main" val="20002"/>
                    </a:ext>
                  </a:extLst>
                </a:gridCol>
                <a:gridCol w="4756140">
                  <a:extLst>
                    <a:ext uri="{9D8B030D-6E8A-4147-A177-3AD203B41FA5}">
                      <a16:colId xmlns:a16="http://schemas.microsoft.com/office/drawing/2014/main" val="20003"/>
                    </a:ext>
                  </a:extLst>
                </a:gridCol>
                <a:gridCol w="1271854">
                  <a:extLst>
                    <a:ext uri="{9D8B030D-6E8A-4147-A177-3AD203B41FA5}">
                      <a16:colId xmlns:a16="http://schemas.microsoft.com/office/drawing/2014/main" val="20004"/>
                    </a:ext>
                  </a:extLst>
                </a:gridCol>
              </a:tblGrid>
              <a:tr h="241931">
                <a:tc gridSpan="2">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184150" algn="l" defTabSz="914400" rtl="0" eaLnBrk="1" fontAlgn="base" latinLnBrk="0" hangingPunct="1">
                        <a:lnSpc>
                          <a:spcPct val="100000"/>
                        </a:lnSpc>
                        <a:spcBef>
                          <a:spcPts val="0"/>
                        </a:spcBef>
                        <a:spcAft>
                          <a:spcPct val="0"/>
                        </a:spcAft>
                        <a:buClrTx/>
                        <a:buSzTx/>
                        <a:buFont typeface="Wingdings" pitchFamily="2" charset="2"/>
                        <a:buNone/>
                        <a:tabLst/>
                      </a:pPr>
                      <a:r>
                        <a:rPr kumimoji="0" lang="en-US" sz="1100" b="1" i="0" u="none" strike="noStrike" cap="none" normalizeH="0" baseline="0">
                          <a:ln>
                            <a:noFill/>
                          </a:ln>
                          <a:solidFill>
                            <a:schemeClr val="bg1"/>
                          </a:solidFill>
                          <a:effectLst/>
                          <a:latin typeface="Arial" charset="0"/>
                        </a:rPr>
                        <a:t>Status</a:t>
                      </a:r>
                    </a:p>
                  </a:txBody>
                  <a:tcPr marL="72000" marR="36000" marT="36000" marB="36000" anchor="ctr"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solidFill>
                      <a:schemeClr val="tx1">
                        <a:lumMod val="65000"/>
                        <a:lumOff val="35000"/>
                      </a:schemeClr>
                    </a:solidFill>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ts val="0"/>
                        </a:spcBef>
                        <a:spcAft>
                          <a:spcPct val="0"/>
                        </a:spcAft>
                        <a:buClrTx/>
                        <a:buSzTx/>
                        <a:buFont typeface="Wingdings" pitchFamily="2" charset="2"/>
                        <a:buNone/>
                        <a:tabLst/>
                      </a:pPr>
                      <a:r>
                        <a:rPr kumimoji="0" lang="en-US" sz="1100" b="1" i="0" u="none" strike="noStrike" cap="none" normalizeH="0" baseline="0">
                          <a:ln>
                            <a:noFill/>
                          </a:ln>
                          <a:solidFill>
                            <a:schemeClr val="bg1"/>
                          </a:solidFill>
                          <a:effectLst/>
                          <a:latin typeface="Arial" charset="0"/>
                          <a:sym typeface="Webdings" pitchFamily="18" charset="2"/>
                        </a:rPr>
                        <a:t>Comment</a:t>
                      </a:r>
                      <a:endParaRPr kumimoji="0" lang="en-US" sz="1100" b="1" i="0" u="none" strike="noStrike" cap="none" normalizeH="0" baseline="0">
                        <a:ln>
                          <a:noFill/>
                        </a:ln>
                        <a:solidFill>
                          <a:schemeClr val="bg1"/>
                        </a:solidFill>
                        <a:effectLst/>
                        <a:latin typeface="Arial" charset="0"/>
                      </a:endParaRPr>
                    </a:p>
                  </a:txBody>
                  <a:tcPr marL="72000" marR="36000" marT="36000" marB="36000" anchor="ctr"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solidFill>
                      <a:schemeClr val="tx1">
                        <a:lumMod val="65000"/>
                        <a:lumOff val="35000"/>
                      </a:schemeClr>
                    </a:solidFill>
                  </a:tcPr>
                </a:tc>
                <a:tc gridSpan="2">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95250" algn="l" defTabSz="914400" rtl="0" eaLnBrk="1" fontAlgn="base" latinLnBrk="0" hangingPunct="1">
                        <a:lnSpc>
                          <a:spcPct val="100000"/>
                        </a:lnSpc>
                        <a:spcBef>
                          <a:spcPts val="0"/>
                        </a:spcBef>
                        <a:spcAft>
                          <a:spcPct val="0"/>
                        </a:spcAft>
                        <a:buClrTx/>
                        <a:buSzTx/>
                        <a:buFont typeface="Wingdings" pitchFamily="2" charset="2"/>
                        <a:buNone/>
                        <a:tabLst/>
                      </a:pPr>
                      <a:r>
                        <a:rPr kumimoji="0" lang="en-US" sz="1100" b="1" i="0" u="none" strike="noStrike" cap="none" normalizeH="0" baseline="0">
                          <a:ln>
                            <a:noFill/>
                          </a:ln>
                          <a:solidFill>
                            <a:schemeClr val="bg1"/>
                          </a:solidFill>
                          <a:effectLst/>
                          <a:latin typeface="Arial" charset="0"/>
                        </a:rPr>
                        <a:t>Progress Since Last Report</a:t>
                      </a:r>
                    </a:p>
                  </a:txBody>
                  <a:tcPr marL="72000" marR="36000" marT="36000" marB="36000" anchor="ctr"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solidFill>
                      <a:schemeClr val="tx1">
                        <a:lumMod val="65000"/>
                        <a:lumOff val="35000"/>
                      </a:schemeClr>
                    </a:solidFill>
                  </a:tcPr>
                </a:tc>
                <a:tc hMerge="1">
                  <a:txBody>
                    <a:bodyPr/>
                    <a:lstStyle/>
                    <a:p>
                      <a:endParaRPr lang="en-US"/>
                    </a:p>
                  </a:txBody>
                  <a:tcPr/>
                </a:tc>
                <a:extLst>
                  <a:ext uri="{0D108BD9-81ED-4DB2-BD59-A6C34878D82A}">
                    <a16:rowId xmlns:a16="http://schemas.microsoft.com/office/drawing/2014/main" val="10000"/>
                  </a:ext>
                </a:extLst>
              </a:tr>
              <a:tr h="317598">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1" i="0" u="none" strike="noStrike" cap="none" normalizeH="0" baseline="0">
                          <a:ln>
                            <a:noFill/>
                          </a:ln>
                          <a:solidFill>
                            <a:schemeClr val="tx1"/>
                          </a:solidFill>
                          <a:effectLst/>
                          <a:latin typeface="Arial" charset="0"/>
                        </a:rPr>
                        <a:t>Time</a:t>
                      </a:r>
                    </a:p>
                  </a:txBody>
                  <a:tcPr marL="72000" marR="18000" marT="18000" marB="18000" anchor="ctr"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solidFill>
                      <a:schemeClr val="tx2">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175" marR="0" lvl="0" indent="-3175" algn="ctr"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a:ln>
                          <a:noFill/>
                        </a:ln>
                        <a:solidFill>
                          <a:schemeClr val="accent1"/>
                        </a:solidFill>
                        <a:effectLst/>
                        <a:latin typeface="Arial" charset="0"/>
                        <a:sym typeface="Webdings" pitchFamily="18" charset="2"/>
                      </a:endParaRPr>
                    </a:p>
                  </a:txBody>
                  <a:tcPr marL="18000" marR="18000" marT="18000" marB="18000"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a:ln>
                          <a:noFill/>
                        </a:ln>
                        <a:solidFill>
                          <a:schemeClr val="tx1"/>
                        </a:solidFill>
                        <a:effectLst/>
                        <a:latin typeface="Arial" charset="0"/>
                      </a:endParaRPr>
                    </a:p>
                  </a:txBody>
                  <a:tcPr marL="18000" marR="18000" marT="18000" marB="18000"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tc rowSpan="4" gridSpan="2">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a:ln>
                            <a:noFill/>
                          </a:ln>
                          <a:solidFill>
                            <a:schemeClr val="tx1"/>
                          </a:solidFill>
                          <a:effectLst/>
                          <a:latin typeface="Arial" charset="0"/>
                        </a:rPr>
                        <a:t>&lt;Brief statement on positive changes since last report&gt;</a:t>
                      </a:r>
                    </a:p>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a:ln>
                            <a:noFill/>
                          </a:ln>
                          <a:solidFill>
                            <a:schemeClr val="tx1"/>
                          </a:solidFill>
                          <a:effectLst/>
                          <a:latin typeface="Arial" charset="0"/>
                        </a:rPr>
                        <a:t>&lt;Continue to specifically focus on  Issues/Objectives met and overall Value Delivered to the client as documented in the Value Map/Business Case&gt;</a:t>
                      </a:r>
                    </a:p>
                    <a:p>
                      <a:pPr marL="276225" marR="0" lvl="0" indent="-19050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a:ln>
                          <a:noFill/>
                        </a:ln>
                        <a:solidFill>
                          <a:schemeClr val="tx1"/>
                        </a:solidFill>
                        <a:effectLst/>
                        <a:latin typeface="Arial" charset="0"/>
                      </a:endParaRPr>
                    </a:p>
                    <a:p>
                      <a:pPr marL="276225" marR="0" lvl="0" indent="-19050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a:ln>
                          <a:noFill/>
                        </a:ln>
                        <a:solidFill>
                          <a:schemeClr val="tx1"/>
                        </a:solidFill>
                        <a:effectLst/>
                        <a:latin typeface="Arial" charset="0"/>
                      </a:endParaRPr>
                    </a:p>
                    <a:p>
                      <a:pPr marL="276225" marR="0" lvl="0" indent="-19050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a:ln>
                          <a:noFill/>
                        </a:ln>
                        <a:solidFill>
                          <a:schemeClr val="tx1"/>
                        </a:solidFill>
                        <a:effectLst/>
                        <a:latin typeface="Arial" charset="0"/>
                      </a:endParaRPr>
                    </a:p>
                  </a:txBody>
                  <a:tcPr marL="72000" marR="18000" marT="18000" marB="18000"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tc rowSpan="4" hMerge="1">
                  <a:txBody>
                    <a:bodyPr/>
                    <a:lstStyle/>
                    <a:p>
                      <a:endParaRPr lang="en-US"/>
                    </a:p>
                  </a:txBody>
                  <a:tcPr/>
                </a:tc>
                <a:extLst>
                  <a:ext uri="{0D108BD9-81ED-4DB2-BD59-A6C34878D82A}">
                    <a16:rowId xmlns:a16="http://schemas.microsoft.com/office/drawing/2014/main" val="10001"/>
                  </a:ext>
                </a:extLst>
              </a:tr>
              <a:tr h="401822">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1" i="0" u="none" strike="noStrike" cap="none" normalizeH="0" baseline="0">
                          <a:ln>
                            <a:noFill/>
                          </a:ln>
                          <a:solidFill>
                            <a:schemeClr val="tx1"/>
                          </a:solidFill>
                          <a:effectLst/>
                          <a:latin typeface="Arial" charset="0"/>
                        </a:rPr>
                        <a:t>Workstream Objectives</a:t>
                      </a:r>
                    </a:p>
                  </a:txBody>
                  <a:tcPr marL="72000" marR="18000" marT="18000" marB="18000" anchor="ctr"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solidFill>
                      <a:schemeClr val="tx2">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175" marR="0" lvl="0" indent="-3175" algn="ctr"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a:ln>
                          <a:noFill/>
                        </a:ln>
                        <a:solidFill>
                          <a:schemeClr val="accent1"/>
                        </a:solidFill>
                        <a:effectLst/>
                        <a:latin typeface="Arial" charset="0"/>
                        <a:sym typeface="Webdings" pitchFamily="18" charset="2"/>
                      </a:endParaRPr>
                    </a:p>
                  </a:txBody>
                  <a:tcPr marL="18000" marR="18000" marT="18000" marB="18000"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a:ln>
                          <a:noFill/>
                        </a:ln>
                        <a:solidFill>
                          <a:schemeClr val="tx1"/>
                        </a:solidFill>
                        <a:effectLst/>
                        <a:latin typeface="Arial" charset="0"/>
                      </a:endParaRPr>
                    </a:p>
                  </a:txBody>
                  <a:tcPr marL="18000" marR="18000" marT="18000" marB="18000"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tc gridSpan="2"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0002"/>
                  </a:ext>
                </a:extLst>
              </a:tr>
              <a:tr h="401822">
                <a:tc>
                  <a:txBody>
                    <a:bodyPr/>
                    <a:lstStyle/>
                    <a:p>
                      <a:pPr marL="0" marR="0" lvl="0" indent="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1" i="0" u="none" strike="noStrike" cap="none" normalizeH="0" baseline="0">
                          <a:ln>
                            <a:noFill/>
                          </a:ln>
                          <a:solidFill>
                            <a:schemeClr val="tx1"/>
                          </a:solidFill>
                          <a:effectLst/>
                          <a:latin typeface="Arial" charset="0"/>
                        </a:rPr>
                        <a:t>Client Value Delivered</a:t>
                      </a:r>
                    </a:p>
                  </a:txBody>
                  <a:tcPr marL="72000" marR="18000" marT="18000" marB="18000" anchor="ctr"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solidFill>
                      <a:schemeClr val="tx2">
                        <a:lumMod val="20000"/>
                        <a:lumOff val="80000"/>
                      </a:schemeClr>
                    </a:solidFill>
                  </a:tcPr>
                </a:tc>
                <a:tc>
                  <a:txBody>
                    <a:bodyPr/>
                    <a:lstStyle/>
                    <a:p>
                      <a:pPr marL="3175" marR="0" lvl="0" indent="-3175" algn="ctr"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a:ln>
                          <a:noFill/>
                        </a:ln>
                        <a:solidFill>
                          <a:schemeClr val="accent1"/>
                        </a:solidFill>
                        <a:effectLst/>
                        <a:latin typeface="Arial" charset="0"/>
                        <a:sym typeface="Webdings" pitchFamily="18" charset="2"/>
                      </a:endParaRPr>
                    </a:p>
                  </a:txBody>
                  <a:tcPr marL="18000" marR="18000" marT="18000" marB="18000"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tc>
                  <a:txBody>
                    <a:body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a:ln>
                          <a:noFill/>
                        </a:ln>
                        <a:solidFill>
                          <a:schemeClr val="tx1"/>
                        </a:solidFill>
                        <a:effectLst/>
                        <a:latin typeface="Arial" charset="0"/>
                      </a:endParaRPr>
                    </a:p>
                  </a:txBody>
                  <a:tcPr marL="18000" marR="18000" marT="18000" marB="18000"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tc gridSpan="2"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0003"/>
                  </a:ext>
                </a:extLst>
              </a:tr>
              <a:tr h="398313">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1" i="0" u="none" strike="noStrike" cap="none" normalizeH="0" baseline="0">
                          <a:ln>
                            <a:noFill/>
                          </a:ln>
                          <a:solidFill>
                            <a:schemeClr val="tx1"/>
                          </a:solidFill>
                          <a:effectLst/>
                          <a:latin typeface="Arial" charset="0"/>
                        </a:rPr>
                        <a:t>Budget</a:t>
                      </a:r>
                    </a:p>
                  </a:txBody>
                  <a:tcPr marL="72000" marR="18000" marT="18000" marB="18000" anchor="ctr"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solidFill>
                      <a:schemeClr val="tx2">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175" marR="0" lvl="0" indent="-3175" algn="ctr"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a:ln>
                          <a:noFill/>
                        </a:ln>
                        <a:solidFill>
                          <a:schemeClr val="accent1"/>
                        </a:solidFill>
                        <a:effectLst/>
                        <a:latin typeface="Arial" charset="0"/>
                        <a:sym typeface="Webdings" pitchFamily="18" charset="2"/>
                      </a:endParaRPr>
                    </a:p>
                  </a:txBody>
                  <a:tcPr marL="18000" marR="18000" marT="18000" marB="18000"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a:ln>
                          <a:noFill/>
                        </a:ln>
                        <a:solidFill>
                          <a:schemeClr val="tx1"/>
                        </a:solidFill>
                        <a:effectLst/>
                        <a:latin typeface="Arial" charset="0"/>
                      </a:endParaRPr>
                    </a:p>
                  </a:txBody>
                  <a:tcPr marL="18000" marR="18000" marT="18000" marB="18000"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tc gridSpan="2"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0004"/>
                  </a:ext>
                </a:extLst>
              </a:tr>
              <a:tr h="191395">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900" b="1" i="0" u="none" strike="noStrike" cap="none" normalizeH="0" baseline="0">
                        <a:ln>
                          <a:noFill/>
                        </a:ln>
                        <a:solidFill>
                          <a:schemeClr val="tx1"/>
                        </a:solidFill>
                        <a:effectLst/>
                        <a:latin typeface="Arial" charset="0"/>
                      </a:endParaRPr>
                    </a:p>
                  </a:txBody>
                  <a:tcPr marL="18000" marR="18000" marT="18000" marB="18000" horzOverflow="overflow">
                    <a:lnL cap="flat">
                      <a:noFill/>
                    </a:lnL>
                    <a:lnR w="6350" cap="flat" cmpd="sng" algn="ctr">
                      <a:noFill/>
                      <a:prstDash val="lg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175" marR="0" lvl="0" indent="-3175" algn="r"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900" b="1" i="0" u="none" strike="noStrike" cap="none" normalizeH="0" baseline="0">
                        <a:ln>
                          <a:noFill/>
                        </a:ln>
                        <a:solidFill>
                          <a:schemeClr val="accent1"/>
                        </a:solidFill>
                        <a:effectLst/>
                        <a:latin typeface="Arial" charset="0"/>
                        <a:sym typeface="Webdings" pitchFamily="18" charset="2"/>
                      </a:endParaRPr>
                    </a:p>
                  </a:txBody>
                  <a:tcPr marL="18000" marR="18000" marT="18000" marB="18000"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900" b="1" i="0" u="none" strike="noStrike" cap="none" normalizeH="0" baseline="0">
                        <a:ln>
                          <a:noFill/>
                        </a:ln>
                        <a:solidFill>
                          <a:schemeClr val="tx1"/>
                        </a:solidFill>
                        <a:effectLst/>
                        <a:latin typeface="Arial" charset="0"/>
                      </a:endParaRPr>
                    </a:p>
                  </a:txBody>
                  <a:tcPr marL="18000" marR="18000" marT="18000" marB="18000" horzOverflow="overflow">
                    <a:lnL w="6350" cap="flat" cmpd="sng" algn="ctr">
                      <a:noFill/>
                      <a:prstDash val="lgDash"/>
                      <a:round/>
                      <a:headEnd type="none" w="med" len="med"/>
                      <a:tailEnd type="none" w="med" len="med"/>
                    </a:lnL>
                    <a:lnR cap="flat">
                      <a:noFill/>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75485">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100" b="1" i="0" u="none" strike="noStrike" cap="none" normalizeH="0" baseline="0">
                          <a:ln>
                            <a:noFill/>
                          </a:ln>
                          <a:solidFill>
                            <a:schemeClr val="bg1"/>
                          </a:solidFill>
                          <a:effectLst/>
                          <a:latin typeface="Arial" charset="0"/>
                        </a:rPr>
                        <a:t>Issues/Risks</a:t>
                      </a:r>
                    </a:p>
                  </a:txBody>
                  <a:tcPr marL="72000" marR="18000" marT="18000" marB="18000" anchor="ctr"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solidFill>
                      <a:schemeClr val="tx1">
                        <a:lumMod val="65000"/>
                        <a:lumOff val="35000"/>
                      </a:schemeClr>
                    </a:solid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100" b="1" i="0" u="none" strike="noStrike" cap="none" normalizeH="0" baseline="0">
                          <a:ln>
                            <a:noFill/>
                          </a:ln>
                          <a:solidFill>
                            <a:schemeClr val="bg1"/>
                          </a:solidFill>
                          <a:effectLst/>
                          <a:latin typeface="Arial" charset="0"/>
                        </a:rPr>
                        <a:t>Responsible</a:t>
                      </a:r>
                    </a:p>
                  </a:txBody>
                  <a:tcPr marL="72000" marR="18000" marT="18000" marB="18000" anchor="ctr"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solidFill>
                      <a:schemeClr val="tx1">
                        <a:lumMod val="65000"/>
                        <a:lumOff val="35000"/>
                      </a:scheme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100" b="1" i="0" u="none" strike="noStrike" cap="none" normalizeH="0" baseline="0">
                          <a:ln>
                            <a:noFill/>
                          </a:ln>
                          <a:solidFill>
                            <a:schemeClr val="bg1"/>
                          </a:solidFill>
                          <a:effectLst/>
                          <a:latin typeface="Arial" charset="0"/>
                        </a:rPr>
                        <a:t>End Date</a:t>
                      </a:r>
                    </a:p>
                  </a:txBody>
                  <a:tcPr marL="72000" marR="18000" marT="18000" marB="18000" anchor="ctr"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solidFill>
                      <a:schemeClr val="tx1">
                        <a:lumMod val="65000"/>
                        <a:lumOff val="35000"/>
                      </a:schemeClr>
                    </a:solidFill>
                  </a:tcPr>
                </a:tc>
                <a:extLst>
                  <a:ext uri="{0D108BD9-81ED-4DB2-BD59-A6C34878D82A}">
                    <a16:rowId xmlns:a16="http://schemas.microsoft.com/office/drawing/2014/main" val="10006"/>
                  </a:ext>
                </a:extLst>
              </a:tr>
              <a:tr h="400067">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a:ln>
                            <a:noFill/>
                          </a:ln>
                          <a:solidFill>
                            <a:schemeClr val="tx1"/>
                          </a:solidFill>
                          <a:effectLst/>
                          <a:latin typeface="Arial" charset="0"/>
                        </a:rPr>
                        <a:t>&lt;Issues and risks identified&gt;</a:t>
                      </a:r>
                    </a:p>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a:ln>
                          <a:noFill/>
                        </a:ln>
                        <a:solidFill>
                          <a:schemeClr val="tx1"/>
                        </a:solidFill>
                        <a:effectLst/>
                        <a:latin typeface="Arial" charset="0"/>
                      </a:endParaRPr>
                    </a:p>
                  </a:txBody>
                  <a:tcPr marL="18000" marR="18000" marT="18000" marB="18000"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a:ln>
                            <a:noFill/>
                          </a:ln>
                          <a:solidFill>
                            <a:schemeClr val="tx1"/>
                          </a:solidFill>
                          <a:effectLst/>
                          <a:latin typeface="Arial" charset="0"/>
                        </a:rPr>
                        <a:t>&lt;</a:t>
                      </a:r>
                      <a:r>
                        <a:rPr kumimoji="0" lang="en-US" sz="1000" b="0" i="0" u="none" strike="noStrike" cap="none" normalizeH="0" baseline="0" err="1">
                          <a:ln>
                            <a:noFill/>
                          </a:ln>
                          <a:solidFill>
                            <a:schemeClr val="tx1"/>
                          </a:solidFill>
                          <a:effectLst/>
                          <a:latin typeface="Arial" charset="0"/>
                        </a:rPr>
                        <a:t>Workstream</a:t>
                      </a:r>
                      <a:r>
                        <a:rPr kumimoji="0" lang="en-US" sz="1000" b="0" i="0" u="none" strike="noStrike" cap="none" normalizeH="0" baseline="0">
                          <a:ln>
                            <a:noFill/>
                          </a:ln>
                          <a:solidFill>
                            <a:schemeClr val="tx1"/>
                          </a:solidFill>
                          <a:effectLst/>
                          <a:latin typeface="Arial" charset="0"/>
                        </a:rPr>
                        <a:t> team member r&gt; </a:t>
                      </a:r>
                    </a:p>
                  </a:txBody>
                  <a:tcPr marL="18000" marR="18000" marT="18000" marB="18000"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0" i="0" u="none" strike="noStrike" cap="none" normalizeH="0" baseline="0">
                          <a:ln>
                            <a:noFill/>
                          </a:ln>
                          <a:solidFill>
                            <a:schemeClr val="tx1"/>
                          </a:solidFill>
                          <a:effectLst/>
                          <a:latin typeface="Arial" charset="0"/>
                        </a:rPr>
                        <a:t>DD.MM.YYYY</a:t>
                      </a:r>
                    </a:p>
                  </a:txBody>
                  <a:tcPr marL="18000" marR="18000" marT="18000" marB="18000"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87767">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ts val="1200"/>
                        </a:lnSpc>
                        <a:spcBef>
                          <a:spcPct val="0"/>
                        </a:spcBef>
                        <a:spcAft>
                          <a:spcPct val="0"/>
                        </a:spcAft>
                        <a:buClrTx/>
                        <a:buSzTx/>
                        <a:buFont typeface="Wingdings" pitchFamily="2" charset="2"/>
                        <a:buNone/>
                        <a:tabLst/>
                      </a:pPr>
                      <a:r>
                        <a:rPr kumimoji="0" lang="en-US" sz="1100" b="1" i="0" u="none" strike="noStrike" cap="none" normalizeH="0" baseline="0">
                          <a:ln>
                            <a:noFill/>
                          </a:ln>
                          <a:solidFill>
                            <a:schemeClr val="bg1"/>
                          </a:solidFill>
                          <a:effectLst/>
                          <a:latin typeface="Arial" charset="0"/>
                        </a:rPr>
                        <a:t>Necessary Decisions</a:t>
                      </a:r>
                    </a:p>
                  </a:txBody>
                  <a:tcPr marL="72000" marR="18000" marT="18000" marB="18000" anchor="ctr"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solidFill>
                      <a:schemeClr val="tx1">
                        <a:lumMod val="65000"/>
                        <a:lumOff val="35000"/>
                      </a:schemeClr>
                    </a:solid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chemeClr val="bg1"/>
                          </a:solidFill>
                          <a:effectLst/>
                          <a:latin typeface="Arial" charset="0"/>
                        </a:rPr>
                        <a:t>Responsible</a:t>
                      </a:r>
                    </a:p>
                  </a:txBody>
                  <a:tcPr marL="72000" marR="18000" marT="18000" marB="18000" anchor="ctr"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solidFill>
                      <a:schemeClr val="tx1">
                        <a:lumMod val="65000"/>
                        <a:lumOff val="35000"/>
                      </a:scheme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100" b="1" i="0" u="none" strike="noStrike" cap="none" normalizeH="0" baseline="0">
                          <a:ln>
                            <a:noFill/>
                          </a:ln>
                          <a:solidFill>
                            <a:schemeClr val="bg1"/>
                          </a:solidFill>
                          <a:effectLst/>
                          <a:latin typeface="Arial" charset="0"/>
                        </a:rPr>
                        <a:t>End Date</a:t>
                      </a:r>
                    </a:p>
                  </a:txBody>
                  <a:tcPr marL="72000" marR="18000" marT="18000" marB="18000" anchor="ctr"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solidFill>
                      <a:schemeClr val="tx1">
                        <a:lumMod val="65000"/>
                        <a:lumOff val="35000"/>
                      </a:schemeClr>
                    </a:solidFill>
                  </a:tcPr>
                </a:tc>
                <a:extLst>
                  <a:ext uri="{0D108BD9-81ED-4DB2-BD59-A6C34878D82A}">
                    <a16:rowId xmlns:a16="http://schemas.microsoft.com/office/drawing/2014/main" val="10008"/>
                  </a:ext>
                </a:extLst>
              </a:tr>
              <a:tr h="393534">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a:ln>
                            <a:noFill/>
                          </a:ln>
                          <a:solidFill>
                            <a:schemeClr val="tx1"/>
                          </a:solidFill>
                          <a:effectLst/>
                          <a:latin typeface="Arial" charset="0"/>
                        </a:rPr>
                        <a:t>&lt;Decisions needed to solve issues/risks&gt;</a:t>
                      </a:r>
                    </a:p>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a:ln>
                          <a:noFill/>
                        </a:ln>
                        <a:solidFill>
                          <a:schemeClr val="tx1"/>
                        </a:solidFill>
                        <a:effectLst/>
                        <a:latin typeface="Arial" charset="0"/>
                      </a:endParaRPr>
                    </a:p>
                  </a:txBody>
                  <a:tcPr marL="18000" marR="18000" marT="18000" marB="18000"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a:ln>
                            <a:noFill/>
                          </a:ln>
                          <a:solidFill>
                            <a:schemeClr val="tx1"/>
                          </a:solidFill>
                          <a:effectLst/>
                          <a:latin typeface="Arial" charset="0"/>
                        </a:rPr>
                        <a:t>&lt;Name, Department&gt;</a:t>
                      </a:r>
                    </a:p>
                  </a:txBody>
                  <a:tcPr marL="18000" marR="18000" marT="18000" marB="18000"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0" i="0" u="none" strike="noStrike" cap="none" normalizeH="0" baseline="0">
                          <a:ln>
                            <a:noFill/>
                          </a:ln>
                          <a:solidFill>
                            <a:schemeClr val="tx1"/>
                          </a:solidFill>
                          <a:effectLst/>
                          <a:latin typeface="Arial" charset="0"/>
                        </a:rPr>
                        <a:t>DD.MM.YYYY</a:t>
                      </a:r>
                    </a:p>
                  </a:txBody>
                  <a:tcPr marL="18000" marR="18000" marT="18000" marB="18000"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75485">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4150" marR="0" lvl="0" indent="-184150" algn="l" defTabSz="914400" rtl="0" eaLnBrk="1" fontAlgn="base" latinLnBrk="0" hangingPunct="1">
                        <a:lnSpc>
                          <a:spcPts val="1200"/>
                        </a:lnSpc>
                        <a:spcBef>
                          <a:spcPct val="0"/>
                        </a:spcBef>
                        <a:spcAft>
                          <a:spcPct val="0"/>
                        </a:spcAft>
                        <a:buClrTx/>
                        <a:buSzTx/>
                        <a:buFont typeface="Wingdings" pitchFamily="2" charset="2"/>
                        <a:buNone/>
                        <a:tabLst/>
                      </a:pPr>
                      <a:r>
                        <a:rPr kumimoji="0" lang="en-US" sz="1100" b="1" i="0" u="none" strike="noStrike" cap="none" normalizeH="0" baseline="0">
                          <a:ln>
                            <a:noFill/>
                          </a:ln>
                          <a:solidFill>
                            <a:schemeClr val="bg1"/>
                          </a:solidFill>
                          <a:effectLst/>
                          <a:latin typeface="Arial" charset="0"/>
                        </a:rPr>
                        <a:t>Next Steps</a:t>
                      </a:r>
                    </a:p>
                  </a:txBody>
                  <a:tcPr marL="72000" marR="18000" marT="18000" marB="18000" anchor="ctr"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solidFill>
                      <a:schemeClr val="tx1">
                        <a:lumMod val="65000"/>
                        <a:lumOff val="35000"/>
                      </a:schemeClr>
                    </a:solid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175" marR="0" lvl="0" indent="-3175"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chemeClr val="bg1"/>
                          </a:solidFill>
                          <a:effectLst/>
                          <a:latin typeface="Arial" charset="0"/>
                        </a:rPr>
                        <a:t>Responsible</a:t>
                      </a:r>
                    </a:p>
                  </a:txBody>
                  <a:tcPr marL="72000" marR="18000" marT="18000" marB="18000" anchor="ctr"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solidFill>
                      <a:schemeClr val="tx1">
                        <a:lumMod val="65000"/>
                        <a:lumOff val="35000"/>
                      </a:scheme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100" b="1" i="0" u="none" strike="noStrike" cap="none" normalizeH="0" baseline="0">
                          <a:ln>
                            <a:noFill/>
                          </a:ln>
                          <a:solidFill>
                            <a:schemeClr val="bg1"/>
                          </a:solidFill>
                          <a:effectLst/>
                          <a:latin typeface="Arial" charset="0"/>
                        </a:rPr>
                        <a:t>End Date</a:t>
                      </a:r>
                    </a:p>
                  </a:txBody>
                  <a:tcPr marL="72000" marR="18000" marT="18000" marB="18000" anchor="ctr"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solidFill>
                      <a:schemeClr val="tx1">
                        <a:lumMod val="65000"/>
                        <a:lumOff val="35000"/>
                      </a:schemeClr>
                    </a:solidFill>
                  </a:tcPr>
                </a:tc>
                <a:extLst>
                  <a:ext uri="{0D108BD9-81ED-4DB2-BD59-A6C34878D82A}">
                    <a16:rowId xmlns:a16="http://schemas.microsoft.com/office/drawing/2014/main" val="10010"/>
                  </a:ext>
                </a:extLst>
              </a:tr>
              <a:tr h="411222">
                <a:tc gridSpan="3">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a:ln>
                            <a:noFill/>
                          </a:ln>
                          <a:solidFill>
                            <a:schemeClr val="tx1"/>
                          </a:solidFill>
                          <a:effectLst/>
                          <a:latin typeface="Arial" charset="0"/>
                        </a:rPr>
                        <a:t>&lt;Action items to be done until next report&gt;</a:t>
                      </a:r>
                    </a:p>
                    <a:p>
                      <a:pPr marL="184150" marR="0" lvl="0" indent="-184150"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a:ln>
                          <a:noFill/>
                        </a:ln>
                        <a:solidFill>
                          <a:schemeClr val="tx1"/>
                        </a:solidFill>
                        <a:effectLst/>
                        <a:latin typeface="Arial" charset="0"/>
                      </a:endParaRPr>
                    </a:p>
                  </a:txBody>
                  <a:tcPr marL="18000" marR="18000" marT="18000" marB="18000"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2000" marR="0" lvl="0" indent="-72000" algn="l" defTabSz="914400" rtl="0" eaLnBrk="1" fontAlgn="base" latinLnBrk="0" hangingPunct="1">
                        <a:lnSpc>
                          <a:spcPct val="100000"/>
                        </a:lnSpc>
                        <a:spcBef>
                          <a:spcPct val="10000"/>
                        </a:spcBef>
                        <a:spcAft>
                          <a:spcPct val="0"/>
                        </a:spcAft>
                        <a:buClrTx/>
                        <a:buSzTx/>
                        <a:buFont typeface="Arial" pitchFamily="34" charset="0"/>
                        <a:buChar char="•"/>
                        <a:tabLst/>
                      </a:pPr>
                      <a:r>
                        <a:rPr kumimoji="0" lang="en-US" sz="1000" b="0" i="0" u="none" strike="noStrike" cap="none" normalizeH="0" baseline="0">
                          <a:ln>
                            <a:noFill/>
                          </a:ln>
                          <a:solidFill>
                            <a:schemeClr val="tx1"/>
                          </a:solidFill>
                          <a:effectLst/>
                          <a:latin typeface="Arial" charset="0"/>
                        </a:rPr>
                        <a:t>&lt;</a:t>
                      </a:r>
                      <a:r>
                        <a:rPr kumimoji="0" lang="en-US" sz="1000" b="0" i="0" u="none" strike="noStrike" cap="none" normalizeH="0" baseline="0" err="1">
                          <a:ln>
                            <a:noFill/>
                          </a:ln>
                          <a:solidFill>
                            <a:schemeClr val="tx1"/>
                          </a:solidFill>
                          <a:effectLst/>
                          <a:latin typeface="Arial" charset="0"/>
                        </a:rPr>
                        <a:t>Workstream</a:t>
                      </a:r>
                      <a:r>
                        <a:rPr kumimoji="0" lang="en-US" sz="1000" b="0" i="0" u="none" strike="noStrike" cap="none" normalizeH="0" baseline="0">
                          <a:ln>
                            <a:noFill/>
                          </a:ln>
                          <a:solidFill>
                            <a:schemeClr val="tx1"/>
                          </a:solidFill>
                          <a:effectLst/>
                          <a:latin typeface="Arial" charset="0"/>
                        </a:rPr>
                        <a:t> team member required&gt;</a:t>
                      </a:r>
                    </a:p>
                    <a:p>
                      <a:pPr marL="3175" marR="0" lvl="0" indent="-31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a:ln>
                          <a:noFill/>
                        </a:ln>
                        <a:solidFill>
                          <a:schemeClr val="tx1"/>
                        </a:solidFill>
                        <a:effectLst/>
                        <a:latin typeface="Arial" charset="0"/>
                      </a:endParaRPr>
                    </a:p>
                  </a:txBody>
                  <a:tcPr marL="18000" marR="18000" marT="18000" marB="18000"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r>
                        <a:rPr kumimoji="0" lang="en-US" sz="1000" b="0" i="0" u="none" strike="noStrike" cap="none" normalizeH="0" baseline="0">
                          <a:ln>
                            <a:noFill/>
                          </a:ln>
                          <a:solidFill>
                            <a:schemeClr val="tx1"/>
                          </a:solidFill>
                          <a:effectLst/>
                          <a:latin typeface="Arial" charset="0"/>
                        </a:rPr>
                        <a:t>DD.MM.YYYY</a:t>
                      </a:r>
                    </a:p>
                    <a:p>
                      <a:pPr marL="180975" marR="0" lvl="0" indent="-180975" algn="l" defTabSz="914400" rtl="0" eaLnBrk="1" fontAlgn="base" latinLnBrk="0" hangingPunct="1">
                        <a:lnSpc>
                          <a:spcPct val="100000"/>
                        </a:lnSpc>
                        <a:spcBef>
                          <a:spcPct val="10000"/>
                        </a:spcBef>
                        <a:spcAft>
                          <a:spcPct val="0"/>
                        </a:spcAft>
                        <a:buClrTx/>
                        <a:buSzTx/>
                        <a:buFont typeface="Wingdings" pitchFamily="2" charset="2"/>
                        <a:buNone/>
                        <a:tabLst/>
                      </a:pPr>
                      <a:endParaRPr kumimoji="0" lang="en-US" sz="1000" b="0" i="0" u="none" strike="noStrike" cap="none" normalizeH="0" baseline="0">
                        <a:ln>
                          <a:noFill/>
                        </a:ln>
                        <a:solidFill>
                          <a:schemeClr val="tx1"/>
                        </a:solidFill>
                        <a:effectLst/>
                        <a:latin typeface="Arial" charset="0"/>
                      </a:endParaRPr>
                    </a:p>
                  </a:txBody>
                  <a:tcPr marL="18000" marR="18000" marT="18000" marB="18000" horzOverflow="overflow">
                    <a:lnL w="9525" cap="flat" cmpd="sng" algn="ctr">
                      <a:solidFill>
                        <a:schemeClr val="tx1">
                          <a:lumMod val="50000"/>
                          <a:lumOff val="50000"/>
                        </a:schemeClr>
                      </a:solidFill>
                      <a:prstDash val="sysDash"/>
                      <a:round/>
                      <a:headEnd type="none" w="med" len="med"/>
                      <a:tailEnd type="none" w="med" len="med"/>
                    </a:lnL>
                    <a:lnR w="9525" cap="flat" cmpd="sng" algn="ctr">
                      <a:solidFill>
                        <a:schemeClr val="tx1">
                          <a:lumMod val="50000"/>
                          <a:lumOff val="50000"/>
                        </a:schemeClr>
                      </a:solidFill>
                      <a:prstDash val="sysDash"/>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bl>
          </a:graphicData>
        </a:graphic>
      </p:graphicFrame>
      <p:graphicFrame>
        <p:nvGraphicFramePr>
          <p:cNvPr id="8" name="Group 69">
            <a:extLst>
              <a:ext uri="{FF2B5EF4-FFF2-40B4-BE49-F238E27FC236}">
                <a16:creationId xmlns:a16="http://schemas.microsoft.com/office/drawing/2014/main" id="{744CCDEF-F031-C114-8E7B-787490833B11}"/>
              </a:ext>
            </a:extLst>
          </p:cNvPr>
          <p:cNvGraphicFramePr>
            <a:graphicFrameLocks noGrp="1"/>
          </p:cNvGraphicFramePr>
          <p:nvPr>
            <p:extLst>
              <p:ext uri="{D42A27DB-BD31-4B8C-83A1-F6EECF244321}">
                <p14:modId xmlns:p14="http://schemas.microsoft.com/office/powerpoint/2010/main" val="2368532207"/>
              </p:ext>
            </p:extLst>
          </p:nvPr>
        </p:nvGraphicFramePr>
        <p:xfrm>
          <a:off x="9536185" y="1510547"/>
          <a:ext cx="2454396" cy="489860"/>
        </p:xfrm>
        <a:graphic>
          <a:graphicData uri="http://schemas.openxmlformats.org/drawingml/2006/table">
            <a:tbl>
              <a:tblPr/>
              <a:tblGrid>
                <a:gridCol w="1190241">
                  <a:extLst>
                    <a:ext uri="{9D8B030D-6E8A-4147-A177-3AD203B41FA5}">
                      <a16:colId xmlns:a16="http://schemas.microsoft.com/office/drawing/2014/main" val="20000"/>
                    </a:ext>
                  </a:extLst>
                </a:gridCol>
                <a:gridCol w="1264155">
                  <a:extLst>
                    <a:ext uri="{9D8B030D-6E8A-4147-A177-3AD203B41FA5}">
                      <a16:colId xmlns:a16="http://schemas.microsoft.com/office/drawing/2014/main" val="20001"/>
                    </a:ext>
                  </a:extLst>
                </a:gridCol>
              </a:tblGrid>
              <a:tr h="228692">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050" b="1" i="0" u="none" strike="noStrike" cap="none" normalizeH="0" baseline="0">
                          <a:ln>
                            <a:noFill/>
                          </a:ln>
                          <a:solidFill>
                            <a:srgbClr val="C00000"/>
                          </a:solidFill>
                          <a:effectLst/>
                          <a:latin typeface="Arial" charset="0"/>
                        </a:rPr>
                        <a:t>Start date:</a:t>
                      </a:r>
                    </a:p>
                  </a:txBody>
                  <a:tcPr marL="42455" marR="0" marT="42455" marB="42455" anchor="ctr"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tx2">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050" b="1" i="0" u="none" strike="noStrike" cap="none" normalizeH="0" baseline="0">
                          <a:ln>
                            <a:noFill/>
                          </a:ln>
                          <a:solidFill>
                            <a:srgbClr val="C00000"/>
                          </a:solidFill>
                          <a:effectLst/>
                          <a:latin typeface="Arial" charset="0"/>
                        </a:rPr>
                        <a:t>End date:</a:t>
                      </a:r>
                    </a:p>
                  </a:txBody>
                  <a:tcPr marL="42455" marR="0" marT="42455" marB="42455" anchor="ctr"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solidFill>
                      <a:schemeClr val="tx2">
                        <a:lumMod val="20000"/>
                        <a:lumOff val="80000"/>
                      </a:schemeClr>
                    </a:solidFill>
                  </a:tcPr>
                </a:tc>
                <a:extLst>
                  <a:ext uri="{0D108BD9-81ED-4DB2-BD59-A6C34878D82A}">
                    <a16:rowId xmlns:a16="http://schemas.microsoft.com/office/drawing/2014/main" val="10000"/>
                  </a:ext>
                </a:extLst>
              </a:tr>
              <a:tr h="228692">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050" b="0" i="0" u="none" strike="noStrike" cap="none" normalizeH="0" baseline="0">
                          <a:ln>
                            <a:noFill/>
                          </a:ln>
                          <a:solidFill>
                            <a:schemeClr val="tx1"/>
                          </a:solidFill>
                          <a:effectLst/>
                          <a:latin typeface="Arial" charset="0"/>
                        </a:rPr>
                        <a:t>DD.MM.YYYY</a:t>
                      </a:r>
                    </a:p>
                  </a:txBody>
                  <a:tcPr marL="42455" marR="0" marT="42455" marB="42455"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1050" b="0" i="0" u="none" strike="noStrike" cap="none" normalizeH="0" baseline="0">
                          <a:ln>
                            <a:noFill/>
                          </a:ln>
                          <a:solidFill>
                            <a:schemeClr val="tx1"/>
                          </a:solidFill>
                          <a:effectLst/>
                          <a:latin typeface="Arial" charset="0"/>
                        </a:rPr>
                        <a:t>DD.MM.YYYY</a:t>
                      </a:r>
                    </a:p>
                  </a:txBody>
                  <a:tcPr marL="42455" marR="0" marT="42455" marB="42455" horzOverflow="overflow">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noFill/>
                      <a:prstDash val="lgDash"/>
                      <a:round/>
                      <a:headEnd type="none" w="med" len="med"/>
                      <a:tailEnd type="none" w="med" len="med"/>
                    </a:lnT>
                    <a:lnB w="6350" cap="flat" cmpd="sng" algn="ctr">
                      <a:noFill/>
                      <a:prstDash val="lgDash"/>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9" name="Rectangle 83">
            <a:extLst>
              <a:ext uri="{FF2B5EF4-FFF2-40B4-BE49-F238E27FC236}">
                <a16:creationId xmlns:a16="http://schemas.microsoft.com/office/drawing/2014/main" id="{1490FB8F-895B-3AC2-DED0-092A05582B80}"/>
              </a:ext>
            </a:extLst>
          </p:cNvPr>
          <p:cNvSpPr>
            <a:spLocks noChangeArrowheads="1"/>
          </p:cNvSpPr>
          <p:nvPr/>
        </p:nvSpPr>
        <p:spPr bwMode="auto">
          <a:xfrm rot="10800000">
            <a:off x="348192" y="1608608"/>
            <a:ext cx="323850" cy="711200"/>
          </a:xfrm>
          <a:prstGeom prst="rect">
            <a:avLst/>
          </a:prstGeom>
          <a:solidFill>
            <a:schemeClr val="bg1">
              <a:lumMod val="75000"/>
            </a:schemeClr>
          </a:solidFill>
          <a:ln w="9525">
            <a:solidFill>
              <a:schemeClr val="tx1">
                <a:lumMod val="50000"/>
                <a:lumOff val="50000"/>
              </a:schemeClr>
            </a:solidFill>
            <a:miter lim="800000"/>
            <a:headEnd/>
            <a:tailEnd/>
          </a:ln>
          <a:effectLst/>
        </p:spPr>
        <p:txBody>
          <a:bodyPr wrap="none" anchor="ctr"/>
          <a:lstStyle/>
          <a:p>
            <a:pPr algn="l" rtl="0" fontAlgn="base">
              <a:spcBef>
                <a:spcPct val="0"/>
              </a:spcBef>
              <a:spcAft>
                <a:spcPct val="0"/>
              </a:spcAft>
              <a:defRPr/>
            </a:pPr>
            <a:endParaRPr lang="en-US" sz="1000">
              <a:solidFill>
                <a:srgbClr val="000000"/>
              </a:solidFill>
              <a:latin typeface="Segoe UI" panose="020B0502040204020203" pitchFamily="34" charset="0"/>
              <a:cs typeface="Segoe UI" panose="020B0502040204020203" pitchFamily="34" charset="0"/>
            </a:endParaRPr>
          </a:p>
        </p:txBody>
      </p:sp>
      <p:sp>
        <p:nvSpPr>
          <p:cNvPr id="10" name="Oval 84">
            <a:extLst>
              <a:ext uri="{FF2B5EF4-FFF2-40B4-BE49-F238E27FC236}">
                <a16:creationId xmlns:a16="http://schemas.microsoft.com/office/drawing/2014/main" id="{C6A0F945-2985-693E-5047-C65077962458}"/>
              </a:ext>
            </a:extLst>
          </p:cNvPr>
          <p:cNvSpPr>
            <a:spLocks noChangeArrowheads="1"/>
          </p:cNvSpPr>
          <p:nvPr/>
        </p:nvSpPr>
        <p:spPr bwMode="auto">
          <a:xfrm rot="10800000">
            <a:off x="422191" y="2079483"/>
            <a:ext cx="180000" cy="180000"/>
          </a:xfrm>
          <a:prstGeom prst="ellipse">
            <a:avLst/>
          </a:prstGeom>
          <a:solidFill>
            <a:schemeClr val="bg1"/>
          </a:solidFill>
          <a:ln w="9525" algn="ctr">
            <a:solidFill>
              <a:schemeClr val="tx1">
                <a:lumMod val="50000"/>
                <a:lumOff val="50000"/>
              </a:schemeClr>
            </a:solidFill>
            <a:round/>
            <a:headEnd/>
            <a:tailEnd/>
          </a:ln>
          <a:effectLst/>
        </p:spPr>
        <p:txBody>
          <a:bodyPr wrap="none" anchor="ctr"/>
          <a:lstStyle/>
          <a:p>
            <a:pPr algn="l" rtl="0" fontAlgn="base">
              <a:spcBef>
                <a:spcPct val="0"/>
              </a:spcBef>
              <a:spcAft>
                <a:spcPct val="0"/>
              </a:spcAft>
              <a:defRPr/>
            </a:pPr>
            <a:endParaRPr lang="en-US" sz="1000">
              <a:solidFill>
                <a:srgbClr val="000000"/>
              </a:solidFill>
              <a:latin typeface="Segoe UI" panose="020B0502040204020203" pitchFamily="34" charset="0"/>
              <a:cs typeface="Segoe UI" panose="020B0502040204020203" pitchFamily="34" charset="0"/>
            </a:endParaRPr>
          </a:p>
        </p:txBody>
      </p:sp>
      <p:sp>
        <p:nvSpPr>
          <p:cNvPr id="11" name="Oval 85">
            <a:extLst>
              <a:ext uri="{FF2B5EF4-FFF2-40B4-BE49-F238E27FC236}">
                <a16:creationId xmlns:a16="http://schemas.microsoft.com/office/drawing/2014/main" id="{80039BDE-0931-5637-AF8A-0319DA2575BD}"/>
              </a:ext>
            </a:extLst>
          </p:cNvPr>
          <p:cNvSpPr>
            <a:spLocks noChangeArrowheads="1"/>
          </p:cNvSpPr>
          <p:nvPr/>
        </p:nvSpPr>
        <p:spPr bwMode="auto">
          <a:xfrm rot="10800000">
            <a:off x="422806" y="1871521"/>
            <a:ext cx="179387" cy="180000"/>
          </a:xfrm>
          <a:prstGeom prst="ellipse">
            <a:avLst/>
          </a:prstGeom>
          <a:solidFill>
            <a:schemeClr val="bg1"/>
          </a:solidFill>
          <a:ln w="9525" algn="ctr">
            <a:solidFill>
              <a:schemeClr val="tx1">
                <a:lumMod val="50000"/>
                <a:lumOff val="50000"/>
              </a:schemeClr>
            </a:solidFill>
            <a:round/>
            <a:headEnd/>
            <a:tailEnd/>
          </a:ln>
          <a:effectLst/>
        </p:spPr>
        <p:txBody>
          <a:bodyPr wrap="none" anchor="ctr"/>
          <a:lstStyle/>
          <a:p>
            <a:pPr algn="l" rtl="0" fontAlgn="base">
              <a:spcBef>
                <a:spcPct val="0"/>
              </a:spcBef>
              <a:spcAft>
                <a:spcPct val="0"/>
              </a:spcAft>
              <a:defRPr/>
            </a:pPr>
            <a:endParaRPr lang="en-US" sz="1000">
              <a:solidFill>
                <a:srgbClr val="000000"/>
              </a:solidFill>
              <a:latin typeface="Segoe UI" panose="020B0502040204020203" pitchFamily="34" charset="0"/>
              <a:cs typeface="Segoe UI" panose="020B0502040204020203" pitchFamily="34" charset="0"/>
            </a:endParaRPr>
          </a:p>
        </p:txBody>
      </p:sp>
      <p:sp>
        <p:nvSpPr>
          <p:cNvPr id="12" name="Oval 86">
            <a:extLst>
              <a:ext uri="{FF2B5EF4-FFF2-40B4-BE49-F238E27FC236}">
                <a16:creationId xmlns:a16="http://schemas.microsoft.com/office/drawing/2014/main" id="{FCE1674C-7D13-4C85-38A6-A62E340884A3}"/>
              </a:ext>
            </a:extLst>
          </p:cNvPr>
          <p:cNvSpPr>
            <a:spLocks noChangeArrowheads="1"/>
          </p:cNvSpPr>
          <p:nvPr/>
        </p:nvSpPr>
        <p:spPr bwMode="auto">
          <a:xfrm rot="10800000">
            <a:off x="422806" y="1663558"/>
            <a:ext cx="179387" cy="180000"/>
          </a:xfrm>
          <a:prstGeom prst="ellipse">
            <a:avLst/>
          </a:prstGeom>
          <a:solidFill>
            <a:schemeClr val="bg1"/>
          </a:solidFill>
          <a:ln w="9525" algn="ctr">
            <a:solidFill>
              <a:schemeClr val="tx1">
                <a:lumMod val="50000"/>
                <a:lumOff val="50000"/>
              </a:schemeClr>
            </a:solidFill>
            <a:round/>
            <a:headEnd/>
            <a:tailEnd/>
          </a:ln>
          <a:effectLst/>
        </p:spPr>
        <p:txBody>
          <a:bodyPr wrap="none" anchor="ctr"/>
          <a:lstStyle/>
          <a:p>
            <a:pPr algn="l" rtl="0" fontAlgn="base">
              <a:spcBef>
                <a:spcPct val="0"/>
              </a:spcBef>
              <a:spcAft>
                <a:spcPct val="0"/>
              </a:spcAft>
              <a:defRPr/>
            </a:pPr>
            <a:endParaRPr lang="en-US" sz="1000">
              <a:solidFill>
                <a:srgbClr val="000000"/>
              </a:solidFill>
              <a:latin typeface="Segoe UI" panose="020B0502040204020203" pitchFamily="34" charset="0"/>
              <a:cs typeface="Segoe UI" panose="020B0502040204020203" pitchFamily="34" charset="0"/>
            </a:endParaRPr>
          </a:p>
        </p:txBody>
      </p:sp>
      <p:sp>
        <p:nvSpPr>
          <p:cNvPr id="14" name="Oval 87">
            <a:extLst>
              <a:ext uri="{FF2B5EF4-FFF2-40B4-BE49-F238E27FC236}">
                <a16:creationId xmlns:a16="http://schemas.microsoft.com/office/drawing/2014/main" id="{38B4D5C5-6E62-8648-755D-29EB3185EC3C}"/>
              </a:ext>
            </a:extLst>
          </p:cNvPr>
          <p:cNvSpPr>
            <a:spLocks noChangeArrowheads="1"/>
          </p:cNvSpPr>
          <p:nvPr/>
        </p:nvSpPr>
        <p:spPr bwMode="auto">
          <a:xfrm rot="10800000">
            <a:off x="2761574" y="2707750"/>
            <a:ext cx="180000" cy="180000"/>
          </a:xfrm>
          <a:prstGeom prst="ellipse">
            <a:avLst/>
          </a:prstGeom>
          <a:solidFill>
            <a:schemeClr val="accent2"/>
          </a:solidFill>
          <a:ln w="9525" algn="ctr">
            <a:noFill/>
            <a:round/>
            <a:headEnd/>
            <a:tailEnd/>
          </a:ln>
          <a:effectLst/>
        </p:spPr>
        <p:txBody>
          <a:bodyPr wrap="none" anchor="ctr"/>
          <a:lstStyle/>
          <a:p>
            <a:pPr algn="l" rtl="0" fontAlgn="base">
              <a:spcBef>
                <a:spcPct val="0"/>
              </a:spcBef>
              <a:spcAft>
                <a:spcPct val="0"/>
              </a:spcAft>
              <a:defRPr/>
            </a:pPr>
            <a:endParaRPr lang="en-US" sz="1000">
              <a:solidFill>
                <a:srgbClr val="000000"/>
              </a:solidFill>
              <a:latin typeface="Segoe UI" panose="020B0502040204020203" pitchFamily="34" charset="0"/>
              <a:cs typeface="Segoe UI" panose="020B0502040204020203" pitchFamily="34" charset="0"/>
            </a:endParaRPr>
          </a:p>
        </p:txBody>
      </p:sp>
      <p:sp>
        <p:nvSpPr>
          <p:cNvPr id="15" name="Oval 88">
            <a:extLst>
              <a:ext uri="{FF2B5EF4-FFF2-40B4-BE49-F238E27FC236}">
                <a16:creationId xmlns:a16="http://schemas.microsoft.com/office/drawing/2014/main" id="{F813443E-4989-7354-26FC-E3896FB125D4}"/>
              </a:ext>
            </a:extLst>
          </p:cNvPr>
          <p:cNvSpPr>
            <a:spLocks noChangeArrowheads="1"/>
          </p:cNvSpPr>
          <p:nvPr/>
        </p:nvSpPr>
        <p:spPr bwMode="auto">
          <a:xfrm rot="10800000">
            <a:off x="2761573" y="3067771"/>
            <a:ext cx="180000" cy="180000"/>
          </a:xfrm>
          <a:prstGeom prst="ellipse">
            <a:avLst/>
          </a:prstGeom>
          <a:solidFill>
            <a:srgbClr val="92D050"/>
          </a:solidFill>
          <a:ln w="9525" algn="ctr">
            <a:noFill/>
            <a:round/>
            <a:headEnd/>
            <a:tailEnd/>
          </a:ln>
          <a:effectLst/>
        </p:spPr>
        <p:txBody>
          <a:bodyPr wrap="none" anchor="ctr"/>
          <a:lstStyle/>
          <a:p>
            <a:pPr algn="l" rtl="0" fontAlgn="base">
              <a:spcBef>
                <a:spcPct val="0"/>
              </a:spcBef>
              <a:spcAft>
                <a:spcPct val="0"/>
              </a:spcAft>
              <a:defRPr/>
            </a:pPr>
            <a:endParaRPr lang="en-US" sz="1000">
              <a:solidFill>
                <a:srgbClr val="000000"/>
              </a:solidFill>
              <a:latin typeface="Segoe UI" panose="020B0502040204020203" pitchFamily="34" charset="0"/>
              <a:cs typeface="Segoe UI" panose="020B0502040204020203" pitchFamily="34" charset="0"/>
            </a:endParaRPr>
          </a:p>
        </p:txBody>
      </p:sp>
      <p:sp>
        <p:nvSpPr>
          <p:cNvPr id="16" name="Oval 89">
            <a:extLst>
              <a:ext uri="{FF2B5EF4-FFF2-40B4-BE49-F238E27FC236}">
                <a16:creationId xmlns:a16="http://schemas.microsoft.com/office/drawing/2014/main" id="{8C71F9E6-24D9-EC32-4328-155FB64D2D3A}"/>
              </a:ext>
            </a:extLst>
          </p:cNvPr>
          <p:cNvSpPr>
            <a:spLocks noChangeArrowheads="1"/>
          </p:cNvSpPr>
          <p:nvPr/>
        </p:nvSpPr>
        <p:spPr bwMode="auto">
          <a:xfrm rot="10800000">
            <a:off x="2761573" y="3463834"/>
            <a:ext cx="180000" cy="180000"/>
          </a:xfrm>
          <a:prstGeom prst="ellipse">
            <a:avLst/>
          </a:prstGeom>
          <a:solidFill>
            <a:srgbClr val="FF0000"/>
          </a:solidFill>
          <a:ln w="9525" algn="ctr">
            <a:noFill/>
            <a:round/>
            <a:headEnd/>
            <a:tailEnd/>
          </a:ln>
          <a:effectLst/>
        </p:spPr>
        <p:txBody>
          <a:bodyPr wrap="none" anchor="ctr"/>
          <a:lstStyle/>
          <a:p>
            <a:pPr algn="l" rtl="0" fontAlgn="base">
              <a:spcBef>
                <a:spcPct val="0"/>
              </a:spcBef>
              <a:spcAft>
                <a:spcPct val="0"/>
              </a:spcAft>
              <a:defRPr/>
            </a:pPr>
            <a:endParaRPr lang="en-US" sz="1000">
              <a:solidFill>
                <a:srgbClr val="000000"/>
              </a:solidFill>
              <a:latin typeface="Segoe UI" panose="020B0502040204020203" pitchFamily="34" charset="0"/>
              <a:cs typeface="Segoe UI" panose="020B0502040204020203" pitchFamily="34" charset="0"/>
            </a:endParaRPr>
          </a:p>
        </p:txBody>
      </p:sp>
      <p:sp>
        <p:nvSpPr>
          <p:cNvPr id="17" name="Oval 87">
            <a:extLst>
              <a:ext uri="{FF2B5EF4-FFF2-40B4-BE49-F238E27FC236}">
                <a16:creationId xmlns:a16="http://schemas.microsoft.com/office/drawing/2014/main" id="{34165DDD-012C-7C4B-5686-35F88B337DB4}"/>
              </a:ext>
            </a:extLst>
          </p:cNvPr>
          <p:cNvSpPr>
            <a:spLocks noChangeArrowheads="1"/>
          </p:cNvSpPr>
          <p:nvPr/>
        </p:nvSpPr>
        <p:spPr bwMode="auto">
          <a:xfrm rot="10800000">
            <a:off x="2761573" y="3859878"/>
            <a:ext cx="180000" cy="180000"/>
          </a:xfrm>
          <a:prstGeom prst="ellipse">
            <a:avLst/>
          </a:prstGeom>
          <a:solidFill>
            <a:srgbClr val="92D050"/>
          </a:solidFill>
          <a:ln w="9525" algn="ctr">
            <a:noFill/>
            <a:round/>
            <a:headEnd/>
            <a:tailEnd/>
          </a:ln>
          <a:effectLst/>
        </p:spPr>
        <p:txBody>
          <a:bodyPr wrap="none" anchor="ctr"/>
          <a:lstStyle/>
          <a:p>
            <a:pPr algn="l" rtl="0" fontAlgn="base">
              <a:spcBef>
                <a:spcPct val="0"/>
              </a:spcBef>
              <a:spcAft>
                <a:spcPct val="0"/>
              </a:spcAft>
              <a:defRPr/>
            </a:pPr>
            <a:endParaRPr lang="en-US" sz="1000">
              <a:solidFill>
                <a:srgbClr val="0000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246836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8BD1C-ED8D-B369-6EE6-F68E677EAA28}"/>
              </a:ext>
            </a:extLst>
          </p:cNvPr>
          <p:cNvSpPr>
            <a:spLocks noGrp="1"/>
          </p:cNvSpPr>
          <p:nvPr>
            <p:ph type="title"/>
          </p:nvPr>
        </p:nvSpPr>
        <p:spPr/>
        <p:txBody>
          <a:bodyPr/>
          <a:lstStyle/>
          <a:p>
            <a:r>
              <a:rPr lang="en-BR"/>
              <a:t>Project Management</a:t>
            </a:r>
          </a:p>
        </p:txBody>
      </p:sp>
      <p:sp>
        <p:nvSpPr>
          <p:cNvPr id="3" name="Footer Placeholder 2">
            <a:extLst>
              <a:ext uri="{FF2B5EF4-FFF2-40B4-BE49-F238E27FC236}">
                <a16:creationId xmlns:a16="http://schemas.microsoft.com/office/drawing/2014/main" id="{C8E61B0B-EB97-CDD7-5F54-6065C7BAFBB6}"/>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20795799-37AB-07BE-D78B-331AF10EC27B}"/>
              </a:ext>
            </a:extLst>
          </p:cNvPr>
          <p:cNvSpPr>
            <a:spLocks noGrp="1"/>
          </p:cNvSpPr>
          <p:nvPr>
            <p:ph type="sldNum" sz="quarter" idx="12"/>
          </p:nvPr>
        </p:nvSpPr>
        <p:spPr/>
        <p:txBody>
          <a:bodyPr/>
          <a:lstStyle/>
          <a:p>
            <a:fld id="{A8DDC45B-7265-3747-B738-ED29642119D9}" type="slidenum">
              <a:rPr lang="en-BR" smtClean="0"/>
              <a:pPr/>
              <a:t>33</a:t>
            </a:fld>
            <a:endParaRPr lang="en-BR"/>
          </a:p>
        </p:txBody>
      </p:sp>
      <p:sp>
        <p:nvSpPr>
          <p:cNvPr id="5" name="Text Placeholder 4">
            <a:extLst>
              <a:ext uri="{FF2B5EF4-FFF2-40B4-BE49-F238E27FC236}">
                <a16:creationId xmlns:a16="http://schemas.microsoft.com/office/drawing/2014/main" id="{1C35491F-E947-50E8-9940-BE91A62D7713}"/>
              </a:ext>
            </a:extLst>
          </p:cNvPr>
          <p:cNvSpPr>
            <a:spLocks noGrp="1"/>
          </p:cNvSpPr>
          <p:nvPr>
            <p:ph type="body" sz="quarter" idx="13"/>
          </p:nvPr>
        </p:nvSpPr>
        <p:spPr/>
        <p:txBody>
          <a:bodyPr/>
          <a:lstStyle/>
          <a:p>
            <a:r>
              <a:rPr lang="en-BR"/>
              <a:t>Gantt Chart 1</a:t>
            </a:r>
          </a:p>
        </p:txBody>
      </p:sp>
      <p:grpSp>
        <p:nvGrpSpPr>
          <p:cNvPr id="6" name="Group 5">
            <a:extLst>
              <a:ext uri="{FF2B5EF4-FFF2-40B4-BE49-F238E27FC236}">
                <a16:creationId xmlns:a16="http://schemas.microsoft.com/office/drawing/2014/main" id="{2EBB7F2C-F36E-75BA-5E64-D0808DB9A6A2}"/>
              </a:ext>
            </a:extLst>
          </p:cNvPr>
          <p:cNvGrpSpPr/>
          <p:nvPr/>
        </p:nvGrpSpPr>
        <p:grpSpPr>
          <a:xfrm>
            <a:off x="-1" y="1613256"/>
            <a:ext cx="12223281" cy="4680856"/>
            <a:chOff x="-1" y="1423065"/>
            <a:chExt cx="12223281" cy="4680856"/>
          </a:xfrm>
        </p:grpSpPr>
        <p:sp>
          <p:nvSpPr>
            <p:cNvPr id="7" name="Rectangle 6">
              <a:extLst>
                <a:ext uri="{FF2B5EF4-FFF2-40B4-BE49-F238E27FC236}">
                  <a16:creationId xmlns:a16="http://schemas.microsoft.com/office/drawing/2014/main" id="{3CA12F73-0B6E-7D1F-CD7C-E82D9C06FD6C}"/>
                </a:ext>
              </a:extLst>
            </p:cNvPr>
            <p:cNvSpPr/>
            <p:nvPr/>
          </p:nvSpPr>
          <p:spPr>
            <a:xfrm>
              <a:off x="0" y="1991117"/>
              <a:ext cx="12192000" cy="4084113"/>
            </a:xfrm>
            <a:prstGeom prst="rect">
              <a:avLst/>
            </a:prstGeom>
            <a:pattFill prst="wdUpDiag">
              <a:fgClr>
                <a:schemeClr val="bg1">
                  <a:lumMod val="95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CB2F890-2B4C-3030-18B1-52A19A92F332}"/>
                </a:ext>
              </a:extLst>
            </p:cNvPr>
            <p:cNvSpPr/>
            <p:nvPr/>
          </p:nvSpPr>
          <p:spPr>
            <a:xfrm>
              <a:off x="-1" y="1991116"/>
              <a:ext cx="3095897" cy="411280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C69B2AC8-E70F-2354-56EB-67536C4B2A87}"/>
                </a:ext>
              </a:extLst>
            </p:cNvPr>
            <p:cNvGrpSpPr/>
            <p:nvPr/>
          </p:nvGrpSpPr>
          <p:grpSpPr>
            <a:xfrm>
              <a:off x="0" y="1423065"/>
              <a:ext cx="12192000" cy="335148"/>
              <a:chOff x="0" y="1423065"/>
              <a:chExt cx="12192000" cy="335148"/>
            </a:xfrm>
          </p:grpSpPr>
          <p:sp>
            <p:nvSpPr>
              <p:cNvPr id="18" name="TextBox 17">
                <a:extLst>
                  <a:ext uri="{FF2B5EF4-FFF2-40B4-BE49-F238E27FC236}">
                    <a16:creationId xmlns:a16="http://schemas.microsoft.com/office/drawing/2014/main" id="{0BB90F73-8409-707D-0174-7DE9A8BEA890}"/>
                  </a:ext>
                </a:extLst>
              </p:cNvPr>
              <p:cNvSpPr txBox="1"/>
              <p:nvPr/>
            </p:nvSpPr>
            <p:spPr>
              <a:xfrm>
                <a:off x="3274072" y="1644988"/>
                <a:ext cx="311418" cy="113225"/>
              </a:xfrm>
              <a:prstGeom prst="rect">
                <a:avLst/>
              </a:prstGeom>
              <a:ln w="25400">
                <a:noFill/>
              </a:ln>
            </p:spPr>
            <p:txBody>
              <a:bodyPr vert="horz" wrap="square" lIns="0" tIns="0" rIns="0" bIns="0" rtlCol="0" anchor="b" anchorCtr="0">
                <a:noAutofit/>
              </a:bodyPr>
              <a:lstStyle/>
              <a:p>
                <a:pPr algn="ctr"/>
                <a:r>
                  <a:rPr lang="en-US" sz="1050" cap="all">
                    <a:latin typeface="+mj-lt"/>
                  </a:rPr>
                  <a:t>Jan</a:t>
                </a:r>
              </a:p>
            </p:txBody>
          </p:sp>
          <p:sp>
            <p:nvSpPr>
              <p:cNvPr id="19" name="TextBox 18">
                <a:extLst>
                  <a:ext uri="{FF2B5EF4-FFF2-40B4-BE49-F238E27FC236}">
                    <a16:creationId xmlns:a16="http://schemas.microsoft.com/office/drawing/2014/main" id="{D22B84A7-496F-30D6-065B-00EBD0B292BF}"/>
                  </a:ext>
                </a:extLst>
              </p:cNvPr>
              <p:cNvSpPr txBox="1"/>
              <p:nvPr/>
            </p:nvSpPr>
            <p:spPr>
              <a:xfrm>
                <a:off x="4015606" y="1644987"/>
                <a:ext cx="295992" cy="113225"/>
              </a:xfrm>
              <a:prstGeom prst="rect">
                <a:avLst/>
              </a:prstGeom>
              <a:ln w="25400">
                <a:noFill/>
              </a:ln>
            </p:spPr>
            <p:txBody>
              <a:bodyPr vert="horz" wrap="square" lIns="0" tIns="0" rIns="0" bIns="0" rtlCol="0" anchor="b" anchorCtr="0">
                <a:noAutofit/>
              </a:bodyPr>
              <a:lstStyle/>
              <a:p>
                <a:pPr algn="ctr"/>
                <a:r>
                  <a:rPr lang="en-US" sz="1050" cap="all">
                    <a:latin typeface="+mj-lt"/>
                  </a:rPr>
                  <a:t>Feb</a:t>
                </a:r>
              </a:p>
            </p:txBody>
          </p:sp>
          <p:sp>
            <p:nvSpPr>
              <p:cNvPr id="20" name="TextBox 19">
                <a:extLst>
                  <a:ext uri="{FF2B5EF4-FFF2-40B4-BE49-F238E27FC236}">
                    <a16:creationId xmlns:a16="http://schemas.microsoft.com/office/drawing/2014/main" id="{C7A0821B-D9D1-4D0A-B801-74E869C3B0FC}"/>
                  </a:ext>
                </a:extLst>
              </p:cNvPr>
              <p:cNvSpPr txBox="1"/>
              <p:nvPr/>
            </p:nvSpPr>
            <p:spPr>
              <a:xfrm>
                <a:off x="4741714" y="1644986"/>
                <a:ext cx="344302" cy="113225"/>
              </a:xfrm>
              <a:prstGeom prst="rect">
                <a:avLst/>
              </a:prstGeom>
              <a:ln w="25400">
                <a:noFill/>
              </a:ln>
            </p:spPr>
            <p:txBody>
              <a:bodyPr vert="horz" wrap="square" lIns="0" tIns="0" rIns="0" bIns="0" rtlCol="0" anchor="b" anchorCtr="0">
                <a:noAutofit/>
              </a:bodyPr>
              <a:lstStyle/>
              <a:p>
                <a:pPr algn="ctr"/>
                <a:r>
                  <a:rPr lang="en-US" sz="1050" cap="all">
                    <a:latin typeface="+mj-lt"/>
                  </a:rPr>
                  <a:t>Mar</a:t>
                </a:r>
              </a:p>
            </p:txBody>
          </p:sp>
          <p:sp>
            <p:nvSpPr>
              <p:cNvPr id="21" name="TextBox 20">
                <a:extLst>
                  <a:ext uri="{FF2B5EF4-FFF2-40B4-BE49-F238E27FC236}">
                    <a16:creationId xmlns:a16="http://schemas.microsoft.com/office/drawing/2014/main" id="{9970EA65-E248-6824-6332-DD0F528C807E}"/>
                  </a:ext>
                </a:extLst>
              </p:cNvPr>
              <p:cNvSpPr txBox="1"/>
              <p:nvPr/>
            </p:nvSpPr>
            <p:spPr>
              <a:xfrm>
                <a:off x="5516132" y="1643481"/>
                <a:ext cx="330904" cy="113225"/>
              </a:xfrm>
              <a:prstGeom prst="rect">
                <a:avLst/>
              </a:prstGeom>
              <a:ln w="25400">
                <a:noFill/>
              </a:ln>
            </p:spPr>
            <p:txBody>
              <a:bodyPr vert="horz" wrap="square" lIns="0" tIns="0" rIns="0" bIns="0" rtlCol="0" anchor="b" anchorCtr="0">
                <a:noAutofit/>
              </a:bodyPr>
              <a:lstStyle/>
              <a:p>
                <a:pPr algn="ctr"/>
                <a:r>
                  <a:rPr lang="en-US" sz="1050" cap="all">
                    <a:latin typeface="+mj-lt"/>
                  </a:rPr>
                  <a:t>Apr</a:t>
                </a:r>
              </a:p>
            </p:txBody>
          </p:sp>
          <p:sp>
            <p:nvSpPr>
              <p:cNvPr id="22" name="TextBox 21">
                <a:extLst>
                  <a:ext uri="{FF2B5EF4-FFF2-40B4-BE49-F238E27FC236}">
                    <a16:creationId xmlns:a16="http://schemas.microsoft.com/office/drawing/2014/main" id="{2B7B8B53-BF03-8471-F184-8796191F2D1A}"/>
                  </a:ext>
                </a:extLst>
              </p:cNvPr>
              <p:cNvSpPr txBox="1"/>
              <p:nvPr/>
            </p:nvSpPr>
            <p:spPr>
              <a:xfrm>
                <a:off x="6277152" y="1643481"/>
                <a:ext cx="354336" cy="113225"/>
              </a:xfrm>
              <a:prstGeom prst="rect">
                <a:avLst/>
              </a:prstGeom>
              <a:ln w="25400">
                <a:noFill/>
              </a:ln>
            </p:spPr>
            <p:txBody>
              <a:bodyPr vert="horz" wrap="square" lIns="0" tIns="0" rIns="0" bIns="0" rtlCol="0" anchor="b" anchorCtr="0">
                <a:noAutofit/>
              </a:bodyPr>
              <a:lstStyle/>
              <a:p>
                <a:pPr algn="ctr"/>
                <a:r>
                  <a:rPr lang="en-US" sz="1050" cap="all">
                    <a:latin typeface="+mj-lt"/>
                  </a:rPr>
                  <a:t>May</a:t>
                </a:r>
              </a:p>
            </p:txBody>
          </p:sp>
          <p:sp>
            <p:nvSpPr>
              <p:cNvPr id="23" name="TextBox 22">
                <a:extLst>
                  <a:ext uri="{FF2B5EF4-FFF2-40B4-BE49-F238E27FC236}">
                    <a16:creationId xmlns:a16="http://schemas.microsoft.com/office/drawing/2014/main" id="{9A02666C-BDC6-6259-A555-F7B5BE4ADDD4}"/>
                  </a:ext>
                </a:extLst>
              </p:cNvPr>
              <p:cNvSpPr txBox="1"/>
              <p:nvPr/>
            </p:nvSpPr>
            <p:spPr>
              <a:xfrm>
                <a:off x="7061604" y="1643481"/>
                <a:ext cx="315840" cy="113225"/>
              </a:xfrm>
              <a:prstGeom prst="rect">
                <a:avLst/>
              </a:prstGeom>
              <a:ln w="25400">
                <a:noFill/>
              </a:ln>
            </p:spPr>
            <p:txBody>
              <a:bodyPr vert="horz" wrap="square" lIns="0" tIns="0" rIns="0" bIns="0" rtlCol="0" anchor="b" anchorCtr="0">
                <a:noAutofit/>
              </a:bodyPr>
              <a:lstStyle/>
              <a:p>
                <a:pPr algn="ctr"/>
                <a:r>
                  <a:rPr lang="en-US" sz="1050" cap="all">
                    <a:latin typeface="+mj-lt"/>
                  </a:rPr>
                  <a:t>Jun</a:t>
                </a:r>
              </a:p>
            </p:txBody>
          </p:sp>
          <p:sp>
            <p:nvSpPr>
              <p:cNvPr id="24" name="TextBox 23">
                <a:extLst>
                  <a:ext uri="{FF2B5EF4-FFF2-40B4-BE49-F238E27FC236}">
                    <a16:creationId xmlns:a16="http://schemas.microsoft.com/office/drawing/2014/main" id="{6DC95069-3597-B12C-088A-EAF9BE50459E}"/>
                  </a:ext>
                </a:extLst>
              </p:cNvPr>
              <p:cNvSpPr txBox="1"/>
              <p:nvPr/>
            </p:nvSpPr>
            <p:spPr>
              <a:xfrm>
                <a:off x="7807560" y="1643481"/>
                <a:ext cx="291650" cy="113225"/>
              </a:xfrm>
              <a:prstGeom prst="rect">
                <a:avLst/>
              </a:prstGeom>
              <a:ln w="25400">
                <a:noFill/>
              </a:ln>
            </p:spPr>
            <p:txBody>
              <a:bodyPr vert="horz" wrap="square" lIns="0" tIns="0" rIns="0" bIns="0" rtlCol="0" anchor="b" anchorCtr="0">
                <a:noAutofit/>
              </a:bodyPr>
              <a:lstStyle/>
              <a:p>
                <a:pPr algn="ctr"/>
                <a:r>
                  <a:rPr lang="en-US" sz="1050" cap="all">
                    <a:latin typeface="+mj-lt"/>
                  </a:rPr>
                  <a:t>Jul</a:t>
                </a:r>
              </a:p>
            </p:txBody>
          </p:sp>
          <p:sp>
            <p:nvSpPr>
              <p:cNvPr id="25" name="TextBox 24">
                <a:extLst>
                  <a:ext uri="{FF2B5EF4-FFF2-40B4-BE49-F238E27FC236}">
                    <a16:creationId xmlns:a16="http://schemas.microsoft.com/office/drawing/2014/main" id="{A4AB14F8-50A1-9129-6C0C-C9B3E1301134}"/>
                  </a:ext>
                </a:extLst>
              </p:cNvPr>
              <p:cNvSpPr txBox="1"/>
              <p:nvPr/>
            </p:nvSpPr>
            <p:spPr>
              <a:xfrm>
                <a:off x="8529326" y="1643481"/>
                <a:ext cx="336592" cy="113225"/>
              </a:xfrm>
              <a:prstGeom prst="rect">
                <a:avLst/>
              </a:prstGeom>
              <a:ln w="25400">
                <a:noFill/>
              </a:ln>
            </p:spPr>
            <p:txBody>
              <a:bodyPr vert="horz" wrap="square" lIns="0" tIns="0" rIns="0" bIns="0" rtlCol="0" anchor="b" anchorCtr="0">
                <a:noAutofit/>
              </a:bodyPr>
              <a:lstStyle/>
              <a:p>
                <a:pPr algn="ctr"/>
                <a:r>
                  <a:rPr lang="en-US" sz="1050" cap="all">
                    <a:latin typeface="+mj-lt"/>
                  </a:rPr>
                  <a:t>Aug</a:t>
                </a:r>
              </a:p>
            </p:txBody>
          </p:sp>
          <p:sp>
            <p:nvSpPr>
              <p:cNvPr id="26" name="TextBox 25">
                <a:extLst>
                  <a:ext uri="{FF2B5EF4-FFF2-40B4-BE49-F238E27FC236}">
                    <a16:creationId xmlns:a16="http://schemas.microsoft.com/office/drawing/2014/main" id="{AA880C9C-C1F5-E6A7-7A61-181D730F104D}"/>
                  </a:ext>
                </a:extLst>
              </p:cNvPr>
              <p:cNvSpPr txBox="1"/>
              <p:nvPr/>
            </p:nvSpPr>
            <p:spPr>
              <a:xfrm>
                <a:off x="9296034" y="1643481"/>
                <a:ext cx="293516" cy="113225"/>
              </a:xfrm>
              <a:prstGeom prst="rect">
                <a:avLst/>
              </a:prstGeom>
              <a:ln w="25400">
                <a:noFill/>
              </a:ln>
            </p:spPr>
            <p:txBody>
              <a:bodyPr vert="horz" wrap="square" lIns="0" tIns="0" rIns="0" bIns="0" rtlCol="0" anchor="b" anchorCtr="0">
                <a:noAutofit/>
              </a:bodyPr>
              <a:lstStyle/>
              <a:p>
                <a:pPr algn="ctr"/>
                <a:r>
                  <a:rPr lang="en-US" sz="1050" cap="all">
                    <a:latin typeface="+mj-lt"/>
                  </a:rPr>
                  <a:t>Sep</a:t>
                </a:r>
              </a:p>
            </p:txBody>
          </p:sp>
          <p:sp>
            <p:nvSpPr>
              <p:cNvPr id="27" name="TextBox 26">
                <a:extLst>
                  <a:ext uri="{FF2B5EF4-FFF2-40B4-BE49-F238E27FC236}">
                    <a16:creationId xmlns:a16="http://schemas.microsoft.com/office/drawing/2014/main" id="{D72C3E37-7547-DA52-AD8B-F3F0A95C204E}"/>
                  </a:ext>
                </a:extLst>
              </p:cNvPr>
              <p:cNvSpPr txBox="1"/>
              <p:nvPr/>
            </p:nvSpPr>
            <p:spPr>
              <a:xfrm>
                <a:off x="10019666" y="1643481"/>
                <a:ext cx="328296" cy="113225"/>
              </a:xfrm>
              <a:prstGeom prst="rect">
                <a:avLst/>
              </a:prstGeom>
              <a:ln w="25400">
                <a:noFill/>
              </a:ln>
            </p:spPr>
            <p:txBody>
              <a:bodyPr vert="horz" wrap="square" lIns="0" tIns="0" rIns="0" bIns="0" rtlCol="0" anchor="b" anchorCtr="0">
                <a:noAutofit/>
              </a:bodyPr>
              <a:lstStyle/>
              <a:p>
                <a:pPr algn="ctr"/>
                <a:r>
                  <a:rPr lang="en-US" sz="1050" cap="all">
                    <a:latin typeface="+mj-lt"/>
                  </a:rPr>
                  <a:t>Oct</a:t>
                </a:r>
              </a:p>
            </p:txBody>
          </p:sp>
          <p:sp>
            <p:nvSpPr>
              <p:cNvPr id="28" name="TextBox 27">
                <a:extLst>
                  <a:ext uri="{FF2B5EF4-FFF2-40B4-BE49-F238E27FC236}">
                    <a16:creationId xmlns:a16="http://schemas.microsoft.com/office/drawing/2014/main" id="{ABAE7BC2-598A-0B61-8A4D-7E935D59AFAF}"/>
                  </a:ext>
                </a:extLst>
              </p:cNvPr>
              <p:cNvSpPr txBox="1"/>
              <p:nvPr/>
            </p:nvSpPr>
            <p:spPr>
              <a:xfrm>
                <a:off x="10778078" y="1643481"/>
                <a:ext cx="339666" cy="113225"/>
              </a:xfrm>
              <a:prstGeom prst="rect">
                <a:avLst/>
              </a:prstGeom>
              <a:ln w="25400">
                <a:noFill/>
              </a:ln>
            </p:spPr>
            <p:txBody>
              <a:bodyPr vert="horz" wrap="square" lIns="0" tIns="0" rIns="0" bIns="0" rtlCol="0" anchor="b" anchorCtr="0">
                <a:noAutofit/>
              </a:bodyPr>
              <a:lstStyle/>
              <a:p>
                <a:pPr algn="ctr"/>
                <a:r>
                  <a:rPr lang="en-US" sz="1050" cap="all">
                    <a:latin typeface="+mj-lt"/>
                  </a:rPr>
                  <a:t>Nov</a:t>
                </a:r>
              </a:p>
            </p:txBody>
          </p:sp>
          <p:sp>
            <p:nvSpPr>
              <p:cNvPr id="29" name="TextBox 28">
                <a:extLst>
                  <a:ext uri="{FF2B5EF4-FFF2-40B4-BE49-F238E27FC236}">
                    <a16:creationId xmlns:a16="http://schemas.microsoft.com/office/drawing/2014/main" id="{386DA5C0-5D59-CB82-6FCA-D8F3FEDF0187}"/>
                  </a:ext>
                </a:extLst>
              </p:cNvPr>
              <p:cNvSpPr txBox="1"/>
              <p:nvPr/>
            </p:nvSpPr>
            <p:spPr>
              <a:xfrm>
                <a:off x="11547862" y="1638341"/>
                <a:ext cx="307588" cy="113225"/>
              </a:xfrm>
              <a:prstGeom prst="rect">
                <a:avLst/>
              </a:prstGeom>
              <a:ln w="25400">
                <a:noFill/>
              </a:ln>
            </p:spPr>
            <p:txBody>
              <a:bodyPr vert="horz" wrap="square" lIns="0" tIns="0" rIns="0" bIns="0" rtlCol="0" anchor="b" anchorCtr="0">
                <a:noAutofit/>
              </a:bodyPr>
              <a:lstStyle/>
              <a:p>
                <a:pPr algn="ctr"/>
                <a:r>
                  <a:rPr lang="en-US" sz="1050" cap="all">
                    <a:latin typeface="+mj-lt"/>
                  </a:rPr>
                  <a:t>Dec</a:t>
                </a:r>
              </a:p>
            </p:txBody>
          </p:sp>
          <p:grpSp>
            <p:nvGrpSpPr>
              <p:cNvPr id="30" name="Group 29">
                <a:extLst>
                  <a:ext uri="{FF2B5EF4-FFF2-40B4-BE49-F238E27FC236}">
                    <a16:creationId xmlns:a16="http://schemas.microsoft.com/office/drawing/2014/main" id="{3D046528-BCD3-6FC5-931C-E470DE4CEDC4}"/>
                  </a:ext>
                </a:extLst>
              </p:cNvPr>
              <p:cNvGrpSpPr/>
              <p:nvPr/>
            </p:nvGrpSpPr>
            <p:grpSpPr>
              <a:xfrm>
                <a:off x="0" y="1423065"/>
                <a:ext cx="12192000" cy="125807"/>
                <a:chOff x="0" y="1423065"/>
                <a:chExt cx="12192000" cy="125807"/>
              </a:xfrm>
            </p:grpSpPr>
            <p:cxnSp>
              <p:nvCxnSpPr>
                <p:cNvPr id="31" name="Straight Connector 30">
                  <a:extLst>
                    <a:ext uri="{FF2B5EF4-FFF2-40B4-BE49-F238E27FC236}">
                      <a16:creationId xmlns:a16="http://schemas.microsoft.com/office/drawing/2014/main" id="{030DB4E4-A9D1-D110-5DFF-6BEFB29AAA38}"/>
                    </a:ext>
                  </a:extLst>
                </p:cNvPr>
                <p:cNvCxnSpPr/>
                <p:nvPr/>
              </p:nvCxnSpPr>
              <p:spPr>
                <a:xfrm>
                  <a:off x="0" y="1423065"/>
                  <a:ext cx="12192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1C86E5E-34DD-CC17-B0BE-50E16B0DB178}"/>
                    </a:ext>
                  </a:extLst>
                </p:cNvPr>
                <p:cNvCxnSpPr/>
                <p:nvPr/>
              </p:nvCxnSpPr>
              <p:spPr>
                <a:xfrm>
                  <a:off x="3429781" y="1423066"/>
                  <a:ext cx="0" cy="12580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40F7852-E173-36FB-CD2D-30345B177CBF}"/>
                    </a:ext>
                  </a:extLst>
                </p:cNvPr>
                <p:cNvCxnSpPr/>
                <p:nvPr/>
              </p:nvCxnSpPr>
              <p:spPr>
                <a:xfrm>
                  <a:off x="4163602" y="1423066"/>
                  <a:ext cx="0" cy="12580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14FD839-4EC8-F0DF-B447-2826B7DE4584}"/>
                    </a:ext>
                  </a:extLst>
                </p:cNvPr>
                <p:cNvCxnSpPr/>
                <p:nvPr/>
              </p:nvCxnSpPr>
              <p:spPr>
                <a:xfrm>
                  <a:off x="4913865"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12066A4-1D66-EED3-8A7C-18D2A30ECBB9}"/>
                    </a:ext>
                  </a:extLst>
                </p:cNvPr>
                <p:cNvCxnSpPr/>
                <p:nvPr/>
              </p:nvCxnSpPr>
              <p:spPr>
                <a:xfrm>
                  <a:off x="5681584"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B022A49-404F-3012-9737-83DE4070A4A1}"/>
                    </a:ext>
                  </a:extLst>
                </p:cNvPr>
                <p:cNvCxnSpPr/>
                <p:nvPr/>
              </p:nvCxnSpPr>
              <p:spPr>
                <a:xfrm>
                  <a:off x="6454320"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294EE5D-A313-8866-8B27-16972B7AB3B9}"/>
                    </a:ext>
                  </a:extLst>
                </p:cNvPr>
                <p:cNvCxnSpPr/>
                <p:nvPr/>
              </p:nvCxnSpPr>
              <p:spPr>
                <a:xfrm>
                  <a:off x="7219524"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116C852-197F-7611-C061-1A979E7C70F8}"/>
                    </a:ext>
                  </a:extLst>
                </p:cNvPr>
                <p:cNvCxnSpPr/>
                <p:nvPr/>
              </p:nvCxnSpPr>
              <p:spPr>
                <a:xfrm>
                  <a:off x="7953385"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49CF9D1-4164-EF60-BD26-E95C8EA78433}"/>
                    </a:ext>
                  </a:extLst>
                </p:cNvPr>
                <p:cNvCxnSpPr/>
                <p:nvPr/>
              </p:nvCxnSpPr>
              <p:spPr>
                <a:xfrm>
                  <a:off x="8697622"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DBB68BF-3097-BD7A-4BA4-B1CBFD45342B}"/>
                    </a:ext>
                  </a:extLst>
                </p:cNvPr>
                <p:cNvCxnSpPr/>
                <p:nvPr/>
              </p:nvCxnSpPr>
              <p:spPr>
                <a:xfrm>
                  <a:off x="9442792"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F3AED3A-A89F-C2E7-678C-BF50B6E22AB7}"/>
                    </a:ext>
                  </a:extLst>
                </p:cNvPr>
                <p:cNvCxnSpPr/>
                <p:nvPr/>
              </p:nvCxnSpPr>
              <p:spPr>
                <a:xfrm>
                  <a:off x="10183814"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B791EA8-3796-7906-555B-3622FBAECF07}"/>
                    </a:ext>
                  </a:extLst>
                </p:cNvPr>
                <p:cNvCxnSpPr/>
                <p:nvPr/>
              </p:nvCxnSpPr>
              <p:spPr>
                <a:xfrm>
                  <a:off x="10947911" y="1423066"/>
                  <a:ext cx="0" cy="1258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3AC4491-C31A-2D06-3819-C7C32ED03988}"/>
                    </a:ext>
                  </a:extLst>
                </p:cNvPr>
                <p:cNvCxnSpPr/>
                <p:nvPr/>
              </p:nvCxnSpPr>
              <p:spPr>
                <a:xfrm>
                  <a:off x="11701656" y="1423066"/>
                  <a:ext cx="0" cy="12580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grpSp>
        <p:grpSp>
          <p:nvGrpSpPr>
            <p:cNvPr id="10" name="Group 9">
              <a:extLst>
                <a:ext uri="{FF2B5EF4-FFF2-40B4-BE49-F238E27FC236}">
                  <a16:creationId xmlns:a16="http://schemas.microsoft.com/office/drawing/2014/main" id="{00BFE101-C243-8A77-048E-D2C1EBCB3C1B}"/>
                </a:ext>
              </a:extLst>
            </p:cNvPr>
            <p:cNvGrpSpPr/>
            <p:nvPr/>
          </p:nvGrpSpPr>
          <p:grpSpPr>
            <a:xfrm>
              <a:off x="0" y="2514039"/>
              <a:ext cx="12223280" cy="3078730"/>
              <a:chOff x="0" y="2514039"/>
              <a:chExt cx="12223280" cy="3078730"/>
            </a:xfrm>
          </p:grpSpPr>
          <p:cxnSp>
            <p:nvCxnSpPr>
              <p:cNvPr id="11" name="Straight Connector 10">
                <a:extLst>
                  <a:ext uri="{FF2B5EF4-FFF2-40B4-BE49-F238E27FC236}">
                    <a16:creationId xmlns:a16="http://schemas.microsoft.com/office/drawing/2014/main" id="{D579C851-9B44-6C05-3FDC-DFD101967647}"/>
                  </a:ext>
                </a:extLst>
              </p:cNvPr>
              <p:cNvCxnSpPr/>
              <p:nvPr/>
            </p:nvCxnSpPr>
            <p:spPr>
              <a:xfrm>
                <a:off x="0" y="2514039"/>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1FC1654-F4BC-B5AD-781A-164D3EECC14F}"/>
                  </a:ext>
                </a:extLst>
              </p:cNvPr>
              <p:cNvCxnSpPr/>
              <p:nvPr/>
            </p:nvCxnSpPr>
            <p:spPr>
              <a:xfrm>
                <a:off x="0" y="3027873"/>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252A776-10DC-FC8C-DC3B-7FBA9A5DD247}"/>
                  </a:ext>
                </a:extLst>
              </p:cNvPr>
              <p:cNvCxnSpPr/>
              <p:nvPr/>
            </p:nvCxnSpPr>
            <p:spPr>
              <a:xfrm>
                <a:off x="0" y="3540923"/>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FF0E830-37F1-9E86-F654-053AFAB221D4}"/>
                  </a:ext>
                </a:extLst>
              </p:cNvPr>
              <p:cNvCxnSpPr/>
              <p:nvPr/>
            </p:nvCxnSpPr>
            <p:spPr>
              <a:xfrm>
                <a:off x="0" y="4054757"/>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77485A0-076D-3D7F-E11B-3F71F49ED40D}"/>
                  </a:ext>
                </a:extLst>
              </p:cNvPr>
              <p:cNvCxnSpPr/>
              <p:nvPr/>
            </p:nvCxnSpPr>
            <p:spPr>
              <a:xfrm>
                <a:off x="0" y="4565885"/>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2D5282D-AB46-010B-C955-FB9AC4961526}"/>
                  </a:ext>
                </a:extLst>
              </p:cNvPr>
              <p:cNvCxnSpPr/>
              <p:nvPr/>
            </p:nvCxnSpPr>
            <p:spPr>
              <a:xfrm>
                <a:off x="0" y="5078935"/>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108E18D-76BD-4901-2C3B-99EC437F9F8F}"/>
                  </a:ext>
                </a:extLst>
              </p:cNvPr>
              <p:cNvCxnSpPr/>
              <p:nvPr/>
            </p:nvCxnSpPr>
            <p:spPr>
              <a:xfrm>
                <a:off x="0" y="5592769"/>
                <a:ext cx="12223280" cy="0"/>
              </a:xfrm>
              <a:prstGeom prst="line">
                <a:avLst/>
              </a:prstGeom>
              <a:ln cap="sq">
                <a:solidFill>
                  <a:schemeClr val="bg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grpSp>
        <p:nvGrpSpPr>
          <p:cNvPr id="44" name="Group 43">
            <a:extLst>
              <a:ext uri="{FF2B5EF4-FFF2-40B4-BE49-F238E27FC236}">
                <a16:creationId xmlns:a16="http://schemas.microsoft.com/office/drawing/2014/main" id="{9A6F3CB6-E196-FFC0-2D99-EBF5FFFF2BF2}"/>
              </a:ext>
            </a:extLst>
          </p:cNvPr>
          <p:cNvGrpSpPr/>
          <p:nvPr/>
        </p:nvGrpSpPr>
        <p:grpSpPr>
          <a:xfrm>
            <a:off x="3429781" y="2266882"/>
            <a:ext cx="2523034" cy="350570"/>
            <a:chOff x="327677" y="3722771"/>
            <a:chExt cx="2523034" cy="350570"/>
          </a:xfrm>
        </p:grpSpPr>
        <p:sp>
          <p:nvSpPr>
            <p:cNvPr id="45" name="Rectangle 44">
              <a:extLst>
                <a:ext uri="{FF2B5EF4-FFF2-40B4-BE49-F238E27FC236}">
                  <a16:creationId xmlns:a16="http://schemas.microsoft.com/office/drawing/2014/main" id="{8A4F63F0-7B15-EAFD-B30A-0F2045C7F3C7}"/>
                </a:ext>
              </a:extLst>
            </p:cNvPr>
            <p:cNvSpPr/>
            <p:nvPr/>
          </p:nvSpPr>
          <p:spPr>
            <a:xfrm>
              <a:off x="334963" y="3934193"/>
              <a:ext cx="2244517" cy="139148"/>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977C7C69-A79B-BB5C-C5FD-CD2EBEC5FB3F}"/>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a:solidFill>
                    <a:schemeClr val="tx1">
                      <a:lumMod val="75000"/>
                      <a:lumOff val="25000"/>
                    </a:schemeClr>
                  </a:solidFill>
                </a:rPr>
                <a:t>Step 1</a:t>
              </a:r>
            </a:p>
          </p:txBody>
        </p:sp>
      </p:grpSp>
      <p:grpSp>
        <p:nvGrpSpPr>
          <p:cNvPr id="47" name="Group 46">
            <a:extLst>
              <a:ext uri="{FF2B5EF4-FFF2-40B4-BE49-F238E27FC236}">
                <a16:creationId xmlns:a16="http://schemas.microsoft.com/office/drawing/2014/main" id="{30232318-16CF-2B36-E6A3-B024AD74FF41}"/>
              </a:ext>
            </a:extLst>
          </p:cNvPr>
          <p:cNvGrpSpPr/>
          <p:nvPr/>
        </p:nvGrpSpPr>
        <p:grpSpPr>
          <a:xfrm>
            <a:off x="4489046" y="2785469"/>
            <a:ext cx="2730478" cy="350570"/>
            <a:chOff x="327677" y="3722771"/>
            <a:chExt cx="2730478" cy="350570"/>
          </a:xfrm>
        </p:grpSpPr>
        <p:sp>
          <p:nvSpPr>
            <p:cNvPr id="48" name="Rectangle 47">
              <a:extLst>
                <a:ext uri="{FF2B5EF4-FFF2-40B4-BE49-F238E27FC236}">
                  <a16:creationId xmlns:a16="http://schemas.microsoft.com/office/drawing/2014/main" id="{9E490ECF-3DF2-309A-A559-A8C6D58ECA2B}"/>
                </a:ext>
              </a:extLst>
            </p:cNvPr>
            <p:cNvSpPr/>
            <p:nvPr/>
          </p:nvSpPr>
          <p:spPr>
            <a:xfrm>
              <a:off x="334963" y="3934193"/>
              <a:ext cx="2723192" cy="139148"/>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7C0F9E0F-6AE0-B350-A0B6-97818A189474}"/>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a:solidFill>
                    <a:srgbClr val="C00000"/>
                  </a:solidFill>
                </a:rPr>
                <a:t>Step 2</a:t>
              </a:r>
            </a:p>
          </p:txBody>
        </p:sp>
      </p:grpSp>
      <p:grpSp>
        <p:nvGrpSpPr>
          <p:cNvPr id="50" name="Group 49">
            <a:extLst>
              <a:ext uri="{FF2B5EF4-FFF2-40B4-BE49-F238E27FC236}">
                <a16:creationId xmlns:a16="http://schemas.microsoft.com/office/drawing/2014/main" id="{88BF9363-DF4F-04A2-FC9F-0B561EDD10A7}"/>
              </a:ext>
            </a:extLst>
          </p:cNvPr>
          <p:cNvGrpSpPr/>
          <p:nvPr/>
        </p:nvGrpSpPr>
        <p:grpSpPr>
          <a:xfrm>
            <a:off x="6169160" y="3294713"/>
            <a:ext cx="2523034" cy="350570"/>
            <a:chOff x="327677" y="3722771"/>
            <a:chExt cx="2523034" cy="350570"/>
          </a:xfrm>
        </p:grpSpPr>
        <p:sp>
          <p:nvSpPr>
            <p:cNvPr id="51" name="Rectangle 50">
              <a:extLst>
                <a:ext uri="{FF2B5EF4-FFF2-40B4-BE49-F238E27FC236}">
                  <a16:creationId xmlns:a16="http://schemas.microsoft.com/office/drawing/2014/main" id="{ECA4BA6E-E25C-C0FF-E04D-91DFFAB242ED}"/>
                </a:ext>
              </a:extLst>
            </p:cNvPr>
            <p:cNvSpPr/>
            <p:nvPr/>
          </p:nvSpPr>
          <p:spPr>
            <a:xfrm>
              <a:off x="334963" y="3934193"/>
              <a:ext cx="2213527" cy="139148"/>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56C420CB-8630-184F-8462-8AB3F2ED6788}"/>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a:solidFill>
                    <a:schemeClr val="bg1">
                      <a:lumMod val="50000"/>
                    </a:schemeClr>
                  </a:solidFill>
                </a:rPr>
                <a:t>Step 3</a:t>
              </a:r>
            </a:p>
          </p:txBody>
        </p:sp>
      </p:grpSp>
      <p:sp>
        <p:nvSpPr>
          <p:cNvPr id="53" name="Rectangle 52">
            <a:extLst>
              <a:ext uri="{FF2B5EF4-FFF2-40B4-BE49-F238E27FC236}">
                <a16:creationId xmlns:a16="http://schemas.microsoft.com/office/drawing/2014/main" id="{21B10A26-8DC6-C2F5-D05D-0427E96895F3}"/>
              </a:ext>
            </a:extLst>
          </p:cNvPr>
          <p:cNvSpPr/>
          <p:nvPr/>
        </p:nvSpPr>
        <p:spPr>
          <a:xfrm>
            <a:off x="336350" y="2704229"/>
            <a:ext cx="2595535" cy="513051"/>
          </a:xfrm>
          <a:prstGeom prst="rect">
            <a:avLst/>
          </a:prstGeom>
        </p:spPr>
        <p:txBody>
          <a:bodyPr wrap="square" lIns="0" tIns="0" rIns="0" bIns="0" anchor="ctr" anchorCtr="0">
            <a:noAutofit/>
          </a:bodyPr>
          <a:lstStyle/>
          <a:p>
            <a:pPr lvl="0" defTabSz="1734634">
              <a:defRPr/>
            </a:pPr>
            <a:r>
              <a:rPr lang="en-US" sz="1200">
                <a:ea typeface="ArialUnicodeMS"/>
                <a:cs typeface="Gotham Medium"/>
              </a:rPr>
              <a:t>Insert text here max 2 lines, min 12pt</a:t>
            </a:r>
          </a:p>
        </p:txBody>
      </p:sp>
      <p:sp>
        <p:nvSpPr>
          <p:cNvPr id="54" name="Rectangle 53">
            <a:extLst>
              <a:ext uri="{FF2B5EF4-FFF2-40B4-BE49-F238E27FC236}">
                <a16:creationId xmlns:a16="http://schemas.microsoft.com/office/drawing/2014/main" id="{F97ED635-BA03-F8DD-F674-65E3304DAF07}"/>
              </a:ext>
            </a:extLst>
          </p:cNvPr>
          <p:cNvSpPr/>
          <p:nvPr/>
        </p:nvSpPr>
        <p:spPr>
          <a:xfrm>
            <a:off x="336351" y="1783124"/>
            <a:ext cx="2487634" cy="276999"/>
          </a:xfrm>
          <a:prstGeom prst="rect">
            <a:avLst/>
          </a:prstGeom>
        </p:spPr>
        <p:txBody>
          <a:bodyPr wrap="none" lIns="0" tIns="0" rIns="0" bIns="0">
            <a:noAutofit/>
          </a:bodyPr>
          <a:lstStyle/>
          <a:p>
            <a:pPr lvl="0" defTabSz="1734634">
              <a:defRPr/>
            </a:pPr>
            <a:r>
              <a:rPr lang="en-US" sz="1200" cap="all">
                <a:latin typeface="+mj-lt"/>
                <a:ea typeface="ArialUnicodeMS"/>
                <a:cs typeface="Gotham Medium"/>
              </a:rPr>
              <a:t>Phases</a:t>
            </a:r>
          </a:p>
        </p:txBody>
      </p:sp>
      <p:sp>
        <p:nvSpPr>
          <p:cNvPr id="55" name="Rectangle 54">
            <a:extLst>
              <a:ext uri="{FF2B5EF4-FFF2-40B4-BE49-F238E27FC236}">
                <a16:creationId xmlns:a16="http://schemas.microsoft.com/office/drawing/2014/main" id="{883CAEBD-68A6-41F2-ABEC-CB402C3CBD83}"/>
              </a:ext>
            </a:extLst>
          </p:cNvPr>
          <p:cNvSpPr/>
          <p:nvPr/>
        </p:nvSpPr>
        <p:spPr>
          <a:xfrm>
            <a:off x="336350" y="2185642"/>
            <a:ext cx="2595535" cy="513051"/>
          </a:xfrm>
          <a:prstGeom prst="rect">
            <a:avLst/>
          </a:prstGeom>
        </p:spPr>
        <p:txBody>
          <a:bodyPr wrap="square" lIns="0" tIns="0" rIns="0" bIns="0" anchor="ctr" anchorCtr="0">
            <a:noAutofit/>
          </a:bodyPr>
          <a:lstStyle/>
          <a:p>
            <a:pPr lvl="0" defTabSz="1734634">
              <a:defRPr/>
            </a:pPr>
            <a:r>
              <a:rPr lang="en-US" sz="1200">
                <a:ea typeface="ArialUnicodeMS"/>
                <a:cs typeface="Gotham Medium"/>
              </a:rPr>
              <a:t>Insert text here max 2 lines, min 12pt</a:t>
            </a:r>
          </a:p>
        </p:txBody>
      </p:sp>
      <p:sp>
        <p:nvSpPr>
          <p:cNvPr id="56" name="Rectangle 55">
            <a:extLst>
              <a:ext uri="{FF2B5EF4-FFF2-40B4-BE49-F238E27FC236}">
                <a16:creationId xmlns:a16="http://schemas.microsoft.com/office/drawing/2014/main" id="{A383CC98-2BC7-B2C8-85A5-4AFE29AAB4BD}"/>
              </a:ext>
            </a:extLst>
          </p:cNvPr>
          <p:cNvSpPr/>
          <p:nvPr/>
        </p:nvSpPr>
        <p:spPr>
          <a:xfrm>
            <a:off x="336350" y="3213473"/>
            <a:ext cx="2595535" cy="513051"/>
          </a:xfrm>
          <a:prstGeom prst="rect">
            <a:avLst/>
          </a:prstGeom>
        </p:spPr>
        <p:txBody>
          <a:bodyPr wrap="square" lIns="0" tIns="0" rIns="0" bIns="0" anchor="ctr" anchorCtr="0">
            <a:noAutofit/>
          </a:bodyPr>
          <a:lstStyle/>
          <a:p>
            <a:pPr lvl="0" defTabSz="1734634">
              <a:defRPr/>
            </a:pPr>
            <a:r>
              <a:rPr lang="en-US" sz="1200">
                <a:ea typeface="ArialUnicodeMS"/>
                <a:cs typeface="Gotham Medium"/>
              </a:rPr>
              <a:t>Insert text here max 2 lines, min 12pt</a:t>
            </a:r>
          </a:p>
        </p:txBody>
      </p:sp>
      <p:sp>
        <p:nvSpPr>
          <p:cNvPr id="57" name="Rectangle 56">
            <a:extLst>
              <a:ext uri="{FF2B5EF4-FFF2-40B4-BE49-F238E27FC236}">
                <a16:creationId xmlns:a16="http://schemas.microsoft.com/office/drawing/2014/main" id="{8E012AA6-C6EE-11B7-1FE8-7B3195BAEACD}"/>
              </a:ext>
            </a:extLst>
          </p:cNvPr>
          <p:cNvSpPr/>
          <p:nvPr/>
        </p:nvSpPr>
        <p:spPr>
          <a:xfrm>
            <a:off x="336350" y="3731113"/>
            <a:ext cx="2595535" cy="513051"/>
          </a:xfrm>
          <a:prstGeom prst="rect">
            <a:avLst/>
          </a:prstGeom>
        </p:spPr>
        <p:txBody>
          <a:bodyPr wrap="square" lIns="0" tIns="0" rIns="0" bIns="0" anchor="ctr" anchorCtr="0">
            <a:noAutofit/>
          </a:bodyPr>
          <a:lstStyle/>
          <a:p>
            <a:pPr lvl="0" defTabSz="1734634">
              <a:defRPr/>
            </a:pPr>
            <a:r>
              <a:rPr lang="en-US" sz="1200">
                <a:ea typeface="ArialUnicodeMS"/>
                <a:cs typeface="Gotham Medium"/>
              </a:rPr>
              <a:t>Insert text here max 2 lines, min 12pt</a:t>
            </a:r>
          </a:p>
        </p:txBody>
      </p:sp>
      <p:sp>
        <p:nvSpPr>
          <p:cNvPr id="58" name="Rectangle 57">
            <a:extLst>
              <a:ext uri="{FF2B5EF4-FFF2-40B4-BE49-F238E27FC236}">
                <a16:creationId xmlns:a16="http://schemas.microsoft.com/office/drawing/2014/main" id="{C7F8E6CA-ED42-9E04-3BF7-A7B5ADF8B103}"/>
              </a:ext>
            </a:extLst>
          </p:cNvPr>
          <p:cNvSpPr/>
          <p:nvPr/>
        </p:nvSpPr>
        <p:spPr>
          <a:xfrm>
            <a:off x="336350" y="4243049"/>
            <a:ext cx="2595535" cy="513051"/>
          </a:xfrm>
          <a:prstGeom prst="rect">
            <a:avLst/>
          </a:prstGeom>
        </p:spPr>
        <p:txBody>
          <a:bodyPr wrap="square" lIns="0" tIns="0" rIns="0" bIns="0" anchor="ctr" anchorCtr="0">
            <a:noAutofit/>
          </a:bodyPr>
          <a:lstStyle/>
          <a:p>
            <a:pPr lvl="0" defTabSz="1734634">
              <a:defRPr/>
            </a:pPr>
            <a:r>
              <a:rPr lang="en-US" sz="1200">
                <a:ea typeface="ArialUnicodeMS"/>
                <a:cs typeface="Gotham Medium"/>
              </a:rPr>
              <a:t>Insert text here max 2 lines, min 12pt</a:t>
            </a:r>
          </a:p>
        </p:txBody>
      </p:sp>
      <p:grpSp>
        <p:nvGrpSpPr>
          <p:cNvPr id="59" name="Group 58">
            <a:extLst>
              <a:ext uri="{FF2B5EF4-FFF2-40B4-BE49-F238E27FC236}">
                <a16:creationId xmlns:a16="http://schemas.microsoft.com/office/drawing/2014/main" id="{7A1E76FA-B0E1-5B85-5D29-005FB88D63DC}"/>
              </a:ext>
            </a:extLst>
          </p:cNvPr>
          <p:cNvGrpSpPr/>
          <p:nvPr/>
        </p:nvGrpSpPr>
        <p:grpSpPr>
          <a:xfrm>
            <a:off x="5293589" y="4323481"/>
            <a:ext cx="2730478" cy="350570"/>
            <a:chOff x="327677" y="3722771"/>
            <a:chExt cx="2730478" cy="350570"/>
          </a:xfrm>
        </p:grpSpPr>
        <p:sp>
          <p:nvSpPr>
            <p:cNvPr id="60" name="Rectangle 59">
              <a:extLst>
                <a:ext uri="{FF2B5EF4-FFF2-40B4-BE49-F238E27FC236}">
                  <a16:creationId xmlns:a16="http://schemas.microsoft.com/office/drawing/2014/main" id="{36CCA48E-282F-3B7B-8E38-F4B2720C14D7}"/>
                </a:ext>
              </a:extLst>
            </p:cNvPr>
            <p:cNvSpPr/>
            <p:nvPr/>
          </p:nvSpPr>
          <p:spPr>
            <a:xfrm>
              <a:off x="334963" y="3934193"/>
              <a:ext cx="2723192" cy="139148"/>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517901AB-17A6-7FE4-8EB7-766B56AA22A0}"/>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a:solidFill>
                    <a:schemeClr val="tx1">
                      <a:lumMod val="75000"/>
                      <a:lumOff val="25000"/>
                    </a:schemeClr>
                  </a:solidFill>
                </a:rPr>
                <a:t>Step 5</a:t>
              </a:r>
            </a:p>
          </p:txBody>
        </p:sp>
      </p:grpSp>
      <p:grpSp>
        <p:nvGrpSpPr>
          <p:cNvPr id="62" name="Group 61">
            <a:extLst>
              <a:ext uri="{FF2B5EF4-FFF2-40B4-BE49-F238E27FC236}">
                <a16:creationId xmlns:a16="http://schemas.microsoft.com/office/drawing/2014/main" id="{68233325-FC7B-6AE5-541C-B45286E5756D}"/>
              </a:ext>
            </a:extLst>
          </p:cNvPr>
          <p:cNvGrpSpPr/>
          <p:nvPr/>
        </p:nvGrpSpPr>
        <p:grpSpPr>
          <a:xfrm>
            <a:off x="7221979" y="3800762"/>
            <a:ext cx="2523034" cy="350570"/>
            <a:chOff x="327677" y="3722771"/>
            <a:chExt cx="2523034" cy="350570"/>
          </a:xfrm>
        </p:grpSpPr>
        <p:sp>
          <p:nvSpPr>
            <p:cNvPr id="63" name="Rectangle 62">
              <a:extLst>
                <a:ext uri="{FF2B5EF4-FFF2-40B4-BE49-F238E27FC236}">
                  <a16:creationId xmlns:a16="http://schemas.microsoft.com/office/drawing/2014/main" id="{3E115469-C3CF-DABF-9A0A-62946B5B60FE}"/>
                </a:ext>
              </a:extLst>
            </p:cNvPr>
            <p:cNvSpPr/>
            <p:nvPr/>
          </p:nvSpPr>
          <p:spPr>
            <a:xfrm>
              <a:off x="334963" y="3934193"/>
              <a:ext cx="2213527" cy="13914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16B6334C-02F3-91BB-6BEE-D7179E3659ED}"/>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a:solidFill>
                    <a:srgbClr val="FF0000"/>
                  </a:solidFill>
                </a:rPr>
                <a:t>Step 4</a:t>
              </a:r>
            </a:p>
          </p:txBody>
        </p:sp>
      </p:grpSp>
      <p:grpSp>
        <p:nvGrpSpPr>
          <p:cNvPr id="65" name="Group 64">
            <a:extLst>
              <a:ext uri="{FF2B5EF4-FFF2-40B4-BE49-F238E27FC236}">
                <a16:creationId xmlns:a16="http://schemas.microsoft.com/office/drawing/2014/main" id="{0B0EBBB6-B5A1-8EAE-C6E3-01E343F84A2C}"/>
              </a:ext>
            </a:extLst>
          </p:cNvPr>
          <p:cNvGrpSpPr/>
          <p:nvPr/>
        </p:nvGrpSpPr>
        <p:grpSpPr>
          <a:xfrm>
            <a:off x="8692194" y="5862301"/>
            <a:ext cx="3009462" cy="350570"/>
            <a:chOff x="327677" y="3722771"/>
            <a:chExt cx="3009462" cy="350570"/>
          </a:xfrm>
        </p:grpSpPr>
        <p:sp>
          <p:nvSpPr>
            <p:cNvPr id="66" name="Rectangle 65">
              <a:extLst>
                <a:ext uri="{FF2B5EF4-FFF2-40B4-BE49-F238E27FC236}">
                  <a16:creationId xmlns:a16="http://schemas.microsoft.com/office/drawing/2014/main" id="{3D5B32A8-F01D-D80E-E87F-F8C10D07A67C}"/>
                </a:ext>
              </a:extLst>
            </p:cNvPr>
            <p:cNvSpPr/>
            <p:nvPr/>
          </p:nvSpPr>
          <p:spPr>
            <a:xfrm>
              <a:off x="334962" y="3934193"/>
              <a:ext cx="3002177" cy="13914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0000"/>
                </a:solidFill>
              </a:endParaRPr>
            </a:p>
          </p:txBody>
        </p:sp>
        <p:sp>
          <p:nvSpPr>
            <p:cNvPr id="67" name="Rectangle 66">
              <a:extLst>
                <a:ext uri="{FF2B5EF4-FFF2-40B4-BE49-F238E27FC236}">
                  <a16:creationId xmlns:a16="http://schemas.microsoft.com/office/drawing/2014/main" id="{542CAD03-D775-E592-9467-20081A769D17}"/>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a:solidFill>
                    <a:srgbClr val="FF0000"/>
                  </a:solidFill>
                </a:rPr>
                <a:t>Step 8</a:t>
              </a:r>
            </a:p>
          </p:txBody>
        </p:sp>
      </p:grpSp>
      <p:grpSp>
        <p:nvGrpSpPr>
          <p:cNvPr id="68" name="Group 67">
            <a:extLst>
              <a:ext uri="{FF2B5EF4-FFF2-40B4-BE49-F238E27FC236}">
                <a16:creationId xmlns:a16="http://schemas.microsoft.com/office/drawing/2014/main" id="{21B2B67D-0BCD-98E7-6F2A-8D355D85C4DD}"/>
              </a:ext>
            </a:extLst>
          </p:cNvPr>
          <p:cNvGrpSpPr/>
          <p:nvPr/>
        </p:nvGrpSpPr>
        <p:grpSpPr>
          <a:xfrm>
            <a:off x="8181275" y="5350365"/>
            <a:ext cx="2523034" cy="350570"/>
            <a:chOff x="327677" y="3722771"/>
            <a:chExt cx="2523034" cy="350570"/>
          </a:xfrm>
        </p:grpSpPr>
        <p:sp>
          <p:nvSpPr>
            <p:cNvPr id="69" name="Rectangle 68">
              <a:extLst>
                <a:ext uri="{FF2B5EF4-FFF2-40B4-BE49-F238E27FC236}">
                  <a16:creationId xmlns:a16="http://schemas.microsoft.com/office/drawing/2014/main" id="{17D79DF4-61B7-3AAA-7B63-066BCC4427CA}"/>
                </a:ext>
              </a:extLst>
            </p:cNvPr>
            <p:cNvSpPr/>
            <p:nvPr/>
          </p:nvSpPr>
          <p:spPr>
            <a:xfrm>
              <a:off x="334963" y="3934193"/>
              <a:ext cx="1497833" cy="139148"/>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3E31B4E8-97A3-E0A0-27E1-499C7A14A4A8}"/>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a:solidFill>
                    <a:schemeClr val="bg1">
                      <a:lumMod val="50000"/>
                    </a:schemeClr>
                  </a:solidFill>
                </a:rPr>
                <a:t>Step 7</a:t>
              </a:r>
            </a:p>
          </p:txBody>
        </p:sp>
      </p:grpSp>
      <p:sp>
        <p:nvSpPr>
          <p:cNvPr id="71" name="Rectangle 70">
            <a:extLst>
              <a:ext uri="{FF2B5EF4-FFF2-40B4-BE49-F238E27FC236}">
                <a16:creationId xmlns:a16="http://schemas.microsoft.com/office/drawing/2014/main" id="{3992BFED-9394-7F52-14D5-FE8F3FB19DF7}"/>
              </a:ext>
            </a:extLst>
          </p:cNvPr>
          <p:cNvSpPr/>
          <p:nvPr/>
        </p:nvSpPr>
        <p:spPr>
          <a:xfrm>
            <a:off x="336350" y="4751485"/>
            <a:ext cx="2595535" cy="513051"/>
          </a:xfrm>
          <a:prstGeom prst="rect">
            <a:avLst/>
          </a:prstGeom>
        </p:spPr>
        <p:txBody>
          <a:bodyPr wrap="square" lIns="0" tIns="0" rIns="0" bIns="0" anchor="ctr" anchorCtr="0">
            <a:noAutofit/>
          </a:bodyPr>
          <a:lstStyle/>
          <a:p>
            <a:pPr lvl="0" defTabSz="1734634">
              <a:defRPr/>
            </a:pPr>
            <a:r>
              <a:rPr lang="en-US" sz="1200">
                <a:ea typeface="ArialUnicodeMS"/>
                <a:cs typeface="Gotham Medium"/>
              </a:rPr>
              <a:t>Insert text here max 2 lines, min 12pt</a:t>
            </a:r>
          </a:p>
        </p:txBody>
      </p:sp>
      <p:sp>
        <p:nvSpPr>
          <p:cNvPr id="72" name="Rectangle 71">
            <a:extLst>
              <a:ext uri="{FF2B5EF4-FFF2-40B4-BE49-F238E27FC236}">
                <a16:creationId xmlns:a16="http://schemas.microsoft.com/office/drawing/2014/main" id="{FC03296B-AAB8-F363-D25C-369F0251F080}"/>
              </a:ext>
            </a:extLst>
          </p:cNvPr>
          <p:cNvSpPr/>
          <p:nvPr/>
        </p:nvSpPr>
        <p:spPr>
          <a:xfrm>
            <a:off x="336350" y="5269125"/>
            <a:ext cx="2595535" cy="513051"/>
          </a:xfrm>
          <a:prstGeom prst="rect">
            <a:avLst/>
          </a:prstGeom>
        </p:spPr>
        <p:txBody>
          <a:bodyPr wrap="square" lIns="0" tIns="0" rIns="0" bIns="0" anchor="ctr" anchorCtr="0">
            <a:noAutofit/>
          </a:bodyPr>
          <a:lstStyle/>
          <a:p>
            <a:pPr lvl="0" defTabSz="1734634">
              <a:defRPr/>
            </a:pPr>
            <a:r>
              <a:rPr lang="en-US" sz="1200">
                <a:ea typeface="ArialUnicodeMS"/>
                <a:cs typeface="Gotham Medium"/>
              </a:rPr>
              <a:t>Insert text here max 2 lines, min 12pt</a:t>
            </a:r>
          </a:p>
        </p:txBody>
      </p:sp>
      <p:sp>
        <p:nvSpPr>
          <p:cNvPr id="73" name="Rectangle 72">
            <a:extLst>
              <a:ext uri="{FF2B5EF4-FFF2-40B4-BE49-F238E27FC236}">
                <a16:creationId xmlns:a16="http://schemas.microsoft.com/office/drawing/2014/main" id="{5973B3E7-0756-9D23-3856-7212463E685B}"/>
              </a:ext>
            </a:extLst>
          </p:cNvPr>
          <p:cNvSpPr/>
          <p:nvPr/>
        </p:nvSpPr>
        <p:spPr>
          <a:xfrm>
            <a:off x="336350" y="5781061"/>
            <a:ext cx="2595535" cy="513051"/>
          </a:xfrm>
          <a:prstGeom prst="rect">
            <a:avLst/>
          </a:prstGeom>
        </p:spPr>
        <p:txBody>
          <a:bodyPr wrap="square" lIns="0" tIns="0" rIns="0" bIns="0" anchor="ctr" anchorCtr="0">
            <a:noAutofit/>
          </a:bodyPr>
          <a:lstStyle/>
          <a:p>
            <a:pPr lvl="0" defTabSz="1734634">
              <a:defRPr/>
            </a:pPr>
            <a:r>
              <a:rPr lang="en-US" sz="1200">
                <a:ea typeface="ArialUnicodeMS"/>
                <a:cs typeface="Gotham Medium"/>
              </a:rPr>
              <a:t>Insert text here max 2 lines, min 12pt</a:t>
            </a:r>
          </a:p>
        </p:txBody>
      </p:sp>
      <p:grpSp>
        <p:nvGrpSpPr>
          <p:cNvPr id="74" name="Group 73">
            <a:extLst>
              <a:ext uri="{FF2B5EF4-FFF2-40B4-BE49-F238E27FC236}">
                <a16:creationId xmlns:a16="http://schemas.microsoft.com/office/drawing/2014/main" id="{40781C6E-A0DC-FD95-9027-7872E0661DFB}"/>
              </a:ext>
            </a:extLst>
          </p:cNvPr>
          <p:cNvGrpSpPr/>
          <p:nvPr/>
        </p:nvGrpSpPr>
        <p:grpSpPr>
          <a:xfrm>
            <a:off x="4489046" y="4832725"/>
            <a:ext cx="2730478" cy="350570"/>
            <a:chOff x="327677" y="3722771"/>
            <a:chExt cx="2730478" cy="350570"/>
          </a:xfrm>
        </p:grpSpPr>
        <p:sp>
          <p:nvSpPr>
            <p:cNvPr id="75" name="Rectangle 74">
              <a:extLst>
                <a:ext uri="{FF2B5EF4-FFF2-40B4-BE49-F238E27FC236}">
                  <a16:creationId xmlns:a16="http://schemas.microsoft.com/office/drawing/2014/main" id="{DC05F5D5-1A1A-C654-8FFE-E504458ED1CE}"/>
                </a:ext>
              </a:extLst>
            </p:cNvPr>
            <p:cNvSpPr/>
            <p:nvPr/>
          </p:nvSpPr>
          <p:spPr>
            <a:xfrm>
              <a:off x="334963" y="3934193"/>
              <a:ext cx="2723192" cy="139148"/>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16D8DBDD-5926-5D7E-FD88-AF5DB05821C3}"/>
                </a:ext>
              </a:extLst>
            </p:cNvPr>
            <p:cNvSpPr/>
            <p:nvPr/>
          </p:nvSpPr>
          <p:spPr>
            <a:xfrm>
              <a:off x="327677" y="3722771"/>
              <a:ext cx="2523034" cy="1391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200" b="1">
                  <a:solidFill>
                    <a:srgbClr val="C00000"/>
                  </a:solidFill>
                </a:rPr>
                <a:t>Step 6</a:t>
              </a:r>
            </a:p>
          </p:txBody>
        </p:sp>
      </p:grpSp>
    </p:spTree>
    <p:extLst>
      <p:ext uri="{BB962C8B-B14F-4D97-AF65-F5344CB8AC3E}">
        <p14:creationId xmlns:p14="http://schemas.microsoft.com/office/powerpoint/2010/main" val="34171697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55307-6F90-C187-947A-73569EDBE5A1}"/>
              </a:ext>
            </a:extLst>
          </p:cNvPr>
          <p:cNvSpPr>
            <a:spLocks noGrp="1"/>
          </p:cNvSpPr>
          <p:nvPr>
            <p:ph type="title"/>
          </p:nvPr>
        </p:nvSpPr>
        <p:spPr/>
        <p:txBody>
          <a:bodyPr/>
          <a:lstStyle/>
          <a:p>
            <a:r>
              <a:rPr lang="en-US"/>
              <a:t>P</a:t>
            </a:r>
            <a:r>
              <a:rPr lang="en-BR"/>
              <a:t>roject Management</a:t>
            </a:r>
          </a:p>
        </p:txBody>
      </p:sp>
      <p:sp>
        <p:nvSpPr>
          <p:cNvPr id="3" name="Footer Placeholder 2">
            <a:extLst>
              <a:ext uri="{FF2B5EF4-FFF2-40B4-BE49-F238E27FC236}">
                <a16:creationId xmlns:a16="http://schemas.microsoft.com/office/drawing/2014/main" id="{5B968D42-1399-AFAC-2619-689718399F27}"/>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7FBBB9AC-9A7A-894E-27B0-E189DE38BFC7}"/>
              </a:ext>
            </a:extLst>
          </p:cNvPr>
          <p:cNvSpPr>
            <a:spLocks noGrp="1"/>
          </p:cNvSpPr>
          <p:nvPr>
            <p:ph type="sldNum" sz="quarter" idx="12"/>
          </p:nvPr>
        </p:nvSpPr>
        <p:spPr/>
        <p:txBody>
          <a:bodyPr/>
          <a:lstStyle/>
          <a:p>
            <a:fld id="{A8DDC45B-7265-3747-B738-ED29642119D9}" type="slidenum">
              <a:rPr lang="en-BR" smtClean="0"/>
              <a:pPr/>
              <a:t>34</a:t>
            </a:fld>
            <a:endParaRPr lang="en-BR"/>
          </a:p>
        </p:txBody>
      </p:sp>
      <p:sp>
        <p:nvSpPr>
          <p:cNvPr id="5" name="Text Placeholder 4">
            <a:extLst>
              <a:ext uri="{FF2B5EF4-FFF2-40B4-BE49-F238E27FC236}">
                <a16:creationId xmlns:a16="http://schemas.microsoft.com/office/drawing/2014/main" id="{E94E8023-CEF8-D9C6-B007-AD23B3968D45}"/>
              </a:ext>
            </a:extLst>
          </p:cNvPr>
          <p:cNvSpPr>
            <a:spLocks noGrp="1"/>
          </p:cNvSpPr>
          <p:nvPr>
            <p:ph type="body" sz="quarter" idx="13"/>
          </p:nvPr>
        </p:nvSpPr>
        <p:spPr/>
        <p:txBody>
          <a:bodyPr/>
          <a:lstStyle/>
          <a:p>
            <a:r>
              <a:rPr lang="en-BR"/>
              <a:t>Gantt Chart 2</a:t>
            </a:r>
          </a:p>
        </p:txBody>
      </p:sp>
      <p:graphicFrame>
        <p:nvGraphicFramePr>
          <p:cNvPr id="6" name="Table 5">
            <a:extLst>
              <a:ext uri="{FF2B5EF4-FFF2-40B4-BE49-F238E27FC236}">
                <a16:creationId xmlns:a16="http://schemas.microsoft.com/office/drawing/2014/main" id="{3D4B7E0A-D480-5722-9C01-4CD9265C1562}"/>
              </a:ext>
            </a:extLst>
          </p:cNvPr>
          <p:cNvGraphicFramePr>
            <a:graphicFrameLocks noGrp="1"/>
          </p:cNvGraphicFramePr>
          <p:nvPr>
            <p:extLst>
              <p:ext uri="{D42A27DB-BD31-4B8C-83A1-F6EECF244321}">
                <p14:modId xmlns:p14="http://schemas.microsoft.com/office/powerpoint/2010/main" val="1897877522"/>
              </p:ext>
            </p:extLst>
          </p:nvPr>
        </p:nvGraphicFramePr>
        <p:xfrm>
          <a:off x="334963" y="1652835"/>
          <a:ext cx="11520487" cy="4681413"/>
        </p:xfrm>
        <a:graphic>
          <a:graphicData uri="http://schemas.openxmlformats.org/drawingml/2006/table">
            <a:tbl>
              <a:tblPr firstRow="1" bandRow="1">
                <a:tableStyleId>{5C22544A-7EE6-4342-B048-85BDC9FD1C3A}</a:tableStyleId>
              </a:tblPr>
              <a:tblGrid>
                <a:gridCol w="4110913">
                  <a:extLst>
                    <a:ext uri="{9D8B030D-6E8A-4147-A177-3AD203B41FA5}">
                      <a16:colId xmlns:a16="http://schemas.microsoft.com/office/drawing/2014/main" val="3698304851"/>
                    </a:ext>
                  </a:extLst>
                </a:gridCol>
                <a:gridCol w="1234929">
                  <a:extLst>
                    <a:ext uri="{9D8B030D-6E8A-4147-A177-3AD203B41FA5}">
                      <a16:colId xmlns:a16="http://schemas.microsoft.com/office/drawing/2014/main" val="2422821095"/>
                    </a:ext>
                  </a:extLst>
                </a:gridCol>
                <a:gridCol w="1234929">
                  <a:extLst>
                    <a:ext uri="{9D8B030D-6E8A-4147-A177-3AD203B41FA5}">
                      <a16:colId xmlns:a16="http://schemas.microsoft.com/office/drawing/2014/main" val="55153618"/>
                    </a:ext>
                  </a:extLst>
                </a:gridCol>
                <a:gridCol w="1234929">
                  <a:extLst>
                    <a:ext uri="{9D8B030D-6E8A-4147-A177-3AD203B41FA5}">
                      <a16:colId xmlns:a16="http://schemas.microsoft.com/office/drawing/2014/main" val="3283457396"/>
                    </a:ext>
                  </a:extLst>
                </a:gridCol>
                <a:gridCol w="1234929">
                  <a:extLst>
                    <a:ext uri="{9D8B030D-6E8A-4147-A177-3AD203B41FA5}">
                      <a16:colId xmlns:a16="http://schemas.microsoft.com/office/drawing/2014/main" val="2255681718"/>
                    </a:ext>
                  </a:extLst>
                </a:gridCol>
                <a:gridCol w="1234929">
                  <a:extLst>
                    <a:ext uri="{9D8B030D-6E8A-4147-A177-3AD203B41FA5}">
                      <a16:colId xmlns:a16="http://schemas.microsoft.com/office/drawing/2014/main" val="99406314"/>
                    </a:ext>
                  </a:extLst>
                </a:gridCol>
                <a:gridCol w="1234929">
                  <a:extLst>
                    <a:ext uri="{9D8B030D-6E8A-4147-A177-3AD203B41FA5}">
                      <a16:colId xmlns:a16="http://schemas.microsoft.com/office/drawing/2014/main" val="3371254486"/>
                    </a:ext>
                  </a:extLst>
                </a:gridCol>
              </a:tblGrid>
              <a:tr h="292293">
                <a:tc>
                  <a:txBody>
                    <a:bodyPr/>
                    <a:lstStyle/>
                    <a:p>
                      <a:endParaRPr lang="en-GB" sz="900">
                        <a:latin typeface="Segoe UI" panose="020B0502040204020203" pitchFamily="34" charset="0"/>
                        <a:cs typeface="Segoe UI" panose="020B0502040204020203" pitchFamily="34" charset="0"/>
                      </a:endParaRPr>
                    </a:p>
                  </a:txBody>
                  <a:tcPr anchor="ctr">
                    <a:lnB w="12700" cap="flat" cmpd="sng" algn="ctr">
                      <a:solidFill>
                        <a:schemeClr val="tx1"/>
                      </a:solidFill>
                      <a:prstDash val="solid"/>
                      <a:round/>
                      <a:headEnd type="none" w="med" len="med"/>
                      <a:tailEnd type="none" w="med" len="med"/>
                    </a:lnB>
                    <a:noFill/>
                  </a:tcPr>
                </a:tc>
                <a:tc>
                  <a:txBody>
                    <a:bodyPr/>
                    <a:lstStyle/>
                    <a:p>
                      <a:pPr algn="ctr"/>
                      <a:r>
                        <a:rPr lang="en-AU" sz="1200" cap="all" baseline="0">
                          <a:solidFill>
                            <a:schemeClr val="tx1"/>
                          </a:solidFill>
                          <a:latin typeface="Segoe UI" panose="020B0502040204020203" pitchFamily="34" charset="0"/>
                          <a:cs typeface="Segoe UI" panose="020B0502040204020203" pitchFamily="34" charset="0"/>
                        </a:rPr>
                        <a:t>Jan</a:t>
                      </a:r>
                      <a:endParaRPr lang="en-GB" sz="1200" cap="all" baseline="0">
                        <a:solidFill>
                          <a:schemeClr val="tx1"/>
                        </a:solidFill>
                        <a:latin typeface="Segoe UI" panose="020B0502040204020203" pitchFamily="34" charset="0"/>
                        <a:cs typeface="Segoe UI" panose="020B0502040204020203" pitchFamily="34" charset="0"/>
                      </a:endParaRPr>
                    </a:p>
                  </a:txBody>
                  <a:tcPr marT="36000" marB="36000" anchor="ctr">
                    <a:lnB w="12700" cap="flat" cmpd="sng" algn="ctr">
                      <a:solidFill>
                        <a:schemeClr val="tx1"/>
                      </a:solidFill>
                      <a:prstDash val="solid"/>
                      <a:round/>
                      <a:headEnd type="none" w="med" len="med"/>
                      <a:tailEnd type="none" w="med" len="med"/>
                    </a:lnB>
                    <a:noFill/>
                  </a:tcPr>
                </a:tc>
                <a:tc>
                  <a:txBody>
                    <a:bodyPr/>
                    <a:lstStyle/>
                    <a:p>
                      <a:pPr algn="ctr"/>
                      <a:r>
                        <a:rPr lang="en-US" sz="1200" b="1" cap="all" baseline="0">
                          <a:solidFill>
                            <a:schemeClr val="tx1"/>
                          </a:solidFill>
                          <a:latin typeface="Segoe UI" panose="020B0502040204020203" pitchFamily="34" charset="0"/>
                          <a:cs typeface="Segoe UI" panose="020B0502040204020203" pitchFamily="34" charset="0"/>
                        </a:rPr>
                        <a:t>Feb</a:t>
                      </a:r>
                      <a:endParaRPr lang="en-GB" sz="1200" cap="all" baseline="0">
                        <a:solidFill>
                          <a:schemeClr val="tx1"/>
                        </a:solidFill>
                        <a:latin typeface="Segoe UI" panose="020B0502040204020203" pitchFamily="34" charset="0"/>
                        <a:cs typeface="Segoe UI" panose="020B0502040204020203" pitchFamily="34" charset="0"/>
                      </a:endParaRPr>
                    </a:p>
                  </a:txBody>
                  <a:tcPr marT="36000" marB="36000" anchor="ctr">
                    <a:lnB w="12700" cap="flat" cmpd="sng" algn="ctr">
                      <a:solidFill>
                        <a:schemeClr val="tx1"/>
                      </a:solidFill>
                      <a:prstDash val="solid"/>
                      <a:round/>
                      <a:headEnd type="none" w="med" len="med"/>
                      <a:tailEnd type="none" w="med" len="med"/>
                    </a:lnB>
                    <a:noFill/>
                  </a:tcPr>
                </a:tc>
                <a:tc>
                  <a:txBody>
                    <a:bodyPr/>
                    <a:lstStyle/>
                    <a:p>
                      <a:pPr algn="ctr"/>
                      <a:r>
                        <a:rPr lang="en-US" sz="1200" b="1" cap="all" baseline="0">
                          <a:solidFill>
                            <a:schemeClr val="tx1"/>
                          </a:solidFill>
                          <a:latin typeface="Segoe UI" panose="020B0502040204020203" pitchFamily="34" charset="0"/>
                          <a:cs typeface="Segoe UI" panose="020B0502040204020203" pitchFamily="34" charset="0"/>
                        </a:rPr>
                        <a:t>Mar</a:t>
                      </a:r>
                      <a:endParaRPr lang="en-GB" sz="1200" cap="all" baseline="0">
                        <a:solidFill>
                          <a:schemeClr val="tx1"/>
                        </a:solidFill>
                        <a:latin typeface="Segoe UI" panose="020B0502040204020203" pitchFamily="34" charset="0"/>
                        <a:cs typeface="Segoe UI" panose="020B0502040204020203" pitchFamily="34" charset="0"/>
                      </a:endParaRPr>
                    </a:p>
                  </a:txBody>
                  <a:tcPr marT="36000" marB="36000" anchor="ctr">
                    <a:lnB w="12700" cap="flat" cmpd="sng" algn="ctr">
                      <a:solidFill>
                        <a:schemeClr val="tx1"/>
                      </a:solidFill>
                      <a:prstDash val="solid"/>
                      <a:round/>
                      <a:headEnd type="none" w="med" len="med"/>
                      <a:tailEnd type="none" w="med" len="med"/>
                    </a:lnB>
                    <a:noFill/>
                  </a:tcPr>
                </a:tc>
                <a:tc>
                  <a:txBody>
                    <a:bodyPr/>
                    <a:lstStyle/>
                    <a:p>
                      <a:pPr marL="0" marR="0" lvl="0" indent="0" algn="ctr" defTabSz="1734634" rtl="0" eaLnBrk="1" fontAlgn="auto" latinLnBrk="0" hangingPunct="1">
                        <a:lnSpc>
                          <a:spcPct val="100000"/>
                        </a:lnSpc>
                        <a:spcBef>
                          <a:spcPts val="0"/>
                        </a:spcBef>
                        <a:spcAft>
                          <a:spcPts val="0"/>
                        </a:spcAft>
                        <a:buClrTx/>
                        <a:buSzTx/>
                        <a:buFontTx/>
                        <a:buNone/>
                        <a:tabLst/>
                        <a:defRPr/>
                      </a:pPr>
                      <a:r>
                        <a:rPr lang="en-US" sz="1200" b="1" cap="all" baseline="0">
                          <a:solidFill>
                            <a:schemeClr val="tx1"/>
                          </a:solidFill>
                          <a:latin typeface="Segoe UI" panose="020B0502040204020203" pitchFamily="34" charset="0"/>
                          <a:cs typeface="Segoe UI" panose="020B0502040204020203" pitchFamily="34" charset="0"/>
                        </a:rPr>
                        <a:t>Apr</a:t>
                      </a:r>
                    </a:p>
                  </a:txBody>
                  <a:tcPr marT="36000" marB="36000" anchor="ctr">
                    <a:lnB w="12700" cap="flat" cmpd="sng" algn="ctr">
                      <a:solidFill>
                        <a:schemeClr val="tx1"/>
                      </a:solidFill>
                      <a:prstDash val="solid"/>
                      <a:round/>
                      <a:headEnd type="none" w="med" len="med"/>
                      <a:tailEnd type="none" w="med" len="med"/>
                    </a:lnB>
                    <a:noFill/>
                  </a:tcPr>
                </a:tc>
                <a:tc>
                  <a:txBody>
                    <a:bodyPr/>
                    <a:lstStyle/>
                    <a:p>
                      <a:pPr algn="ctr"/>
                      <a:r>
                        <a:rPr lang="en-US" sz="1200" b="1" cap="all" baseline="0">
                          <a:solidFill>
                            <a:schemeClr val="tx1"/>
                          </a:solidFill>
                          <a:latin typeface="Segoe UI" panose="020B0502040204020203" pitchFamily="34" charset="0"/>
                          <a:cs typeface="Segoe UI" panose="020B0502040204020203" pitchFamily="34" charset="0"/>
                        </a:rPr>
                        <a:t>May</a:t>
                      </a:r>
                      <a:endParaRPr lang="en-GB" sz="1200" cap="all" baseline="0">
                        <a:solidFill>
                          <a:schemeClr val="tx1"/>
                        </a:solidFill>
                        <a:latin typeface="Segoe UI" panose="020B0502040204020203" pitchFamily="34" charset="0"/>
                        <a:cs typeface="Segoe UI" panose="020B0502040204020203" pitchFamily="34" charset="0"/>
                      </a:endParaRPr>
                    </a:p>
                  </a:txBody>
                  <a:tcPr marT="36000" marB="36000" anchor="ctr">
                    <a:lnB w="12700" cap="flat" cmpd="sng" algn="ctr">
                      <a:solidFill>
                        <a:schemeClr val="tx1"/>
                      </a:solidFill>
                      <a:prstDash val="solid"/>
                      <a:round/>
                      <a:headEnd type="none" w="med" len="med"/>
                      <a:tailEnd type="none" w="med" len="med"/>
                    </a:lnB>
                    <a:noFill/>
                  </a:tcPr>
                </a:tc>
                <a:tc>
                  <a:txBody>
                    <a:bodyPr/>
                    <a:lstStyle/>
                    <a:p>
                      <a:pPr algn="ctr"/>
                      <a:r>
                        <a:rPr lang="en-US" sz="1200" b="1" cap="all" baseline="0">
                          <a:solidFill>
                            <a:schemeClr val="tx1"/>
                          </a:solidFill>
                          <a:latin typeface="Segoe UI" panose="020B0502040204020203" pitchFamily="34" charset="0"/>
                          <a:cs typeface="Segoe UI" panose="020B0502040204020203" pitchFamily="34" charset="0"/>
                        </a:rPr>
                        <a:t>Jun</a:t>
                      </a:r>
                      <a:endParaRPr lang="en-GB" sz="1200" cap="all" baseline="0">
                        <a:solidFill>
                          <a:schemeClr val="tx1"/>
                        </a:solidFill>
                        <a:latin typeface="Segoe UI" panose="020B0502040204020203" pitchFamily="34" charset="0"/>
                        <a:cs typeface="Segoe UI" panose="020B0502040204020203" pitchFamily="34" charset="0"/>
                      </a:endParaRPr>
                    </a:p>
                  </a:txBody>
                  <a:tcPr marT="36000" marB="36000"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48553952"/>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cap="all" baseline="0">
                          <a:latin typeface="Segoe UI" panose="020B0502040204020203" pitchFamily="34" charset="0"/>
                          <a:cs typeface="Segoe UI" panose="020B0502040204020203" pitchFamily="34" charset="0"/>
                        </a:rPr>
                        <a:t>100 Phase 1</a:t>
                      </a:r>
                      <a:endParaRPr lang="en-US" sz="1200" cap="all" baseline="0">
                        <a:latin typeface="Segoe UI" panose="020B0502040204020203" pitchFamily="34" charset="0"/>
                        <a:cs typeface="Segoe UI" panose="020B0502040204020203" pitchFamily="34" charset="0"/>
                      </a:endParaRPr>
                    </a:p>
                  </a:txBody>
                  <a:tcPr marL="0"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36556169"/>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Step 1</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254728236"/>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Step 2</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19329372"/>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Step 3</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90573348"/>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Step 4</a:t>
                      </a:r>
                    </a:p>
                  </a:txBody>
                  <a:tcPr marL="0"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107927866"/>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cap="all" baseline="0">
                          <a:latin typeface="Segoe UI" panose="020B0502040204020203" pitchFamily="34" charset="0"/>
                          <a:cs typeface="Segoe UI" panose="020B0502040204020203" pitchFamily="34" charset="0"/>
                        </a:rPr>
                        <a:t>200 Phase 2</a:t>
                      </a:r>
                      <a:endParaRPr lang="en-US" sz="1200" cap="all" baseline="0">
                        <a:latin typeface="Segoe UI" panose="020B0502040204020203" pitchFamily="34" charset="0"/>
                        <a:cs typeface="Segoe UI" panose="020B0502040204020203" pitchFamily="34" charset="0"/>
                      </a:endParaRPr>
                    </a:p>
                  </a:txBody>
                  <a:tcPr marL="0"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631469834"/>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Step 1</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34573186"/>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Step 2</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54087819"/>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Step 3</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527980715"/>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Step 4</a:t>
                      </a:r>
                    </a:p>
                  </a:txBody>
                  <a:tcPr marL="0"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815448543"/>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cap="all" baseline="0">
                          <a:latin typeface="Segoe UI" panose="020B0502040204020203" pitchFamily="34" charset="0"/>
                          <a:cs typeface="Segoe UI" panose="020B0502040204020203" pitchFamily="34" charset="0"/>
                        </a:rPr>
                        <a:t>300 Phase 3</a:t>
                      </a:r>
                      <a:endParaRPr lang="en-US" sz="1200" cap="all" baseline="0">
                        <a:latin typeface="Segoe UI" panose="020B0502040204020203" pitchFamily="34" charset="0"/>
                        <a:cs typeface="Segoe UI" panose="020B0502040204020203" pitchFamily="34" charset="0"/>
                      </a:endParaRPr>
                    </a:p>
                  </a:txBody>
                  <a:tcPr marL="0" anchor="ct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89485012"/>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Step 1</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88100610"/>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Step 2</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916655884"/>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Step 3</a:t>
                      </a:r>
                    </a:p>
                  </a:txBody>
                  <a:tcPr marL="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74176316"/>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Step 4</a:t>
                      </a:r>
                    </a:p>
                  </a:txBody>
                  <a:tcPr marL="0" anchor="ct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793859019"/>
                  </a:ext>
                </a:extLst>
              </a:tr>
              <a:tr h="270519">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200" b="1" kern="1200" cap="all" baseline="0">
                          <a:solidFill>
                            <a:schemeClr val="dk1"/>
                          </a:solidFill>
                          <a:latin typeface="Segoe UI" panose="020B0502040204020203" pitchFamily="34" charset="0"/>
                          <a:ea typeface="+mn-ea"/>
                          <a:cs typeface="Segoe UI" panose="020B0502040204020203" pitchFamily="34" charset="0"/>
                        </a:rPr>
                        <a:t>Key decision points</a:t>
                      </a:r>
                      <a:endParaRPr lang="en-US" sz="1200" kern="1200" cap="all" baseline="0">
                        <a:solidFill>
                          <a:schemeClr val="dk1"/>
                        </a:solidFill>
                        <a:latin typeface="Segoe UI" panose="020B0502040204020203" pitchFamily="34" charset="0"/>
                        <a:ea typeface="+mn-ea"/>
                        <a:cs typeface="Segoe UI" panose="020B0502040204020203" pitchFamily="34" charset="0"/>
                      </a:endParaRPr>
                    </a:p>
                  </a:txBody>
                  <a:tcPr marL="0" anchor="ct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R w="12700" cap="flat" cmpd="sng" algn="ctr">
                      <a:solidFill>
                        <a:schemeClr val="tx2">
                          <a:lumMod val="60000"/>
                          <a:lumOff val="40000"/>
                        </a:schemeClr>
                      </a:solidFill>
                      <a:prstDash val="dash"/>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tc>
                  <a:txBody>
                    <a:bodyPr/>
                    <a:lstStyle/>
                    <a:p>
                      <a:endParaRPr lang="en-GB" sz="900">
                        <a:latin typeface="Segoe UI" panose="020B0502040204020203" pitchFamily="34" charset="0"/>
                        <a:cs typeface="Segoe UI" panose="020B0502040204020203" pitchFamily="34" charset="0"/>
                      </a:endParaRPr>
                    </a:p>
                  </a:txBody>
                  <a:tcPr anchor="ctr">
                    <a:lnL w="12700" cap="flat" cmpd="sng" algn="ctr">
                      <a:solidFill>
                        <a:schemeClr val="tx2">
                          <a:lumMod val="60000"/>
                          <a:lumOff val="40000"/>
                        </a:schemeClr>
                      </a:solidFill>
                      <a:prstDash val="dash"/>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501114773"/>
                  </a:ext>
                </a:extLst>
              </a:tr>
            </a:tbl>
          </a:graphicData>
        </a:graphic>
      </p:graphicFrame>
      <p:sp>
        <p:nvSpPr>
          <p:cNvPr id="7" name="Rectangle 6">
            <a:extLst>
              <a:ext uri="{FF2B5EF4-FFF2-40B4-BE49-F238E27FC236}">
                <a16:creationId xmlns:a16="http://schemas.microsoft.com/office/drawing/2014/main" id="{6A320C72-2076-43CE-C152-CFB81B9029EA}"/>
              </a:ext>
            </a:extLst>
          </p:cNvPr>
          <p:cNvSpPr/>
          <p:nvPr/>
        </p:nvSpPr>
        <p:spPr>
          <a:xfrm>
            <a:off x="4455994" y="1980577"/>
            <a:ext cx="4101328" cy="210304"/>
          </a:xfrm>
          <a:prstGeom prst="rect">
            <a:avLst/>
          </a:prstGeom>
          <a:solidFill>
            <a:srgbClr val="B7010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6C5B1678-5BB7-2F4C-6A1E-D41A8575B03A}"/>
              </a:ext>
            </a:extLst>
          </p:cNvPr>
          <p:cNvSpPr/>
          <p:nvPr/>
        </p:nvSpPr>
        <p:spPr>
          <a:xfrm>
            <a:off x="4455994" y="2253024"/>
            <a:ext cx="1751128" cy="210304"/>
          </a:xfrm>
          <a:prstGeom prst="rect">
            <a:avLst/>
          </a:prstGeom>
          <a:solidFill>
            <a:srgbClr val="DC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95FE96E-8A61-F1E8-F36E-023A45ACD9EC}"/>
              </a:ext>
            </a:extLst>
          </p:cNvPr>
          <p:cNvSpPr/>
          <p:nvPr/>
        </p:nvSpPr>
        <p:spPr>
          <a:xfrm>
            <a:off x="5000552" y="2525471"/>
            <a:ext cx="1584198" cy="210304"/>
          </a:xfrm>
          <a:prstGeom prst="rect">
            <a:avLst/>
          </a:prstGeom>
          <a:solidFill>
            <a:srgbClr val="DC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9CBC2F1-0F10-BC6E-E9F8-74CB9E1380E9}"/>
              </a:ext>
            </a:extLst>
          </p:cNvPr>
          <p:cNvSpPr/>
          <p:nvPr/>
        </p:nvSpPr>
        <p:spPr>
          <a:xfrm>
            <a:off x="5453398" y="2797918"/>
            <a:ext cx="1300210" cy="210304"/>
          </a:xfrm>
          <a:prstGeom prst="rect">
            <a:avLst/>
          </a:prstGeom>
          <a:solidFill>
            <a:srgbClr val="DC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8F97D1F-E872-BA74-A006-9B423B8F8E66}"/>
              </a:ext>
            </a:extLst>
          </p:cNvPr>
          <p:cNvSpPr/>
          <p:nvPr/>
        </p:nvSpPr>
        <p:spPr>
          <a:xfrm>
            <a:off x="6022914" y="3070365"/>
            <a:ext cx="1317093" cy="210304"/>
          </a:xfrm>
          <a:prstGeom prst="rect">
            <a:avLst/>
          </a:prstGeom>
          <a:solidFill>
            <a:srgbClr val="DC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6CA2885-DB26-CD54-B053-9740A84D7458}"/>
              </a:ext>
            </a:extLst>
          </p:cNvPr>
          <p:cNvSpPr/>
          <p:nvPr/>
        </p:nvSpPr>
        <p:spPr>
          <a:xfrm>
            <a:off x="5453397" y="3350817"/>
            <a:ext cx="5681148" cy="210304"/>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4262C03-E63A-C254-CC40-17991F029B4E}"/>
              </a:ext>
            </a:extLst>
          </p:cNvPr>
          <p:cNvSpPr/>
          <p:nvPr/>
        </p:nvSpPr>
        <p:spPr>
          <a:xfrm>
            <a:off x="5453397" y="3631269"/>
            <a:ext cx="2142022" cy="210304"/>
          </a:xfrm>
          <a:prstGeom prst="rect">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AD97366-7D5E-273E-2BE2-4DDD958708F5}"/>
              </a:ext>
            </a:extLst>
          </p:cNvPr>
          <p:cNvSpPr/>
          <p:nvPr/>
        </p:nvSpPr>
        <p:spPr>
          <a:xfrm>
            <a:off x="7340007" y="3911721"/>
            <a:ext cx="1619638" cy="210304"/>
          </a:xfrm>
          <a:prstGeom prst="rect">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4DC73D9-505E-4AE2-B040-7F286E63F326}"/>
              </a:ext>
            </a:extLst>
          </p:cNvPr>
          <p:cNvSpPr/>
          <p:nvPr/>
        </p:nvSpPr>
        <p:spPr>
          <a:xfrm>
            <a:off x="8503425" y="4192173"/>
            <a:ext cx="1805698" cy="210304"/>
          </a:xfrm>
          <a:prstGeom prst="rect">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090C599-1E13-8E26-0FEC-147D9AB8812C}"/>
              </a:ext>
            </a:extLst>
          </p:cNvPr>
          <p:cNvSpPr/>
          <p:nvPr/>
        </p:nvSpPr>
        <p:spPr>
          <a:xfrm>
            <a:off x="9036021" y="4472624"/>
            <a:ext cx="2098523" cy="210304"/>
          </a:xfrm>
          <a:prstGeom prst="rect">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88F929D-BF1E-0611-1CF1-67C5C1B33659}"/>
              </a:ext>
            </a:extLst>
          </p:cNvPr>
          <p:cNvSpPr/>
          <p:nvPr/>
        </p:nvSpPr>
        <p:spPr>
          <a:xfrm>
            <a:off x="7410450" y="4742625"/>
            <a:ext cx="4445000" cy="21030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560FF6FF-3989-4FF3-9497-72D8FCF42E81}"/>
              </a:ext>
            </a:extLst>
          </p:cNvPr>
          <p:cNvSpPr/>
          <p:nvPr/>
        </p:nvSpPr>
        <p:spPr>
          <a:xfrm>
            <a:off x="7410450" y="5021335"/>
            <a:ext cx="1549195" cy="210304"/>
          </a:xfrm>
          <a:prstGeom prst="rect">
            <a:avLst/>
          </a:prstGeom>
          <a:solidFill>
            <a:schemeClr val="accent4">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5027A5C5-7E5A-2F0B-6EA7-ADC8D2FD2143}"/>
              </a:ext>
            </a:extLst>
          </p:cNvPr>
          <p:cNvSpPr/>
          <p:nvPr/>
        </p:nvSpPr>
        <p:spPr>
          <a:xfrm>
            <a:off x="8503426" y="5300045"/>
            <a:ext cx="1503354" cy="210304"/>
          </a:xfrm>
          <a:prstGeom prst="rect">
            <a:avLst/>
          </a:prstGeom>
          <a:solidFill>
            <a:schemeClr val="accent4">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6FA18643-BDBA-FCF9-1154-8146E973B990}"/>
              </a:ext>
            </a:extLst>
          </p:cNvPr>
          <p:cNvSpPr/>
          <p:nvPr/>
        </p:nvSpPr>
        <p:spPr>
          <a:xfrm>
            <a:off x="9632950" y="5578755"/>
            <a:ext cx="1318800" cy="210304"/>
          </a:xfrm>
          <a:prstGeom prst="rect">
            <a:avLst/>
          </a:prstGeom>
          <a:solidFill>
            <a:schemeClr val="accent4">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73C7CA7F-CFFE-8310-DADF-4A0527AAEBB5}"/>
              </a:ext>
            </a:extLst>
          </p:cNvPr>
          <p:cNvSpPr/>
          <p:nvPr/>
        </p:nvSpPr>
        <p:spPr>
          <a:xfrm>
            <a:off x="10132142" y="5857472"/>
            <a:ext cx="1723307" cy="210304"/>
          </a:xfrm>
          <a:prstGeom prst="rect">
            <a:avLst/>
          </a:prstGeom>
          <a:solidFill>
            <a:schemeClr val="accent4">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latin typeface="Segoe UI" panose="020B0502040204020203" pitchFamily="34" charset="0"/>
              <a:cs typeface="Segoe UI" panose="020B0502040204020203" pitchFamily="34" charset="0"/>
            </a:endParaRPr>
          </a:p>
        </p:txBody>
      </p:sp>
      <p:sp>
        <p:nvSpPr>
          <p:cNvPr id="22" name="Text Box 46">
            <a:extLst>
              <a:ext uri="{FF2B5EF4-FFF2-40B4-BE49-F238E27FC236}">
                <a16:creationId xmlns:a16="http://schemas.microsoft.com/office/drawing/2014/main" id="{85A28B4A-17D9-6CFC-732D-873E2DCCE7F8}"/>
              </a:ext>
            </a:extLst>
          </p:cNvPr>
          <p:cNvSpPr txBox="1">
            <a:spLocks noChangeArrowheads="1"/>
          </p:cNvSpPr>
          <p:nvPr>
            <p:custDataLst>
              <p:tags r:id="rId1"/>
            </p:custDataLst>
          </p:nvPr>
        </p:nvSpPr>
        <p:spPr bwMode="auto">
          <a:xfrm>
            <a:off x="7052922" y="6078424"/>
            <a:ext cx="1132125" cy="253222"/>
          </a:xfrm>
          <a:prstGeom prst="rect">
            <a:avLst/>
          </a:prstGeom>
          <a:noFill/>
          <a:ln w="6350">
            <a:noFill/>
            <a:miter lim="800000"/>
            <a:headEnd/>
            <a:tailEnd/>
          </a:ln>
          <a:effectLst/>
        </p:spPr>
        <p:txBody>
          <a:bodyPr lIns="45720" rIns="45720"/>
          <a:lstStyle/>
          <a:p>
            <a:pPr eaLnBrk="0" hangingPunct="0">
              <a:spcBef>
                <a:spcPct val="0"/>
              </a:spcBef>
              <a:buClr>
                <a:schemeClr val="accent6"/>
              </a:buClr>
              <a:buFont typeface="Wingdings" pitchFamily="2" charset="2"/>
              <a:buChar char="u"/>
            </a:pPr>
            <a:r>
              <a:rPr lang="en-US" sz="1200">
                <a:solidFill>
                  <a:schemeClr val="tx1"/>
                </a:solidFill>
                <a:latin typeface="Segoe UI" panose="020B0502040204020203" pitchFamily="34" charset="0"/>
                <a:cs typeface="Segoe UI" panose="020B0502040204020203" pitchFamily="34" charset="0"/>
              </a:rPr>
              <a:t> 03.10.24</a:t>
            </a:r>
          </a:p>
        </p:txBody>
      </p:sp>
      <p:sp>
        <p:nvSpPr>
          <p:cNvPr id="23" name="Text Box 47">
            <a:extLst>
              <a:ext uri="{FF2B5EF4-FFF2-40B4-BE49-F238E27FC236}">
                <a16:creationId xmlns:a16="http://schemas.microsoft.com/office/drawing/2014/main" id="{391993DF-5C14-D3CC-59E2-5FFF853B3D75}"/>
              </a:ext>
            </a:extLst>
          </p:cNvPr>
          <p:cNvSpPr txBox="1">
            <a:spLocks noChangeArrowheads="1"/>
          </p:cNvSpPr>
          <p:nvPr>
            <p:custDataLst>
              <p:tags r:id="rId2"/>
            </p:custDataLst>
          </p:nvPr>
        </p:nvSpPr>
        <p:spPr bwMode="auto">
          <a:xfrm>
            <a:off x="9742076" y="6078424"/>
            <a:ext cx="1134094" cy="253222"/>
          </a:xfrm>
          <a:prstGeom prst="rect">
            <a:avLst/>
          </a:prstGeom>
          <a:noFill/>
          <a:ln w="6350">
            <a:noFill/>
            <a:miter lim="800000"/>
            <a:headEnd/>
            <a:tailEnd/>
          </a:ln>
          <a:effectLst/>
        </p:spPr>
        <p:txBody>
          <a:bodyPr lIns="45720" rIns="45720"/>
          <a:lstStyle/>
          <a:p>
            <a:pPr eaLnBrk="0" hangingPunct="0">
              <a:spcBef>
                <a:spcPct val="0"/>
              </a:spcBef>
              <a:buClr>
                <a:schemeClr val="accent6"/>
              </a:buClr>
              <a:buFont typeface="Wingdings" pitchFamily="2" charset="2"/>
              <a:buChar char="u"/>
            </a:pPr>
            <a:r>
              <a:rPr lang="en-US" sz="1200">
                <a:solidFill>
                  <a:schemeClr val="tx1"/>
                </a:solidFill>
                <a:latin typeface="Segoe UI" panose="020B0502040204020203" pitchFamily="34" charset="0"/>
                <a:cs typeface="Segoe UI" panose="020B0502040204020203" pitchFamily="34" charset="0"/>
              </a:rPr>
              <a:t> 05.15.24</a:t>
            </a:r>
          </a:p>
        </p:txBody>
      </p:sp>
    </p:spTree>
    <p:extLst>
      <p:ext uri="{BB962C8B-B14F-4D97-AF65-F5344CB8AC3E}">
        <p14:creationId xmlns:p14="http://schemas.microsoft.com/office/powerpoint/2010/main" val="30994097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2B951-963C-D1B3-C86D-ECD038DFA8E2}"/>
              </a:ext>
            </a:extLst>
          </p:cNvPr>
          <p:cNvSpPr>
            <a:spLocks noGrp="1"/>
          </p:cNvSpPr>
          <p:nvPr>
            <p:ph type="title"/>
          </p:nvPr>
        </p:nvSpPr>
        <p:spPr/>
        <p:txBody>
          <a:bodyPr/>
          <a:lstStyle/>
          <a:p>
            <a:r>
              <a:rPr lang="en-BR"/>
              <a:t>Project Management</a:t>
            </a:r>
          </a:p>
        </p:txBody>
      </p:sp>
      <p:sp>
        <p:nvSpPr>
          <p:cNvPr id="3" name="Footer Placeholder 2">
            <a:extLst>
              <a:ext uri="{FF2B5EF4-FFF2-40B4-BE49-F238E27FC236}">
                <a16:creationId xmlns:a16="http://schemas.microsoft.com/office/drawing/2014/main" id="{693FE1B9-CAA7-B389-1BAA-AE0B98392FB5}"/>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9949A4EF-BEEE-3B1E-5BC7-91D24810C037}"/>
              </a:ext>
            </a:extLst>
          </p:cNvPr>
          <p:cNvSpPr>
            <a:spLocks noGrp="1"/>
          </p:cNvSpPr>
          <p:nvPr>
            <p:ph type="sldNum" sz="quarter" idx="12"/>
          </p:nvPr>
        </p:nvSpPr>
        <p:spPr/>
        <p:txBody>
          <a:bodyPr/>
          <a:lstStyle/>
          <a:p>
            <a:fld id="{A8DDC45B-7265-3747-B738-ED29642119D9}" type="slidenum">
              <a:rPr lang="en-BR" smtClean="0"/>
              <a:pPr/>
              <a:t>35</a:t>
            </a:fld>
            <a:endParaRPr lang="en-BR"/>
          </a:p>
        </p:txBody>
      </p:sp>
      <p:sp>
        <p:nvSpPr>
          <p:cNvPr id="5" name="Text Placeholder 4">
            <a:extLst>
              <a:ext uri="{FF2B5EF4-FFF2-40B4-BE49-F238E27FC236}">
                <a16:creationId xmlns:a16="http://schemas.microsoft.com/office/drawing/2014/main" id="{34FB1D20-7923-DFD4-4E49-3326835C4B8E}"/>
              </a:ext>
            </a:extLst>
          </p:cNvPr>
          <p:cNvSpPr>
            <a:spLocks noGrp="1"/>
          </p:cNvSpPr>
          <p:nvPr>
            <p:ph type="body" sz="quarter" idx="13"/>
          </p:nvPr>
        </p:nvSpPr>
        <p:spPr/>
        <p:txBody>
          <a:bodyPr/>
          <a:lstStyle/>
          <a:p>
            <a:r>
              <a:rPr lang="en-BR"/>
              <a:t>Project Roadmap</a:t>
            </a:r>
          </a:p>
        </p:txBody>
      </p:sp>
      <p:cxnSp>
        <p:nvCxnSpPr>
          <p:cNvPr id="6" name="Straight Connector 5">
            <a:extLst>
              <a:ext uri="{FF2B5EF4-FFF2-40B4-BE49-F238E27FC236}">
                <a16:creationId xmlns:a16="http://schemas.microsoft.com/office/drawing/2014/main" id="{B4827714-5AC9-4758-43B4-B2B538D99502}"/>
              </a:ext>
            </a:extLst>
          </p:cNvPr>
          <p:cNvCxnSpPr>
            <a:endCxn id="19" idx="0"/>
          </p:cNvCxnSpPr>
          <p:nvPr/>
        </p:nvCxnSpPr>
        <p:spPr bwMode="auto">
          <a:xfrm flipH="1">
            <a:off x="4673882" y="1934890"/>
            <a:ext cx="1588" cy="3993345"/>
          </a:xfrm>
          <a:prstGeom prst="line">
            <a:avLst/>
          </a:prstGeom>
          <a:solidFill>
            <a:schemeClr val="accent1"/>
          </a:solidFill>
          <a:ln w="3175" cap="flat" cmpd="sng" algn="ctr">
            <a:solidFill>
              <a:schemeClr val="tx2"/>
            </a:solidFill>
            <a:prstDash val="dash"/>
            <a:round/>
            <a:headEnd type="none" w="med" len="med"/>
            <a:tailEnd type="none" w="med" len="med"/>
          </a:ln>
          <a:effectLst/>
        </p:spPr>
      </p:cxnSp>
      <p:cxnSp>
        <p:nvCxnSpPr>
          <p:cNvPr id="7" name="Straight Connector 6">
            <a:extLst>
              <a:ext uri="{FF2B5EF4-FFF2-40B4-BE49-F238E27FC236}">
                <a16:creationId xmlns:a16="http://schemas.microsoft.com/office/drawing/2014/main" id="{ABC30661-CE3A-17D2-ABF8-D85C9D393E3A}"/>
              </a:ext>
            </a:extLst>
          </p:cNvPr>
          <p:cNvCxnSpPr>
            <a:endCxn id="23" idx="0"/>
          </p:cNvCxnSpPr>
          <p:nvPr/>
        </p:nvCxnSpPr>
        <p:spPr bwMode="auto">
          <a:xfrm>
            <a:off x="6716843" y="1934890"/>
            <a:ext cx="1909" cy="3993345"/>
          </a:xfrm>
          <a:prstGeom prst="line">
            <a:avLst/>
          </a:prstGeom>
          <a:solidFill>
            <a:schemeClr val="accent1"/>
          </a:solidFill>
          <a:ln w="3175" cap="flat" cmpd="sng" algn="ctr">
            <a:solidFill>
              <a:schemeClr val="tx2"/>
            </a:solidFill>
            <a:prstDash val="dash"/>
            <a:round/>
            <a:headEnd type="none" w="med" len="med"/>
            <a:tailEnd type="none" w="med" len="med"/>
          </a:ln>
          <a:effectLst/>
        </p:spPr>
      </p:cxnSp>
      <p:cxnSp>
        <p:nvCxnSpPr>
          <p:cNvPr id="8" name="Straight Connector 7">
            <a:extLst>
              <a:ext uri="{FF2B5EF4-FFF2-40B4-BE49-F238E27FC236}">
                <a16:creationId xmlns:a16="http://schemas.microsoft.com/office/drawing/2014/main" id="{46338F35-6222-6FB4-18F3-9C13FD1448AB}"/>
              </a:ext>
            </a:extLst>
          </p:cNvPr>
          <p:cNvCxnSpPr>
            <a:endCxn id="21" idx="0"/>
          </p:cNvCxnSpPr>
          <p:nvPr/>
        </p:nvCxnSpPr>
        <p:spPr bwMode="auto">
          <a:xfrm>
            <a:off x="10042720" y="1934890"/>
            <a:ext cx="1909" cy="3993345"/>
          </a:xfrm>
          <a:prstGeom prst="line">
            <a:avLst/>
          </a:prstGeom>
          <a:solidFill>
            <a:schemeClr val="accent1"/>
          </a:solidFill>
          <a:ln w="3175" cap="flat" cmpd="sng" algn="ctr">
            <a:solidFill>
              <a:schemeClr val="tx2"/>
            </a:solidFill>
            <a:prstDash val="dash"/>
            <a:round/>
            <a:headEnd type="none" w="med" len="med"/>
            <a:tailEnd type="none" w="med" len="med"/>
          </a:ln>
          <a:effectLst/>
        </p:spPr>
      </p:cxnSp>
      <p:sp>
        <p:nvSpPr>
          <p:cNvPr id="9" name="Text Box 3">
            <a:extLst>
              <a:ext uri="{FF2B5EF4-FFF2-40B4-BE49-F238E27FC236}">
                <a16:creationId xmlns:a16="http://schemas.microsoft.com/office/drawing/2014/main" id="{DD3C0A8A-57A3-8AEE-34A2-CF2E262C1C0F}"/>
              </a:ext>
            </a:extLst>
          </p:cNvPr>
          <p:cNvSpPr txBox="1">
            <a:spLocks noChangeArrowheads="1"/>
          </p:cNvSpPr>
          <p:nvPr/>
        </p:nvSpPr>
        <p:spPr bwMode="auto">
          <a:xfrm>
            <a:off x="2985361" y="4481322"/>
            <a:ext cx="3212131" cy="461665"/>
          </a:xfrm>
          <a:prstGeom prst="rect">
            <a:avLst/>
          </a:prstGeom>
          <a:solidFill>
            <a:schemeClr val="bg1"/>
          </a:solidFill>
          <a:ln w="9525" algn="ctr">
            <a:noFill/>
            <a:miter lim="800000"/>
            <a:headEnd/>
            <a:tailEnd/>
          </a:ln>
        </p:spPr>
        <p:txBody>
          <a:bodyPr wrap="square" lIns="0" tIns="0" rIns="0" bIns="0">
            <a:spAutoFit/>
          </a:bodyPr>
          <a:lstStyle/>
          <a:p>
            <a:pPr marL="101600" indent="-101600">
              <a:buSzPct val="120000"/>
              <a:buFontTx/>
              <a:buChar char="•"/>
              <a:defRPr/>
            </a:pPr>
            <a:r>
              <a:rPr lang="en-US" sz="1000" kern="0">
                <a:solidFill>
                  <a:sysClr val="windowText" lastClr="000000"/>
                </a:solidFill>
                <a:latin typeface="Segoe UI" panose="020B0502040204020203" pitchFamily="34" charset="0"/>
                <a:cs typeface="Segoe UI" panose="020B0502040204020203" pitchFamily="34" charset="0"/>
              </a:rPr>
              <a:t>Web page designing </a:t>
            </a:r>
          </a:p>
          <a:p>
            <a:pPr marL="101600" indent="-101600">
              <a:buSzPct val="120000"/>
              <a:buFontTx/>
              <a:buChar char="•"/>
              <a:defRPr/>
            </a:pPr>
            <a:r>
              <a:rPr lang="en-US" sz="1000" kern="0">
                <a:solidFill>
                  <a:sysClr val="windowText" lastClr="000000"/>
                </a:solidFill>
                <a:latin typeface="Segoe UI" panose="020B0502040204020203" pitchFamily="34" charset="0"/>
                <a:cs typeface="Segoe UI" panose="020B0502040204020203" pitchFamily="34" charset="0"/>
              </a:rPr>
              <a:t>Go live date to be decided later depending on the business requirement</a:t>
            </a:r>
          </a:p>
        </p:txBody>
      </p:sp>
      <p:sp>
        <p:nvSpPr>
          <p:cNvPr id="10" name="Text Box 124">
            <a:extLst>
              <a:ext uri="{FF2B5EF4-FFF2-40B4-BE49-F238E27FC236}">
                <a16:creationId xmlns:a16="http://schemas.microsoft.com/office/drawing/2014/main" id="{FBA224CB-F0D5-8A96-EC96-5BFF73304A82}"/>
              </a:ext>
            </a:extLst>
          </p:cNvPr>
          <p:cNvSpPr txBox="1">
            <a:spLocks noChangeArrowheads="1"/>
          </p:cNvSpPr>
          <p:nvPr/>
        </p:nvSpPr>
        <p:spPr bwMode="auto">
          <a:xfrm>
            <a:off x="4757504" y="1590526"/>
            <a:ext cx="1959338" cy="218295"/>
          </a:xfrm>
          <a:prstGeom prst="rect">
            <a:avLst/>
          </a:prstGeom>
          <a:solidFill>
            <a:schemeClr val="tx2"/>
          </a:solidFill>
          <a:ln w="3175" algn="ctr">
            <a:noFill/>
            <a:miter lim="800000"/>
            <a:headEnd/>
            <a:tailEnd/>
          </a:ln>
        </p:spPr>
        <p:txBody>
          <a:bodyPr anchor="ctr"/>
          <a:lstStyle/>
          <a:p>
            <a:pPr algn="ctr" eaLnBrk="0" hangingPunct="0">
              <a:lnSpc>
                <a:spcPct val="80000"/>
              </a:lnSpc>
            </a:pPr>
            <a:r>
              <a:rPr lang="en-US" sz="1000" b="1">
                <a:solidFill>
                  <a:schemeClr val="bg1"/>
                </a:solidFill>
                <a:latin typeface="Segoe UI" panose="020B0502040204020203" pitchFamily="34" charset="0"/>
                <a:cs typeface="Segoe UI" panose="020B0502040204020203" pitchFamily="34" charset="0"/>
              </a:rPr>
              <a:t>Medium Term</a:t>
            </a:r>
          </a:p>
        </p:txBody>
      </p:sp>
      <p:sp>
        <p:nvSpPr>
          <p:cNvPr id="11" name="Text Box 131">
            <a:extLst>
              <a:ext uri="{FF2B5EF4-FFF2-40B4-BE49-F238E27FC236}">
                <a16:creationId xmlns:a16="http://schemas.microsoft.com/office/drawing/2014/main" id="{B80ED7C9-BC6E-B01B-C62A-954E08B4DAEB}"/>
              </a:ext>
            </a:extLst>
          </p:cNvPr>
          <p:cNvSpPr txBox="1">
            <a:spLocks noChangeArrowheads="1"/>
          </p:cNvSpPr>
          <p:nvPr/>
        </p:nvSpPr>
        <p:spPr bwMode="auto">
          <a:xfrm>
            <a:off x="3557966" y="1590526"/>
            <a:ext cx="1094725" cy="218295"/>
          </a:xfrm>
          <a:prstGeom prst="rect">
            <a:avLst/>
          </a:prstGeom>
          <a:solidFill>
            <a:srgbClr val="FF0000"/>
          </a:solidFill>
          <a:ln w="3175" algn="ctr">
            <a:noFill/>
            <a:miter lim="800000"/>
            <a:headEnd/>
            <a:tailEnd/>
          </a:ln>
          <a:effectLst/>
        </p:spPr>
        <p:txBody>
          <a:bodyPr anchor="ctr"/>
          <a:lstStyle/>
          <a:p>
            <a:pPr algn="ctr" eaLnBrk="0" hangingPunct="0">
              <a:lnSpc>
                <a:spcPct val="80000"/>
              </a:lnSpc>
              <a:defRPr/>
            </a:pPr>
            <a:r>
              <a:rPr lang="en-US" sz="1000" b="1">
                <a:solidFill>
                  <a:schemeClr val="bg1"/>
                </a:solidFill>
                <a:latin typeface="Segoe UI" panose="020B0502040204020203" pitchFamily="34" charset="0"/>
                <a:ea typeface="SimSun" pitchFamily="2" charset="-122"/>
                <a:cs typeface="Segoe UI" panose="020B0502040204020203" pitchFamily="34" charset="0"/>
              </a:rPr>
              <a:t>Quick Wins</a:t>
            </a:r>
          </a:p>
        </p:txBody>
      </p:sp>
      <p:sp>
        <p:nvSpPr>
          <p:cNvPr id="12" name="Text Box 132">
            <a:extLst>
              <a:ext uri="{FF2B5EF4-FFF2-40B4-BE49-F238E27FC236}">
                <a16:creationId xmlns:a16="http://schemas.microsoft.com/office/drawing/2014/main" id="{2A1F5157-CFA2-FDC6-12A5-AD0E81AEAE81}"/>
              </a:ext>
            </a:extLst>
          </p:cNvPr>
          <p:cNvSpPr txBox="1">
            <a:spLocks noChangeArrowheads="1"/>
          </p:cNvSpPr>
          <p:nvPr/>
        </p:nvSpPr>
        <p:spPr bwMode="auto">
          <a:xfrm>
            <a:off x="6778634" y="1590526"/>
            <a:ext cx="3277806" cy="218295"/>
          </a:xfrm>
          <a:prstGeom prst="rect">
            <a:avLst/>
          </a:prstGeom>
          <a:solidFill>
            <a:srgbClr val="C00000"/>
          </a:solidFill>
          <a:ln w="3175" algn="ctr">
            <a:noFill/>
            <a:miter lim="800000"/>
            <a:headEnd/>
            <a:tailEnd/>
          </a:ln>
        </p:spPr>
        <p:txBody>
          <a:bodyPr anchor="ctr"/>
          <a:lstStyle/>
          <a:p>
            <a:pPr algn="ctr" eaLnBrk="0" hangingPunct="0">
              <a:lnSpc>
                <a:spcPct val="80000"/>
              </a:lnSpc>
            </a:pPr>
            <a:r>
              <a:rPr lang="en-US" sz="1000" b="1">
                <a:solidFill>
                  <a:schemeClr val="bg1"/>
                </a:solidFill>
                <a:latin typeface="Segoe UI" panose="020B0502040204020203" pitchFamily="34" charset="0"/>
                <a:cs typeface="Segoe UI" panose="020B0502040204020203" pitchFamily="34" charset="0"/>
              </a:rPr>
              <a:t>Long Term</a:t>
            </a:r>
          </a:p>
        </p:txBody>
      </p:sp>
      <p:sp>
        <p:nvSpPr>
          <p:cNvPr id="13" name="Text Box 134">
            <a:extLst>
              <a:ext uri="{FF2B5EF4-FFF2-40B4-BE49-F238E27FC236}">
                <a16:creationId xmlns:a16="http://schemas.microsoft.com/office/drawing/2014/main" id="{BD6C0740-B2D1-DDBF-C788-5D362FF643D0}"/>
              </a:ext>
            </a:extLst>
          </p:cNvPr>
          <p:cNvSpPr txBox="1">
            <a:spLocks noChangeArrowheads="1"/>
          </p:cNvSpPr>
          <p:nvPr/>
        </p:nvSpPr>
        <p:spPr bwMode="auto">
          <a:xfrm>
            <a:off x="2595399" y="1602172"/>
            <a:ext cx="710407" cy="169277"/>
          </a:xfrm>
          <a:prstGeom prst="rect">
            <a:avLst/>
          </a:prstGeom>
          <a:noFill/>
          <a:ln w="9525">
            <a:noFill/>
            <a:miter lim="800000"/>
            <a:headEnd/>
            <a:tailEnd/>
          </a:ln>
          <a:effectLst>
            <a:prstShdw prst="shdw17" dist="17961" dir="2700000">
              <a:schemeClr val="accent1">
                <a:gamma/>
                <a:shade val="60000"/>
                <a:invGamma/>
              </a:schemeClr>
            </a:prstShdw>
          </a:effectLst>
        </p:spPr>
        <p:txBody>
          <a:bodyPr lIns="0" tIns="0" rIns="0" bIns="0">
            <a:spAutoFit/>
          </a:bodyPr>
          <a:lstStyle/>
          <a:p>
            <a:pPr>
              <a:spcBef>
                <a:spcPct val="50000"/>
              </a:spcBef>
              <a:defRPr/>
            </a:pPr>
            <a:r>
              <a:rPr lang="en-US" sz="1100" b="1">
                <a:latin typeface="Segoe UI" panose="020B0502040204020203" pitchFamily="34" charset="0"/>
                <a:ea typeface="SimSun" pitchFamily="2" charset="-122"/>
                <a:cs typeface="Segoe UI" panose="020B0502040204020203" pitchFamily="34" charset="0"/>
              </a:rPr>
              <a:t>Phase:</a:t>
            </a:r>
          </a:p>
        </p:txBody>
      </p:sp>
      <p:sp>
        <p:nvSpPr>
          <p:cNvPr id="14" name="Text Box 3">
            <a:extLst>
              <a:ext uri="{FF2B5EF4-FFF2-40B4-BE49-F238E27FC236}">
                <a16:creationId xmlns:a16="http://schemas.microsoft.com/office/drawing/2014/main" id="{05AAA4E7-28F3-96B5-A71C-D9A54482DDBD}"/>
              </a:ext>
            </a:extLst>
          </p:cNvPr>
          <p:cNvSpPr txBox="1">
            <a:spLocks noChangeArrowheads="1"/>
          </p:cNvSpPr>
          <p:nvPr/>
        </p:nvSpPr>
        <p:spPr bwMode="auto">
          <a:xfrm>
            <a:off x="2253336" y="2622626"/>
            <a:ext cx="2722474" cy="153888"/>
          </a:xfrm>
          <a:prstGeom prst="rect">
            <a:avLst/>
          </a:prstGeom>
          <a:noFill/>
          <a:ln w="9525" algn="ctr">
            <a:noFill/>
            <a:miter lim="800000"/>
            <a:headEnd/>
            <a:tailEnd/>
          </a:ln>
        </p:spPr>
        <p:txBody>
          <a:bodyPr wrap="square" lIns="0" tIns="0" rIns="0" bIns="0">
            <a:spAutoFit/>
          </a:bodyPr>
          <a:lstStyle/>
          <a:p>
            <a:pPr marL="72000" indent="-72000">
              <a:spcBef>
                <a:spcPts val="100"/>
              </a:spcBef>
              <a:spcAft>
                <a:spcPts val="100"/>
              </a:spcAft>
              <a:buSzPct val="100000"/>
              <a:buFontTx/>
              <a:buChar char="•"/>
              <a:defRPr/>
            </a:pPr>
            <a:r>
              <a:rPr lang="en-US" sz="1000" kern="0">
                <a:solidFill>
                  <a:sysClr val="windowText" lastClr="000000"/>
                </a:solidFill>
                <a:latin typeface="Segoe UI" panose="020B0502040204020203" pitchFamily="34" charset="0"/>
                <a:cs typeface="Segoe UI" panose="020B0502040204020203" pitchFamily="34" charset="0"/>
              </a:rPr>
              <a:t>To be rolled out in all branches</a:t>
            </a:r>
          </a:p>
        </p:txBody>
      </p:sp>
      <p:sp>
        <p:nvSpPr>
          <p:cNvPr id="15" name="Text Box 3">
            <a:extLst>
              <a:ext uri="{FF2B5EF4-FFF2-40B4-BE49-F238E27FC236}">
                <a16:creationId xmlns:a16="http://schemas.microsoft.com/office/drawing/2014/main" id="{7149A50E-B2D2-6517-85F7-180C8F87DC32}"/>
              </a:ext>
            </a:extLst>
          </p:cNvPr>
          <p:cNvSpPr txBox="1">
            <a:spLocks noChangeArrowheads="1"/>
          </p:cNvSpPr>
          <p:nvPr/>
        </p:nvSpPr>
        <p:spPr bwMode="auto">
          <a:xfrm>
            <a:off x="2231405" y="3479010"/>
            <a:ext cx="2722474" cy="333425"/>
          </a:xfrm>
          <a:prstGeom prst="rect">
            <a:avLst/>
          </a:prstGeom>
          <a:noFill/>
          <a:ln w="9525" algn="ctr">
            <a:noFill/>
            <a:miter lim="800000"/>
            <a:headEnd/>
            <a:tailEnd/>
          </a:ln>
        </p:spPr>
        <p:txBody>
          <a:bodyPr wrap="square" lIns="0" tIns="0" rIns="0" bIns="0">
            <a:spAutoFit/>
          </a:bodyPr>
          <a:lstStyle/>
          <a:p>
            <a:pPr marL="72000" indent="-72000">
              <a:spcBef>
                <a:spcPts val="100"/>
              </a:spcBef>
              <a:spcAft>
                <a:spcPts val="100"/>
              </a:spcAft>
              <a:buSzPct val="100000"/>
              <a:buFontTx/>
              <a:buChar char="•"/>
              <a:defRPr/>
            </a:pPr>
            <a:r>
              <a:rPr lang="en-US" sz="1000" kern="0">
                <a:solidFill>
                  <a:sysClr val="windowText" lastClr="000000"/>
                </a:solidFill>
                <a:latin typeface="Segoe UI" panose="020B0502040204020203" pitchFamily="34" charset="0"/>
                <a:cs typeface="Segoe UI" panose="020B0502040204020203" pitchFamily="34" charset="0"/>
              </a:rPr>
              <a:t>Survey to be conducted in urban areas</a:t>
            </a:r>
          </a:p>
          <a:p>
            <a:pPr marL="72000" indent="-72000">
              <a:spcBef>
                <a:spcPts val="100"/>
              </a:spcBef>
              <a:spcAft>
                <a:spcPts val="100"/>
              </a:spcAft>
              <a:buSzPct val="100000"/>
              <a:buFontTx/>
              <a:buChar char="•"/>
              <a:defRPr/>
            </a:pPr>
            <a:r>
              <a:rPr lang="en-US" sz="1000" kern="0">
                <a:solidFill>
                  <a:sysClr val="windowText" lastClr="000000"/>
                </a:solidFill>
                <a:latin typeface="Segoe UI" panose="020B0502040204020203" pitchFamily="34" charset="0"/>
                <a:cs typeface="Segoe UI" panose="020B0502040204020203" pitchFamily="34" charset="0"/>
              </a:rPr>
              <a:t>Sample population to be selected</a:t>
            </a:r>
          </a:p>
        </p:txBody>
      </p:sp>
      <p:sp>
        <p:nvSpPr>
          <p:cNvPr id="16" name="Text Box 3">
            <a:extLst>
              <a:ext uri="{FF2B5EF4-FFF2-40B4-BE49-F238E27FC236}">
                <a16:creationId xmlns:a16="http://schemas.microsoft.com/office/drawing/2014/main" id="{0C855636-FD02-21CA-9D49-BAAD8DE25441}"/>
              </a:ext>
            </a:extLst>
          </p:cNvPr>
          <p:cNvSpPr txBox="1">
            <a:spLocks noChangeArrowheads="1"/>
          </p:cNvSpPr>
          <p:nvPr/>
        </p:nvSpPr>
        <p:spPr bwMode="auto">
          <a:xfrm>
            <a:off x="5015881" y="5631603"/>
            <a:ext cx="3472948" cy="307777"/>
          </a:xfrm>
          <a:prstGeom prst="rect">
            <a:avLst/>
          </a:prstGeom>
          <a:noFill/>
          <a:ln w="9525" algn="ctr">
            <a:noFill/>
            <a:miter lim="800000"/>
            <a:headEnd/>
            <a:tailEnd/>
          </a:ln>
        </p:spPr>
        <p:txBody>
          <a:bodyPr wrap="square" lIns="0" tIns="0" rIns="0" bIns="0">
            <a:spAutoFit/>
          </a:bodyPr>
          <a:lstStyle/>
          <a:p>
            <a:pPr marL="101600" indent="-101600">
              <a:buSzPct val="100000"/>
              <a:buFontTx/>
              <a:buChar char="•"/>
              <a:defRPr/>
            </a:pPr>
            <a:r>
              <a:rPr lang="en-US" sz="1000" kern="0">
                <a:solidFill>
                  <a:sysClr val="windowText" lastClr="000000"/>
                </a:solidFill>
                <a:latin typeface="Segoe UI" panose="020B0502040204020203" pitchFamily="34" charset="0"/>
                <a:cs typeface="Segoe UI" panose="020B0502040204020203" pitchFamily="34" charset="0"/>
              </a:rPr>
              <a:t>PMO and system integrator role</a:t>
            </a:r>
          </a:p>
          <a:p>
            <a:pPr marL="101600" indent="-101600">
              <a:buSzPct val="120000"/>
              <a:buFontTx/>
              <a:buChar char="•"/>
              <a:defRPr/>
            </a:pPr>
            <a:endParaRPr lang="en-US" sz="1000" kern="0">
              <a:solidFill>
                <a:sysClr val="windowText" lastClr="000000"/>
              </a:solidFill>
              <a:latin typeface="Segoe UI" panose="020B0502040204020203" pitchFamily="34" charset="0"/>
              <a:cs typeface="Segoe UI" panose="020B0502040204020203" pitchFamily="34" charset="0"/>
            </a:endParaRPr>
          </a:p>
        </p:txBody>
      </p:sp>
      <p:cxnSp>
        <p:nvCxnSpPr>
          <p:cNvPr id="17" name="Straight Connector 16">
            <a:extLst>
              <a:ext uri="{FF2B5EF4-FFF2-40B4-BE49-F238E27FC236}">
                <a16:creationId xmlns:a16="http://schemas.microsoft.com/office/drawing/2014/main" id="{642F14FE-6FB0-1420-C513-D3BF4D9E2B6B}"/>
              </a:ext>
            </a:extLst>
          </p:cNvPr>
          <p:cNvCxnSpPr/>
          <p:nvPr/>
        </p:nvCxnSpPr>
        <p:spPr bwMode="auto">
          <a:xfrm>
            <a:off x="1976109" y="5875816"/>
            <a:ext cx="8252469" cy="0"/>
          </a:xfrm>
          <a:prstGeom prst="line">
            <a:avLst/>
          </a:prstGeom>
          <a:ln w="19050">
            <a:solidFill>
              <a:schemeClr val="accent6"/>
            </a:solidFill>
            <a:prstDash val="solid"/>
          </a:ln>
          <a:effectLst/>
        </p:spPr>
        <p:style>
          <a:lnRef idx="2">
            <a:schemeClr val="accent2"/>
          </a:lnRef>
          <a:fillRef idx="0">
            <a:schemeClr val="accent2"/>
          </a:fillRef>
          <a:effectRef idx="1">
            <a:schemeClr val="accent2"/>
          </a:effectRef>
          <a:fontRef idx="minor">
            <a:schemeClr val="tx1"/>
          </a:fontRef>
        </p:style>
      </p:cxnSp>
      <p:sp>
        <p:nvSpPr>
          <p:cNvPr id="18" name="TextBox 17">
            <a:extLst>
              <a:ext uri="{FF2B5EF4-FFF2-40B4-BE49-F238E27FC236}">
                <a16:creationId xmlns:a16="http://schemas.microsoft.com/office/drawing/2014/main" id="{D1C5A43D-BE36-8687-BCAC-7264F5D877F4}"/>
              </a:ext>
            </a:extLst>
          </p:cNvPr>
          <p:cNvSpPr txBox="1"/>
          <p:nvPr/>
        </p:nvSpPr>
        <p:spPr bwMode="auto">
          <a:xfrm>
            <a:off x="1976109" y="5920419"/>
            <a:ext cx="1480469" cy="169277"/>
          </a:xfrm>
          <a:prstGeom prst="rect">
            <a:avLst/>
          </a:prstGeom>
          <a:noFill/>
        </p:spPr>
        <p:txBody>
          <a:bodyPr wrap="square" lIns="0" tIns="0" rIns="0" bIns="0" rtlCol="0">
            <a:spAutoFit/>
          </a:bodyPr>
          <a:lstStyle/>
          <a:p>
            <a:r>
              <a:rPr lang="en-US" sz="1100" b="1">
                <a:latin typeface="Segoe UI" panose="020B0502040204020203" pitchFamily="34" charset="0"/>
                <a:cs typeface="Segoe UI" panose="020B0502040204020203" pitchFamily="34" charset="0"/>
              </a:rPr>
              <a:t>Key Milestones</a:t>
            </a:r>
          </a:p>
        </p:txBody>
      </p:sp>
      <p:sp>
        <p:nvSpPr>
          <p:cNvPr id="19" name="Isosceles Triangle 162">
            <a:extLst>
              <a:ext uri="{FF2B5EF4-FFF2-40B4-BE49-F238E27FC236}">
                <a16:creationId xmlns:a16="http://schemas.microsoft.com/office/drawing/2014/main" id="{84DB54C0-D9BA-09A5-8C71-48281EF6230A}"/>
              </a:ext>
            </a:extLst>
          </p:cNvPr>
          <p:cNvSpPr/>
          <p:nvPr/>
        </p:nvSpPr>
        <p:spPr bwMode="auto">
          <a:xfrm>
            <a:off x="4591351" y="5928234"/>
            <a:ext cx="165062" cy="165062"/>
          </a:xfrm>
          <a:prstGeom prst="triangl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08A289F8-CE2C-1A8D-46BE-753256C1B18D}"/>
              </a:ext>
            </a:extLst>
          </p:cNvPr>
          <p:cNvSpPr txBox="1"/>
          <p:nvPr/>
        </p:nvSpPr>
        <p:spPr bwMode="auto">
          <a:xfrm>
            <a:off x="4001170" y="6109556"/>
            <a:ext cx="1572912" cy="307777"/>
          </a:xfrm>
          <a:prstGeom prst="rect">
            <a:avLst/>
          </a:prstGeom>
          <a:noFill/>
        </p:spPr>
        <p:txBody>
          <a:bodyPr wrap="square" lIns="0" tIns="0" rIns="0" bIns="0" rtlCol="0">
            <a:spAutoFit/>
          </a:bodyPr>
          <a:lstStyle/>
          <a:p>
            <a:r>
              <a:rPr lang="en-US" sz="1000">
                <a:latin typeface="Segoe UI" panose="020B0502040204020203" pitchFamily="34" charset="0"/>
                <a:cs typeface="Segoe UI" panose="020B0502040204020203" pitchFamily="34" charset="0"/>
              </a:rPr>
              <a:t>Quick win implementation complete</a:t>
            </a:r>
          </a:p>
        </p:txBody>
      </p:sp>
      <p:sp>
        <p:nvSpPr>
          <p:cNvPr id="21" name="Isosceles Triangle 164">
            <a:extLst>
              <a:ext uri="{FF2B5EF4-FFF2-40B4-BE49-F238E27FC236}">
                <a16:creationId xmlns:a16="http://schemas.microsoft.com/office/drawing/2014/main" id="{CBC6BE29-7BF1-5A49-1928-8D6099A1EB0C}"/>
              </a:ext>
            </a:extLst>
          </p:cNvPr>
          <p:cNvSpPr/>
          <p:nvPr/>
        </p:nvSpPr>
        <p:spPr bwMode="auto">
          <a:xfrm>
            <a:off x="9962097" y="5928234"/>
            <a:ext cx="165062" cy="165062"/>
          </a:xfrm>
          <a:prstGeom prst="triangl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22" name="TextBox 21">
            <a:extLst>
              <a:ext uri="{FF2B5EF4-FFF2-40B4-BE49-F238E27FC236}">
                <a16:creationId xmlns:a16="http://schemas.microsoft.com/office/drawing/2014/main" id="{B6E88210-1DD9-438E-362C-6C3BF15D4007}"/>
              </a:ext>
            </a:extLst>
          </p:cNvPr>
          <p:cNvSpPr txBox="1"/>
          <p:nvPr/>
        </p:nvSpPr>
        <p:spPr bwMode="auto">
          <a:xfrm>
            <a:off x="9273132" y="6109556"/>
            <a:ext cx="1215356" cy="307777"/>
          </a:xfrm>
          <a:prstGeom prst="rect">
            <a:avLst/>
          </a:prstGeom>
          <a:noFill/>
        </p:spPr>
        <p:txBody>
          <a:bodyPr wrap="square" lIns="0" tIns="0" rIns="0" bIns="0" rtlCol="0">
            <a:spAutoFit/>
          </a:bodyPr>
          <a:lstStyle/>
          <a:p>
            <a:r>
              <a:rPr lang="en-US" sz="1000">
                <a:latin typeface="Segoe UI" panose="020B0502040204020203" pitchFamily="34" charset="0"/>
                <a:cs typeface="Segoe UI" panose="020B0502040204020203" pitchFamily="34" charset="0"/>
              </a:rPr>
              <a:t>New customer care suite completed</a:t>
            </a:r>
          </a:p>
        </p:txBody>
      </p:sp>
      <p:sp>
        <p:nvSpPr>
          <p:cNvPr id="23" name="Isosceles Triangle 166">
            <a:extLst>
              <a:ext uri="{FF2B5EF4-FFF2-40B4-BE49-F238E27FC236}">
                <a16:creationId xmlns:a16="http://schemas.microsoft.com/office/drawing/2014/main" id="{E9EF9E2A-4C55-51A2-40EE-1E10D26E1960}"/>
              </a:ext>
            </a:extLst>
          </p:cNvPr>
          <p:cNvSpPr/>
          <p:nvPr/>
        </p:nvSpPr>
        <p:spPr bwMode="auto">
          <a:xfrm>
            <a:off x="6636220" y="5928234"/>
            <a:ext cx="165062" cy="165062"/>
          </a:xfrm>
          <a:prstGeom prst="triangl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24" name="TextBox 23">
            <a:extLst>
              <a:ext uri="{FF2B5EF4-FFF2-40B4-BE49-F238E27FC236}">
                <a16:creationId xmlns:a16="http://schemas.microsoft.com/office/drawing/2014/main" id="{1DF97162-A9D3-B4F8-B8D8-4B9AFAD0E253}"/>
              </a:ext>
            </a:extLst>
          </p:cNvPr>
          <p:cNvSpPr txBox="1"/>
          <p:nvPr/>
        </p:nvSpPr>
        <p:spPr bwMode="auto">
          <a:xfrm>
            <a:off x="6067384" y="6109556"/>
            <a:ext cx="1357520" cy="307777"/>
          </a:xfrm>
          <a:prstGeom prst="rect">
            <a:avLst/>
          </a:prstGeom>
          <a:noFill/>
        </p:spPr>
        <p:txBody>
          <a:bodyPr wrap="square" lIns="0" tIns="0" rIns="0" bIns="0" rtlCol="0">
            <a:spAutoFit/>
          </a:bodyPr>
          <a:lstStyle/>
          <a:p>
            <a:r>
              <a:rPr lang="en-US" sz="1000">
                <a:latin typeface="Segoe UI" panose="020B0502040204020203" pitchFamily="34" charset="0"/>
                <a:cs typeface="Segoe UI" panose="020B0502040204020203" pitchFamily="34" charset="0"/>
              </a:rPr>
              <a:t>Self service – </a:t>
            </a:r>
            <a:br>
              <a:rPr lang="en-US" sz="1000">
                <a:latin typeface="Segoe UI" panose="020B0502040204020203" pitchFamily="34" charset="0"/>
                <a:cs typeface="Segoe UI" panose="020B0502040204020203" pitchFamily="34" charset="0"/>
              </a:rPr>
            </a:br>
            <a:r>
              <a:rPr lang="en-US" sz="1000">
                <a:latin typeface="Segoe UI" panose="020B0502040204020203" pitchFamily="34" charset="0"/>
                <a:cs typeface="Segoe UI" panose="020B0502040204020203" pitchFamily="34" charset="0"/>
              </a:rPr>
              <a:t>expected go live date</a:t>
            </a:r>
          </a:p>
        </p:txBody>
      </p:sp>
      <p:sp>
        <p:nvSpPr>
          <p:cNvPr id="25" name="AutoShape 4">
            <a:extLst>
              <a:ext uri="{FF2B5EF4-FFF2-40B4-BE49-F238E27FC236}">
                <a16:creationId xmlns:a16="http://schemas.microsoft.com/office/drawing/2014/main" id="{912548D0-7CAB-58B4-97AE-A6A1276109F2}"/>
              </a:ext>
            </a:extLst>
          </p:cNvPr>
          <p:cNvSpPr>
            <a:spLocks noChangeArrowheads="1"/>
          </p:cNvSpPr>
          <p:nvPr/>
        </p:nvSpPr>
        <p:spPr bwMode="auto">
          <a:xfrm>
            <a:off x="2242770" y="2017451"/>
            <a:ext cx="2427617" cy="578684"/>
          </a:xfrm>
          <a:prstGeom prst="homePlate">
            <a:avLst>
              <a:gd name="adj" fmla="val 28952"/>
            </a:avLst>
          </a:prstGeom>
          <a:solidFill>
            <a:srgbClr val="FF0000"/>
          </a:solidFill>
          <a:ln w="19050" cmpd="sng">
            <a:solidFill>
              <a:schemeClr val="bg1"/>
            </a:solidFill>
            <a:miter lim="800000"/>
            <a:headEnd/>
            <a:tailEnd/>
          </a:ln>
        </p:spPr>
        <p:txBody>
          <a:bodyPr lIns="0" tIns="0" rIns="0" bIns="0" anchor="ctr"/>
          <a:lstStyle/>
          <a:p>
            <a:pPr algn="ctr">
              <a:defRPr/>
            </a:pPr>
            <a:endParaRPr lang="en-US" sz="900" kern="0">
              <a:solidFill>
                <a:schemeClr val="bg1"/>
              </a:solidFill>
              <a:latin typeface="Segoe UI" panose="020B0502040204020203" pitchFamily="34" charset="0"/>
              <a:cs typeface="Segoe UI" panose="020B0502040204020203" pitchFamily="34" charset="0"/>
            </a:endParaRPr>
          </a:p>
        </p:txBody>
      </p:sp>
      <p:sp>
        <p:nvSpPr>
          <p:cNvPr id="26" name="TextBox 25">
            <a:extLst>
              <a:ext uri="{FF2B5EF4-FFF2-40B4-BE49-F238E27FC236}">
                <a16:creationId xmlns:a16="http://schemas.microsoft.com/office/drawing/2014/main" id="{8996EBE2-B74B-ABF4-855C-B78409037A60}"/>
              </a:ext>
            </a:extLst>
          </p:cNvPr>
          <p:cNvSpPr txBox="1"/>
          <p:nvPr/>
        </p:nvSpPr>
        <p:spPr bwMode="auto">
          <a:xfrm>
            <a:off x="2550486" y="2131731"/>
            <a:ext cx="1224694" cy="138499"/>
          </a:xfrm>
          <a:prstGeom prst="rect">
            <a:avLst/>
          </a:prstGeom>
          <a:noFill/>
        </p:spPr>
        <p:txBody>
          <a:bodyPr wrap="none" lIns="0" tIns="0" rIns="0" bIns="0" rtlCol="0">
            <a:spAutoFit/>
          </a:bodyPr>
          <a:lstStyle/>
          <a:p>
            <a:pPr lvl="0">
              <a:defRPr/>
            </a:pPr>
            <a:r>
              <a:rPr lang="en-US" sz="900" b="1" kern="0">
                <a:solidFill>
                  <a:prstClr val="white"/>
                </a:solidFill>
                <a:latin typeface="Segoe UI" panose="020B0502040204020203" pitchFamily="34" charset="0"/>
                <a:cs typeface="Segoe UI" panose="020B0502040204020203" pitchFamily="34" charset="0"/>
              </a:rPr>
              <a:t>Process Modifications</a:t>
            </a:r>
          </a:p>
        </p:txBody>
      </p:sp>
      <p:grpSp>
        <p:nvGrpSpPr>
          <p:cNvPr id="27" name="Group 26">
            <a:extLst>
              <a:ext uri="{FF2B5EF4-FFF2-40B4-BE49-F238E27FC236}">
                <a16:creationId xmlns:a16="http://schemas.microsoft.com/office/drawing/2014/main" id="{CAB51851-472A-8932-6DE3-075B22E0DCB3}"/>
              </a:ext>
            </a:extLst>
          </p:cNvPr>
          <p:cNvGrpSpPr/>
          <p:nvPr/>
        </p:nvGrpSpPr>
        <p:grpSpPr bwMode="auto">
          <a:xfrm>
            <a:off x="2343348" y="2362399"/>
            <a:ext cx="2078723" cy="163547"/>
            <a:chOff x="3535453" y="2766749"/>
            <a:chExt cx="1824132" cy="163548"/>
          </a:xfrm>
        </p:grpSpPr>
        <p:sp>
          <p:nvSpPr>
            <p:cNvPr id="28" name="AutoShape 4">
              <a:extLst>
                <a:ext uri="{FF2B5EF4-FFF2-40B4-BE49-F238E27FC236}">
                  <a16:creationId xmlns:a16="http://schemas.microsoft.com/office/drawing/2014/main" id="{9C6284B3-1328-A2AE-B6CD-877CF5A5F5E8}"/>
                </a:ext>
              </a:extLst>
            </p:cNvPr>
            <p:cNvSpPr>
              <a:spLocks noChangeArrowheads="1"/>
            </p:cNvSpPr>
            <p:nvPr/>
          </p:nvSpPr>
          <p:spPr bwMode="auto">
            <a:xfrm>
              <a:off x="3535453" y="2766751"/>
              <a:ext cx="594546" cy="163546"/>
            </a:xfrm>
            <a:prstGeom prst="homePlate">
              <a:avLst>
                <a:gd name="adj" fmla="val 28952"/>
              </a:avLst>
            </a:prstGeom>
            <a:solidFill>
              <a:schemeClr val="bg1"/>
            </a:solidFill>
            <a:ln w="19050" cmpd="sng">
              <a:solidFill>
                <a:schemeClr val="bg1"/>
              </a:solidFill>
              <a:miter lim="800000"/>
              <a:headEnd/>
              <a:tailEnd/>
            </a:ln>
          </p:spPr>
          <p:txBody>
            <a:bodyPr lIns="0" tIns="0" rIns="0" bIns="0" anchor="ctr"/>
            <a:lstStyle/>
            <a:p>
              <a:pPr algn="ctr">
                <a:defRPr/>
              </a:pPr>
              <a:r>
                <a:rPr lang="en-US" sz="900" kern="0">
                  <a:latin typeface="Segoe UI" panose="020B0502040204020203" pitchFamily="34" charset="0"/>
                  <a:cs typeface="Segoe UI" panose="020B0502040204020203" pitchFamily="34" charset="0"/>
                </a:rPr>
                <a:t>Design</a:t>
              </a:r>
              <a:endParaRPr lang="en-US" sz="900">
                <a:latin typeface="Segoe UI" panose="020B0502040204020203" pitchFamily="34" charset="0"/>
                <a:cs typeface="Segoe UI" panose="020B0502040204020203" pitchFamily="34" charset="0"/>
              </a:endParaRPr>
            </a:p>
          </p:txBody>
        </p:sp>
        <p:sp>
          <p:nvSpPr>
            <p:cNvPr id="29" name="AutoShape 4">
              <a:extLst>
                <a:ext uri="{FF2B5EF4-FFF2-40B4-BE49-F238E27FC236}">
                  <a16:creationId xmlns:a16="http://schemas.microsoft.com/office/drawing/2014/main" id="{4F7A8A5B-AC8E-0A9B-E9E6-81F6163996B3}"/>
                </a:ext>
              </a:extLst>
            </p:cNvPr>
            <p:cNvSpPr>
              <a:spLocks noChangeArrowheads="1"/>
            </p:cNvSpPr>
            <p:nvPr/>
          </p:nvSpPr>
          <p:spPr bwMode="auto">
            <a:xfrm>
              <a:off x="4146857" y="2766749"/>
              <a:ext cx="594546" cy="163547"/>
            </a:xfrm>
            <a:prstGeom prst="chevron">
              <a:avLst>
                <a:gd name="adj" fmla="val 27844"/>
              </a:avLst>
            </a:prstGeom>
            <a:solidFill>
              <a:schemeClr val="bg1"/>
            </a:solidFill>
            <a:ln w="19050" cmpd="sng">
              <a:solidFill>
                <a:schemeClr val="bg1"/>
              </a:solidFill>
              <a:miter lim="800000"/>
              <a:headEnd/>
              <a:tailEnd/>
            </a:ln>
          </p:spPr>
          <p:txBody>
            <a:bodyPr lIns="0" tIns="0" rIns="0" bIns="0" anchor="ctr"/>
            <a:lstStyle/>
            <a:p>
              <a:pPr algn="ctr">
                <a:defRPr/>
              </a:pPr>
              <a:r>
                <a:rPr lang="en-US" sz="900" kern="0">
                  <a:latin typeface="Segoe UI" panose="020B0502040204020203" pitchFamily="34" charset="0"/>
                  <a:cs typeface="Segoe UI" panose="020B0502040204020203" pitchFamily="34" charset="0"/>
                </a:rPr>
                <a:t>Train</a:t>
              </a:r>
            </a:p>
          </p:txBody>
        </p:sp>
        <p:sp>
          <p:nvSpPr>
            <p:cNvPr id="30" name="AutoShape 4">
              <a:extLst>
                <a:ext uri="{FF2B5EF4-FFF2-40B4-BE49-F238E27FC236}">
                  <a16:creationId xmlns:a16="http://schemas.microsoft.com/office/drawing/2014/main" id="{D1C03D27-F118-59CA-5414-E6F2065B5D1F}"/>
                </a:ext>
              </a:extLst>
            </p:cNvPr>
            <p:cNvSpPr>
              <a:spLocks noChangeArrowheads="1"/>
            </p:cNvSpPr>
            <p:nvPr/>
          </p:nvSpPr>
          <p:spPr bwMode="auto">
            <a:xfrm>
              <a:off x="4765039" y="2766749"/>
              <a:ext cx="594546" cy="163547"/>
            </a:xfrm>
            <a:prstGeom prst="chevron">
              <a:avLst>
                <a:gd name="adj" fmla="val 27844"/>
              </a:avLst>
            </a:prstGeom>
            <a:solidFill>
              <a:schemeClr val="bg1"/>
            </a:solidFill>
            <a:ln w="19050" cmpd="sng">
              <a:solidFill>
                <a:schemeClr val="bg1"/>
              </a:solidFill>
              <a:miter lim="800000"/>
              <a:headEnd/>
              <a:tailEnd/>
            </a:ln>
          </p:spPr>
          <p:txBody>
            <a:bodyPr lIns="0" tIns="0" rIns="0" bIns="0" anchor="ctr"/>
            <a:lstStyle/>
            <a:p>
              <a:pPr algn="ctr">
                <a:defRPr/>
              </a:pPr>
              <a:r>
                <a:rPr lang="en-US" sz="900" kern="0">
                  <a:latin typeface="Segoe UI" panose="020B0502040204020203" pitchFamily="34" charset="0"/>
                  <a:cs typeface="Segoe UI" panose="020B0502040204020203" pitchFamily="34" charset="0"/>
                </a:rPr>
                <a:t>Deploy</a:t>
              </a:r>
            </a:p>
          </p:txBody>
        </p:sp>
      </p:grpSp>
      <p:sp>
        <p:nvSpPr>
          <p:cNvPr id="31" name="AutoShape 4">
            <a:extLst>
              <a:ext uri="{FF2B5EF4-FFF2-40B4-BE49-F238E27FC236}">
                <a16:creationId xmlns:a16="http://schemas.microsoft.com/office/drawing/2014/main" id="{1CF4FAD0-4E45-49C2-C9FB-99F373E565BA}"/>
              </a:ext>
            </a:extLst>
          </p:cNvPr>
          <p:cNvSpPr>
            <a:spLocks noChangeArrowheads="1"/>
          </p:cNvSpPr>
          <p:nvPr/>
        </p:nvSpPr>
        <p:spPr bwMode="auto">
          <a:xfrm>
            <a:off x="2231406" y="2888644"/>
            <a:ext cx="2427617" cy="578684"/>
          </a:xfrm>
          <a:prstGeom prst="homePlate">
            <a:avLst>
              <a:gd name="adj" fmla="val 28952"/>
            </a:avLst>
          </a:prstGeom>
          <a:solidFill>
            <a:srgbClr val="FF0000"/>
          </a:solidFill>
          <a:ln w="19050" cmpd="sng">
            <a:solidFill>
              <a:schemeClr val="bg1"/>
            </a:solidFill>
            <a:miter lim="800000"/>
            <a:headEnd/>
            <a:tailEnd/>
          </a:ln>
        </p:spPr>
        <p:txBody>
          <a:bodyPr lIns="0" tIns="0" rIns="0" bIns="0" anchor="ctr"/>
          <a:lstStyle/>
          <a:p>
            <a:pPr algn="ctr">
              <a:defRPr/>
            </a:pPr>
            <a:endParaRPr lang="en-US" sz="900" kern="0">
              <a:solidFill>
                <a:schemeClr val="bg1"/>
              </a:solidFill>
              <a:latin typeface="Segoe UI" panose="020B0502040204020203" pitchFamily="34" charset="0"/>
              <a:cs typeface="Segoe UI" panose="020B0502040204020203" pitchFamily="34" charset="0"/>
            </a:endParaRPr>
          </a:p>
        </p:txBody>
      </p:sp>
      <p:sp>
        <p:nvSpPr>
          <p:cNvPr id="32" name="TextBox 31">
            <a:extLst>
              <a:ext uri="{FF2B5EF4-FFF2-40B4-BE49-F238E27FC236}">
                <a16:creationId xmlns:a16="http://schemas.microsoft.com/office/drawing/2014/main" id="{5BA5A55F-BD5E-1460-9196-4EEC8E472D5C}"/>
              </a:ext>
            </a:extLst>
          </p:cNvPr>
          <p:cNvSpPr txBox="1"/>
          <p:nvPr/>
        </p:nvSpPr>
        <p:spPr bwMode="auto">
          <a:xfrm>
            <a:off x="2560388" y="2992331"/>
            <a:ext cx="1436291" cy="138499"/>
          </a:xfrm>
          <a:prstGeom prst="rect">
            <a:avLst/>
          </a:prstGeom>
          <a:noFill/>
        </p:spPr>
        <p:txBody>
          <a:bodyPr wrap="none" lIns="0" tIns="0" rIns="0" bIns="0" rtlCol="0">
            <a:spAutoFit/>
          </a:bodyPr>
          <a:lstStyle/>
          <a:p>
            <a:pPr lvl="0" algn="ctr">
              <a:defRPr/>
            </a:pPr>
            <a:r>
              <a:rPr lang="en-US" sz="900" b="1" kern="0">
                <a:solidFill>
                  <a:prstClr val="white"/>
                </a:solidFill>
                <a:latin typeface="Segoe UI" panose="020B0502040204020203" pitchFamily="34" charset="0"/>
                <a:cs typeface="Segoe UI" panose="020B0502040204020203" pitchFamily="34" charset="0"/>
              </a:rPr>
              <a:t>Voice of Customer Survey</a:t>
            </a:r>
          </a:p>
        </p:txBody>
      </p:sp>
      <p:grpSp>
        <p:nvGrpSpPr>
          <p:cNvPr id="33" name="Group 106">
            <a:extLst>
              <a:ext uri="{FF2B5EF4-FFF2-40B4-BE49-F238E27FC236}">
                <a16:creationId xmlns:a16="http://schemas.microsoft.com/office/drawing/2014/main" id="{9EF362E8-7AA1-A19E-C0CA-7B4DC63957BB}"/>
              </a:ext>
            </a:extLst>
          </p:cNvPr>
          <p:cNvGrpSpPr/>
          <p:nvPr/>
        </p:nvGrpSpPr>
        <p:grpSpPr bwMode="auto">
          <a:xfrm>
            <a:off x="2331984" y="3233592"/>
            <a:ext cx="2078723" cy="163547"/>
            <a:chOff x="3535453" y="2766749"/>
            <a:chExt cx="1824132" cy="163548"/>
          </a:xfrm>
        </p:grpSpPr>
        <p:sp>
          <p:nvSpPr>
            <p:cNvPr id="34" name="AutoShape 4">
              <a:extLst>
                <a:ext uri="{FF2B5EF4-FFF2-40B4-BE49-F238E27FC236}">
                  <a16:creationId xmlns:a16="http://schemas.microsoft.com/office/drawing/2014/main" id="{5516C462-3F58-7C22-30B3-3E3CB23C1588}"/>
                </a:ext>
              </a:extLst>
            </p:cNvPr>
            <p:cNvSpPr>
              <a:spLocks noChangeArrowheads="1"/>
            </p:cNvSpPr>
            <p:nvPr/>
          </p:nvSpPr>
          <p:spPr bwMode="auto">
            <a:xfrm>
              <a:off x="3535453" y="2766751"/>
              <a:ext cx="594546" cy="163546"/>
            </a:xfrm>
            <a:prstGeom prst="homePlate">
              <a:avLst>
                <a:gd name="adj" fmla="val 28952"/>
              </a:avLst>
            </a:prstGeom>
            <a:solidFill>
              <a:schemeClr val="bg1"/>
            </a:solidFill>
            <a:ln w="19050" cmpd="sng">
              <a:solidFill>
                <a:schemeClr val="bg1"/>
              </a:solidFill>
              <a:miter lim="800000"/>
              <a:headEnd/>
              <a:tailEnd/>
            </a:ln>
          </p:spPr>
          <p:txBody>
            <a:bodyPr lIns="0" tIns="0" rIns="0" bIns="0" anchor="ctr"/>
            <a:lstStyle/>
            <a:p>
              <a:pPr algn="ctr">
                <a:defRPr/>
              </a:pPr>
              <a:r>
                <a:rPr lang="en-US" sz="900" kern="0">
                  <a:latin typeface="Segoe UI" panose="020B0502040204020203" pitchFamily="34" charset="0"/>
                  <a:cs typeface="Segoe UI" panose="020B0502040204020203" pitchFamily="34" charset="0"/>
                </a:rPr>
                <a:t>Design</a:t>
              </a:r>
              <a:endParaRPr lang="en-US" sz="900">
                <a:latin typeface="Segoe UI" panose="020B0502040204020203" pitchFamily="34" charset="0"/>
                <a:cs typeface="Segoe UI" panose="020B0502040204020203" pitchFamily="34" charset="0"/>
              </a:endParaRPr>
            </a:p>
          </p:txBody>
        </p:sp>
        <p:sp>
          <p:nvSpPr>
            <p:cNvPr id="35" name="AutoShape 4">
              <a:extLst>
                <a:ext uri="{FF2B5EF4-FFF2-40B4-BE49-F238E27FC236}">
                  <a16:creationId xmlns:a16="http://schemas.microsoft.com/office/drawing/2014/main" id="{867A401F-3BAE-963A-8CAC-51E19715680D}"/>
                </a:ext>
              </a:extLst>
            </p:cNvPr>
            <p:cNvSpPr>
              <a:spLocks noChangeArrowheads="1"/>
            </p:cNvSpPr>
            <p:nvPr/>
          </p:nvSpPr>
          <p:spPr bwMode="auto">
            <a:xfrm>
              <a:off x="4146857" y="2766749"/>
              <a:ext cx="594546" cy="163547"/>
            </a:xfrm>
            <a:prstGeom prst="chevron">
              <a:avLst>
                <a:gd name="adj" fmla="val 27844"/>
              </a:avLst>
            </a:prstGeom>
            <a:solidFill>
              <a:schemeClr val="bg1"/>
            </a:solidFill>
            <a:ln w="19050" cmpd="sng">
              <a:solidFill>
                <a:schemeClr val="bg1"/>
              </a:solidFill>
              <a:miter lim="800000"/>
              <a:headEnd/>
              <a:tailEnd/>
            </a:ln>
          </p:spPr>
          <p:txBody>
            <a:bodyPr lIns="0" tIns="0" rIns="0" bIns="0" anchor="ctr"/>
            <a:lstStyle/>
            <a:p>
              <a:pPr algn="ctr">
                <a:defRPr/>
              </a:pPr>
              <a:r>
                <a:rPr lang="en-US" sz="900" kern="0">
                  <a:latin typeface="Segoe UI" panose="020B0502040204020203" pitchFamily="34" charset="0"/>
                  <a:cs typeface="Segoe UI" panose="020B0502040204020203" pitchFamily="34" charset="0"/>
                </a:rPr>
                <a:t>Survey</a:t>
              </a:r>
            </a:p>
          </p:txBody>
        </p:sp>
        <p:sp>
          <p:nvSpPr>
            <p:cNvPr id="36" name="AutoShape 4">
              <a:extLst>
                <a:ext uri="{FF2B5EF4-FFF2-40B4-BE49-F238E27FC236}">
                  <a16:creationId xmlns:a16="http://schemas.microsoft.com/office/drawing/2014/main" id="{412EF0BE-DE76-6004-D590-25977931C55C}"/>
                </a:ext>
              </a:extLst>
            </p:cNvPr>
            <p:cNvSpPr>
              <a:spLocks noChangeArrowheads="1"/>
            </p:cNvSpPr>
            <p:nvPr/>
          </p:nvSpPr>
          <p:spPr bwMode="auto">
            <a:xfrm>
              <a:off x="4765039" y="2766749"/>
              <a:ext cx="594546" cy="163547"/>
            </a:xfrm>
            <a:prstGeom prst="chevron">
              <a:avLst>
                <a:gd name="adj" fmla="val 27844"/>
              </a:avLst>
            </a:prstGeom>
            <a:solidFill>
              <a:schemeClr val="bg1"/>
            </a:solidFill>
            <a:ln w="19050" cmpd="sng">
              <a:solidFill>
                <a:schemeClr val="bg1"/>
              </a:solidFill>
              <a:miter lim="800000"/>
              <a:headEnd/>
              <a:tailEnd/>
            </a:ln>
          </p:spPr>
          <p:txBody>
            <a:bodyPr lIns="0" tIns="0" rIns="0" bIns="0" anchor="ctr"/>
            <a:lstStyle/>
            <a:p>
              <a:pPr algn="ctr">
                <a:defRPr/>
              </a:pPr>
              <a:r>
                <a:rPr lang="en-US" sz="900" kern="0">
                  <a:latin typeface="Segoe UI" panose="020B0502040204020203" pitchFamily="34" charset="0"/>
                  <a:cs typeface="Segoe UI" panose="020B0502040204020203" pitchFamily="34" charset="0"/>
                </a:rPr>
                <a:t>Analyze</a:t>
              </a:r>
            </a:p>
          </p:txBody>
        </p:sp>
      </p:grpSp>
      <p:sp>
        <p:nvSpPr>
          <p:cNvPr id="37" name="AutoShape 4">
            <a:extLst>
              <a:ext uri="{FF2B5EF4-FFF2-40B4-BE49-F238E27FC236}">
                <a16:creationId xmlns:a16="http://schemas.microsoft.com/office/drawing/2014/main" id="{EE32E552-38C1-8189-E7F2-18F2C0BDDFD5}"/>
              </a:ext>
            </a:extLst>
          </p:cNvPr>
          <p:cNvSpPr>
            <a:spLocks noChangeArrowheads="1"/>
          </p:cNvSpPr>
          <p:nvPr/>
        </p:nvSpPr>
        <p:spPr bwMode="auto">
          <a:xfrm>
            <a:off x="2985363" y="3890448"/>
            <a:ext cx="3577331" cy="578684"/>
          </a:xfrm>
          <a:prstGeom prst="homePlate">
            <a:avLst>
              <a:gd name="adj" fmla="val 28952"/>
            </a:avLst>
          </a:prstGeom>
          <a:solidFill>
            <a:schemeClr val="tx2"/>
          </a:solidFill>
          <a:ln w="19050" cmpd="sng">
            <a:solidFill>
              <a:schemeClr val="bg1"/>
            </a:solidFill>
            <a:miter lim="800000"/>
            <a:headEnd/>
            <a:tailEnd/>
          </a:ln>
        </p:spPr>
        <p:txBody>
          <a:bodyPr lIns="0" tIns="0" rIns="0" bIns="0" anchor="ctr"/>
          <a:lstStyle/>
          <a:p>
            <a:pPr algn="ctr">
              <a:defRPr/>
            </a:pPr>
            <a:endParaRPr lang="en-US" sz="900" kern="0">
              <a:solidFill>
                <a:schemeClr val="bg1"/>
              </a:solidFill>
              <a:latin typeface="Segoe UI" panose="020B0502040204020203" pitchFamily="34" charset="0"/>
              <a:cs typeface="Segoe UI" panose="020B0502040204020203" pitchFamily="34" charset="0"/>
            </a:endParaRPr>
          </a:p>
        </p:txBody>
      </p:sp>
      <p:sp>
        <p:nvSpPr>
          <p:cNvPr id="38" name="TextBox 37">
            <a:extLst>
              <a:ext uri="{FF2B5EF4-FFF2-40B4-BE49-F238E27FC236}">
                <a16:creationId xmlns:a16="http://schemas.microsoft.com/office/drawing/2014/main" id="{2BCF2807-3D09-C184-1DCA-180A2BD59678}"/>
              </a:ext>
            </a:extLst>
          </p:cNvPr>
          <p:cNvSpPr txBox="1"/>
          <p:nvPr/>
        </p:nvSpPr>
        <p:spPr bwMode="auto">
          <a:xfrm>
            <a:off x="3307937" y="3994135"/>
            <a:ext cx="1359346" cy="138499"/>
          </a:xfrm>
          <a:prstGeom prst="rect">
            <a:avLst/>
          </a:prstGeom>
          <a:noFill/>
        </p:spPr>
        <p:txBody>
          <a:bodyPr wrap="none" lIns="0" tIns="0" rIns="0" bIns="0" rtlCol="0">
            <a:spAutoFit/>
          </a:bodyPr>
          <a:lstStyle/>
          <a:p>
            <a:pPr lvl="0">
              <a:defRPr/>
            </a:pPr>
            <a:r>
              <a:rPr lang="en-US" sz="900" b="1" kern="0">
                <a:solidFill>
                  <a:prstClr val="white"/>
                </a:solidFill>
                <a:latin typeface="Segoe UI" panose="020B0502040204020203" pitchFamily="34" charset="0"/>
                <a:cs typeface="Segoe UI" panose="020B0502040204020203" pitchFamily="34" charset="0"/>
              </a:rPr>
              <a:t>Web based Self Services</a:t>
            </a:r>
          </a:p>
        </p:txBody>
      </p:sp>
      <p:grpSp>
        <p:nvGrpSpPr>
          <p:cNvPr id="39" name="Group 116">
            <a:extLst>
              <a:ext uri="{FF2B5EF4-FFF2-40B4-BE49-F238E27FC236}">
                <a16:creationId xmlns:a16="http://schemas.microsoft.com/office/drawing/2014/main" id="{29BE642D-BE24-2537-F874-85290BEF4E2A}"/>
              </a:ext>
            </a:extLst>
          </p:cNvPr>
          <p:cNvGrpSpPr/>
          <p:nvPr/>
        </p:nvGrpSpPr>
        <p:grpSpPr bwMode="auto">
          <a:xfrm>
            <a:off x="3085941" y="4235396"/>
            <a:ext cx="3273195" cy="163546"/>
            <a:chOff x="3535453" y="2766749"/>
            <a:chExt cx="1824132" cy="163548"/>
          </a:xfrm>
        </p:grpSpPr>
        <p:sp>
          <p:nvSpPr>
            <p:cNvPr id="40" name="AutoShape 4">
              <a:extLst>
                <a:ext uri="{FF2B5EF4-FFF2-40B4-BE49-F238E27FC236}">
                  <a16:creationId xmlns:a16="http://schemas.microsoft.com/office/drawing/2014/main" id="{E05CB0B9-183E-BD4E-5D5B-828FAAEC56D7}"/>
                </a:ext>
              </a:extLst>
            </p:cNvPr>
            <p:cNvSpPr>
              <a:spLocks noChangeArrowheads="1"/>
            </p:cNvSpPr>
            <p:nvPr/>
          </p:nvSpPr>
          <p:spPr bwMode="auto">
            <a:xfrm>
              <a:off x="3535453" y="2766751"/>
              <a:ext cx="594546" cy="163546"/>
            </a:xfrm>
            <a:prstGeom prst="homePlate">
              <a:avLst>
                <a:gd name="adj" fmla="val 28952"/>
              </a:avLst>
            </a:prstGeom>
            <a:solidFill>
              <a:schemeClr val="bg1"/>
            </a:solidFill>
            <a:ln w="19050" cmpd="sng">
              <a:solidFill>
                <a:schemeClr val="bg1"/>
              </a:solidFill>
              <a:miter lim="800000"/>
              <a:headEnd/>
              <a:tailEnd/>
            </a:ln>
          </p:spPr>
          <p:txBody>
            <a:bodyPr lIns="0" tIns="0" rIns="0" bIns="0" anchor="ctr"/>
            <a:lstStyle/>
            <a:p>
              <a:pPr algn="ctr">
                <a:defRPr/>
              </a:pPr>
              <a:r>
                <a:rPr lang="en-US" sz="900" kern="0">
                  <a:latin typeface="Segoe UI" panose="020B0502040204020203" pitchFamily="34" charset="0"/>
                  <a:cs typeface="Segoe UI" panose="020B0502040204020203" pitchFamily="34" charset="0"/>
                </a:rPr>
                <a:t>Design</a:t>
              </a:r>
              <a:endParaRPr lang="en-US" sz="900">
                <a:latin typeface="Segoe UI" panose="020B0502040204020203" pitchFamily="34" charset="0"/>
                <a:cs typeface="Segoe UI" panose="020B0502040204020203" pitchFamily="34" charset="0"/>
              </a:endParaRPr>
            </a:p>
          </p:txBody>
        </p:sp>
        <p:sp>
          <p:nvSpPr>
            <p:cNvPr id="41" name="AutoShape 4">
              <a:extLst>
                <a:ext uri="{FF2B5EF4-FFF2-40B4-BE49-F238E27FC236}">
                  <a16:creationId xmlns:a16="http://schemas.microsoft.com/office/drawing/2014/main" id="{A73DC1B0-1E2C-7B1F-6F67-61C6CAEC5A1D}"/>
                </a:ext>
              </a:extLst>
            </p:cNvPr>
            <p:cNvSpPr>
              <a:spLocks noChangeArrowheads="1"/>
            </p:cNvSpPr>
            <p:nvPr/>
          </p:nvSpPr>
          <p:spPr bwMode="auto">
            <a:xfrm>
              <a:off x="4146857" y="2766749"/>
              <a:ext cx="594546" cy="163547"/>
            </a:xfrm>
            <a:prstGeom prst="chevron">
              <a:avLst>
                <a:gd name="adj" fmla="val 27844"/>
              </a:avLst>
            </a:prstGeom>
            <a:solidFill>
              <a:schemeClr val="bg1"/>
            </a:solidFill>
            <a:ln w="19050" cmpd="sng">
              <a:solidFill>
                <a:schemeClr val="bg1"/>
              </a:solidFill>
              <a:miter lim="800000"/>
              <a:headEnd/>
              <a:tailEnd/>
            </a:ln>
          </p:spPr>
          <p:txBody>
            <a:bodyPr lIns="0" tIns="0" rIns="0" bIns="0" anchor="ctr"/>
            <a:lstStyle/>
            <a:p>
              <a:pPr algn="ctr">
                <a:defRPr/>
              </a:pPr>
              <a:r>
                <a:rPr lang="en-US" sz="900" kern="0">
                  <a:latin typeface="Segoe UI" panose="020B0502040204020203" pitchFamily="34" charset="0"/>
                  <a:cs typeface="Segoe UI" panose="020B0502040204020203" pitchFamily="34" charset="0"/>
                </a:rPr>
                <a:t>Develop</a:t>
              </a:r>
            </a:p>
          </p:txBody>
        </p:sp>
        <p:sp>
          <p:nvSpPr>
            <p:cNvPr id="42" name="AutoShape 4">
              <a:extLst>
                <a:ext uri="{FF2B5EF4-FFF2-40B4-BE49-F238E27FC236}">
                  <a16:creationId xmlns:a16="http://schemas.microsoft.com/office/drawing/2014/main" id="{E25F93C7-BF34-B2D6-7084-D757934CBDEA}"/>
                </a:ext>
              </a:extLst>
            </p:cNvPr>
            <p:cNvSpPr>
              <a:spLocks noChangeArrowheads="1"/>
            </p:cNvSpPr>
            <p:nvPr/>
          </p:nvSpPr>
          <p:spPr bwMode="auto">
            <a:xfrm>
              <a:off x="4765039" y="2766749"/>
              <a:ext cx="594546" cy="163547"/>
            </a:xfrm>
            <a:prstGeom prst="chevron">
              <a:avLst>
                <a:gd name="adj" fmla="val 27844"/>
              </a:avLst>
            </a:prstGeom>
            <a:solidFill>
              <a:schemeClr val="bg1"/>
            </a:solidFill>
            <a:ln w="19050" cmpd="sng">
              <a:solidFill>
                <a:schemeClr val="bg1"/>
              </a:solidFill>
              <a:miter lim="800000"/>
              <a:headEnd/>
              <a:tailEnd/>
            </a:ln>
          </p:spPr>
          <p:txBody>
            <a:bodyPr lIns="0" tIns="0" rIns="0" bIns="0" anchor="ctr"/>
            <a:lstStyle/>
            <a:p>
              <a:pPr algn="ctr">
                <a:defRPr/>
              </a:pPr>
              <a:r>
                <a:rPr lang="en-US" sz="900" kern="0">
                  <a:latin typeface="Segoe UI" panose="020B0502040204020203" pitchFamily="34" charset="0"/>
                  <a:cs typeface="Segoe UI" panose="020B0502040204020203" pitchFamily="34" charset="0"/>
                </a:rPr>
                <a:t>Go Live</a:t>
              </a:r>
            </a:p>
          </p:txBody>
        </p:sp>
      </p:grpSp>
      <p:sp>
        <p:nvSpPr>
          <p:cNvPr id="43" name="AutoShape 4">
            <a:extLst>
              <a:ext uri="{FF2B5EF4-FFF2-40B4-BE49-F238E27FC236}">
                <a16:creationId xmlns:a16="http://schemas.microsoft.com/office/drawing/2014/main" id="{C81CA2B0-7279-8052-1256-54C72DC541FF}"/>
              </a:ext>
            </a:extLst>
          </p:cNvPr>
          <p:cNvSpPr>
            <a:spLocks noChangeArrowheads="1"/>
          </p:cNvSpPr>
          <p:nvPr/>
        </p:nvSpPr>
        <p:spPr bwMode="auto">
          <a:xfrm>
            <a:off x="5035800" y="5040512"/>
            <a:ext cx="3577331" cy="578684"/>
          </a:xfrm>
          <a:prstGeom prst="homePlate">
            <a:avLst>
              <a:gd name="adj" fmla="val 28952"/>
            </a:avLst>
          </a:prstGeom>
          <a:solidFill>
            <a:srgbClr val="C00000"/>
          </a:solidFill>
          <a:ln w="19050" cmpd="sng">
            <a:solidFill>
              <a:schemeClr val="bg1"/>
            </a:solidFill>
            <a:miter lim="800000"/>
            <a:headEnd/>
            <a:tailEnd/>
          </a:ln>
        </p:spPr>
        <p:txBody>
          <a:bodyPr lIns="0" tIns="0" rIns="0" bIns="0" anchor="ctr"/>
          <a:lstStyle/>
          <a:p>
            <a:pPr algn="ctr">
              <a:defRPr/>
            </a:pPr>
            <a:endParaRPr lang="en-US" sz="900" kern="0">
              <a:solidFill>
                <a:schemeClr val="bg1"/>
              </a:solidFill>
              <a:latin typeface="Segoe UI" panose="020B0502040204020203" pitchFamily="34" charset="0"/>
              <a:cs typeface="Segoe UI" panose="020B0502040204020203" pitchFamily="34" charset="0"/>
            </a:endParaRPr>
          </a:p>
        </p:txBody>
      </p:sp>
      <p:sp>
        <p:nvSpPr>
          <p:cNvPr id="44" name="TextBox 43">
            <a:extLst>
              <a:ext uri="{FF2B5EF4-FFF2-40B4-BE49-F238E27FC236}">
                <a16:creationId xmlns:a16="http://schemas.microsoft.com/office/drawing/2014/main" id="{E6AF0406-F306-20C7-4136-5ADBC49018FA}"/>
              </a:ext>
            </a:extLst>
          </p:cNvPr>
          <p:cNvSpPr txBox="1"/>
          <p:nvPr/>
        </p:nvSpPr>
        <p:spPr bwMode="auto">
          <a:xfrm>
            <a:off x="5358375" y="5144199"/>
            <a:ext cx="2840521" cy="276999"/>
          </a:xfrm>
          <a:prstGeom prst="rect">
            <a:avLst/>
          </a:prstGeom>
          <a:noFill/>
        </p:spPr>
        <p:txBody>
          <a:bodyPr wrap="none" lIns="0" tIns="0" rIns="0" bIns="0" rtlCol="0">
            <a:spAutoFit/>
          </a:bodyPr>
          <a:lstStyle/>
          <a:p>
            <a:pPr lvl="0">
              <a:defRPr/>
            </a:pPr>
            <a:r>
              <a:rPr lang="en-IE" sz="900" b="1" kern="0">
                <a:solidFill>
                  <a:prstClr val="white"/>
                </a:solidFill>
                <a:latin typeface="Segoe UI" panose="020B0502040204020203" pitchFamily="34" charset="0"/>
                <a:cs typeface="Segoe UI" panose="020B0502040204020203" pitchFamily="34" charset="0"/>
              </a:rPr>
              <a:t>System enhancement for payment and alert options</a:t>
            </a:r>
            <a:br>
              <a:rPr lang="en-IE" sz="900" b="1" kern="0">
                <a:solidFill>
                  <a:prstClr val="white"/>
                </a:solidFill>
                <a:latin typeface="Segoe UI" panose="020B0502040204020203" pitchFamily="34" charset="0"/>
                <a:cs typeface="Segoe UI" panose="020B0502040204020203" pitchFamily="34" charset="0"/>
              </a:rPr>
            </a:br>
            <a:endParaRPr lang="en-IE" sz="900" b="1" kern="0">
              <a:solidFill>
                <a:prstClr val="white"/>
              </a:solidFill>
              <a:latin typeface="Segoe UI" panose="020B0502040204020203" pitchFamily="34" charset="0"/>
              <a:cs typeface="Segoe UI" panose="020B0502040204020203" pitchFamily="34" charset="0"/>
            </a:endParaRPr>
          </a:p>
        </p:txBody>
      </p:sp>
      <p:grpSp>
        <p:nvGrpSpPr>
          <p:cNvPr id="45" name="Group 124">
            <a:extLst>
              <a:ext uri="{FF2B5EF4-FFF2-40B4-BE49-F238E27FC236}">
                <a16:creationId xmlns:a16="http://schemas.microsoft.com/office/drawing/2014/main" id="{3A8F2F3D-D0ED-56EE-C651-FD123E727306}"/>
              </a:ext>
            </a:extLst>
          </p:cNvPr>
          <p:cNvGrpSpPr/>
          <p:nvPr/>
        </p:nvGrpSpPr>
        <p:grpSpPr bwMode="auto">
          <a:xfrm>
            <a:off x="5136378" y="5385460"/>
            <a:ext cx="3273195" cy="163546"/>
            <a:chOff x="3535453" y="2766749"/>
            <a:chExt cx="1824132" cy="163548"/>
          </a:xfrm>
        </p:grpSpPr>
        <p:sp>
          <p:nvSpPr>
            <p:cNvPr id="46" name="AutoShape 4">
              <a:extLst>
                <a:ext uri="{FF2B5EF4-FFF2-40B4-BE49-F238E27FC236}">
                  <a16:creationId xmlns:a16="http://schemas.microsoft.com/office/drawing/2014/main" id="{ECDB0D3C-8569-2758-30F5-AE866A4D6688}"/>
                </a:ext>
              </a:extLst>
            </p:cNvPr>
            <p:cNvSpPr>
              <a:spLocks noChangeArrowheads="1"/>
            </p:cNvSpPr>
            <p:nvPr/>
          </p:nvSpPr>
          <p:spPr bwMode="auto">
            <a:xfrm>
              <a:off x="3535453" y="2766751"/>
              <a:ext cx="594546" cy="163546"/>
            </a:xfrm>
            <a:prstGeom prst="homePlate">
              <a:avLst>
                <a:gd name="adj" fmla="val 28952"/>
              </a:avLst>
            </a:prstGeom>
            <a:solidFill>
              <a:schemeClr val="bg1"/>
            </a:solidFill>
            <a:ln w="19050" cmpd="sng">
              <a:solidFill>
                <a:schemeClr val="bg1"/>
              </a:solidFill>
              <a:miter lim="800000"/>
              <a:headEnd/>
              <a:tailEnd/>
            </a:ln>
          </p:spPr>
          <p:txBody>
            <a:bodyPr lIns="0" tIns="0" rIns="0" bIns="0" anchor="ctr"/>
            <a:lstStyle/>
            <a:p>
              <a:pPr algn="ctr">
                <a:defRPr/>
              </a:pPr>
              <a:r>
                <a:rPr lang="en-US" sz="900" kern="0">
                  <a:latin typeface="Segoe UI" panose="020B0502040204020203" pitchFamily="34" charset="0"/>
                  <a:cs typeface="Segoe UI" panose="020B0502040204020203" pitchFamily="34" charset="0"/>
                </a:rPr>
                <a:t>Design</a:t>
              </a:r>
              <a:endParaRPr lang="en-US" sz="900">
                <a:latin typeface="Segoe UI" panose="020B0502040204020203" pitchFamily="34" charset="0"/>
                <a:cs typeface="Segoe UI" panose="020B0502040204020203" pitchFamily="34" charset="0"/>
              </a:endParaRPr>
            </a:p>
          </p:txBody>
        </p:sp>
        <p:sp>
          <p:nvSpPr>
            <p:cNvPr id="47" name="AutoShape 4">
              <a:extLst>
                <a:ext uri="{FF2B5EF4-FFF2-40B4-BE49-F238E27FC236}">
                  <a16:creationId xmlns:a16="http://schemas.microsoft.com/office/drawing/2014/main" id="{2D25F47C-F1E8-3B00-C2D1-124379E6C4A3}"/>
                </a:ext>
              </a:extLst>
            </p:cNvPr>
            <p:cNvSpPr>
              <a:spLocks noChangeArrowheads="1"/>
            </p:cNvSpPr>
            <p:nvPr/>
          </p:nvSpPr>
          <p:spPr bwMode="auto">
            <a:xfrm>
              <a:off x="4146857" y="2766749"/>
              <a:ext cx="594546" cy="163547"/>
            </a:xfrm>
            <a:prstGeom prst="chevron">
              <a:avLst>
                <a:gd name="adj" fmla="val 27844"/>
              </a:avLst>
            </a:prstGeom>
            <a:solidFill>
              <a:schemeClr val="bg1"/>
            </a:solidFill>
            <a:ln w="19050" cmpd="sng">
              <a:solidFill>
                <a:schemeClr val="bg1"/>
              </a:solidFill>
              <a:miter lim="800000"/>
              <a:headEnd/>
              <a:tailEnd/>
            </a:ln>
          </p:spPr>
          <p:txBody>
            <a:bodyPr lIns="0" tIns="0" rIns="0" bIns="0" anchor="ctr"/>
            <a:lstStyle/>
            <a:p>
              <a:pPr algn="ctr">
                <a:defRPr/>
              </a:pPr>
              <a:r>
                <a:rPr lang="en-US" sz="900" kern="0">
                  <a:latin typeface="Segoe UI" panose="020B0502040204020203" pitchFamily="34" charset="0"/>
                  <a:cs typeface="Segoe UI" panose="020B0502040204020203" pitchFamily="34" charset="0"/>
                </a:rPr>
                <a:t>Develop</a:t>
              </a:r>
            </a:p>
          </p:txBody>
        </p:sp>
        <p:sp>
          <p:nvSpPr>
            <p:cNvPr id="48" name="AutoShape 4">
              <a:extLst>
                <a:ext uri="{FF2B5EF4-FFF2-40B4-BE49-F238E27FC236}">
                  <a16:creationId xmlns:a16="http://schemas.microsoft.com/office/drawing/2014/main" id="{CDE16E94-BEFC-84C3-C609-4FFDB4E9CA97}"/>
                </a:ext>
              </a:extLst>
            </p:cNvPr>
            <p:cNvSpPr>
              <a:spLocks noChangeArrowheads="1"/>
            </p:cNvSpPr>
            <p:nvPr/>
          </p:nvSpPr>
          <p:spPr bwMode="auto">
            <a:xfrm>
              <a:off x="4765039" y="2766749"/>
              <a:ext cx="594546" cy="163547"/>
            </a:xfrm>
            <a:prstGeom prst="chevron">
              <a:avLst>
                <a:gd name="adj" fmla="val 27844"/>
              </a:avLst>
            </a:prstGeom>
            <a:solidFill>
              <a:schemeClr val="bg1"/>
            </a:solidFill>
            <a:ln w="19050" cmpd="sng">
              <a:solidFill>
                <a:schemeClr val="bg1"/>
              </a:solidFill>
              <a:miter lim="800000"/>
              <a:headEnd/>
              <a:tailEnd/>
            </a:ln>
          </p:spPr>
          <p:txBody>
            <a:bodyPr lIns="0" tIns="0" rIns="0" bIns="0" anchor="ctr"/>
            <a:lstStyle/>
            <a:p>
              <a:pPr algn="ctr">
                <a:defRPr/>
              </a:pPr>
              <a:r>
                <a:rPr lang="en-US" sz="900" kern="0">
                  <a:latin typeface="Segoe UI" panose="020B0502040204020203" pitchFamily="34" charset="0"/>
                  <a:cs typeface="Segoe UI" panose="020B0502040204020203" pitchFamily="34" charset="0"/>
                </a:rPr>
                <a:t>Go Live</a:t>
              </a:r>
            </a:p>
          </p:txBody>
        </p:sp>
      </p:grpSp>
      <p:grpSp>
        <p:nvGrpSpPr>
          <p:cNvPr id="49" name="Group 134">
            <a:extLst>
              <a:ext uri="{FF2B5EF4-FFF2-40B4-BE49-F238E27FC236}">
                <a16:creationId xmlns:a16="http://schemas.microsoft.com/office/drawing/2014/main" id="{43A144A7-40D4-3311-4C76-CD08EF6055A9}"/>
              </a:ext>
            </a:extLst>
          </p:cNvPr>
          <p:cNvGrpSpPr/>
          <p:nvPr>
            <p:custDataLst>
              <p:tags r:id="rId1"/>
            </p:custDataLst>
          </p:nvPr>
        </p:nvGrpSpPr>
        <p:grpSpPr bwMode="auto">
          <a:xfrm>
            <a:off x="10852411" y="2177799"/>
            <a:ext cx="894476" cy="481687"/>
            <a:chOff x="7792324" y="1498600"/>
            <a:chExt cx="894476" cy="481687"/>
          </a:xfrm>
        </p:grpSpPr>
        <p:sp>
          <p:nvSpPr>
            <p:cNvPr id="50" name="TextBox 49">
              <a:extLst>
                <a:ext uri="{FF2B5EF4-FFF2-40B4-BE49-F238E27FC236}">
                  <a16:creationId xmlns:a16="http://schemas.microsoft.com/office/drawing/2014/main" id="{D833A25F-83FE-FCD2-FC6F-832A22AB3AF7}"/>
                </a:ext>
              </a:extLst>
            </p:cNvPr>
            <p:cNvSpPr txBox="1"/>
            <p:nvPr/>
          </p:nvSpPr>
          <p:spPr bwMode="auto">
            <a:xfrm>
              <a:off x="7792324" y="1524000"/>
              <a:ext cx="894476" cy="430887"/>
            </a:xfrm>
            <a:prstGeom prst="rect">
              <a:avLst/>
            </a:prstGeom>
            <a:noFill/>
          </p:spPr>
          <p:txBody>
            <a:bodyPr vert="horz" wrap="square" lIns="0" tIns="0" rIns="0" bIns="0" rtlCol="0" anchor="ctr" anchorCtr="1">
              <a:spAutoFit/>
            </a:bodyPr>
            <a:lstStyle/>
            <a:p>
              <a:pPr algn="ctr"/>
              <a:r>
                <a:rPr lang="en-US" sz="1400" b="1">
                  <a:solidFill>
                    <a:srgbClr val="000000"/>
                  </a:solidFill>
                  <a:latin typeface="Arial"/>
                </a:rPr>
                <a:t>Illustrative</a:t>
              </a:r>
            </a:p>
            <a:p>
              <a:r>
                <a:rPr lang="en-US" sz="1400" b="1">
                  <a:solidFill>
                    <a:srgbClr val="000000"/>
                  </a:solidFill>
                  <a:latin typeface="Arial"/>
                </a:rPr>
                <a:t>Contents</a:t>
              </a:r>
            </a:p>
          </p:txBody>
        </p:sp>
        <p:cxnSp>
          <p:nvCxnSpPr>
            <p:cNvPr id="51" name="Straight Connector 50">
              <a:extLst>
                <a:ext uri="{FF2B5EF4-FFF2-40B4-BE49-F238E27FC236}">
                  <a16:creationId xmlns:a16="http://schemas.microsoft.com/office/drawing/2014/main" id="{065AD896-6413-01AE-AA4B-BE5D25D230A5}"/>
                </a:ext>
              </a:extLst>
            </p:cNvPr>
            <p:cNvCxnSpPr/>
            <p:nvPr/>
          </p:nvCxnSpPr>
          <p:spPr bwMode="auto">
            <a:xfrm>
              <a:off x="7792324" y="1498600"/>
              <a:ext cx="894476"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5B473ED-2944-88DF-79D8-657CCEFA7A9C}"/>
                </a:ext>
              </a:extLst>
            </p:cNvPr>
            <p:cNvCxnSpPr/>
            <p:nvPr/>
          </p:nvCxnSpPr>
          <p:spPr bwMode="auto">
            <a:xfrm>
              <a:off x="7792324" y="1980287"/>
              <a:ext cx="894476"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031858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C0017E-7564-CE02-D225-17EF4DC872CE}"/>
              </a:ext>
            </a:extLst>
          </p:cNvPr>
          <p:cNvSpPr>
            <a:spLocks noGrp="1"/>
          </p:cNvSpPr>
          <p:nvPr>
            <p:ph type="title"/>
          </p:nvPr>
        </p:nvSpPr>
        <p:spPr/>
        <p:txBody>
          <a:bodyPr/>
          <a:lstStyle/>
          <a:p>
            <a:r>
              <a:rPr lang="en-BR"/>
              <a:t>Project Management</a:t>
            </a:r>
          </a:p>
        </p:txBody>
      </p:sp>
      <p:sp>
        <p:nvSpPr>
          <p:cNvPr id="3" name="Footer Placeholder 2">
            <a:extLst>
              <a:ext uri="{FF2B5EF4-FFF2-40B4-BE49-F238E27FC236}">
                <a16:creationId xmlns:a16="http://schemas.microsoft.com/office/drawing/2014/main" id="{EF0750AD-9AE3-6431-5D81-45A7139700E8}"/>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02240A7B-FBB0-12A4-0673-B6FFD65830A3}"/>
              </a:ext>
            </a:extLst>
          </p:cNvPr>
          <p:cNvSpPr>
            <a:spLocks noGrp="1"/>
          </p:cNvSpPr>
          <p:nvPr>
            <p:ph type="sldNum" sz="quarter" idx="12"/>
          </p:nvPr>
        </p:nvSpPr>
        <p:spPr/>
        <p:txBody>
          <a:bodyPr/>
          <a:lstStyle/>
          <a:p>
            <a:fld id="{A8DDC45B-7265-3747-B738-ED29642119D9}" type="slidenum">
              <a:rPr lang="en-BR" smtClean="0"/>
              <a:pPr/>
              <a:t>36</a:t>
            </a:fld>
            <a:endParaRPr lang="en-BR"/>
          </a:p>
        </p:txBody>
      </p:sp>
      <p:sp>
        <p:nvSpPr>
          <p:cNvPr id="5" name="Text Placeholder 4">
            <a:extLst>
              <a:ext uri="{FF2B5EF4-FFF2-40B4-BE49-F238E27FC236}">
                <a16:creationId xmlns:a16="http://schemas.microsoft.com/office/drawing/2014/main" id="{3A074F11-3FC8-8E03-7CF8-31A98D14BD15}"/>
              </a:ext>
            </a:extLst>
          </p:cNvPr>
          <p:cNvSpPr>
            <a:spLocks noGrp="1"/>
          </p:cNvSpPr>
          <p:nvPr>
            <p:ph type="body" sz="quarter" idx="13"/>
          </p:nvPr>
        </p:nvSpPr>
        <p:spPr/>
        <p:txBody>
          <a:bodyPr/>
          <a:lstStyle/>
          <a:p>
            <a:r>
              <a:rPr lang="en-US"/>
              <a:t>Process Chart</a:t>
            </a:r>
            <a:endParaRPr lang="en-BR"/>
          </a:p>
        </p:txBody>
      </p:sp>
      <p:sp>
        <p:nvSpPr>
          <p:cNvPr id="6" name="AutoShape 5">
            <a:extLst>
              <a:ext uri="{FF2B5EF4-FFF2-40B4-BE49-F238E27FC236}">
                <a16:creationId xmlns:a16="http://schemas.microsoft.com/office/drawing/2014/main" id="{00EEBCF5-FC49-FDCE-18FC-16854D2C8493}"/>
              </a:ext>
            </a:extLst>
          </p:cNvPr>
          <p:cNvSpPr>
            <a:spLocks noChangeArrowheads="1"/>
          </p:cNvSpPr>
          <p:nvPr/>
        </p:nvSpPr>
        <p:spPr bwMode="auto">
          <a:xfrm>
            <a:off x="9534673" y="1763713"/>
            <a:ext cx="2320776" cy="485775"/>
          </a:xfrm>
          <a:prstGeom prst="homePlate">
            <a:avLst>
              <a:gd name="adj" fmla="val 27116"/>
            </a:avLst>
          </a:prstGeom>
          <a:solidFill>
            <a:schemeClr val="tx1">
              <a:lumMod val="50000"/>
              <a:lumOff val="50000"/>
            </a:schemeClr>
          </a:solidFill>
          <a:ln w="6350">
            <a:noFill/>
            <a:miter lim="800000"/>
            <a:headEnd/>
            <a:tailEnd/>
          </a:ln>
        </p:spPr>
        <p:txBody>
          <a:bodyPr lIns="144000" tIns="72000" rIns="144000" bIns="72000" anchor="ctr" anchorCtr="0"/>
          <a:lstStyle/>
          <a:p>
            <a:pPr algn="ctr" eaLnBrk="0" hangingPunct="0"/>
            <a:r>
              <a:rPr lang="en-US" sz="1400" b="1">
                <a:solidFill>
                  <a:schemeClr val="bg1"/>
                </a:solidFill>
                <a:latin typeface="Segoe UI" panose="020B0502040204020203" pitchFamily="34" charset="0"/>
                <a:cs typeface="Segoe UI" panose="020B0502040204020203" pitchFamily="34" charset="0"/>
              </a:rPr>
              <a:t>Name of phase 1</a:t>
            </a:r>
          </a:p>
        </p:txBody>
      </p:sp>
      <p:sp>
        <p:nvSpPr>
          <p:cNvPr id="7" name="AutoShape 5">
            <a:extLst>
              <a:ext uri="{FF2B5EF4-FFF2-40B4-BE49-F238E27FC236}">
                <a16:creationId xmlns:a16="http://schemas.microsoft.com/office/drawing/2014/main" id="{D54114AE-EBB0-B370-CC45-F23E960EE086}"/>
              </a:ext>
            </a:extLst>
          </p:cNvPr>
          <p:cNvSpPr>
            <a:spLocks noChangeArrowheads="1"/>
          </p:cNvSpPr>
          <p:nvPr/>
        </p:nvSpPr>
        <p:spPr bwMode="auto">
          <a:xfrm>
            <a:off x="7340170" y="1763713"/>
            <a:ext cx="2340000" cy="485775"/>
          </a:xfrm>
          <a:prstGeom prst="homePlate">
            <a:avLst>
              <a:gd name="adj" fmla="val 27116"/>
            </a:avLst>
          </a:prstGeom>
          <a:solidFill>
            <a:schemeClr val="tx1">
              <a:lumMod val="75000"/>
              <a:lumOff val="25000"/>
            </a:schemeClr>
          </a:solidFill>
          <a:ln w="6350">
            <a:noFill/>
            <a:miter lim="800000"/>
            <a:headEnd/>
            <a:tailEnd/>
          </a:ln>
        </p:spPr>
        <p:txBody>
          <a:bodyPr lIns="144000" tIns="72000" rIns="144000" bIns="72000" anchor="ctr" anchorCtr="0"/>
          <a:lstStyle/>
          <a:p>
            <a:pPr algn="ctr" eaLnBrk="0" hangingPunct="0"/>
            <a:r>
              <a:rPr lang="en-US" sz="1400" b="1">
                <a:solidFill>
                  <a:schemeClr val="bg1"/>
                </a:solidFill>
                <a:latin typeface="Segoe UI" panose="020B0502040204020203" pitchFamily="34" charset="0"/>
                <a:cs typeface="Segoe UI" panose="020B0502040204020203" pitchFamily="34" charset="0"/>
              </a:rPr>
              <a:t>Name of phase 1</a:t>
            </a:r>
          </a:p>
        </p:txBody>
      </p:sp>
      <p:sp>
        <p:nvSpPr>
          <p:cNvPr id="8" name="AutoShape 5">
            <a:extLst>
              <a:ext uri="{FF2B5EF4-FFF2-40B4-BE49-F238E27FC236}">
                <a16:creationId xmlns:a16="http://schemas.microsoft.com/office/drawing/2014/main" id="{37EF6893-7C6C-E938-C417-01DE8A5BE18C}"/>
              </a:ext>
            </a:extLst>
          </p:cNvPr>
          <p:cNvSpPr>
            <a:spLocks noChangeArrowheads="1"/>
          </p:cNvSpPr>
          <p:nvPr/>
        </p:nvSpPr>
        <p:spPr bwMode="auto">
          <a:xfrm>
            <a:off x="5145666" y="1763713"/>
            <a:ext cx="2340000" cy="485775"/>
          </a:xfrm>
          <a:prstGeom prst="homePlate">
            <a:avLst>
              <a:gd name="adj" fmla="val 27116"/>
            </a:avLst>
          </a:prstGeom>
          <a:solidFill>
            <a:srgbClr val="FF0000"/>
          </a:solidFill>
          <a:ln w="6350">
            <a:noFill/>
            <a:miter lim="800000"/>
            <a:headEnd/>
            <a:tailEnd/>
          </a:ln>
        </p:spPr>
        <p:txBody>
          <a:bodyPr lIns="144000" tIns="72000" rIns="144000" bIns="72000" anchor="ctr" anchorCtr="0"/>
          <a:lstStyle/>
          <a:p>
            <a:pPr algn="ctr" eaLnBrk="0" hangingPunct="0"/>
            <a:r>
              <a:rPr lang="en-US" sz="1400" b="1">
                <a:solidFill>
                  <a:schemeClr val="bg1"/>
                </a:solidFill>
                <a:latin typeface="Segoe UI" panose="020B0502040204020203" pitchFamily="34" charset="0"/>
                <a:cs typeface="Segoe UI" panose="020B0502040204020203" pitchFamily="34" charset="0"/>
              </a:rPr>
              <a:t>Name of phase 1</a:t>
            </a:r>
          </a:p>
        </p:txBody>
      </p:sp>
      <p:sp>
        <p:nvSpPr>
          <p:cNvPr id="9" name="AutoShape 5">
            <a:extLst>
              <a:ext uri="{FF2B5EF4-FFF2-40B4-BE49-F238E27FC236}">
                <a16:creationId xmlns:a16="http://schemas.microsoft.com/office/drawing/2014/main" id="{72AE53F7-A48E-39CE-494D-529D8418380E}"/>
              </a:ext>
            </a:extLst>
          </p:cNvPr>
          <p:cNvSpPr>
            <a:spLocks noChangeArrowheads="1"/>
          </p:cNvSpPr>
          <p:nvPr/>
        </p:nvSpPr>
        <p:spPr bwMode="auto">
          <a:xfrm>
            <a:off x="2951162" y="1763713"/>
            <a:ext cx="2340000" cy="485775"/>
          </a:xfrm>
          <a:prstGeom prst="homePlate">
            <a:avLst>
              <a:gd name="adj" fmla="val 27116"/>
            </a:avLst>
          </a:prstGeom>
          <a:solidFill>
            <a:srgbClr val="C00000"/>
          </a:solidFill>
          <a:ln w="6350">
            <a:noFill/>
            <a:miter lim="800000"/>
            <a:headEnd/>
            <a:tailEnd/>
          </a:ln>
        </p:spPr>
        <p:txBody>
          <a:bodyPr lIns="144000" tIns="72000" rIns="144000" bIns="72000" anchor="ctr" anchorCtr="0"/>
          <a:lstStyle/>
          <a:p>
            <a:pPr algn="ctr" eaLnBrk="0" hangingPunct="0"/>
            <a:r>
              <a:rPr lang="en-US" sz="1400" b="1">
                <a:solidFill>
                  <a:schemeClr val="bg1"/>
                </a:solidFill>
                <a:latin typeface="Segoe UI" panose="020B0502040204020203" pitchFamily="34" charset="0"/>
                <a:cs typeface="Segoe UI" panose="020B0502040204020203" pitchFamily="34" charset="0"/>
              </a:rPr>
              <a:t>Name of phase 1</a:t>
            </a:r>
          </a:p>
        </p:txBody>
      </p:sp>
      <p:graphicFrame>
        <p:nvGraphicFramePr>
          <p:cNvPr id="10" name="Table 9">
            <a:extLst>
              <a:ext uri="{FF2B5EF4-FFF2-40B4-BE49-F238E27FC236}">
                <a16:creationId xmlns:a16="http://schemas.microsoft.com/office/drawing/2014/main" id="{A7C1C68D-2FC1-61A6-31A4-087FB34FFAF3}"/>
              </a:ext>
            </a:extLst>
          </p:cNvPr>
          <p:cNvGraphicFramePr>
            <a:graphicFrameLocks noGrp="1"/>
          </p:cNvGraphicFramePr>
          <p:nvPr>
            <p:extLst>
              <p:ext uri="{D42A27DB-BD31-4B8C-83A1-F6EECF244321}">
                <p14:modId xmlns:p14="http://schemas.microsoft.com/office/powerpoint/2010/main" val="992863394"/>
              </p:ext>
            </p:extLst>
          </p:nvPr>
        </p:nvGraphicFramePr>
        <p:xfrm>
          <a:off x="334963" y="2311017"/>
          <a:ext cx="11522075" cy="3748139"/>
        </p:xfrm>
        <a:graphic>
          <a:graphicData uri="http://schemas.openxmlformats.org/drawingml/2006/table">
            <a:tbl>
              <a:tblPr bandRow="1">
                <a:tableStyleId>{5C22544A-7EE6-4342-B048-85BDC9FD1C3A}</a:tableStyleId>
              </a:tblPr>
              <a:tblGrid>
                <a:gridCol w="2629301">
                  <a:extLst>
                    <a:ext uri="{9D8B030D-6E8A-4147-A177-3AD203B41FA5}">
                      <a16:colId xmlns:a16="http://schemas.microsoft.com/office/drawing/2014/main" val="3257024030"/>
                    </a:ext>
                  </a:extLst>
                </a:gridCol>
                <a:gridCol w="2190540">
                  <a:extLst>
                    <a:ext uri="{9D8B030D-6E8A-4147-A177-3AD203B41FA5}">
                      <a16:colId xmlns:a16="http://schemas.microsoft.com/office/drawing/2014/main" val="3487455746"/>
                    </a:ext>
                  </a:extLst>
                </a:gridCol>
                <a:gridCol w="2180493">
                  <a:extLst>
                    <a:ext uri="{9D8B030D-6E8A-4147-A177-3AD203B41FA5}">
                      <a16:colId xmlns:a16="http://schemas.microsoft.com/office/drawing/2014/main" val="1287227841"/>
                    </a:ext>
                  </a:extLst>
                </a:gridCol>
                <a:gridCol w="2217326">
                  <a:extLst>
                    <a:ext uri="{9D8B030D-6E8A-4147-A177-3AD203B41FA5}">
                      <a16:colId xmlns:a16="http://schemas.microsoft.com/office/drawing/2014/main" val="1001841147"/>
                    </a:ext>
                  </a:extLst>
                </a:gridCol>
                <a:gridCol w="2304415">
                  <a:extLst>
                    <a:ext uri="{9D8B030D-6E8A-4147-A177-3AD203B41FA5}">
                      <a16:colId xmlns:a16="http://schemas.microsoft.com/office/drawing/2014/main" val="859802438"/>
                    </a:ext>
                  </a:extLst>
                </a:gridCol>
              </a:tblGrid>
              <a:tr h="370840">
                <a:tc>
                  <a:txBody>
                    <a:bodyPr/>
                    <a:lstStyle/>
                    <a:p>
                      <a:r>
                        <a:rPr lang="en-AU" sz="1400" cap="all" baseline="0">
                          <a:latin typeface="Segoe UI" panose="020B0502040204020203" pitchFamily="34" charset="0"/>
                          <a:cs typeface="Segoe UI" panose="020B0502040204020203" pitchFamily="34" charset="0"/>
                        </a:rPr>
                        <a:t>Timing</a:t>
                      </a:r>
                      <a:endParaRPr lang="en-GB" sz="1400" cap="all" baseline="0">
                        <a:latin typeface="Segoe UI" panose="020B0502040204020203" pitchFamily="34" charset="0"/>
                        <a:cs typeface="Segoe UI" panose="020B0502040204020203" pitchFamily="34" charset="0"/>
                      </a:endParaRPr>
                    </a:p>
                  </a:txBody>
                  <a:tcPr marL="0" anchor="ctr">
                    <a:lnB w="12700" cap="flat" cmpd="sng" algn="ctr">
                      <a:solidFill>
                        <a:schemeClr val="tx2">
                          <a:lumMod val="60000"/>
                          <a:lumOff val="40000"/>
                        </a:schemeClr>
                      </a:solidFill>
                      <a:prstDash val="solid"/>
                      <a:round/>
                      <a:headEnd type="none" w="med" len="med"/>
                      <a:tailEnd type="none" w="med" len="med"/>
                    </a:lnB>
                    <a:noFill/>
                  </a:tcPr>
                </a:tc>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400" b="1">
                          <a:latin typeface="Segoe UI" panose="020B0502040204020203" pitchFamily="34" charset="0"/>
                          <a:cs typeface="Segoe UI" panose="020B0502040204020203" pitchFamily="34" charset="0"/>
                        </a:rPr>
                        <a:t>2 weeks</a:t>
                      </a:r>
                    </a:p>
                  </a:txBody>
                  <a:tcPr anchor="ctr">
                    <a:lnB w="12700" cap="flat" cmpd="sng" algn="ctr">
                      <a:solidFill>
                        <a:schemeClr val="tx2">
                          <a:lumMod val="60000"/>
                          <a:lumOff val="40000"/>
                        </a:schemeClr>
                      </a:solidFill>
                      <a:prstDash val="solid"/>
                      <a:round/>
                      <a:headEnd type="none" w="med" len="med"/>
                      <a:tailEnd type="none" w="med" len="med"/>
                    </a:lnB>
                    <a:noFill/>
                  </a:tcPr>
                </a:tc>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400" b="1">
                          <a:latin typeface="Segoe UI" panose="020B0502040204020203" pitchFamily="34" charset="0"/>
                          <a:cs typeface="Segoe UI" panose="020B0502040204020203" pitchFamily="34" charset="0"/>
                        </a:rPr>
                        <a:t>4 weeks</a:t>
                      </a:r>
                    </a:p>
                  </a:txBody>
                  <a:tcPr anchor="ctr">
                    <a:lnB w="12700" cap="flat" cmpd="sng" algn="ctr">
                      <a:solidFill>
                        <a:schemeClr val="tx2">
                          <a:lumMod val="60000"/>
                          <a:lumOff val="40000"/>
                        </a:schemeClr>
                      </a:solidFill>
                      <a:prstDash val="solid"/>
                      <a:round/>
                      <a:headEnd type="none" w="med" len="med"/>
                      <a:tailEnd type="none" w="med" len="med"/>
                    </a:lnB>
                    <a:noFill/>
                  </a:tcPr>
                </a:tc>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400" b="1">
                          <a:latin typeface="Segoe UI" panose="020B0502040204020203" pitchFamily="34" charset="0"/>
                          <a:cs typeface="Segoe UI" panose="020B0502040204020203" pitchFamily="34" charset="0"/>
                        </a:rPr>
                        <a:t>3 weeks</a:t>
                      </a:r>
                    </a:p>
                  </a:txBody>
                  <a:tcPr anchor="ctr">
                    <a:lnB w="12700" cap="flat" cmpd="sng" algn="ctr">
                      <a:solidFill>
                        <a:schemeClr val="tx2">
                          <a:lumMod val="60000"/>
                          <a:lumOff val="40000"/>
                        </a:schemeClr>
                      </a:solidFill>
                      <a:prstDash val="solid"/>
                      <a:round/>
                      <a:headEnd type="none" w="med" len="med"/>
                      <a:tailEnd type="none" w="med" len="med"/>
                    </a:lnB>
                    <a:noFill/>
                  </a:tcPr>
                </a:tc>
                <a:tc>
                  <a:txBody>
                    <a:bodyPr/>
                    <a:lstStyle/>
                    <a:p>
                      <a:pPr marL="0" marR="0" lvl="0" indent="0" algn="l" defTabSz="1734634" rtl="0" eaLnBrk="1" fontAlgn="auto" latinLnBrk="0" hangingPunct="1">
                        <a:lnSpc>
                          <a:spcPct val="100000"/>
                        </a:lnSpc>
                        <a:spcBef>
                          <a:spcPts val="0"/>
                        </a:spcBef>
                        <a:spcAft>
                          <a:spcPts val="0"/>
                        </a:spcAft>
                        <a:buClrTx/>
                        <a:buSzTx/>
                        <a:buFontTx/>
                        <a:buNone/>
                        <a:tabLst/>
                        <a:defRPr/>
                      </a:pPr>
                      <a:r>
                        <a:rPr lang="en-US" sz="1400" b="1">
                          <a:latin typeface="Segoe UI" panose="020B0502040204020203" pitchFamily="34" charset="0"/>
                          <a:cs typeface="Segoe UI" panose="020B0502040204020203" pitchFamily="34" charset="0"/>
                        </a:rPr>
                        <a:t>2 weeks</a:t>
                      </a:r>
                    </a:p>
                  </a:txBody>
                  <a:tcPr anchor="ctr">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543702299"/>
                  </a:ext>
                </a:extLst>
              </a:tr>
              <a:tr h="3377299">
                <a:tc>
                  <a:txBody>
                    <a:bodyPr/>
                    <a:lstStyle/>
                    <a:p>
                      <a:r>
                        <a:rPr lang="en-AU" sz="1400" cap="all" baseline="0">
                          <a:latin typeface="Segoe UI" panose="020B0502040204020203" pitchFamily="34" charset="0"/>
                          <a:cs typeface="Segoe UI" panose="020B0502040204020203" pitchFamily="34" charset="0"/>
                        </a:rPr>
                        <a:t>Key Tasks</a:t>
                      </a:r>
                      <a:endParaRPr lang="en-GB" sz="1400" cap="all" baseline="0">
                        <a:latin typeface="Segoe UI" panose="020B0502040204020203" pitchFamily="34" charset="0"/>
                        <a:cs typeface="Segoe UI" panose="020B0502040204020203" pitchFamily="34" charset="0"/>
                      </a:endParaRPr>
                    </a:p>
                  </a:txBody>
                  <a:tcPr marL="0" marT="108000">
                    <a:lnT w="12700" cap="flat" cmpd="sng" algn="ctr">
                      <a:solidFill>
                        <a:schemeClr val="tx2">
                          <a:lumMod val="60000"/>
                          <a:lumOff val="40000"/>
                        </a:schemeClr>
                      </a:solidFill>
                      <a:prstDash val="solid"/>
                      <a:round/>
                      <a:headEnd type="none" w="med" len="med"/>
                      <a:tailEnd type="none" w="med" len="med"/>
                    </a:lnT>
                    <a:noFill/>
                  </a:tcPr>
                </a:tc>
                <a:tc>
                  <a:txBody>
                    <a:bodyPr/>
                    <a:lstStyle/>
                    <a:p>
                      <a:pPr marL="177800" indent="-177800" defTabSz="708025">
                        <a:spcBef>
                          <a:spcPts val="100"/>
                        </a:spcBef>
                        <a:spcAft>
                          <a:spcPts val="100"/>
                        </a:spcAft>
                        <a:buClr>
                          <a:schemeClr val="tx1"/>
                        </a:buClr>
                        <a:buFontTx/>
                        <a:buChar char="•"/>
                      </a:pPr>
                      <a:r>
                        <a:rPr lang="en-US" sz="1400">
                          <a:latin typeface="Segoe UI" panose="020B0502040204020203" pitchFamily="34" charset="0"/>
                          <a:cs typeface="Segoe UI" panose="020B0502040204020203" pitchFamily="34" charset="0"/>
                        </a:rPr>
                        <a:t>Task 1</a:t>
                      </a:r>
                    </a:p>
                    <a:p>
                      <a:pPr marL="177800" indent="-177800" defTabSz="708025">
                        <a:spcBef>
                          <a:spcPts val="100"/>
                        </a:spcBef>
                        <a:spcAft>
                          <a:spcPts val="100"/>
                        </a:spcAft>
                        <a:buClr>
                          <a:schemeClr val="tx1"/>
                        </a:buClr>
                        <a:buFontTx/>
                        <a:buChar char="•"/>
                      </a:pPr>
                      <a:r>
                        <a:rPr lang="en-US" sz="1400">
                          <a:latin typeface="Segoe UI" panose="020B0502040204020203" pitchFamily="34" charset="0"/>
                          <a:cs typeface="Segoe UI" panose="020B0502040204020203" pitchFamily="34" charset="0"/>
                        </a:rPr>
                        <a:t>Task 2</a:t>
                      </a:r>
                    </a:p>
                    <a:p>
                      <a:pPr marL="177800" indent="-177800" defTabSz="708025">
                        <a:spcBef>
                          <a:spcPts val="100"/>
                        </a:spcBef>
                        <a:spcAft>
                          <a:spcPts val="100"/>
                        </a:spcAft>
                        <a:buClr>
                          <a:schemeClr val="tx1"/>
                        </a:buClr>
                        <a:buFontTx/>
                        <a:buChar char="•"/>
                      </a:pPr>
                      <a:r>
                        <a:rPr lang="en-US" sz="1400">
                          <a:latin typeface="Segoe UI" panose="020B0502040204020203" pitchFamily="34" charset="0"/>
                          <a:cs typeface="Segoe UI" panose="020B0502040204020203" pitchFamily="34" charset="0"/>
                        </a:rPr>
                        <a:t>Task 3</a:t>
                      </a:r>
                      <a:endParaRPr lang="en-GB" sz="1400">
                        <a:latin typeface="Segoe UI" panose="020B0502040204020203" pitchFamily="34" charset="0"/>
                        <a:cs typeface="Segoe UI" panose="020B0502040204020203" pitchFamily="34" charset="0"/>
                      </a:endParaRPr>
                    </a:p>
                  </a:txBody>
                  <a:tcPr marT="108000">
                    <a:lnT w="12700" cap="flat" cmpd="sng" algn="ctr">
                      <a:solidFill>
                        <a:schemeClr val="tx2">
                          <a:lumMod val="60000"/>
                          <a:lumOff val="40000"/>
                        </a:schemeClr>
                      </a:solidFill>
                      <a:prstDash val="solid"/>
                      <a:round/>
                      <a:headEnd type="none" w="med" len="med"/>
                      <a:tailEnd type="none" w="med" len="med"/>
                    </a:lnT>
                    <a:noFill/>
                  </a:tcPr>
                </a:tc>
                <a:tc>
                  <a:txBody>
                    <a:bodyPr/>
                    <a:lstStyle/>
                    <a:p>
                      <a:pPr marL="177800" indent="-177800" defTabSz="708025">
                        <a:spcBef>
                          <a:spcPts val="100"/>
                        </a:spcBef>
                        <a:spcAft>
                          <a:spcPts val="100"/>
                        </a:spcAft>
                        <a:buClr>
                          <a:schemeClr val="tx1"/>
                        </a:buClr>
                        <a:buFontTx/>
                        <a:buChar char="•"/>
                      </a:pPr>
                      <a:r>
                        <a:rPr lang="en-US" sz="1400">
                          <a:latin typeface="Segoe UI" panose="020B0502040204020203" pitchFamily="34" charset="0"/>
                          <a:cs typeface="Segoe UI" panose="020B0502040204020203" pitchFamily="34" charset="0"/>
                        </a:rPr>
                        <a:t>Task 1</a:t>
                      </a:r>
                    </a:p>
                    <a:p>
                      <a:pPr marL="177800" indent="-177800" defTabSz="708025">
                        <a:spcBef>
                          <a:spcPts val="100"/>
                        </a:spcBef>
                        <a:spcAft>
                          <a:spcPts val="100"/>
                        </a:spcAft>
                        <a:buClr>
                          <a:schemeClr val="tx1"/>
                        </a:buClr>
                        <a:buFontTx/>
                        <a:buChar char="•"/>
                      </a:pPr>
                      <a:r>
                        <a:rPr lang="en-US" sz="1400">
                          <a:latin typeface="Segoe UI" panose="020B0502040204020203" pitchFamily="34" charset="0"/>
                          <a:cs typeface="Segoe UI" panose="020B0502040204020203" pitchFamily="34" charset="0"/>
                        </a:rPr>
                        <a:t>Task 2</a:t>
                      </a:r>
                    </a:p>
                    <a:p>
                      <a:pPr marL="177800" indent="-177800" defTabSz="708025">
                        <a:spcBef>
                          <a:spcPts val="100"/>
                        </a:spcBef>
                        <a:spcAft>
                          <a:spcPts val="100"/>
                        </a:spcAft>
                        <a:buClr>
                          <a:schemeClr val="tx1"/>
                        </a:buClr>
                        <a:buFontTx/>
                        <a:buChar char="•"/>
                      </a:pPr>
                      <a:r>
                        <a:rPr lang="en-US" sz="1400">
                          <a:latin typeface="Segoe UI" panose="020B0502040204020203" pitchFamily="34" charset="0"/>
                          <a:cs typeface="Segoe UI" panose="020B0502040204020203" pitchFamily="34" charset="0"/>
                        </a:rPr>
                        <a:t>Task 3</a:t>
                      </a:r>
                      <a:endParaRPr lang="en-GB" sz="1400">
                        <a:latin typeface="Segoe UI" panose="020B0502040204020203" pitchFamily="34" charset="0"/>
                        <a:cs typeface="Segoe UI" panose="020B0502040204020203" pitchFamily="34" charset="0"/>
                      </a:endParaRPr>
                    </a:p>
                    <a:p>
                      <a:endParaRPr lang="en-GB" sz="1400">
                        <a:latin typeface="Segoe UI" panose="020B0502040204020203" pitchFamily="34" charset="0"/>
                        <a:cs typeface="Segoe UI" panose="020B0502040204020203" pitchFamily="34" charset="0"/>
                      </a:endParaRPr>
                    </a:p>
                  </a:txBody>
                  <a:tcPr marT="108000">
                    <a:lnT w="12700" cap="flat" cmpd="sng" algn="ctr">
                      <a:solidFill>
                        <a:schemeClr val="tx2">
                          <a:lumMod val="60000"/>
                          <a:lumOff val="40000"/>
                        </a:schemeClr>
                      </a:solidFill>
                      <a:prstDash val="solid"/>
                      <a:round/>
                      <a:headEnd type="none" w="med" len="med"/>
                      <a:tailEnd type="none" w="med" len="med"/>
                    </a:lnT>
                    <a:noFill/>
                  </a:tcPr>
                </a:tc>
                <a:tc>
                  <a:txBody>
                    <a:bodyPr/>
                    <a:lstStyle/>
                    <a:p>
                      <a:pPr marL="177800" indent="-177800" defTabSz="708025">
                        <a:spcBef>
                          <a:spcPts val="100"/>
                        </a:spcBef>
                        <a:spcAft>
                          <a:spcPts val="100"/>
                        </a:spcAft>
                        <a:buClr>
                          <a:schemeClr val="tx1"/>
                        </a:buClr>
                        <a:buFontTx/>
                        <a:buChar char="•"/>
                      </a:pPr>
                      <a:r>
                        <a:rPr lang="en-US" sz="1400">
                          <a:latin typeface="Segoe UI" panose="020B0502040204020203" pitchFamily="34" charset="0"/>
                          <a:cs typeface="Segoe UI" panose="020B0502040204020203" pitchFamily="34" charset="0"/>
                        </a:rPr>
                        <a:t>Task 1</a:t>
                      </a:r>
                    </a:p>
                    <a:p>
                      <a:pPr marL="177800" indent="-177800" defTabSz="708025">
                        <a:spcBef>
                          <a:spcPts val="100"/>
                        </a:spcBef>
                        <a:spcAft>
                          <a:spcPts val="100"/>
                        </a:spcAft>
                        <a:buClr>
                          <a:schemeClr val="tx1"/>
                        </a:buClr>
                        <a:buFontTx/>
                        <a:buChar char="•"/>
                      </a:pPr>
                      <a:r>
                        <a:rPr lang="en-US" sz="1400">
                          <a:latin typeface="Segoe UI" panose="020B0502040204020203" pitchFamily="34" charset="0"/>
                          <a:cs typeface="Segoe UI" panose="020B0502040204020203" pitchFamily="34" charset="0"/>
                        </a:rPr>
                        <a:t>Task 2</a:t>
                      </a:r>
                    </a:p>
                    <a:p>
                      <a:pPr marL="177800" indent="-177800" defTabSz="708025">
                        <a:spcBef>
                          <a:spcPts val="100"/>
                        </a:spcBef>
                        <a:spcAft>
                          <a:spcPts val="100"/>
                        </a:spcAft>
                        <a:buClr>
                          <a:schemeClr val="tx1"/>
                        </a:buClr>
                        <a:buFontTx/>
                        <a:buChar char="•"/>
                      </a:pPr>
                      <a:r>
                        <a:rPr lang="en-US" sz="1400">
                          <a:latin typeface="Segoe UI" panose="020B0502040204020203" pitchFamily="34" charset="0"/>
                          <a:cs typeface="Segoe UI" panose="020B0502040204020203" pitchFamily="34" charset="0"/>
                        </a:rPr>
                        <a:t>Task 3</a:t>
                      </a:r>
                      <a:endParaRPr lang="en-GB" sz="1400">
                        <a:latin typeface="Segoe UI" panose="020B0502040204020203" pitchFamily="34" charset="0"/>
                        <a:cs typeface="Segoe UI" panose="020B0502040204020203" pitchFamily="34" charset="0"/>
                      </a:endParaRPr>
                    </a:p>
                    <a:p>
                      <a:endParaRPr lang="en-GB" sz="1400">
                        <a:latin typeface="Segoe UI" panose="020B0502040204020203" pitchFamily="34" charset="0"/>
                        <a:cs typeface="Segoe UI" panose="020B0502040204020203" pitchFamily="34" charset="0"/>
                      </a:endParaRPr>
                    </a:p>
                  </a:txBody>
                  <a:tcPr marT="108000">
                    <a:lnT w="12700" cap="flat" cmpd="sng" algn="ctr">
                      <a:solidFill>
                        <a:schemeClr val="tx2">
                          <a:lumMod val="60000"/>
                          <a:lumOff val="40000"/>
                        </a:schemeClr>
                      </a:solidFill>
                      <a:prstDash val="solid"/>
                      <a:round/>
                      <a:headEnd type="none" w="med" len="med"/>
                      <a:tailEnd type="none" w="med" len="med"/>
                    </a:lnT>
                    <a:noFill/>
                  </a:tcPr>
                </a:tc>
                <a:tc>
                  <a:txBody>
                    <a:bodyPr/>
                    <a:lstStyle/>
                    <a:p>
                      <a:pPr marL="177800" indent="-177800" defTabSz="708025">
                        <a:spcBef>
                          <a:spcPts val="100"/>
                        </a:spcBef>
                        <a:spcAft>
                          <a:spcPts val="100"/>
                        </a:spcAft>
                        <a:buClr>
                          <a:schemeClr val="tx1"/>
                        </a:buClr>
                        <a:buFontTx/>
                        <a:buChar char="•"/>
                      </a:pPr>
                      <a:r>
                        <a:rPr lang="en-US" sz="1400">
                          <a:latin typeface="Segoe UI" panose="020B0502040204020203" pitchFamily="34" charset="0"/>
                          <a:cs typeface="Segoe UI" panose="020B0502040204020203" pitchFamily="34" charset="0"/>
                        </a:rPr>
                        <a:t>Task 1</a:t>
                      </a:r>
                    </a:p>
                    <a:p>
                      <a:pPr marL="177800" indent="-177800" defTabSz="708025">
                        <a:spcBef>
                          <a:spcPts val="100"/>
                        </a:spcBef>
                        <a:spcAft>
                          <a:spcPts val="100"/>
                        </a:spcAft>
                        <a:buClr>
                          <a:schemeClr val="tx1"/>
                        </a:buClr>
                        <a:buFontTx/>
                        <a:buChar char="•"/>
                      </a:pPr>
                      <a:r>
                        <a:rPr lang="en-US" sz="1400">
                          <a:latin typeface="Segoe UI" panose="020B0502040204020203" pitchFamily="34" charset="0"/>
                          <a:cs typeface="Segoe UI" panose="020B0502040204020203" pitchFamily="34" charset="0"/>
                        </a:rPr>
                        <a:t>Task 2</a:t>
                      </a:r>
                    </a:p>
                    <a:p>
                      <a:pPr marL="177800" indent="-177800" defTabSz="708025">
                        <a:spcBef>
                          <a:spcPts val="100"/>
                        </a:spcBef>
                        <a:spcAft>
                          <a:spcPts val="100"/>
                        </a:spcAft>
                        <a:buClr>
                          <a:schemeClr val="tx1"/>
                        </a:buClr>
                        <a:buFontTx/>
                        <a:buChar char="•"/>
                      </a:pPr>
                      <a:r>
                        <a:rPr lang="en-US" sz="1400">
                          <a:latin typeface="Segoe UI" panose="020B0502040204020203" pitchFamily="34" charset="0"/>
                          <a:cs typeface="Segoe UI" panose="020B0502040204020203" pitchFamily="34" charset="0"/>
                        </a:rPr>
                        <a:t>Task 3</a:t>
                      </a:r>
                      <a:endParaRPr lang="en-GB" sz="1400">
                        <a:latin typeface="Segoe UI" panose="020B0502040204020203" pitchFamily="34" charset="0"/>
                        <a:cs typeface="Segoe UI" panose="020B0502040204020203" pitchFamily="34" charset="0"/>
                      </a:endParaRPr>
                    </a:p>
                    <a:p>
                      <a:endParaRPr lang="en-GB" sz="1400">
                        <a:latin typeface="Segoe UI" panose="020B0502040204020203" pitchFamily="34" charset="0"/>
                        <a:cs typeface="Segoe UI" panose="020B0502040204020203" pitchFamily="34" charset="0"/>
                      </a:endParaRPr>
                    </a:p>
                  </a:txBody>
                  <a:tcPr marT="108000">
                    <a:lnT w="12700" cap="flat" cmpd="sng" algn="ctr">
                      <a:solidFill>
                        <a:schemeClr val="tx2">
                          <a:lumMod val="60000"/>
                          <a:lumOff val="40000"/>
                        </a:schemeClr>
                      </a:solidFill>
                      <a:prstDash val="solid"/>
                      <a:round/>
                      <a:headEnd type="none" w="med" len="med"/>
                      <a:tailEnd type="none" w="med" len="med"/>
                    </a:lnT>
                    <a:noFill/>
                  </a:tcPr>
                </a:tc>
                <a:extLst>
                  <a:ext uri="{0D108BD9-81ED-4DB2-BD59-A6C34878D82A}">
                    <a16:rowId xmlns:a16="http://schemas.microsoft.com/office/drawing/2014/main" val="2767826105"/>
                  </a:ext>
                </a:extLst>
              </a:tr>
            </a:tbl>
          </a:graphicData>
        </a:graphic>
      </p:graphicFrame>
      <p:sp>
        <p:nvSpPr>
          <p:cNvPr id="11" name="Rectangle 10">
            <a:extLst>
              <a:ext uri="{FF2B5EF4-FFF2-40B4-BE49-F238E27FC236}">
                <a16:creationId xmlns:a16="http://schemas.microsoft.com/office/drawing/2014/main" id="{72772528-48F2-EF49-EC55-24483006D51A}"/>
              </a:ext>
            </a:extLst>
          </p:cNvPr>
          <p:cNvSpPr/>
          <p:nvPr/>
        </p:nvSpPr>
        <p:spPr>
          <a:xfrm>
            <a:off x="2951162" y="1487105"/>
            <a:ext cx="2194504" cy="276999"/>
          </a:xfrm>
          <a:prstGeom prst="rect">
            <a:avLst/>
          </a:prstGeom>
        </p:spPr>
        <p:txBody>
          <a:bodyPr wrap="none" lIns="0" tIns="0" rIns="0" bIns="0">
            <a:noAutofit/>
          </a:bodyPr>
          <a:lstStyle/>
          <a:p>
            <a:pPr lvl="0" defTabSz="1734634">
              <a:defRPr/>
            </a:pPr>
            <a:r>
              <a:rPr lang="en-US" sz="1200" cap="all">
                <a:latin typeface="Segoe UI" panose="020B0502040204020203" pitchFamily="34" charset="0"/>
                <a:ea typeface="ArialUnicodeMS"/>
                <a:cs typeface="Segoe UI" panose="020B0502040204020203" pitchFamily="34" charset="0"/>
              </a:rPr>
              <a:t>Phase 1</a:t>
            </a:r>
          </a:p>
        </p:txBody>
      </p:sp>
      <p:sp>
        <p:nvSpPr>
          <p:cNvPr id="12" name="Rectangle 11">
            <a:extLst>
              <a:ext uri="{FF2B5EF4-FFF2-40B4-BE49-F238E27FC236}">
                <a16:creationId xmlns:a16="http://schemas.microsoft.com/office/drawing/2014/main" id="{C008B280-D815-E356-02F9-C55E90424F30}"/>
              </a:ext>
            </a:extLst>
          </p:cNvPr>
          <p:cNvSpPr/>
          <p:nvPr/>
        </p:nvSpPr>
        <p:spPr>
          <a:xfrm>
            <a:off x="5145666" y="1487105"/>
            <a:ext cx="2194504" cy="276999"/>
          </a:xfrm>
          <a:prstGeom prst="rect">
            <a:avLst/>
          </a:prstGeom>
        </p:spPr>
        <p:txBody>
          <a:bodyPr wrap="none" lIns="0" tIns="0" rIns="0" bIns="0">
            <a:noAutofit/>
          </a:bodyPr>
          <a:lstStyle/>
          <a:p>
            <a:pPr lvl="0" defTabSz="1734634">
              <a:defRPr/>
            </a:pPr>
            <a:r>
              <a:rPr lang="en-US" sz="1200" cap="all">
                <a:latin typeface="Segoe UI" panose="020B0502040204020203" pitchFamily="34" charset="0"/>
                <a:ea typeface="ArialUnicodeMS"/>
                <a:cs typeface="Segoe UI" panose="020B0502040204020203" pitchFamily="34" charset="0"/>
              </a:rPr>
              <a:t>Phase 2</a:t>
            </a:r>
          </a:p>
        </p:txBody>
      </p:sp>
      <p:sp>
        <p:nvSpPr>
          <p:cNvPr id="13" name="Rectangle 12">
            <a:extLst>
              <a:ext uri="{FF2B5EF4-FFF2-40B4-BE49-F238E27FC236}">
                <a16:creationId xmlns:a16="http://schemas.microsoft.com/office/drawing/2014/main" id="{EC9F404F-D9F4-2952-5190-99404473D85B}"/>
              </a:ext>
            </a:extLst>
          </p:cNvPr>
          <p:cNvSpPr/>
          <p:nvPr/>
        </p:nvSpPr>
        <p:spPr>
          <a:xfrm>
            <a:off x="7340169" y="1487105"/>
            <a:ext cx="2194504" cy="276999"/>
          </a:xfrm>
          <a:prstGeom prst="rect">
            <a:avLst/>
          </a:prstGeom>
        </p:spPr>
        <p:txBody>
          <a:bodyPr wrap="none" lIns="0" tIns="0" rIns="0" bIns="0">
            <a:noAutofit/>
          </a:bodyPr>
          <a:lstStyle/>
          <a:p>
            <a:pPr lvl="0" defTabSz="1734634">
              <a:defRPr/>
            </a:pPr>
            <a:r>
              <a:rPr lang="en-US" sz="1200" cap="all">
                <a:latin typeface="Segoe UI" panose="020B0502040204020203" pitchFamily="34" charset="0"/>
                <a:ea typeface="ArialUnicodeMS"/>
                <a:cs typeface="Segoe UI" panose="020B0502040204020203" pitchFamily="34" charset="0"/>
              </a:rPr>
              <a:t>Phase 3</a:t>
            </a:r>
          </a:p>
        </p:txBody>
      </p:sp>
      <p:sp>
        <p:nvSpPr>
          <p:cNvPr id="14" name="Rectangle 13">
            <a:extLst>
              <a:ext uri="{FF2B5EF4-FFF2-40B4-BE49-F238E27FC236}">
                <a16:creationId xmlns:a16="http://schemas.microsoft.com/office/drawing/2014/main" id="{79BE1C53-299B-E4EC-D293-39F02E726899}"/>
              </a:ext>
            </a:extLst>
          </p:cNvPr>
          <p:cNvSpPr/>
          <p:nvPr/>
        </p:nvSpPr>
        <p:spPr>
          <a:xfrm>
            <a:off x="9552946" y="1487105"/>
            <a:ext cx="2194504" cy="276999"/>
          </a:xfrm>
          <a:prstGeom prst="rect">
            <a:avLst/>
          </a:prstGeom>
        </p:spPr>
        <p:txBody>
          <a:bodyPr wrap="none" lIns="0" tIns="0" rIns="0" bIns="0">
            <a:noAutofit/>
          </a:bodyPr>
          <a:lstStyle/>
          <a:p>
            <a:pPr lvl="0" defTabSz="1734634">
              <a:defRPr/>
            </a:pPr>
            <a:r>
              <a:rPr lang="en-US" sz="1200" cap="all">
                <a:latin typeface="Segoe UI" panose="020B0502040204020203" pitchFamily="34" charset="0"/>
                <a:ea typeface="ArialUnicodeMS"/>
                <a:cs typeface="Segoe UI" panose="020B0502040204020203" pitchFamily="34" charset="0"/>
              </a:rPr>
              <a:t>Phase 4</a:t>
            </a:r>
          </a:p>
        </p:txBody>
      </p:sp>
      <p:grpSp>
        <p:nvGrpSpPr>
          <p:cNvPr id="15" name="Group 14">
            <a:extLst>
              <a:ext uri="{FF2B5EF4-FFF2-40B4-BE49-F238E27FC236}">
                <a16:creationId xmlns:a16="http://schemas.microsoft.com/office/drawing/2014/main" id="{4F38D30C-570D-DA5A-ABE6-29A5ABDFBEA0}"/>
              </a:ext>
            </a:extLst>
          </p:cNvPr>
          <p:cNvGrpSpPr/>
          <p:nvPr/>
        </p:nvGrpSpPr>
        <p:grpSpPr>
          <a:xfrm>
            <a:off x="9912680" y="1108215"/>
            <a:ext cx="1942769" cy="209821"/>
            <a:chOff x="9912680" y="1108215"/>
            <a:chExt cx="1942769" cy="209821"/>
          </a:xfrm>
        </p:grpSpPr>
        <p:sp>
          <p:nvSpPr>
            <p:cNvPr id="16" name="AutoShape 5">
              <a:extLst>
                <a:ext uri="{FF2B5EF4-FFF2-40B4-BE49-F238E27FC236}">
                  <a16:creationId xmlns:a16="http://schemas.microsoft.com/office/drawing/2014/main" id="{01B93358-CF1E-D69D-22ED-A865DCCB59F6}"/>
                </a:ext>
              </a:extLst>
            </p:cNvPr>
            <p:cNvSpPr>
              <a:spLocks noChangeArrowheads="1"/>
            </p:cNvSpPr>
            <p:nvPr/>
          </p:nvSpPr>
          <p:spPr bwMode="auto">
            <a:xfrm>
              <a:off x="11288493" y="1108215"/>
              <a:ext cx="566956" cy="209821"/>
            </a:xfrm>
            <a:prstGeom prst="homePlate">
              <a:avLst>
                <a:gd name="adj" fmla="val 27116"/>
              </a:avLst>
            </a:prstGeom>
            <a:solidFill>
              <a:schemeClr val="tx2">
                <a:lumMod val="40000"/>
                <a:lumOff val="60000"/>
              </a:schemeClr>
            </a:solidFill>
            <a:ln w="12700">
              <a:solidFill>
                <a:schemeClr val="bg1"/>
              </a:solidFill>
              <a:miter lim="800000"/>
              <a:headEnd/>
              <a:tailEnd/>
            </a:ln>
          </p:spPr>
          <p:txBody>
            <a:bodyPr lIns="144000" tIns="72000" rIns="144000" bIns="72000" anchor="ctr" anchorCtr="0"/>
            <a:lstStyle/>
            <a:p>
              <a:pPr algn="ctr" eaLnBrk="0" hangingPunct="0"/>
              <a:endParaRPr lang="en-US" sz="1400" b="1">
                <a:solidFill>
                  <a:schemeClr val="bg1"/>
                </a:solidFill>
              </a:endParaRPr>
            </a:p>
          </p:txBody>
        </p:sp>
        <p:sp>
          <p:nvSpPr>
            <p:cNvPr id="17" name="AutoShape 5">
              <a:extLst>
                <a:ext uri="{FF2B5EF4-FFF2-40B4-BE49-F238E27FC236}">
                  <a16:creationId xmlns:a16="http://schemas.microsoft.com/office/drawing/2014/main" id="{00766231-A535-1625-AFA4-4C26AD11D40A}"/>
                </a:ext>
              </a:extLst>
            </p:cNvPr>
            <p:cNvSpPr>
              <a:spLocks noChangeArrowheads="1"/>
            </p:cNvSpPr>
            <p:nvPr/>
          </p:nvSpPr>
          <p:spPr bwMode="auto">
            <a:xfrm>
              <a:off x="10829888" y="1108215"/>
              <a:ext cx="571652" cy="209821"/>
            </a:xfrm>
            <a:prstGeom prst="homePlate">
              <a:avLst>
                <a:gd name="adj" fmla="val 27116"/>
              </a:avLst>
            </a:prstGeom>
            <a:solidFill>
              <a:schemeClr val="tx2">
                <a:lumMod val="40000"/>
                <a:lumOff val="60000"/>
              </a:schemeClr>
            </a:solidFill>
            <a:ln w="12700">
              <a:solidFill>
                <a:schemeClr val="bg1"/>
              </a:solidFill>
              <a:miter lim="800000"/>
              <a:headEnd/>
              <a:tailEnd/>
            </a:ln>
          </p:spPr>
          <p:txBody>
            <a:bodyPr lIns="144000" tIns="72000" rIns="144000" bIns="72000" anchor="ctr" anchorCtr="0"/>
            <a:lstStyle/>
            <a:p>
              <a:pPr algn="ctr" eaLnBrk="0" hangingPunct="0"/>
              <a:endParaRPr lang="en-US" sz="1400" b="1">
                <a:solidFill>
                  <a:schemeClr val="bg1"/>
                </a:solidFill>
              </a:endParaRPr>
            </a:p>
          </p:txBody>
        </p:sp>
        <p:sp>
          <p:nvSpPr>
            <p:cNvPr id="18" name="AutoShape 5">
              <a:extLst>
                <a:ext uri="{FF2B5EF4-FFF2-40B4-BE49-F238E27FC236}">
                  <a16:creationId xmlns:a16="http://schemas.microsoft.com/office/drawing/2014/main" id="{A2A20CD5-9174-6BB9-EA32-2C6A902C59CB}"/>
                </a:ext>
              </a:extLst>
            </p:cNvPr>
            <p:cNvSpPr>
              <a:spLocks noChangeArrowheads="1"/>
            </p:cNvSpPr>
            <p:nvPr/>
          </p:nvSpPr>
          <p:spPr bwMode="auto">
            <a:xfrm>
              <a:off x="10371284" y="1108215"/>
              <a:ext cx="571652" cy="209821"/>
            </a:xfrm>
            <a:prstGeom prst="homePlate">
              <a:avLst>
                <a:gd name="adj" fmla="val 27116"/>
              </a:avLst>
            </a:prstGeom>
            <a:solidFill>
              <a:schemeClr val="tx2">
                <a:lumMod val="40000"/>
                <a:lumOff val="60000"/>
              </a:schemeClr>
            </a:solidFill>
            <a:ln w="12700">
              <a:solidFill>
                <a:schemeClr val="bg1"/>
              </a:solidFill>
              <a:miter lim="800000"/>
              <a:headEnd/>
              <a:tailEnd/>
            </a:ln>
          </p:spPr>
          <p:txBody>
            <a:bodyPr lIns="144000" tIns="72000" rIns="144000" bIns="72000" anchor="ctr" anchorCtr="0"/>
            <a:lstStyle/>
            <a:p>
              <a:pPr algn="ctr" eaLnBrk="0" hangingPunct="0"/>
              <a:endParaRPr lang="en-US" sz="1400" b="1">
                <a:solidFill>
                  <a:schemeClr val="bg1"/>
                </a:solidFill>
              </a:endParaRPr>
            </a:p>
          </p:txBody>
        </p:sp>
        <p:sp>
          <p:nvSpPr>
            <p:cNvPr id="19" name="AutoShape 5">
              <a:extLst>
                <a:ext uri="{FF2B5EF4-FFF2-40B4-BE49-F238E27FC236}">
                  <a16:creationId xmlns:a16="http://schemas.microsoft.com/office/drawing/2014/main" id="{D6AAB588-C3D6-C25C-86DF-84DFD0DC63DD}"/>
                </a:ext>
              </a:extLst>
            </p:cNvPr>
            <p:cNvSpPr>
              <a:spLocks noChangeArrowheads="1"/>
            </p:cNvSpPr>
            <p:nvPr/>
          </p:nvSpPr>
          <p:spPr bwMode="auto">
            <a:xfrm>
              <a:off x="9912680" y="1108215"/>
              <a:ext cx="571652" cy="209821"/>
            </a:xfrm>
            <a:prstGeom prst="homePlate">
              <a:avLst>
                <a:gd name="adj" fmla="val 27116"/>
              </a:avLst>
            </a:prstGeom>
            <a:solidFill>
              <a:srgbClr val="C00000"/>
            </a:solidFill>
            <a:ln w="12700">
              <a:solidFill>
                <a:schemeClr val="bg1"/>
              </a:solidFill>
              <a:miter lim="800000"/>
              <a:headEnd/>
              <a:tailEnd/>
            </a:ln>
          </p:spPr>
          <p:txBody>
            <a:bodyPr lIns="144000" tIns="72000" rIns="144000" bIns="72000" anchor="ctr" anchorCtr="0"/>
            <a:lstStyle/>
            <a:p>
              <a:pPr algn="ctr" eaLnBrk="0" hangingPunct="0"/>
              <a:endParaRPr lang="en-US" sz="1400" b="1">
                <a:solidFill>
                  <a:schemeClr val="bg1"/>
                </a:solidFill>
              </a:endParaRPr>
            </a:p>
          </p:txBody>
        </p:sp>
      </p:grpSp>
    </p:spTree>
    <p:extLst>
      <p:ext uri="{BB962C8B-B14F-4D97-AF65-F5344CB8AC3E}">
        <p14:creationId xmlns:p14="http://schemas.microsoft.com/office/powerpoint/2010/main" val="35278400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84D0E-EA49-01F6-0248-B094EC780638}"/>
              </a:ext>
            </a:extLst>
          </p:cNvPr>
          <p:cNvSpPr>
            <a:spLocks noGrp="1"/>
          </p:cNvSpPr>
          <p:nvPr>
            <p:ph type="title"/>
          </p:nvPr>
        </p:nvSpPr>
        <p:spPr/>
        <p:txBody>
          <a:bodyPr/>
          <a:lstStyle/>
          <a:p>
            <a:r>
              <a:rPr lang="en-BR"/>
              <a:t>Project Management</a:t>
            </a:r>
          </a:p>
        </p:txBody>
      </p:sp>
      <p:sp>
        <p:nvSpPr>
          <p:cNvPr id="3" name="Footer Placeholder 2">
            <a:extLst>
              <a:ext uri="{FF2B5EF4-FFF2-40B4-BE49-F238E27FC236}">
                <a16:creationId xmlns:a16="http://schemas.microsoft.com/office/drawing/2014/main" id="{606E88EF-CFD6-4865-508E-7A20BADADACD}"/>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6C09D24F-C185-0690-5A15-15E8138E82F1}"/>
              </a:ext>
            </a:extLst>
          </p:cNvPr>
          <p:cNvSpPr>
            <a:spLocks noGrp="1"/>
          </p:cNvSpPr>
          <p:nvPr>
            <p:ph type="sldNum" sz="quarter" idx="12"/>
          </p:nvPr>
        </p:nvSpPr>
        <p:spPr/>
        <p:txBody>
          <a:bodyPr/>
          <a:lstStyle/>
          <a:p>
            <a:fld id="{A8DDC45B-7265-3747-B738-ED29642119D9}" type="slidenum">
              <a:rPr lang="en-BR" smtClean="0"/>
              <a:pPr/>
              <a:t>37</a:t>
            </a:fld>
            <a:endParaRPr lang="en-BR"/>
          </a:p>
        </p:txBody>
      </p:sp>
      <p:sp>
        <p:nvSpPr>
          <p:cNvPr id="5" name="Text Placeholder 4">
            <a:extLst>
              <a:ext uri="{FF2B5EF4-FFF2-40B4-BE49-F238E27FC236}">
                <a16:creationId xmlns:a16="http://schemas.microsoft.com/office/drawing/2014/main" id="{6EC9853F-94F1-F1D2-E2A8-B03A2768A1A6}"/>
              </a:ext>
            </a:extLst>
          </p:cNvPr>
          <p:cNvSpPr>
            <a:spLocks noGrp="1"/>
          </p:cNvSpPr>
          <p:nvPr>
            <p:ph type="body" sz="quarter" idx="13"/>
          </p:nvPr>
        </p:nvSpPr>
        <p:spPr/>
        <p:txBody>
          <a:bodyPr/>
          <a:lstStyle/>
          <a:p>
            <a:r>
              <a:rPr lang="en-BR"/>
              <a:t>Implementation Phases</a:t>
            </a:r>
          </a:p>
        </p:txBody>
      </p:sp>
      <p:sp>
        <p:nvSpPr>
          <p:cNvPr id="6" name="Freeform: Shape 22">
            <a:extLst>
              <a:ext uri="{FF2B5EF4-FFF2-40B4-BE49-F238E27FC236}">
                <a16:creationId xmlns:a16="http://schemas.microsoft.com/office/drawing/2014/main" id="{8B5B8504-7973-574F-916E-C515B04FAAE1}"/>
              </a:ext>
            </a:extLst>
          </p:cNvPr>
          <p:cNvSpPr>
            <a:spLocks noChangeArrowheads="1"/>
          </p:cNvSpPr>
          <p:nvPr/>
        </p:nvSpPr>
        <p:spPr bwMode="auto">
          <a:xfrm rot="16200000" flipH="1">
            <a:off x="338272" y="3346692"/>
            <a:ext cx="1677018" cy="1677283"/>
          </a:xfrm>
          <a:custGeom>
            <a:avLst/>
            <a:gdLst>
              <a:gd name="connsiteX0" fmla="*/ 0 w 1785883"/>
              <a:gd name="connsiteY0" fmla="*/ 1782773 h 1782774"/>
              <a:gd name="connsiteX1" fmla="*/ 0 w 1785883"/>
              <a:gd name="connsiteY1" fmla="*/ 1782774 h 1782774"/>
              <a:gd name="connsiteX2" fmla="*/ 1191631 w 1785883"/>
              <a:gd name="connsiteY2" fmla="*/ 1782774 h 1782774"/>
              <a:gd name="connsiteX3" fmla="*/ 1785883 w 1785883"/>
              <a:gd name="connsiteY3" fmla="*/ 891387 h 1782774"/>
              <a:gd name="connsiteX4" fmla="*/ 1191631 w 1785883"/>
              <a:gd name="connsiteY4" fmla="*/ 0 h 1782774"/>
              <a:gd name="connsiteX5" fmla="*/ 3834 w 1785883"/>
              <a:gd name="connsiteY5" fmla="*/ 0 h 1782774"/>
              <a:gd name="connsiteX6" fmla="*/ 601438 w 1785883"/>
              <a:gd name="connsiteY6" fmla="*/ 891387 h 1782774"/>
              <a:gd name="connsiteX7" fmla="*/ 3834 w 1785883"/>
              <a:gd name="connsiteY7" fmla="*/ 1782773 h 178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5883" h="1782774">
                <a:moveTo>
                  <a:pt x="0" y="1782773"/>
                </a:moveTo>
                <a:lnTo>
                  <a:pt x="0" y="1782774"/>
                </a:lnTo>
                <a:lnTo>
                  <a:pt x="1191631" y="1782774"/>
                </a:lnTo>
                <a:lnTo>
                  <a:pt x="1785883" y="891387"/>
                </a:lnTo>
                <a:lnTo>
                  <a:pt x="1191631" y="0"/>
                </a:lnTo>
                <a:lnTo>
                  <a:pt x="3834" y="0"/>
                </a:lnTo>
                <a:lnTo>
                  <a:pt x="601438" y="891387"/>
                </a:lnTo>
                <a:lnTo>
                  <a:pt x="3834" y="1782773"/>
                </a:lnTo>
                <a:close/>
              </a:path>
            </a:pathLst>
          </a:custGeom>
          <a:solidFill>
            <a:srgbClr val="FF0000"/>
          </a:solidFill>
          <a:ln w="6350">
            <a:noFill/>
            <a:miter lim="800000"/>
            <a:headEnd/>
            <a:tailEnd/>
          </a:ln>
          <a:effectLst/>
        </p:spPr>
        <p:txBody>
          <a:bodyPr vert="eaVert" wrap="square" lIns="36000" tIns="0" rIns="252000" anchor="ctr">
            <a:noAutofit/>
          </a:bodyPr>
          <a:lstStyle/>
          <a:p>
            <a:pPr algn="ctr" eaLnBrk="0" hangingPunct="0">
              <a:lnSpc>
                <a:spcPct val="85000"/>
              </a:lnSpc>
              <a:spcBef>
                <a:spcPts val="100"/>
              </a:spcBef>
              <a:spcAft>
                <a:spcPts val="300"/>
              </a:spcAft>
              <a:buClr>
                <a:schemeClr val="bg1"/>
              </a:buClr>
            </a:pPr>
            <a:r>
              <a:rPr lang="en-AU" sz="1200" b="1" cap="all">
                <a:solidFill>
                  <a:schemeClr val="bg1"/>
                </a:solidFill>
                <a:latin typeface="Segoe UI" panose="020B0502040204020203" pitchFamily="34" charset="0"/>
                <a:cs typeface="Segoe UI" panose="020B0502040204020203" pitchFamily="34" charset="0"/>
              </a:rPr>
              <a:t>Phase 2</a:t>
            </a:r>
            <a:endParaRPr lang="en-GB" sz="1200" b="1" cap="all">
              <a:solidFill>
                <a:schemeClr val="bg1"/>
              </a:solidFill>
              <a:latin typeface="Segoe UI" panose="020B0502040204020203" pitchFamily="34" charset="0"/>
              <a:cs typeface="Segoe UI" panose="020B0502040204020203" pitchFamily="34" charset="0"/>
            </a:endParaRPr>
          </a:p>
        </p:txBody>
      </p:sp>
      <p:sp>
        <p:nvSpPr>
          <p:cNvPr id="7" name="Freeform: Shape 20">
            <a:extLst>
              <a:ext uri="{FF2B5EF4-FFF2-40B4-BE49-F238E27FC236}">
                <a16:creationId xmlns:a16="http://schemas.microsoft.com/office/drawing/2014/main" id="{84A8CCB1-EB9C-E306-B31B-33FBEF0837D2}"/>
              </a:ext>
            </a:extLst>
          </p:cNvPr>
          <p:cNvSpPr>
            <a:spLocks noChangeArrowheads="1"/>
          </p:cNvSpPr>
          <p:nvPr/>
        </p:nvSpPr>
        <p:spPr bwMode="auto">
          <a:xfrm rot="16200000" flipH="1">
            <a:off x="271871" y="4564652"/>
            <a:ext cx="1809818" cy="1677283"/>
          </a:xfrm>
          <a:custGeom>
            <a:avLst/>
            <a:gdLst>
              <a:gd name="connsiteX0" fmla="*/ 0 w 1927304"/>
              <a:gd name="connsiteY0" fmla="*/ 0 h 1782774"/>
              <a:gd name="connsiteX1" fmla="*/ 0 w 1927304"/>
              <a:gd name="connsiteY1" fmla="*/ 1 h 1782774"/>
              <a:gd name="connsiteX2" fmla="*/ 101065 w 1927304"/>
              <a:gd name="connsiteY2" fmla="*/ 1 h 1782774"/>
              <a:gd name="connsiteX3" fmla="*/ 695317 w 1927304"/>
              <a:gd name="connsiteY3" fmla="*/ 891388 h 1782774"/>
              <a:gd name="connsiteX4" fmla="*/ 101065 w 1927304"/>
              <a:gd name="connsiteY4" fmla="*/ 1782774 h 1782774"/>
              <a:gd name="connsiteX5" fmla="*/ 1333052 w 1927304"/>
              <a:gd name="connsiteY5" fmla="*/ 1782774 h 1782774"/>
              <a:gd name="connsiteX6" fmla="*/ 1927304 w 1927304"/>
              <a:gd name="connsiteY6" fmla="*/ 891387 h 1782774"/>
              <a:gd name="connsiteX7" fmla="*/ 1333052 w 1927304"/>
              <a:gd name="connsiteY7" fmla="*/ 0 h 178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7304" h="1782774">
                <a:moveTo>
                  <a:pt x="0" y="0"/>
                </a:moveTo>
                <a:lnTo>
                  <a:pt x="0" y="1"/>
                </a:lnTo>
                <a:lnTo>
                  <a:pt x="101065" y="1"/>
                </a:lnTo>
                <a:lnTo>
                  <a:pt x="695317" y="891388"/>
                </a:lnTo>
                <a:lnTo>
                  <a:pt x="101065" y="1782774"/>
                </a:lnTo>
                <a:lnTo>
                  <a:pt x="1333052" y="1782774"/>
                </a:lnTo>
                <a:lnTo>
                  <a:pt x="1927304" y="891387"/>
                </a:lnTo>
                <a:lnTo>
                  <a:pt x="1333052" y="0"/>
                </a:lnTo>
                <a:close/>
              </a:path>
            </a:pathLst>
          </a:custGeom>
          <a:solidFill>
            <a:schemeClr val="tx1">
              <a:lumMod val="50000"/>
              <a:lumOff val="50000"/>
            </a:schemeClr>
          </a:solidFill>
          <a:ln w="6350">
            <a:noFill/>
            <a:miter lim="800000"/>
            <a:headEnd/>
            <a:tailEnd/>
          </a:ln>
          <a:effectLst/>
        </p:spPr>
        <p:txBody>
          <a:bodyPr vert="eaVert" wrap="square" lIns="36000" tIns="0" rIns="252000" anchor="ctr">
            <a:noAutofit/>
          </a:bodyPr>
          <a:lstStyle/>
          <a:p>
            <a:pPr algn="ctr" eaLnBrk="0" hangingPunct="0">
              <a:lnSpc>
                <a:spcPct val="85000"/>
              </a:lnSpc>
              <a:spcBef>
                <a:spcPts val="100"/>
              </a:spcBef>
              <a:spcAft>
                <a:spcPts val="300"/>
              </a:spcAft>
              <a:buClr>
                <a:schemeClr val="bg1"/>
              </a:buClr>
            </a:pPr>
            <a:r>
              <a:rPr lang="en-AU" sz="1200" b="1" cap="all">
                <a:solidFill>
                  <a:schemeClr val="bg1"/>
                </a:solidFill>
                <a:latin typeface="Segoe UI" panose="020B0502040204020203" pitchFamily="34" charset="0"/>
                <a:cs typeface="Segoe UI" panose="020B0502040204020203" pitchFamily="34" charset="0"/>
              </a:rPr>
              <a:t>Phase 3</a:t>
            </a:r>
            <a:endParaRPr lang="en-GB" sz="1200" b="1" cap="all">
              <a:solidFill>
                <a:schemeClr val="bg1"/>
              </a:solidFill>
              <a:latin typeface="Segoe UI" panose="020B0502040204020203" pitchFamily="34" charset="0"/>
              <a:cs typeface="Segoe UI" panose="020B0502040204020203" pitchFamily="34" charset="0"/>
            </a:endParaRPr>
          </a:p>
        </p:txBody>
      </p:sp>
      <p:sp>
        <p:nvSpPr>
          <p:cNvPr id="8" name="Rectangle 6">
            <a:extLst>
              <a:ext uri="{FF2B5EF4-FFF2-40B4-BE49-F238E27FC236}">
                <a16:creationId xmlns:a16="http://schemas.microsoft.com/office/drawing/2014/main" id="{8378156D-7276-F42A-931E-0CE7C3704D97}"/>
              </a:ext>
            </a:extLst>
          </p:cNvPr>
          <p:cNvSpPr>
            <a:spLocks noChangeArrowheads="1"/>
          </p:cNvSpPr>
          <p:nvPr/>
        </p:nvSpPr>
        <p:spPr bwMode="auto">
          <a:xfrm>
            <a:off x="2124530" y="2052991"/>
            <a:ext cx="4422358" cy="1168076"/>
          </a:xfrm>
          <a:prstGeom prst="rect">
            <a:avLst/>
          </a:prstGeom>
          <a:solidFill>
            <a:schemeClr val="bg1"/>
          </a:solidFill>
          <a:ln w="12700">
            <a:solidFill>
              <a:srgbClr val="C00000"/>
            </a:solidFill>
            <a:miter lim="800000"/>
            <a:headEnd/>
            <a:tailEnd/>
          </a:ln>
        </p:spPr>
        <p:txBody>
          <a:bodyPr lIns="252000" tIns="144000" rIns="72000" bIns="72000"/>
          <a:lstStyle/>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p:txBody>
      </p:sp>
      <p:sp>
        <p:nvSpPr>
          <p:cNvPr id="9" name="Rectangle 7">
            <a:extLst>
              <a:ext uri="{FF2B5EF4-FFF2-40B4-BE49-F238E27FC236}">
                <a16:creationId xmlns:a16="http://schemas.microsoft.com/office/drawing/2014/main" id="{1AD51969-C27D-FC81-E5B8-150CD864D0FD}"/>
              </a:ext>
            </a:extLst>
          </p:cNvPr>
          <p:cNvSpPr>
            <a:spLocks noChangeArrowheads="1"/>
          </p:cNvSpPr>
          <p:nvPr/>
        </p:nvSpPr>
        <p:spPr bwMode="auto">
          <a:xfrm>
            <a:off x="2124529" y="3342699"/>
            <a:ext cx="4422359" cy="1116785"/>
          </a:xfrm>
          <a:prstGeom prst="rect">
            <a:avLst/>
          </a:prstGeom>
          <a:solidFill>
            <a:schemeClr val="bg1"/>
          </a:solidFill>
          <a:ln w="12700">
            <a:solidFill>
              <a:srgbClr val="FF0000"/>
            </a:solidFill>
            <a:miter lim="800000"/>
            <a:headEnd/>
            <a:tailEnd/>
          </a:ln>
        </p:spPr>
        <p:txBody>
          <a:bodyPr lIns="252000" tIns="144000" rIns="72000" bIns="72000"/>
          <a:lstStyle/>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p:txBody>
      </p:sp>
      <p:sp>
        <p:nvSpPr>
          <p:cNvPr id="10" name="Rectangle 8">
            <a:extLst>
              <a:ext uri="{FF2B5EF4-FFF2-40B4-BE49-F238E27FC236}">
                <a16:creationId xmlns:a16="http://schemas.microsoft.com/office/drawing/2014/main" id="{C0023F0F-662A-D0D0-7435-5219F1A042B4}"/>
              </a:ext>
            </a:extLst>
          </p:cNvPr>
          <p:cNvSpPr>
            <a:spLocks noChangeArrowheads="1"/>
          </p:cNvSpPr>
          <p:nvPr/>
        </p:nvSpPr>
        <p:spPr bwMode="auto">
          <a:xfrm>
            <a:off x="2124529" y="4592284"/>
            <a:ext cx="4422357" cy="1161034"/>
          </a:xfrm>
          <a:prstGeom prst="rect">
            <a:avLst/>
          </a:prstGeom>
          <a:solidFill>
            <a:schemeClr val="bg1"/>
          </a:solidFill>
          <a:ln w="12700">
            <a:solidFill>
              <a:schemeClr val="tx1">
                <a:lumMod val="50000"/>
                <a:lumOff val="50000"/>
              </a:schemeClr>
            </a:solidFill>
            <a:miter lim="800000"/>
            <a:headEnd/>
            <a:tailEnd/>
          </a:ln>
        </p:spPr>
        <p:txBody>
          <a:bodyPr lIns="252000" tIns="144000" rIns="72000" bIns="72000"/>
          <a:lstStyle/>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p:txBody>
      </p:sp>
      <p:sp>
        <p:nvSpPr>
          <p:cNvPr id="11" name="AutoShape 9">
            <a:extLst>
              <a:ext uri="{FF2B5EF4-FFF2-40B4-BE49-F238E27FC236}">
                <a16:creationId xmlns:a16="http://schemas.microsoft.com/office/drawing/2014/main" id="{0316CA6C-A8F2-D761-2575-667749A6B275}"/>
              </a:ext>
            </a:extLst>
          </p:cNvPr>
          <p:cNvSpPr>
            <a:spLocks noChangeArrowheads="1"/>
          </p:cNvSpPr>
          <p:nvPr/>
        </p:nvSpPr>
        <p:spPr bwMode="auto">
          <a:xfrm rot="16200000" flipH="1">
            <a:off x="309139" y="2081991"/>
            <a:ext cx="1735282" cy="1677283"/>
          </a:xfrm>
          <a:prstGeom prst="homePlate">
            <a:avLst>
              <a:gd name="adj" fmla="val 33521"/>
            </a:avLst>
          </a:prstGeom>
          <a:solidFill>
            <a:srgbClr val="C00000"/>
          </a:solidFill>
          <a:ln w="6350">
            <a:noFill/>
            <a:miter lim="800000"/>
            <a:headEnd/>
            <a:tailEnd/>
          </a:ln>
          <a:effectLst/>
        </p:spPr>
        <p:txBody>
          <a:bodyPr vert="eaVert" wrap="none" lIns="45720" rIns="45720" anchor="ctr"/>
          <a:lstStyle/>
          <a:p>
            <a:pPr algn="ctr" eaLnBrk="0" hangingPunct="0">
              <a:lnSpc>
                <a:spcPct val="85000"/>
              </a:lnSpc>
              <a:spcBef>
                <a:spcPts val="100"/>
              </a:spcBef>
              <a:spcAft>
                <a:spcPts val="300"/>
              </a:spcAft>
              <a:buClr>
                <a:schemeClr val="bg1"/>
              </a:buClr>
            </a:pPr>
            <a:r>
              <a:rPr lang="en-GB" sz="1200" b="1" cap="all">
                <a:solidFill>
                  <a:schemeClr val="bg1"/>
                </a:solidFill>
                <a:latin typeface="Segoe UI" panose="020B0502040204020203" pitchFamily="34" charset="0"/>
                <a:cs typeface="Segoe UI" panose="020B0502040204020203" pitchFamily="34" charset="0"/>
              </a:rPr>
              <a:t>Phase 1</a:t>
            </a:r>
          </a:p>
        </p:txBody>
      </p:sp>
      <p:sp>
        <p:nvSpPr>
          <p:cNvPr id="12" name="Rectangle 7">
            <a:extLst>
              <a:ext uri="{FF2B5EF4-FFF2-40B4-BE49-F238E27FC236}">
                <a16:creationId xmlns:a16="http://schemas.microsoft.com/office/drawing/2014/main" id="{6380D2F5-CAAD-C52E-A745-CF919A67B4BC}"/>
              </a:ext>
            </a:extLst>
          </p:cNvPr>
          <p:cNvSpPr>
            <a:spLocks noChangeArrowheads="1"/>
          </p:cNvSpPr>
          <p:nvPr/>
        </p:nvSpPr>
        <p:spPr bwMode="auto">
          <a:xfrm>
            <a:off x="2124529" y="1594530"/>
            <a:ext cx="4422357" cy="392061"/>
          </a:xfrm>
          <a:prstGeom prst="rect">
            <a:avLst/>
          </a:prstGeom>
          <a:noFill/>
          <a:ln w="6350">
            <a:noFill/>
            <a:miter lim="800000"/>
            <a:headEnd/>
            <a:tailEnd/>
          </a:ln>
          <a:effectLst/>
        </p:spPr>
        <p:txBody>
          <a:bodyPr lIns="0" tIns="72000" rIns="72000" bIns="72000" anchor="b"/>
          <a:lstStyle/>
          <a:p>
            <a:pPr defTabSz="739775" eaLnBrk="0" hangingPunct="0">
              <a:spcBef>
                <a:spcPct val="0"/>
              </a:spcBef>
            </a:pPr>
            <a:r>
              <a:rPr lang="en-US" sz="1400" b="1" cap="all">
                <a:latin typeface="+mj-lt"/>
              </a:rPr>
              <a:t>Activities per phase</a:t>
            </a:r>
          </a:p>
        </p:txBody>
      </p:sp>
      <p:sp>
        <p:nvSpPr>
          <p:cNvPr id="17" name="Rectangle 6">
            <a:extLst>
              <a:ext uri="{FF2B5EF4-FFF2-40B4-BE49-F238E27FC236}">
                <a16:creationId xmlns:a16="http://schemas.microsoft.com/office/drawing/2014/main" id="{D1C9F4A0-4533-B7BC-93CB-3D6ACA571154}"/>
              </a:ext>
            </a:extLst>
          </p:cNvPr>
          <p:cNvSpPr>
            <a:spLocks noChangeArrowheads="1"/>
          </p:cNvSpPr>
          <p:nvPr/>
        </p:nvSpPr>
        <p:spPr bwMode="auto">
          <a:xfrm>
            <a:off x="6673380" y="2052991"/>
            <a:ext cx="3014629" cy="1168076"/>
          </a:xfrm>
          <a:prstGeom prst="rect">
            <a:avLst/>
          </a:prstGeom>
          <a:solidFill>
            <a:schemeClr val="bg1"/>
          </a:solidFill>
          <a:ln w="12700">
            <a:solidFill>
              <a:srgbClr val="C00000"/>
            </a:solidFill>
            <a:miter lim="800000"/>
            <a:headEnd/>
            <a:tailEnd/>
          </a:ln>
        </p:spPr>
        <p:txBody>
          <a:bodyPr lIns="252000" tIns="144000" rIns="72000" bIns="72000"/>
          <a:lstStyle/>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p:txBody>
      </p:sp>
      <p:sp>
        <p:nvSpPr>
          <p:cNvPr id="18" name="Rectangle 7">
            <a:extLst>
              <a:ext uri="{FF2B5EF4-FFF2-40B4-BE49-F238E27FC236}">
                <a16:creationId xmlns:a16="http://schemas.microsoft.com/office/drawing/2014/main" id="{A9546E5F-D239-55FA-363C-2652E46CB319}"/>
              </a:ext>
            </a:extLst>
          </p:cNvPr>
          <p:cNvSpPr>
            <a:spLocks noChangeArrowheads="1"/>
          </p:cNvSpPr>
          <p:nvPr/>
        </p:nvSpPr>
        <p:spPr bwMode="auto">
          <a:xfrm>
            <a:off x="6673380" y="3342699"/>
            <a:ext cx="3014630" cy="1116785"/>
          </a:xfrm>
          <a:prstGeom prst="rect">
            <a:avLst/>
          </a:prstGeom>
          <a:solidFill>
            <a:schemeClr val="bg1"/>
          </a:solidFill>
          <a:ln w="12700">
            <a:solidFill>
              <a:srgbClr val="FF0000"/>
            </a:solidFill>
            <a:miter lim="800000"/>
            <a:headEnd/>
            <a:tailEnd/>
          </a:ln>
        </p:spPr>
        <p:txBody>
          <a:bodyPr lIns="252000" tIns="144000" rIns="72000" bIns="72000"/>
          <a:lstStyle/>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p:txBody>
      </p:sp>
      <p:sp>
        <p:nvSpPr>
          <p:cNvPr id="19" name="Rectangle 8">
            <a:extLst>
              <a:ext uri="{FF2B5EF4-FFF2-40B4-BE49-F238E27FC236}">
                <a16:creationId xmlns:a16="http://schemas.microsoft.com/office/drawing/2014/main" id="{84374876-B75D-6B75-0FEE-BFF2088ADE67}"/>
              </a:ext>
            </a:extLst>
          </p:cNvPr>
          <p:cNvSpPr>
            <a:spLocks noChangeArrowheads="1"/>
          </p:cNvSpPr>
          <p:nvPr/>
        </p:nvSpPr>
        <p:spPr bwMode="auto">
          <a:xfrm>
            <a:off x="6673380" y="4592284"/>
            <a:ext cx="3014628" cy="1161034"/>
          </a:xfrm>
          <a:prstGeom prst="rect">
            <a:avLst/>
          </a:prstGeom>
          <a:solidFill>
            <a:schemeClr val="bg1"/>
          </a:solidFill>
          <a:ln w="12700">
            <a:solidFill>
              <a:schemeClr val="tx1">
                <a:lumMod val="50000"/>
                <a:lumOff val="50000"/>
              </a:schemeClr>
            </a:solidFill>
            <a:miter lim="800000"/>
            <a:headEnd/>
            <a:tailEnd/>
          </a:ln>
        </p:spPr>
        <p:txBody>
          <a:bodyPr lIns="252000" tIns="144000" rIns="72000" bIns="72000"/>
          <a:lstStyle/>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p:txBody>
      </p:sp>
      <p:sp>
        <p:nvSpPr>
          <p:cNvPr id="20" name="Rectangle 6">
            <a:extLst>
              <a:ext uri="{FF2B5EF4-FFF2-40B4-BE49-F238E27FC236}">
                <a16:creationId xmlns:a16="http://schemas.microsoft.com/office/drawing/2014/main" id="{F72ED6E2-E600-20D9-FA91-0E002D47941A}"/>
              </a:ext>
            </a:extLst>
          </p:cNvPr>
          <p:cNvSpPr>
            <a:spLocks noChangeArrowheads="1"/>
          </p:cNvSpPr>
          <p:nvPr/>
        </p:nvSpPr>
        <p:spPr bwMode="auto">
          <a:xfrm>
            <a:off x="9873205" y="2052991"/>
            <a:ext cx="1980655" cy="1168076"/>
          </a:xfrm>
          <a:prstGeom prst="rect">
            <a:avLst/>
          </a:prstGeom>
          <a:solidFill>
            <a:schemeClr val="bg1"/>
          </a:solidFill>
          <a:ln w="12700">
            <a:solidFill>
              <a:srgbClr val="C00000"/>
            </a:solidFill>
            <a:miter lim="800000"/>
            <a:headEnd/>
            <a:tailEnd/>
          </a:ln>
        </p:spPr>
        <p:txBody>
          <a:bodyPr lIns="252000" tIns="144000" rIns="72000" bIns="72000"/>
          <a:lstStyle/>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p:txBody>
      </p:sp>
      <p:sp>
        <p:nvSpPr>
          <p:cNvPr id="21" name="Rectangle 7">
            <a:extLst>
              <a:ext uri="{FF2B5EF4-FFF2-40B4-BE49-F238E27FC236}">
                <a16:creationId xmlns:a16="http://schemas.microsoft.com/office/drawing/2014/main" id="{F4669C91-ED46-3BE5-14B6-294EFB2D6616}"/>
              </a:ext>
            </a:extLst>
          </p:cNvPr>
          <p:cNvSpPr>
            <a:spLocks noChangeArrowheads="1"/>
          </p:cNvSpPr>
          <p:nvPr/>
        </p:nvSpPr>
        <p:spPr bwMode="auto">
          <a:xfrm>
            <a:off x="9873205" y="3342699"/>
            <a:ext cx="1980656" cy="1116785"/>
          </a:xfrm>
          <a:prstGeom prst="rect">
            <a:avLst/>
          </a:prstGeom>
          <a:solidFill>
            <a:schemeClr val="bg1"/>
          </a:solidFill>
          <a:ln w="12700">
            <a:solidFill>
              <a:srgbClr val="FF0000"/>
            </a:solidFill>
            <a:miter lim="800000"/>
            <a:headEnd/>
            <a:tailEnd/>
          </a:ln>
        </p:spPr>
        <p:txBody>
          <a:bodyPr lIns="252000" tIns="144000" rIns="72000" bIns="72000"/>
          <a:lstStyle/>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p:txBody>
      </p:sp>
      <p:sp>
        <p:nvSpPr>
          <p:cNvPr id="22" name="Rectangle 8">
            <a:extLst>
              <a:ext uri="{FF2B5EF4-FFF2-40B4-BE49-F238E27FC236}">
                <a16:creationId xmlns:a16="http://schemas.microsoft.com/office/drawing/2014/main" id="{71C2191A-7A40-AF63-10AB-CCD8246DA5F9}"/>
              </a:ext>
            </a:extLst>
          </p:cNvPr>
          <p:cNvSpPr>
            <a:spLocks noChangeArrowheads="1"/>
          </p:cNvSpPr>
          <p:nvPr/>
        </p:nvSpPr>
        <p:spPr bwMode="auto">
          <a:xfrm>
            <a:off x="9873205" y="4592284"/>
            <a:ext cx="1980654" cy="1161034"/>
          </a:xfrm>
          <a:prstGeom prst="rect">
            <a:avLst/>
          </a:prstGeom>
          <a:solidFill>
            <a:schemeClr val="bg1"/>
          </a:solidFill>
          <a:ln w="12700">
            <a:solidFill>
              <a:schemeClr val="tx1">
                <a:lumMod val="50000"/>
                <a:lumOff val="50000"/>
              </a:schemeClr>
            </a:solidFill>
            <a:miter lim="800000"/>
            <a:headEnd/>
            <a:tailEnd/>
          </a:ln>
        </p:spPr>
        <p:txBody>
          <a:bodyPr lIns="252000" tIns="144000" rIns="72000" bIns="72000"/>
          <a:lstStyle/>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a:p>
            <a:pPr marL="174625" indent="-174625" eaLnBrk="0" hangingPunct="0">
              <a:lnSpc>
                <a:spcPct val="85000"/>
              </a:lnSpc>
              <a:spcBef>
                <a:spcPts val="100"/>
              </a:spcBef>
              <a:spcAft>
                <a:spcPts val="100"/>
              </a:spcAft>
              <a:buFontTx/>
              <a:buChar char="•"/>
            </a:pPr>
            <a:r>
              <a:rPr lang="en-GB" sz="1200">
                <a:solidFill>
                  <a:schemeClr val="tx1">
                    <a:lumMod val="75000"/>
                    <a:lumOff val="25000"/>
                  </a:schemeClr>
                </a:solidFill>
                <a:latin typeface="Segoe UI" panose="020B0502040204020203" pitchFamily="34" charset="0"/>
                <a:cs typeface="Segoe UI" panose="020B0502040204020203" pitchFamily="34" charset="0"/>
              </a:rPr>
              <a:t>Text</a:t>
            </a:r>
          </a:p>
        </p:txBody>
      </p:sp>
      <p:sp>
        <p:nvSpPr>
          <p:cNvPr id="23" name="Rectangle 7">
            <a:extLst>
              <a:ext uri="{FF2B5EF4-FFF2-40B4-BE49-F238E27FC236}">
                <a16:creationId xmlns:a16="http://schemas.microsoft.com/office/drawing/2014/main" id="{A57F80D7-C471-B530-0E13-92053DEA4FBE}"/>
              </a:ext>
            </a:extLst>
          </p:cNvPr>
          <p:cNvSpPr>
            <a:spLocks noChangeArrowheads="1"/>
          </p:cNvSpPr>
          <p:nvPr/>
        </p:nvSpPr>
        <p:spPr bwMode="auto">
          <a:xfrm>
            <a:off x="6673381" y="1594530"/>
            <a:ext cx="2644240" cy="392061"/>
          </a:xfrm>
          <a:prstGeom prst="rect">
            <a:avLst/>
          </a:prstGeom>
          <a:noFill/>
          <a:ln w="6350">
            <a:noFill/>
            <a:miter lim="800000"/>
            <a:headEnd/>
            <a:tailEnd/>
          </a:ln>
          <a:effectLst/>
        </p:spPr>
        <p:txBody>
          <a:bodyPr lIns="0" tIns="72000" rIns="72000" bIns="72000" anchor="b"/>
          <a:lstStyle/>
          <a:p>
            <a:pPr defTabSz="739775" eaLnBrk="0" hangingPunct="0">
              <a:spcBef>
                <a:spcPct val="0"/>
              </a:spcBef>
            </a:pPr>
            <a:r>
              <a:rPr lang="en-US" sz="1400" b="1" cap="all">
                <a:latin typeface="+mj-lt"/>
              </a:rPr>
              <a:t>OUTCOMES EXPECTED</a:t>
            </a:r>
          </a:p>
        </p:txBody>
      </p:sp>
      <p:sp>
        <p:nvSpPr>
          <p:cNvPr id="24" name="Rectangle 7">
            <a:extLst>
              <a:ext uri="{FF2B5EF4-FFF2-40B4-BE49-F238E27FC236}">
                <a16:creationId xmlns:a16="http://schemas.microsoft.com/office/drawing/2014/main" id="{474B44E7-2256-AE19-5896-F4E4CD5133E6}"/>
              </a:ext>
            </a:extLst>
          </p:cNvPr>
          <p:cNvSpPr>
            <a:spLocks noChangeArrowheads="1"/>
          </p:cNvSpPr>
          <p:nvPr/>
        </p:nvSpPr>
        <p:spPr bwMode="auto">
          <a:xfrm>
            <a:off x="9873205" y="1594530"/>
            <a:ext cx="1983833" cy="392061"/>
          </a:xfrm>
          <a:prstGeom prst="rect">
            <a:avLst/>
          </a:prstGeom>
          <a:noFill/>
          <a:ln w="6350">
            <a:noFill/>
            <a:miter lim="800000"/>
            <a:headEnd/>
            <a:tailEnd/>
          </a:ln>
          <a:effectLst/>
        </p:spPr>
        <p:txBody>
          <a:bodyPr lIns="0" tIns="72000" rIns="72000" bIns="72000" anchor="b"/>
          <a:lstStyle/>
          <a:p>
            <a:pPr defTabSz="739775" eaLnBrk="0" hangingPunct="0">
              <a:spcBef>
                <a:spcPct val="0"/>
              </a:spcBef>
            </a:pPr>
            <a:r>
              <a:rPr lang="en-US" sz="1400" b="1" cap="all">
                <a:latin typeface="+mj-lt"/>
              </a:rPr>
              <a:t>TEAMS</a:t>
            </a:r>
          </a:p>
        </p:txBody>
      </p:sp>
    </p:spTree>
    <p:extLst>
      <p:ext uri="{BB962C8B-B14F-4D97-AF65-F5344CB8AC3E}">
        <p14:creationId xmlns:p14="http://schemas.microsoft.com/office/powerpoint/2010/main" val="19162152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63994-19A1-8056-DD90-FBD7C22A8098}"/>
              </a:ext>
            </a:extLst>
          </p:cNvPr>
          <p:cNvSpPr>
            <a:spLocks noGrp="1"/>
          </p:cNvSpPr>
          <p:nvPr>
            <p:ph type="title"/>
          </p:nvPr>
        </p:nvSpPr>
        <p:spPr/>
        <p:txBody>
          <a:bodyPr/>
          <a:lstStyle/>
          <a:p>
            <a:r>
              <a:rPr lang="en-BR"/>
              <a:t>Project Management</a:t>
            </a:r>
          </a:p>
        </p:txBody>
      </p:sp>
      <p:sp>
        <p:nvSpPr>
          <p:cNvPr id="3" name="Footer Placeholder 2">
            <a:extLst>
              <a:ext uri="{FF2B5EF4-FFF2-40B4-BE49-F238E27FC236}">
                <a16:creationId xmlns:a16="http://schemas.microsoft.com/office/drawing/2014/main" id="{64D77461-506B-932D-912C-28938E84DB05}"/>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3046603B-55FA-B190-5903-A125CACE4FF5}"/>
              </a:ext>
            </a:extLst>
          </p:cNvPr>
          <p:cNvSpPr>
            <a:spLocks noGrp="1"/>
          </p:cNvSpPr>
          <p:nvPr>
            <p:ph type="sldNum" sz="quarter" idx="12"/>
          </p:nvPr>
        </p:nvSpPr>
        <p:spPr/>
        <p:txBody>
          <a:bodyPr/>
          <a:lstStyle/>
          <a:p>
            <a:fld id="{A8DDC45B-7265-3747-B738-ED29642119D9}" type="slidenum">
              <a:rPr lang="en-BR" smtClean="0"/>
              <a:pPr/>
              <a:t>38</a:t>
            </a:fld>
            <a:endParaRPr lang="en-BR"/>
          </a:p>
        </p:txBody>
      </p:sp>
      <p:sp>
        <p:nvSpPr>
          <p:cNvPr id="5" name="Text Placeholder 4">
            <a:extLst>
              <a:ext uri="{FF2B5EF4-FFF2-40B4-BE49-F238E27FC236}">
                <a16:creationId xmlns:a16="http://schemas.microsoft.com/office/drawing/2014/main" id="{EC85D0FA-B830-65B5-A1D9-1B6A8CE9F110}"/>
              </a:ext>
            </a:extLst>
          </p:cNvPr>
          <p:cNvSpPr>
            <a:spLocks noGrp="1"/>
          </p:cNvSpPr>
          <p:nvPr>
            <p:ph type="body" sz="quarter" idx="13"/>
          </p:nvPr>
        </p:nvSpPr>
        <p:spPr/>
        <p:txBody>
          <a:bodyPr/>
          <a:lstStyle/>
          <a:p>
            <a:r>
              <a:rPr lang="en-BR"/>
              <a:t>Prioritization Matrix</a:t>
            </a:r>
          </a:p>
        </p:txBody>
      </p:sp>
      <p:sp>
        <p:nvSpPr>
          <p:cNvPr id="6" name="Text Box 71">
            <a:extLst>
              <a:ext uri="{FF2B5EF4-FFF2-40B4-BE49-F238E27FC236}">
                <a16:creationId xmlns:a16="http://schemas.microsoft.com/office/drawing/2014/main" id="{C1A8DDB3-06E0-1F67-ACC1-76EBA18EB043}"/>
              </a:ext>
            </a:extLst>
          </p:cNvPr>
          <p:cNvSpPr txBox="1">
            <a:spLocks noChangeArrowheads="1"/>
          </p:cNvSpPr>
          <p:nvPr/>
        </p:nvSpPr>
        <p:spPr bwMode="auto">
          <a:xfrm>
            <a:off x="7730678" y="1033667"/>
            <a:ext cx="3117850" cy="360850"/>
          </a:xfrm>
          <a:prstGeom prst="rect">
            <a:avLst/>
          </a:prstGeom>
          <a:noFill/>
          <a:ln w="6350" algn="ctr">
            <a:noFill/>
            <a:miter lim="800000"/>
            <a:headEnd/>
            <a:tailEnd/>
          </a:ln>
        </p:spPr>
        <p:txBody>
          <a:bodyPr lIns="72000" tIns="72000" rIns="72000" bIns="72000">
            <a:spAutoFit/>
          </a:bodyPr>
          <a:lstStyle/>
          <a:p>
            <a:pPr>
              <a:defRPr/>
            </a:pPr>
            <a:r>
              <a:rPr lang="en-AU" sz="1400" b="1" kern="0">
                <a:solidFill>
                  <a:sysClr val="windowText" lastClr="000000"/>
                </a:solidFill>
                <a:latin typeface="Segoe UI" panose="020B0502040204020203" pitchFamily="34" charset="0"/>
                <a:cs typeface="Segoe UI" panose="020B0502040204020203" pitchFamily="34" charset="0"/>
              </a:rPr>
              <a:t>List of projects:</a:t>
            </a:r>
          </a:p>
        </p:txBody>
      </p:sp>
      <p:sp>
        <p:nvSpPr>
          <p:cNvPr id="9" name="Oval 3">
            <a:extLst>
              <a:ext uri="{FF2B5EF4-FFF2-40B4-BE49-F238E27FC236}">
                <a16:creationId xmlns:a16="http://schemas.microsoft.com/office/drawing/2014/main" id="{ECAF9663-3493-BC4E-7F10-9DB855E1655D}"/>
              </a:ext>
            </a:extLst>
          </p:cNvPr>
          <p:cNvSpPr>
            <a:spLocks noChangeArrowheads="1"/>
          </p:cNvSpPr>
          <p:nvPr/>
        </p:nvSpPr>
        <p:spPr bwMode="auto">
          <a:xfrm>
            <a:off x="7788188" y="1568851"/>
            <a:ext cx="213422" cy="216000"/>
          </a:xfrm>
          <a:prstGeom prst="ellipse">
            <a:avLst/>
          </a:prstGeom>
          <a:solidFill>
            <a:srgbClr val="FF0000"/>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a:solidFill>
                  <a:srgbClr val="FFFFFF"/>
                </a:solidFill>
                <a:ea typeface="MS PGothic" pitchFamily="34" charset="-128"/>
              </a:rPr>
              <a:t>1</a:t>
            </a:r>
          </a:p>
        </p:txBody>
      </p:sp>
      <p:sp>
        <p:nvSpPr>
          <p:cNvPr id="10" name="Oval 3">
            <a:extLst>
              <a:ext uri="{FF2B5EF4-FFF2-40B4-BE49-F238E27FC236}">
                <a16:creationId xmlns:a16="http://schemas.microsoft.com/office/drawing/2014/main" id="{10B1E673-17C4-B3B7-43D8-E8783B1C28C0}"/>
              </a:ext>
            </a:extLst>
          </p:cNvPr>
          <p:cNvSpPr>
            <a:spLocks noChangeArrowheads="1"/>
          </p:cNvSpPr>
          <p:nvPr/>
        </p:nvSpPr>
        <p:spPr bwMode="auto">
          <a:xfrm>
            <a:off x="7788188" y="2053928"/>
            <a:ext cx="213422" cy="216000"/>
          </a:xfrm>
          <a:prstGeom prst="ellipse">
            <a:avLst/>
          </a:prstGeom>
          <a:solidFill>
            <a:srgbClr val="FF0000"/>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a:solidFill>
                  <a:srgbClr val="FFFFFF"/>
                </a:solidFill>
                <a:ea typeface="MS PGothic" pitchFamily="34" charset="-128"/>
              </a:rPr>
              <a:t>2</a:t>
            </a:r>
          </a:p>
        </p:txBody>
      </p:sp>
      <p:sp>
        <p:nvSpPr>
          <p:cNvPr id="11" name="Oval 3">
            <a:extLst>
              <a:ext uri="{FF2B5EF4-FFF2-40B4-BE49-F238E27FC236}">
                <a16:creationId xmlns:a16="http://schemas.microsoft.com/office/drawing/2014/main" id="{99EE55DE-DFC8-7C7B-2B8E-DBCE5664E16C}"/>
              </a:ext>
            </a:extLst>
          </p:cNvPr>
          <p:cNvSpPr>
            <a:spLocks noChangeArrowheads="1"/>
          </p:cNvSpPr>
          <p:nvPr/>
        </p:nvSpPr>
        <p:spPr bwMode="auto">
          <a:xfrm>
            <a:off x="7788188" y="2539005"/>
            <a:ext cx="213422" cy="216000"/>
          </a:xfrm>
          <a:prstGeom prst="ellipse">
            <a:avLst/>
          </a:prstGeom>
          <a:solidFill>
            <a:srgbClr val="FF0000"/>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a:solidFill>
                  <a:srgbClr val="FFFFFF"/>
                </a:solidFill>
                <a:ea typeface="MS PGothic" pitchFamily="34" charset="-128"/>
              </a:rPr>
              <a:t>3</a:t>
            </a:r>
          </a:p>
        </p:txBody>
      </p:sp>
      <p:sp>
        <p:nvSpPr>
          <p:cNvPr id="12" name="Oval 3">
            <a:extLst>
              <a:ext uri="{FF2B5EF4-FFF2-40B4-BE49-F238E27FC236}">
                <a16:creationId xmlns:a16="http://schemas.microsoft.com/office/drawing/2014/main" id="{6BAC4B29-2E5F-0BE2-1453-1E7325423097}"/>
              </a:ext>
            </a:extLst>
          </p:cNvPr>
          <p:cNvSpPr>
            <a:spLocks noChangeArrowheads="1"/>
          </p:cNvSpPr>
          <p:nvPr/>
        </p:nvSpPr>
        <p:spPr bwMode="auto">
          <a:xfrm>
            <a:off x="7788188" y="3024082"/>
            <a:ext cx="213422" cy="216000"/>
          </a:xfrm>
          <a:prstGeom prst="ellipse">
            <a:avLst/>
          </a:prstGeom>
          <a:solidFill>
            <a:srgbClr val="FF0000"/>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a:solidFill>
                  <a:srgbClr val="FFFFFF"/>
                </a:solidFill>
                <a:ea typeface="MS PGothic" pitchFamily="34" charset="-128"/>
              </a:rPr>
              <a:t>4</a:t>
            </a:r>
          </a:p>
        </p:txBody>
      </p:sp>
      <p:sp>
        <p:nvSpPr>
          <p:cNvPr id="13" name="Oval 3">
            <a:extLst>
              <a:ext uri="{FF2B5EF4-FFF2-40B4-BE49-F238E27FC236}">
                <a16:creationId xmlns:a16="http://schemas.microsoft.com/office/drawing/2014/main" id="{B0D273E2-22EF-ED07-D73F-36C26E1F549E}"/>
              </a:ext>
            </a:extLst>
          </p:cNvPr>
          <p:cNvSpPr>
            <a:spLocks noChangeArrowheads="1"/>
          </p:cNvSpPr>
          <p:nvPr/>
        </p:nvSpPr>
        <p:spPr bwMode="auto">
          <a:xfrm>
            <a:off x="7788188" y="3509159"/>
            <a:ext cx="213422" cy="216000"/>
          </a:xfrm>
          <a:prstGeom prst="ellipse">
            <a:avLst/>
          </a:prstGeom>
          <a:solidFill>
            <a:schemeClr val="tx1"/>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a:solidFill>
                  <a:srgbClr val="FFFFFF"/>
                </a:solidFill>
                <a:ea typeface="MS PGothic" pitchFamily="34" charset="-128"/>
              </a:rPr>
              <a:t>5</a:t>
            </a:r>
          </a:p>
        </p:txBody>
      </p:sp>
      <p:sp>
        <p:nvSpPr>
          <p:cNvPr id="14" name="Oval 3">
            <a:extLst>
              <a:ext uri="{FF2B5EF4-FFF2-40B4-BE49-F238E27FC236}">
                <a16:creationId xmlns:a16="http://schemas.microsoft.com/office/drawing/2014/main" id="{D91F8C44-7964-AE70-5359-08342EB0A2A6}"/>
              </a:ext>
            </a:extLst>
          </p:cNvPr>
          <p:cNvSpPr>
            <a:spLocks noChangeArrowheads="1"/>
          </p:cNvSpPr>
          <p:nvPr/>
        </p:nvSpPr>
        <p:spPr bwMode="auto">
          <a:xfrm>
            <a:off x="7788188" y="3994236"/>
            <a:ext cx="213422" cy="216000"/>
          </a:xfrm>
          <a:prstGeom prst="ellipse">
            <a:avLst/>
          </a:prstGeom>
          <a:solidFill>
            <a:srgbClr val="FF0000"/>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a:solidFill>
                  <a:srgbClr val="FFFFFF"/>
                </a:solidFill>
                <a:ea typeface="MS PGothic" pitchFamily="34" charset="-128"/>
              </a:rPr>
              <a:t>6</a:t>
            </a:r>
          </a:p>
        </p:txBody>
      </p:sp>
      <p:sp>
        <p:nvSpPr>
          <p:cNvPr id="15" name="Oval 3">
            <a:extLst>
              <a:ext uri="{FF2B5EF4-FFF2-40B4-BE49-F238E27FC236}">
                <a16:creationId xmlns:a16="http://schemas.microsoft.com/office/drawing/2014/main" id="{83975181-8F65-3921-7133-4C44BDABE803}"/>
              </a:ext>
            </a:extLst>
          </p:cNvPr>
          <p:cNvSpPr>
            <a:spLocks noChangeArrowheads="1"/>
          </p:cNvSpPr>
          <p:nvPr/>
        </p:nvSpPr>
        <p:spPr bwMode="auto">
          <a:xfrm>
            <a:off x="7788188" y="4479313"/>
            <a:ext cx="213422" cy="216000"/>
          </a:xfrm>
          <a:prstGeom prst="ellipse">
            <a:avLst/>
          </a:prstGeom>
          <a:solidFill>
            <a:srgbClr val="FF0000"/>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a:solidFill>
                  <a:srgbClr val="FFFFFF"/>
                </a:solidFill>
                <a:ea typeface="MS PGothic" pitchFamily="34" charset="-128"/>
              </a:rPr>
              <a:t>7</a:t>
            </a:r>
          </a:p>
        </p:txBody>
      </p:sp>
      <p:sp>
        <p:nvSpPr>
          <p:cNvPr id="16" name="Oval 3">
            <a:extLst>
              <a:ext uri="{FF2B5EF4-FFF2-40B4-BE49-F238E27FC236}">
                <a16:creationId xmlns:a16="http://schemas.microsoft.com/office/drawing/2014/main" id="{9070569A-0E1D-4F64-B612-F21ABAA55EB2}"/>
              </a:ext>
            </a:extLst>
          </p:cNvPr>
          <p:cNvSpPr>
            <a:spLocks noChangeArrowheads="1"/>
          </p:cNvSpPr>
          <p:nvPr/>
        </p:nvSpPr>
        <p:spPr bwMode="auto">
          <a:xfrm>
            <a:off x="7788188" y="4964390"/>
            <a:ext cx="213422" cy="216000"/>
          </a:xfrm>
          <a:prstGeom prst="ellipse">
            <a:avLst/>
          </a:prstGeom>
          <a:solidFill>
            <a:schemeClr val="tx1"/>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a:solidFill>
                  <a:srgbClr val="FFFFFF"/>
                </a:solidFill>
                <a:ea typeface="MS PGothic" pitchFamily="34" charset="-128"/>
              </a:rPr>
              <a:t>8</a:t>
            </a:r>
          </a:p>
        </p:txBody>
      </p:sp>
      <p:sp>
        <p:nvSpPr>
          <p:cNvPr id="17" name="Oval 3">
            <a:extLst>
              <a:ext uri="{FF2B5EF4-FFF2-40B4-BE49-F238E27FC236}">
                <a16:creationId xmlns:a16="http://schemas.microsoft.com/office/drawing/2014/main" id="{1DDC1832-FFBE-5DA2-5CD0-D308B4D6D85A}"/>
              </a:ext>
            </a:extLst>
          </p:cNvPr>
          <p:cNvSpPr>
            <a:spLocks noChangeArrowheads="1"/>
          </p:cNvSpPr>
          <p:nvPr/>
        </p:nvSpPr>
        <p:spPr bwMode="auto">
          <a:xfrm>
            <a:off x="7788188" y="5449467"/>
            <a:ext cx="213422" cy="216000"/>
          </a:xfrm>
          <a:prstGeom prst="ellipse">
            <a:avLst/>
          </a:prstGeom>
          <a:solidFill>
            <a:schemeClr val="tx1"/>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a:solidFill>
                  <a:srgbClr val="FFFFFF"/>
                </a:solidFill>
                <a:ea typeface="MS PGothic" pitchFamily="34" charset="-128"/>
              </a:rPr>
              <a:t>9</a:t>
            </a:r>
          </a:p>
        </p:txBody>
      </p:sp>
      <p:sp>
        <p:nvSpPr>
          <p:cNvPr id="18" name="Oval 3">
            <a:extLst>
              <a:ext uri="{FF2B5EF4-FFF2-40B4-BE49-F238E27FC236}">
                <a16:creationId xmlns:a16="http://schemas.microsoft.com/office/drawing/2014/main" id="{9EE525ED-BBF5-B12C-9043-F29FBEF6F74F}"/>
              </a:ext>
            </a:extLst>
          </p:cNvPr>
          <p:cNvSpPr>
            <a:spLocks noChangeArrowheads="1"/>
          </p:cNvSpPr>
          <p:nvPr/>
        </p:nvSpPr>
        <p:spPr bwMode="auto">
          <a:xfrm>
            <a:off x="7788188" y="5934543"/>
            <a:ext cx="213422" cy="216000"/>
          </a:xfrm>
          <a:prstGeom prst="ellipse">
            <a:avLst/>
          </a:prstGeom>
          <a:solidFill>
            <a:schemeClr val="tx1"/>
          </a:solidFill>
          <a:ln w="9525" algn="ctr">
            <a:noFill/>
            <a:round/>
            <a:headEnd/>
            <a:tailEnd/>
          </a:ln>
        </p:spPr>
        <p:txBody>
          <a:bodyPr wrap="none" lIns="90000" tIns="46800" rIns="90000" bIns="46800" anchor="ctr"/>
          <a:lstStyle/>
          <a:p>
            <a:pPr marL="174625" indent="-174625" algn="ctr" fontAlgn="ctr">
              <a:buClr>
                <a:srgbClr val="6699FF"/>
              </a:buClr>
              <a:defRPr/>
            </a:pPr>
            <a:r>
              <a:rPr kumimoji="1" lang="en-US" altLang="ja-JP" sz="1200" b="1" kern="0">
                <a:solidFill>
                  <a:srgbClr val="FFFFFF"/>
                </a:solidFill>
                <a:ea typeface="MS PGothic" pitchFamily="34" charset="-128"/>
              </a:rPr>
              <a:t>10</a:t>
            </a:r>
          </a:p>
        </p:txBody>
      </p:sp>
      <p:grpSp>
        <p:nvGrpSpPr>
          <p:cNvPr id="19" name="Group 74">
            <a:extLst>
              <a:ext uri="{FF2B5EF4-FFF2-40B4-BE49-F238E27FC236}">
                <a16:creationId xmlns:a16="http://schemas.microsoft.com/office/drawing/2014/main" id="{7A0DF096-15A6-3094-B32F-E153A554FE94}"/>
              </a:ext>
            </a:extLst>
          </p:cNvPr>
          <p:cNvGrpSpPr/>
          <p:nvPr/>
        </p:nvGrpSpPr>
        <p:grpSpPr bwMode="auto">
          <a:xfrm>
            <a:off x="1401669" y="5689896"/>
            <a:ext cx="860828" cy="246221"/>
            <a:chOff x="467544" y="6135107"/>
            <a:chExt cx="860828" cy="246221"/>
          </a:xfrm>
        </p:grpSpPr>
        <p:sp>
          <p:nvSpPr>
            <p:cNvPr id="20" name="Oval 3">
              <a:extLst>
                <a:ext uri="{FF2B5EF4-FFF2-40B4-BE49-F238E27FC236}">
                  <a16:creationId xmlns:a16="http://schemas.microsoft.com/office/drawing/2014/main" id="{E1923993-1ECE-BC3F-1F67-38A3BDE24CE1}"/>
                </a:ext>
              </a:extLst>
            </p:cNvPr>
            <p:cNvSpPr>
              <a:spLocks noChangeArrowheads="1"/>
            </p:cNvSpPr>
            <p:nvPr/>
          </p:nvSpPr>
          <p:spPr bwMode="auto">
            <a:xfrm>
              <a:off x="467544" y="6142370"/>
              <a:ext cx="216000" cy="216000"/>
            </a:xfrm>
            <a:prstGeom prst="ellipse">
              <a:avLst/>
            </a:prstGeom>
            <a:solidFill>
              <a:srgbClr val="FF0000"/>
            </a:solidFill>
            <a:ln w="9525" algn="ctr">
              <a:noFill/>
              <a:round/>
              <a:headEnd/>
              <a:tailEnd/>
            </a:ln>
          </p:spPr>
          <p:txBody>
            <a:bodyPr wrap="none" lIns="90000" tIns="46800" rIns="90000" bIns="46800" anchor="ctr"/>
            <a:lstStyle/>
            <a:p>
              <a:pPr marL="174625" indent="-174625" algn="ctr" fontAlgn="ctr">
                <a:buClr>
                  <a:srgbClr val="6699FF"/>
                </a:buClr>
              </a:pPr>
              <a:endParaRPr kumimoji="1" lang="en-US" altLang="ja-JP" sz="1200" b="1">
                <a:solidFill>
                  <a:srgbClr val="FFFFFF"/>
                </a:solidFill>
                <a:latin typeface="Segoe UI" panose="020B0502040204020203" pitchFamily="34" charset="0"/>
                <a:ea typeface="MS PGothic" pitchFamily="34" charset="-128"/>
                <a:cs typeface="Segoe UI" panose="020B0502040204020203" pitchFamily="34" charset="0"/>
              </a:endParaRPr>
            </a:p>
          </p:txBody>
        </p:sp>
        <p:sp>
          <p:nvSpPr>
            <p:cNvPr id="21" name="TextBox 40">
              <a:extLst>
                <a:ext uri="{FF2B5EF4-FFF2-40B4-BE49-F238E27FC236}">
                  <a16:creationId xmlns:a16="http://schemas.microsoft.com/office/drawing/2014/main" id="{65C1FEE2-39C6-43CC-4411-E8105505F6C9}"/>
                </a:ext>
              </a:extLst>
            </p:cNvPr>
            <p:cNvSpPr txBox="1">
              <a:spLocks noChangeArrowheads="1"/>
            </p:cNvSpPr>
            <p:nvPr/>
          </p:nvSpPr>
          <p:spPr bwMode="auto">
            <a:xfrm>
              <a:off x="646775" y="6135107"/>
              <a:ext cx="681597" cy="246221"/>
            </a:xfrm>
            <a:prstGeom prst="rect">
              <a:avLst/>
            </a:prstGeom>
            <a:noFill/>
            <a:ln w="9525">
              <a:noFill/>
              <a:miter lim="800000"/>
              <a:headEnd/>
              <a:tailEnd/>
            </a:ln>
          </p:spPr>
          <p:txBody>
            <a:bodyPr wrap="none">
              <a:spAutoFit/>
            </a:bodyPr>
            <a:lstStyle/>
            <a:p>
              <a:pPr marL="109538" indent="-109538"/>
              <a:r>
                <a:rPr lang="en-US" altLang="zh-CN" sz="1000">
                  <a:latin typeface="Segoe UI" panose="020B0502040204020203" pitchFamily="34" charset="0"/>
                  <a:cs typeface="Segoe UI" panose="020B0502040204020203" pitchFamily="34" charset="0"/>
                </a:rPr>
                <a:t>Ongoing</a:t>
              </a:r>
              <a:endParaRPr lang="zh-CN" altLang="en-US" sz="1000">
                <a:latin typeface="Segoe UI" panose="020B0502040204020203" pitchFamily="34" charset="0"/>
                <a:cs typeface="Segoe UI" panose="020B0502040204020203" pitchFamily="34" charset="0"/>
              </a:endParaRPr>
            </a:p>
          </p:txBody>
        </p:sp>
      </p:grpSp>
      <p:grpSp>
        <p:nvGrpSpPr>
          <p:cNvPr id="22" name="Group 75">
            <a:extLst>
              <a:ext uri="{FF2B5EF4-FFF2-40B4-BE49-F238E27FC236}">
                <a16:creationId xmlns:a16="http://schemas.microsoft.com/office/drawing/2014/main" id="{B96FAD0F-B23B-1E7C-D50F-A8AD5A481A32}"/>
              </a:ext>
            </a:extLst>
          </p:cNvPr>
          <p:cNvGrpSpPr/>
          <p:nvPr/>
        </p:nvGrpSpPr>
        <p:grpSpPr bwMode="auto">
          <a:xfrm>
            <a:off x="1402439" y="5977928"/>
            <a:ext cx="1002053" cy="246221"/>
            <a:chOff x="1439652" y="6135107"/>
            <a:chExt cx="1002053" cy="246221"/>
          </a:xfrm>
        </p:grpSpPr>
        <p:sp>
          <p:nvSpPr>
            <p:cNvPr id="23" name="Oval 3">
              <a:extLst>
                <a:ext uri="{FF2B5EF4-FFF2-40B4-BE49-F238E27FC236}">
                  <a16:creationId xmlns:a16="http://schemas.microsoft.com/office/drawing/2014/main" id="{D826902E-3542-CC8C-B090-1A1B1FDB9813}"/>
                </a:ext>
              </a:extLst>
            </p:cNvPr>
            <p:cNvSpPr>
              <a:spLocks noChangeArrowheads="1"/>
            </p:cNvSpPr>
            <p:nvPr/>
          </p:nvSpPr>
          <p:spPr bwMode="auto">
            <a:xfrm>
              <a:off x="1439652" y="6142370"/>
              <a:ext cx="216000" cy="216000"/>
            </a:xfrm>
            <a:prstGeom prst="ellipse">
              <a:avLst/>
            </a:prstGeom>
            <a:solidFill>
              <a:schemeClr val="tx1"/>
            </a:solidFill>
            <a:ln w="9525" algn="ctr">
              <a:noFill/>
              <a:round/>
              <a:headEnd/>
              <a:tailEnd/>
            </a:ln>
          </p:spPr>
          <p:txBody>
            <a:bodyPr wrap="none" lIns="90000" tIns="46800" rIns="90000" bIns="46800" anchor="ctr"/>
            <a:lstStyle/>
            <a:p>
              <a:pPr marL="174625" indent="-174625" algn="ctr" fontAlgn="ctr">
                <a:buClr>
                  <a:srgbClr val="6699FF"/>
                </a:buClr>
              </a:pPr>
              <a:endParaRPr kumimoji="1" lang="en-US" altLang="ja-JP" sz="1200" b="1">
                <a:solidFill>
                  <a:srgbClr val="FFFFFF"/>
                </a:solidFill>
                <a:ea typeface="MS PGothic" pitchFamily="34" charset="-128"/>
              </a:endParaRPr>
            </a:p>
          </p:txBody>
        </p:sp>
        <p:sp>
          <p:nvSpPr>
            <p:cNvPr id="24" name="TextBox 44">
              <a:extLst>
                <a:ext uri="{FF2B5EF4-FFF2-40B4-BE49-F238E27FC236}">
                  <a16:creationId xmlns:a16="http://schemas.microsoft.com/office/drawing/2014/main" id="{8D315F1F-3F94-F136-D97B-D9214913444A}"/>
                </a:ext>
              </a:extLst>
            </p:cNvPr>
            <p:cNvSpPr txBox="1">
              <a:spLocks noChangeArrowheads="1"/>
            </p:cNvSpPr>
            <p:nvPr/>
          </p:nvSpPr>
          <p:spPr bwMode="auto">
            <a:xfrm>
              <a:off x="1612632" y="6135107"/>
              <a:ext cx="829073" cy="246221"/>
            </a:xfrm>
            <a:prstGeom prst="rect">
              <a:avLst/>
            </a:prstGeom>
            <a:noFill/>
            <a:ln w="9525">
              <a:noFill/>
              <a:miter lim="800000"/>
              <a:headEnd/>
              <a:tailEnd/>
            </a:ln>
          </p:spPr>
          <p:txBody>
            <a:bodyPr wrap="none">
              <a:spAutoFit/>
            </a:bodyPr>
            <a:lstStyle/>
            <a:p>
              <a:pPr marL="109538" indent="-109538"/>
              <a:r>
                <a:rPr lang="en-US" altLang="zh-CN" sz="1000">
                  <a:latin typeface="Segoe UI" panose="020B0502040204020203" pitchFamily="34" charset="0"/>
                  <a:cs typeface="Segoe UI" panose="020B0502040204020203" pitchFamily="34" charset="0"/>
                </a:rPr>
                <a:t>Not started</a:t>
              </a:r>
              <a:endParaRPr lang="zh-CN" altLang="en-US" sz="1000">
                <a:latin typeface="Segoe UI" panose="020B0502040204020203" pitchFamily="34" charset="0"/>
                <a:cs typeface="Segoe UI" panose="020B0502040204020203" pitchFamily="34" charset="0"/>
              </a:endParaRPr>
            </a:p>
          </p:txBody>
        </p:sp>
      </p:grpSp>
      <p:grpSp>
        <p:nvGrpSpPr>
          <p:cNvPr id="25" name="Group 51">
            <a:extLst>
              <a:ext uri="{FF2B5EF4-FFF2-40B4-BE49-F238E27FC236}">
                <a16:creationId xmlns:a16="http://schemas.microsoft.com/office/drawing/2014/main" id="{5E770756-78D6-0CD6-2116-73ED1C0B88BD}"/>
              </a:ext>
            </a:extLst>
          </p:cNvPr>
          <p:cNvGrpSpPr/>
          <p:nvPr/>
        </p:nvGrpSpPr>
        <p:grpSpPr bwMode="auto">
          <a:xfrm>
            <a:off x="1401669" y="1834762"/>
            <a:ext cx="5544616" cy="4137359"/>
            <a:chOff x="323528" y="1852571"/>
            <a:chExt cx="5544616" cy="4137359"/>
          </a:xfrm>
        </p:grpSpPr>
        <p:sp>
          <p:nvSpPr>
            <p:cNvPr id="26" name="Arc 29">
              <a:extLst>
                <a:ext uri="{FF2B5EF4-FFF2-40B4-BE49-F238E27FC236}">
                  <a16:creationId xmlns:a16="http://schemas.microsoft.com/office/drawing/2014/main" id="{D522A283-2E9A-2C70-FB5A-4A9B0EBF2A5E}"/>
                </a:ext>
              </a:extLst>
            </p:cNvPr>
            <p:cNvSpPr>
              <a:spLocks noChangeAspect="1"/>
            </p:cNvSpPr>
            <p:nvPr/>
          </p:nvSpPr>
          <p:spPr bwMode="auto">
            <a:xfrm rot="10800000" flipH="1" flipV="1">
              <a:off x="1172450" y="3372469"/>
              <a:ext cx="3277127" cy="2126868"/>
            </a:xfrm>
            <a:custGeom>
              <a:avLst/>
              <a:gdLst>
                <a:gd name="T0" fmla="*/ 0 w 21600"/>
                <a:gd name="T1" fmla="*/ 0 h 21600"/>
                <a:gd name="T2" fmla="*/ 2183 w 21600"/>
                <a:gd name="T3" fmla="*/ 1685 h 21600"/>
                <a:gd name="T4" fmla="*/ 0 w 21600"/>
                <a:gd name="T5" fmla="*/ 1685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bg1">
                <a:lumMod val="75000"/>
              </a:schemeClr>
            </a:solidFill>
            <a:ln w="28575">
              <a:noFill/>
              <a:round/>
              <a:headEnd/>
              <a:tailEnd/>
            </a:ln>
          </p:spPr>
          <p:txBody>
            <a:bodyPr rot="10800000" wrap="none" lIns="90000" tIns="46800" rIns="90000" bIns="46800" anchor="ctr"/>
            <a:lstStyle/>
            <a:p>
              <a:pPr>
                <a:defRPr/>
              </a:pPr>
              <a:endParaRPr lang="en-US" kern="0">
                <a:solidFill>
                  <a:sysClr val="windowText" lastClr="000000"/>
                </a:solidFill>
                <a:latin typeface="Segoe UI" panose="020B0502040204020203" pitchFamily="34" charset="0"/>
                <a:cs typeface="Segoe UI" panose="020B0502040204020203" pitchFamily="34" charset="0"/>
              </a:endParaRPr>
            </a:p>
          </p:txBody>
        </p:sp>
        <p:sp>
          <p:nvSpPr>
            <p:cNvPr id="27" name="Arc 30">
              <a:extLst>
                <a:ext uri="{FF2B5EF4-FFF2-40B4-BE49-F238E27FC236}">
                  <a16:creationId xmlns:a16="http://schemas.microsoft.com/office/drawing/2014/main" id="{41079078-AE6D-E840-48DD-3F94A7442980}"/>
                </a:ext>
              </a:extLst>
            </p:cNvPr>
            <p:cNvSpPr>
              <a:spLocks/>
            </p:cNvSpPr>
            <p:nvPr/>
          </p:nvSpPr>
          <p:spPr bwMode="auto">
            <a:xfrm rot="10800000" flipH="1" flipV="1">
              <a:off x="1175419" y="3403542"/>
              <a:ext cx="1901402" cy="2095795"/>
            </a:xfrm>
            <a:custGeom>
              <a:avLst/>
              <a:gdLst>
                <a:gd name="T0" fmla="*/ 15 w 21600"/>
                <a:gd name="T1" fmla="*/ 0 h 21598"/>
                <a:gd name="T2" fmla="*/ 1140 w 21600"/>
                <a:gd name="T3" fmla="*/ 1658 h 21598"/>
                <a:gd name="T4" fmla="*/ 0 w 21600"/>
                <a:gd name="T5" fmla="*/ 1658 h 21598"/>
                <a:gd name="T6" fmla="*/ 0 60000 65536"/>
                <a:gd name="T7" fmla="*/ 0 60000 65536"/>
                <a:gd name="T8" fmla="*/ 0 60000 65536"/>
                <a:gd name="T9" fmla="*/ 0 w 21600"/>
                <a:gd name="T10" fmla="*/ 0 h 21598"/>
                <a:gd name="T11" fmla="*/ 21600 w 21600"/>
                <a:gd name="T12" fmla="*/ 21598 h 21598"/>
                <a:gd name="connsiteX0" fmla="*/ 291 w 21600"/>
                <a:gd name="connsiteY0" fmla="*/ 0 h 21599"/>
                <a:gd name="connsiteX1" fmla="*/ 21600 w 21600"/>
                <a:gd name="connsiteY1" fmla="*/ 21599 h 21599"/>
                <a:gd name="connsiteX0" fmla="*/ 291 w 21600"/>
                <a:gd name="connsiteY0" fmla="*/ 0 h 21599"/>
                <a:gd name="connsiteX1" fmla="*/ 21600 w 21600"/>
                <a:gd name="connsiteY1" fmla="*/ 21599 h 21599"/>
                <a:gd name="connsiteX2" fmla="*/ 0 w 21600"/>
                <a:gd name="connsiteY2" fmla="*/ 21599 h 21599"/>
                <a:gd name="connsiteX3" fmla="*/ 291 w 21600"/>
                <a:gd name="connsiteY3" fmla="*/ 0 h 21599"/>
                <a:gd name="connsiteX0" fmla="*/ 291 w 21600"/>
                <a:gd name="connsiteY0" fmla="*/ 0 h 21599"/>
                <a:gd name="connsiteX1" fmla="*/ 21600 w 21600"/>
                <a:gd name="connsiteY1" fmla="*/ 21599 h 21599"/>
                <a:gd name="connsiteX0" fmla="*/ 291 w 21600"/>
                <a:gd name="connsiteY0" fmla="*/ 0 h 21599"/>
                <a:gd name="connsiteX1" fmla="*/ 21600 w 21600"/>
                <a:gd name="connsiteY1" fmla="*/ 21599 h 21599"/>
                <a:gd name="connsiteX2" fmla="*/ 0 w 21600"/>
                <a:gd name="connsiteY2" fmla="*/ 21599 h 21599"/>
                <a:gd name="connsiteX3" fmla="*/ 291 w 21600"/>
                <a:gd name="connsiteY3" fmla="*/ 0 h 21599"/>
                <a:gd name="connsiteX0" fmla="*/ 291 w 21600"/>
                <a:gd name="connsiteY0" fmla="*/ 0 h 21599"/>
                <a:gd name="connsiteX1" fmla="*/ 21600 w 21600"/>
                <a:gd name="connsiteY1" fmla="*/ 21599 h 21599"/>
                <a:gd name="connsiteX0" fmla="*/ 291 w 21600"/>
                <a:gd name="connsiteY0" fmla="*/ 0 h 21599"/>
                <a:gd name="connsiteX1" fmla="*/ 21600 w 21600"/>
                <a:gd name="connsiteY1" fmla="*/ 21599 h 21599"/>
                <a:gd name="connsiteX2" fmla="*/ 0 w 21600"/>
                <a:gd name="connsiteY2" fmla="*/ 21599 h 21599"/>
                <a:gd name="connsiteX3" fmla="*/ 291 w 21600"/>
                <a:gd name="connsiteY3" fmla="*/ 0 h 21599"/>
                <a:gd name="connsiteX0" fmla="*/ 291 w 21600"/>
                <a:gd name="connsiteY0" fmla="*/ 0 h 21599"/>
                <a:gd name="connsiteX1" fmla="*/ 21600 w 21600"/>
                <a:gd name="connsiteY1" fmla="*/ 21599 h 21599"/>
                <a:gd name="connsiteX0" fmla="*/ 291 w 21600"/>
                <a:gd name="connsiteY0" fmla="*/ 0 h 21599"/>
                <a:gd name="connsiteX1" fmla="*/ 21600 w 21600"/>
                <a:gd name="connsiteY1" fmla="*/ 21599 h 21599"/>
                <a:gd name="connsiteX2" fmla="*/ 0 w 21600"/>
                <a:gd name="connsiteY2" fmla="*/ 21599 h 21599"/>
                <a:gd name="connsiteX3" fmla="*/ 291 w 21600"/>
                <a:gd name="connsiteY3" fmla="*/ 0 h 21599"/>
              </a:gdLst>
              <a:ahLst/>
              <a:cxnLst>
                <a:cxn ang="0">
                  <a:pos x="connsiteX0" y="connsiteY0"/>
                </a:cxn>
                <a:cxn ang="0">
                  <a:pos x="connsiteX1" y="connsiteY1"/>
                </a:cxn>
                <a:cxn ang="0">
                  <a:pos x="connsiteX2" y="connsiteY2"/>
                </a:cxn>
                <a:cxn ang="0">
                  <a:pos x="connsiteX3" y="connsiteY3"/>
                </a:cxn>
              </a:cxnLst>
              <a:rect l="l" t="t" r="r" b="b"/>
              <a:pathLst>
                <a:path w="21600" h="21599" fill="none" extrusionOk="0">
                  <a:moveTo>
                    <a:pt x="291" y="0"/>
                  </a:moveTo>
                  <a:cubicBezTo>
                    <a:pt x="11427" y="193"/>
                    <a:pt x="21600" y="9783"/>
                    <a:pt x="21600" y="21599"/>
                  </a:cubicBezTo>
                </a:path>
                <a:path w="21600" h="21599" stroke="0" extrusionOk="0">
                  <a:moveTo>
                    <a:pt x="291" y="0"/>
                  </a:moveTo>
                  <a:cubicBezTo>
                    <a:pt x="12105" y="160"/>
                    <a:pt x="21600" y="9783"/>
                    <a:pt x="21600" y="21599"/>
                  </a:cubicBezTo>
                  <a:lnTo>
                    <a:pt x="0" y="21599"/>
                  </a:lnTo>
                  <a:cubicBezTo>
                    <a:pt x="97" y="14399"/>
                    <a:pt x="16" y="7200"/>
                    <a:pt x="291" y="0"/>
                  </a:cubicBezTo>
                  <a:close/>
                </a:path>
              </a:pathLst>
            </a:custGeom>
            <a:solidFill>
              <a:schemeClr val="tx1">
                <a:lumMod val="50000"/>
                <a:lumOff val="50000"/>
              </a:schemeClr>
            </a:solidFill>
            <a:ln w="28575">
              <a:noFill/>
              <a:round/>
              <a:headEnd/>
              <a:tailEnd/>
            </a:ln>
          </p:spPr>
          <p:txBody>
            <a:bodyPr rot="10800000" wrap="none" lIns="90000" tIns="46800" rIns="90000" bIns="46800" anchor="ctr"/>
            <a:lstStyle/>
            <a:p>
              <a:pPr>
                <a:defRPr/>
              </a:pPr>
              <a:endParaRPr lang="en-AU" u="sng" kern="0">
                <a:solidFill>
                  <a:srgbClr val="808080"/>
                </a:solidFill>
                <a:latin typeface="Segoe UI" panose="020B0502040204020203" pitchFamily="34" charset="0"/>
                <a:cs typeface="Segoe UI" panose="020B0502040204020203" pitchFamily="34" charset="0"/>
              </a:endParaRPr>
            </a:p>
          </p:txBody>
        </p:sp>
        <p:sp>
          <p:nvSpPr>
            <p:cNvPr id="28" name="Rectangle 31">
              <a:extLst>
                <a:ext uri="{FF2B5EF4-FFF2-40B4-BE49-F238E27FC236}">
                  <a16:creationId xmlns:a16="http://schemas.microsoft.com/office/drawing/2014/main" id="{3C682B4A-46CC-34F2-02D7-949A535C9EEB}"/>
                </a:ext>
              </a:extLst>
            </p:cNvPr>
            <p:cNvSpPr>
              <a:spLocks noChangeArrowheads="1"/>
            </p:cNvSpPr>
            <p:nvPr/>
          </p:nvSpPr>
          <p:spPr bwMode="auto">
            <a:xfrm>
              <a:off x="1175419" y="2290483"/>
              <a:ext cx="4440697" cy="3208854"/>
            </a:xfrm>
            <a:prstGeom prst="rect">
              <a:avLst/>
            </a:prstGeom>
            <a:noFill/>
            <a:ln w="6350" algn="ctr">
              <a:solidFill>
                <a:schemeClr val="tx2">
                  <a:lumMod val="60000"/>
                  <a:lumOff val="40000"/>
                </a:schemeClr>
              </a:solidFill>
              <a:miter lim="800000"/>
              <a:headEnd/>
              <a:tailEnd/>
            </a:ln>
          </p:spPr>
          <p:txBody>
            <a:bodyPr wrap="none" lIns="90000" tIns="46800" rIns="90000" bIns="46800" anchor="ctr"/>
            <a:lstStyle/>
            <a:p>
              <a:endParaRPr lang="en-US" altLang="zh-CN">
                <a:solidFill>
                  <a:srgbClr val="000000"/>
                </a:solidFill>
                <a:latin typeface="Segoe UI" panose="020B0502040204020203" pitchFamily="34" charset="0"/>
                <a:cs typeface="Segoe UI" panose="020B0502040204020203" pitchFamily="34" charset="0"/>
              </a:endParaRPr>
            </a:p>
          </p:txBody>
        </p:sp>
        <p:sp>
          <p:nvSpPr>
            <p:cNvPr id="29" name="Text Box 32">
              <a:extLst>
                <a:ext uri="{FF2B5EF4-FFF2-40B4-BE49-F238E27FC236}">
                  <a16:creationId xmlns:a16="http://schemas.microsoft.com/office/drawing/2014/main" id="{D5B2BEAD-7EF1-92B8-F89B-F586244D48F0}"/>
                </a:ext>
              </a:extLst>
            </p:cNvPr>
            <p:cNvSpPr txBox="1">
              <a:spLocks noChangeArrowheads="1"/>
            </p:cNvSpPr>
            <p:nvPr/>
          </p:nvSpPr>
          <p:spPr bwMode="auto">
            <a:xfrm>
              <a:off x="2476519" y="5805264"/>
              <a:ext cx="2071080" cy="184666"/>
            </a:xfrm>
            <a:prstGeom prst="rect">
              <a:avLst/>
            </a:prstGeom>
            <a:noFill/>
            <a:ln w="38100" algn="ctr">
              <a:noFill/>
              <a:miter lim="800000"/>
              <a:headEnd/>
              <a:tailEnd/>
            </a:ln>
          </p:spPr>
          <p:txBody>
            <a:bodyPr wrap="none" lIns="0" tIns="0" rIns="0" bIns="0">
              <a:spAutoFit/>
            </a:bodyPr>
            <a:lstStyle/>
            <a:p>
              <a:pPr marL="174625" indent="-174625" fontAlgn="ctr">
                <a:buClr>
                  <a:srgbClr val="6699FF"/>
                </a:buClr>
                <a:defRPr/>
              </a:pPr>
              <a:r>
                <a:rPr kumimoji="1" lang="en-US" altLang="ja-JP" sz="1200" b="1" kern="0">
                  <a:latin typeface="Segoe UI" panose="020B0502040204020203" pitchFamily="34" charset="0"/>
                  <a:ea typeface="MS PGothic" pitchFamily="34" charset="-128"/>
                  <a:cs typeface="Segoe UI" panose="020B0502040204020203" pitchFamily="34" charset="0"/>
                </a:rPr>
                <a:t>Difficulty of Implementation</a:t>
              </a:r>
            </a:p>
          </p:txBody>
        </p:sp>
        <p:sp>
          <p:nvSpPr>
            <p:cNvPr id="30" name="Text Box 33">
              <a:extLst>
                <a:ext uri="{FF2B5EF4-FFF2-40B4-BE49-F238E27FC236}">
                  <a16:creationId xmlns:a16="http://schemas.microsoft.com/office/drawing/2014/main" id="{04AC2DC8-F6A5-5744-9148-B473A120273D}"/>
                </a:ext>
              </a:extLst>
            </p:cNvPr>
            <p:cNvSpPr txBox="1">
              <a:spLocks noChangeArrowheads="1"/>
            </p:cNvSpPr>
            <p:nvPr/>
          </p:nvSpPr>
          <p:spPr bwMode="auto">
            <a:xfrm>
              <a:off x="1656302" y="5526053"/>
              <a:ext cx="252290" cy="248402"/>
            </a:xfrm>
            <a:prstGeom prst="rect">
              <a:avLst/>
            </a:prstGeom>
            <a:noFill/>
            <a:ln w="38100" algn="ctr">
              <a:noFill/>
              <a:miter lim="800000"/>
              <a:headEnd/>
              <a:tailEnd/>
            </a:ln>
          </p:spPr>
          <p:txBody>
            <a:bodyPr wrap="none" lIns="90000" tIns="46800" rIns="90000" bIns="46800">
              <a:spAutoFit/>
            </a:bodyPr>
            <a:lstStyle/>
            <a:p>
              <a:pPr marL="174625" indent="-174625" fontAlgn="ctr">
                <a:buClr>
                  <a:srgbClr val="6699FF"/>
                </a:buClr>
              </a:pPr>
              <a:r>
                <a:rPr kumimoji="1" lang="en-US" altLang="ja-JP" sz="1000">
                  <a:latin typeface="Segoe UI" panose="020B0502040204020203" pitchFamily="34" charset="0"/>
                  <a:ea typeface="MS PGothic" pitchFamily="34" charset="-128"/>
                  <a:cs typeface="Segoe UI" panose="020B0502040204020203" pitchFamily="34" charset="0"/>
                </a:rPr>
                <a:t>L</a:t>
              </a:r>
            </a:p>
          </p:txBody>
        </p:sp>
        <p:sp>
          <p:nvSpPr>
            <p:cNvPr id="31" name="Text Box 34">
              <a:extLst>
                <a:ext uri="{FF2B5EF4-FFF2-40B4-BE49-F238E27FC236}">
                  <a16:creationId xmlns:a16="http://schemas.microsoft.com/office/drawing/2014/main" id="{F38984C3-4562-458B-3484-6749E350795E}"/>
                </a:ext>
              </a:extLst>
            </p:cNvPr>
            <p:cNvSpPr txBox="1">
              <a:spLocks noChangeArrowheads="1"/>
            </p:cNvSpPr>
            <p:nvPr/>
          </p:nvSpPr>
          <p:spPr bwMode="auto">
            <a:xfrm>
              <a:off x="3248855" y="5526053"/>
              <a:ext cx="297174" cy="248402"/>
            </a:xfrm>
            <a:prstGeom prst="rect">
              <a:avLst/>
            </a:prstGeom>
            <a:noFill/>
            <a:ln w="38100" algn="ctr">
              <a:noFill/>
              <a:miter lim="800000"/>
              <a:headEnd/>
              <a:tailEnd/>
            </a:ln>
          </p:spPr>
          <p:txBody>
            <a:bodyPr wrap="none" lIns="90000" tIns="46800" rIns="90000" bIns="46800">
              <a:spAutoFit/>
            </a:bodyPr>
            <a:lstStyle/>
            <a:p>
              <a:pPr marL="174625" indent="-174625" fontAlgn="ctr">
                <a:buClr>
                  <a:srgbClr val="6699FF"/>
                </a:buClr>
              </a:pPr>
              <a:r>
                <a:rPr kumimoji="1" lang="en-US" altLang="ja-JP" sz="1000">
                  <a:latin typeface="Segoe UI" panose="020B0502040204020203" pitchFamily="34" charset="0"/>
                  <a:ea typeface="MS PGothic" pitchFamily="34" charset="-128"/>
                  <a:cs typeface="Segoe UI" panose="020B0502040204020203" pitchFamily="34" charset="0"/>
                </a:rPr>
                <a:t>M</a:t>
              </a:r>
            </a:p>
          </p:txBody>
        </p:sp>
        <p:sp>
          <p:nvSpPr>
            <p:cNvPr id="32" name="Text Box 35">
              <a:extLst>
                <a:ext uri="{FF2B5EF4-FFF2-40B4-BE49-F238E27FC236}">
                  <a16:creationId xmlns:a16="http://schemas.microsoft.com/office/drawing/2014/main" id="{E032D9B3-9FA7-E79C-4AE7-4586D0E2D45D}"/>
                </a:ext>
              </a:extLst>
            </p:cNvPr>
            <p:cNvSpPr txBox="1">
              <a:spLocks noChangeArrowheads="1"/>
            </p:cNvSpPr>
            <p:nvPr/>
          </p:nvSpPr>
          <p:spPr bwMode="auto">
            <a:xfrm>
              <a:off x="4994282" y="5526053"/>
              <a:ext cx="274732" cy="248402"/>
            </a:xfrm>
            <a:prstGeom prst="rect">
              <a:avLst/>
            </a:prstGeom>
            <a:noFill/>
            <a:ln w="38100" algn="ctr">
              <a:noFill/>
              <a:miter lim="800000"/>
              <a:headEnd/>
              <a:tailEnd/>
            </a:ln>
          </p:spPr>
          <p:txBody>
            <a:bodyPr wrap="none" lIns="90000" tIns="46800" rIns="90000" bIns="46800">
              <a:spAutoFit/>
            </a:bodyPr>
            <a:lstStyle/>
            <a:p>
              <a:pPr marL="174625" indent="-174625" fontAlgn="ctr">
                <a:buClr>
                  <a:srgbClr val="6699FF"/>
                </a:buClr>
              </a:pPr>
              <a:r>
                <a:rPr kumimoji="1" lang="en-US" altLang="ja-JP" sz="1000">
                  <a:latin typeface="Segoe UI" panose="020B0502040204020203" pitchFamily="34" charset="0"/>
                  <a:ea typeface="MS PGothic" pitchFamily="34" charset="-128"/>
                  <a:cs typeface="Segoe UI" panose="020B0502040204020203" pitchFamily="34" charset="0"/>
                </a:rPr>
                <a:t>H</a:t>
              </a:r>
            </a:p>
          </p:txBody>
        </p:sp>
        <p:sp>
          <p:nvSpPr>
            <p:cNvPr id="33" name="Text Box 36">
              <a:extLst>
                <a:ext uri="{FF2B5EF4-FFF2-40B4-BE49-F238E27FC236}">
                  <a16:creationId xmlns:a16="http://schemas.microsoft.com/office/drawing/2014/main" id="{EB9CD69F-85E9-587F-2CC1-0B39777B835B}"/>
                </a:ext>
              </a:extLst>
            </p:cNvPr>
            <p:cNvSpPr txBox="1">
              <a:spLocks noChangeArrowheads="1"/>
            </p:cNvSpPr>
            <p:nvPr/>
          </p:nvSpPr>
          <p:spPr bwMode="auto">
            <a:xfrm>
              <a:off x="869008" y="4758718"/>
              <a:ext cx="252290" cy="248402"/>
            </a:xfrm>
            <a:prstGeom prst="rect">
              <a:avLst/>
            </a:prstGeom>
            <a:noFill/>
            <a:ln w="38100" algn="ctr">
              <a:noFill/>
              <a:miter lim="800000"/>
              <a:headEnd/>
              <a:tailEnd/>
            </a:ln>
          </p:spPr>
          <p:txBody>
            <a:bodyPr wrap="none" lIns="90000" tIns="46800" rIns="90000" bIns="46800">
              <a:spAutoFit/>
            </a:bodyPr>
            <a:lstStyle/>
            <a:p>
              <a:pPr marL="174625" indent="-174625" fontAlgn="ctr">
                <a:buClr>
                  <a:srgbClr val="6699FF"/>
                </a:buClr>
              </a:pPr>
              <a:r>
                <a:rPr kumimoji="1" lang="en-US" altLang="ja-JP" sz="1000">
                  <a:latin typeface="Segoe UI" panose="020B0502040204020203" pitchFamily="34" charset="0"/>
                  <a:ea typeface="MS PGothic" pitchFamily="34" charset="-128"/>
                  <a:cs typeface="Segoe UI" panose="020B0502040204020203" pitchFamily="34" charset="0"/>
                </a:rPr>
                <a:t>L</a:t>
              </a:r>
            </a:p>
          </p:txBody>
        </p:sp>
        <p:sp>
          <p:nvSpPr>
            <p:cNvPr id="34" name="Text Box 37">
              <a:extLst>
                <a:ext uri="{FF2B5EF4-FFF2-40B4-BE49-F238E27FC236}">
                  <a16:creationId xmlns:a16="http://schemas.microsoft.com/office/drawing/2014/main" id="{06DDBD71-794D-86F4-9213-E407AA19D770}"/>
                </a:ext>
              </a:extLst>
            </p:cNvPr>
            <p:cNvSpPr txBox="1">
              <a:spLocks noChangeArrowheads="1"/>
            </p:cNvSpPr>
            <p:nvPr/>
          </p:nvSpPr>
          <p:spPr bwMode="auto">
            <a:xfrm>
              <a:off x="869008" y="2714966"/>
              <a:ext cx="274732" cy="248402"/>
            </a:xfrm>
            <a:prstGeom prst="rect">
              <a:avLst/>
            </a:prstGeom>
            <a:noFill/>
            <a:ln w="38100" algn="ctr">
              <a:noFill/>
              <a:miter lim="800000"/>
              <a:headEnd/>
              <a:tailEnd/>
            </a:ln>
          </p:spPr>
          <p:txBody>
            <a:bodyPr wrap="none" lIns="90000" tIns="46800" rIns="90000" bIns="46800">
              <a:spAutoFit/>
            </a:bodyPr>
            <a:lstStyle/>
            <a:p>
              <a:pPr marL="174625" indent="-174625" fontAlgn="ctr">
                <a:buClr>
                  <a:srgbClr val="6699FF"/>
                </a:buClr>
              </a:pPr>
              <a:r>
                <a:rPr kumimoji="1" lang="en-US" altLang="ja-JP" sz="1000">
                  <a:latin typeface="Segoe UI" panose="020B0502040204020203" pitchFamily="34" charset="0"/>
                  <a:ea typeface="MS PGothic" pitchFamily="34" charset="-128"/>
                  <a:cs typeface="Segoe UI" panose="020B0502040204020203" pitchFamily="34" charset="0"/>
                </a:rPr>
                <a:t>H</a:t>
              </a:r>
            </a:p>
          </p:txBody>
        </p:sp>
        <p:sp>
          <p:nvSpPr>
            <p:cNvPr id="35" name="Line 40">
              <a:extLst>
                <a:ext uri="{FF2B5EF4-FFF2-40B4-BE49-F238E27FC236}">
                  <a16:creationId xmlns:a16="http://schemas.microsoft.com/office/drawing/2014/main" id="{69E5FCB8-F6F1-9B37-E33A-491F6E5CAA8E}"/>
                </a:ext>
              </a:extLst>
            </p:cNvPr>
            <p:cNvSpPr>
              <a:spLocks noChangeShapeType="1"/>
            </p:cNvSpPr>
            <p:nvPr/>
          </p:nvSpPr>
          <p:spPr bwMode="auto">
            <a:xfrm>
              <a:off x="2621035" y="2290484"/>
              <a:ext cx="0" cy="3208854"/>
            </a:xfrm>
            <a:prstGeom prst="line">
              <a:avLst/>
            </a:prstGeom>
            <a:noFill/>
            <a:ln w="6350">
              <a:solidFill>
                <a:schemeClr val="tx2">
                  <a:lumMod val="60000"/>
                  <a:lumOff val="40000"/>
                </a:schemeClr>
              </a:solidFill>
              <a:prstDash val="solid"/>
              <a:round/>
              <a:headEnd/>
              <a:tailEnd/>
            </a:ln>
          </p:spPr>
          <p:txBody>
            <a:bodyPr wrap="none" lIns="90000" tIns="46800" rIns="90000" bIns="46800" anchor="ctr"/>
            <a:lstStyle/>
            <a:p>
              <a:pPr>
                <a:defRPr/>
              </a:pPr>
              <a:endParaRPr lang="en-US" kern="0">
                <a:solidFill>
                  <a:sysClr val="windowText" lastClr="000000"/>
                </a:solidFill>
                <a:latin typeface="Segoe UI" panose="020B0502040204020203" pitchFamily="34" charset="0"/>
                <a:cs typeface="Segoe UI" panose="020B0502040204020203" pitchFamily="34" charset="0"/>
              </a:endParaRPr>
            </a:p>
          </p:txBody>
        </p:sp>
        <p:sp>
          <p:nvSpPr>
            <p:cNvPr id="36" name="Line 41">
              <a:extLst>
                <a:ext uri="{FF2B5EF4-FFF2-40B4-BE49-F238E27FC236}">
                  <a16:creationId xmlns:a16="http://schemas.microsoft.com/office/drawing/2014/main" id="{AF59A5BA-5A89-E3F7-4117-E9010424CC50}"/>
                </a:ext>
              </a:extLst>
            </p:cNvPr>
            <p:cNvSpPr>
              <a:spLocks noChangeShapeType="1"/>
            </p:cNvSpPr>
            <p:nvPr/>
          </p:nvSpPr>
          <p:spPr bwMode="auto">
            <a:xfrm>
              <a:off x="4123052" y="2290484"/>
              <a:ext cx="0" cy="3208854"/>
            </a:xfrm>
            <a:prstGeom prst="line">
              <a:avLst/>
            </a:prstGeom>
            <a:noFill/>
            <a:ln w="6350">
              <a:solidFill>
                <a:schemeClr val="tx2">
                  <a:lumMod val="60000"/>
                  <a:lumOff val="40000"/>
                </a:schemeClr>
              </a:solidFill>
              <a:prstDash val="solid"/>
              <a:round/>
              <a:headEnd/>
              <a:tailEnd/>
            </a:ln>
          </p:spPr>
          <p:txBody>
            <a:bodyPr wrap="none" lIns="90000" tIns="46800" rIns="90000" bIns="46800" anchor="ctr"/>
            <a:lstStyle/>
            <a:p>
              <a:pPr>
                <a:defRPr/>
              </a:pPr>
              <a:endParaRPr lang="en-US" kern="0">
                <a:solidFill>
                  <a:sysClr val="windowText" lastClr="000000"/>
                </a:solidFill>
                <a:latin typeface="Segoe UI" panose="020B0502040204020203" pitchFamily="34" charset="0"/>
                <a:cs typeface="Segoe UI" panose="020B0502040204020203" pitchFamily="34" charset="0"/>
              </a:endParaRPr>
            </a:p>
          </p:txBody>
        </p:sp>
        <p:sp>
          <p:nvSpPr>
            <p:cNvPr id="37" name="Line 42">
              <a:extLst>
                <a:ext uri="{FF2B5EF4-FFF2-40B4-BE49-F238E27FC236}">
                  <a16:creationId xmlns:a16="http://schemas.microsoft.com/office/drawing/2014/main" id="{5EFC332C-9478-2DA5-8703-A1CEFD4CCDF3}"/>
                </a:ext>
              </a:extLst>
            </p:cNvPr>
            <p:cNvSpPr>
              <a:spLocks noChangeShapeType="1"/>
            </p:cNvSpPr>
            <p:nvPr/>
          </p:nvSpPr>
          <p:spPr bwMode="auto">
            <a:xfrm>
              <a:off x="1175419" y="3354659"/>
              <a:ext cx="4440697" cy="0"/>
            </a:xfrm>
            <a:prstGeom prst="line">
              <a:avLst/>
            </a:prstGeom>
            <a:noFill/>
            <a:ln w="6350">
              <a:solidFill>
                <a:schemeClr val="tx2">
                  <a:lumMod val="60000"/>
                  <a:lumOff val="40000"/>
                </a:schemeClr>
              </a:solidFill>
              <a:prstDash val="solid"/>
              <a:round/>
              <a:headEnd/>
              <a:tailEnd/>
            </a:ln>
          </p:spPr>
          <p:txBody>
            <a:bodyPr wrap="none" lIns="90000" tIns="46800" rIns="90000" bIns="46800" anchor="ctr"/>
            <a:lstStyle/>
            <a:p>
              <a:pPr>
                <a:defRPr/>
              </a:pPr>
              <a:endParaRPr lang="en-US" kern="0">
                <a:solidFill>
                  <a:sysClr val="windowText" lastClr="000000"/>
                </a:solidFill>
                <a:latin typeface="Segoe UI" panose="020B0502040204020203" pitchFamily="34" charset="0"/>
                <a:cs typeface="Segoe UI" panose="020B0502040204020203" pitchFamily="34" charset="0"/>
              </a:endParaRPr>
            </a:p>
          </p:txBody>
        </p:sp>
        <p:sp>
          <p:nvSpPr>
            <p:cNvPr id="38" name="Line 43">
              <a:extLst>
                <a:ext uri="{FF2B5EF4-FFF2-40B4-BE49-F238E27FC236}">
                  <a16:creationId xmlns:a16="http://schemas.microsoft.com/office/drawing/2014/main" id="{31014017-8768-291F-F1B4-3100C8BC0DB4}"/>
                </a:ext>
              </a:extLst>
            </p:cNvPr>
            <p:cNvSpPr>
              <a:spLocks noChangeShapeType="1"/>
            </p:cNvSpPr>
            <p:nvPr/>
          </p:nvSpPr>
          <p:spPr bwMode="auto">
            <a:xfrm>
              <a:off x="1175419" y="4418835"/>
              <a:ext cx="4440697" cy="0"/>
            </a:xfrm>
            <a:prstGeom prst="line">
              <a:avLst/>
            </a:prstGeom>
            <a:noFill/>
            <a:ln w="6350">
              <a:solidFill>
                <a:schemeClr val="tx2">
                  <a:lumMod val="60000"/>
                  <a:lumOff val="40000"/>
                </a:schemeClr>
              </a:solidFill>
              <a:prstDash val="solid"/>
              <a:round/>
              <a:headEnd/>
              <a:tailEnd/>
            </a:ln>
          </p:spPr>
          <p:txBody>
            <a:bodyPr wrap="none" lIns="90000" tIns="46800" rIns="90000" bIns="46800" anchor="ctr"/>
            <a:lstStyle/>
            <a:p>
              <a:pPr>
                <a:defRPr/>
              </a:pPr>
              <a:endParaRPr lang="en-US" kern="0">
                <a:solidFill>
                  <a:sysClr val="windowText" lastClr="000000"/>
                </a:solidFill>
                <a:latin typeface="Segoe UI" panose="020B0502040204020203" pitchFamily="34" charset="0"/>
                <a:cs typeface="Segoe UI" panose="020B0502040204020203" pitchFamily="34" charset="0"/>
              </a:endParaRPr>
            </a:p>
          </p:txBody>
        </p:sp>
        <p:sp>
          <p:nvSpPr>
            <p:cNvPr id="39" name="Text Box 44">
              <a:extLst>
                <a:ext uri="{FF2B5EF4-FFF2-40B4-BE49-F238E27FC236}">
                  <a16:creationId xmlns:a16="http://schemas.microsoft.com/office/drawing/2014/main" id="{378C4B03-34A8-6B63-F384-914FBD1066E1}"/>
                </a:ext>
              </a:extLst>
            </p:cNvPr>
            <p:cNvSpPr txBox="1">
              <a:spLocks noChangeArrowheads="1"/>
            </p:cNvSpPr>
            <p:nvPr/>
          </p:nvSpPr>
          <p:spPr bwMode="auto">
            <a:xfrm>
              <a:off x="869008" y="3737584"/>
              <a:ext cx="297174" cy="248402"/>
            </a:xfrm>
            <a:prstGeom prst="rect">
              <a:avLst/>
            </a:prstGeom>
            <a:noFill/>
            <a:ln w="38100" algn="ctr">
              <a:noFill/>
              <a:miter lim="800000"/>
              <a:headEnd/>
              <a:tailEnd/>
            </a:ln>
          </p:spPr>
          <p:txBody>
            <a:bodyPr wrap="none" lIns="90000" tIns="46800" rIns="90000" bIns="46800">
              <a:spAutoFit/>
            </a:bodyPr>
            <a:lstStyle/>
            <a:p>
              <a:pPr marL="174625" indent="-174625" fontAlgn="ctr">
                <a:buClr>
                  <a:srgbClr val="6699FF"/>
                </a:buClr>
              </a:pPr>
              <a:r>
                <a:rPr kumimoji="1" lang="en-US" altLang="ja-JP" sz="1000">
                  <a:latin typeface="Segoe UI" panose="020B0502040204020203" pitchFamily="34" charset="0"/>
                  <a:ea typeface="MS PGothic" pitchFamily="34" charset="-128"/>
                  <a:cs typeface="Segoe UI" panose="020B0502040204020203" pitchFamily="34" charset="0"/>
                </a:rPr>
                <a:t>M</a:t>
              </a:r>
            </a:p>
          </p:txBody>
        </p:sp>
        <p:sp>
          <p:nvSpPr>
            <p:cNvPr id="40" name="Text Box 45">
              <a:extLst>
                <a:ext uri="{FF2B5EF4-FFF2-40B4-BE49-F238E27FC236}">
                  <a16:creationId xmlns:a16="http://schemas.microsoft.com/office/drawing/2014/main" id="{5244BE0D-0B7C-3CA5-F342-89AD61DEF588}"/>
                </a:ext>
              </a:extLst>
            </p:cNvPr>
            <p:cNvSpPr txBox="1">
              <a:spLocks noChangeArrowheads="1"/>
            </p:cNvSpPr>
            <p:nvPr/>
          </p:nvSpPr>
          <p:spPr bwMode="auto">
            <a:xfrm>
              <a:off x="2668530" y="2290483"/>
              <a:ext cx="1258607" cy="246221"/>
            </a:xfrm>
            <a:prstGeom prst="rect">
              <a:avLst/>
            </a:prstGeom>
            <a:noFill/>
            <a:ln w="9525">
              <a:noFill/>
              <a:miter lim="800000"/>
              <a:headEnd/>
              <a:tailEnd/>
            </a:ln>
          </p:spPr>
          <p:txBody>
            <a:bodyPr>
              <a:spAutoFit/>
            </a:bodyPr>
            <a:lstStyle/>
            <a:p>
              <a:pPr algn="r">
                <a:spcBef>
                  <a:spcPct val="60000"/>
                </a:spcBef>
                <a:defRPr/>
              </a:pPr>
              <a:r>
                <a:rPr lang="en-US" sz="1000" b="1" kern="0">
                  <a:solidFill>
                    <a:srgbClr val="C00000"/>
                  </a:solidFill>
                  <a:latin typeface="Segoe UI" panose="020B0502040204020203" pitchFamily="34" charset="0"/>
                  <a:cs typeface="Segoe UI" panose="020B0502040204020203" pitchFamily="34" charset="0"/>
                </a:rPr>
                <a:t>Medium Term</a:t>
              </a:r>
            </a:p>
          </p:txBody>
        </p:sp>
        <p:sp>
          <p:nvSpPr>
            <p:cNvPr id="41" name="Text Box 46">
              <a:extLst>
                <a:ext uri="{FF2B5EF4-FFF2-40B4-BE49-F238E27FC236}">
                  <a16:creationId xmlns:a16="http://schemas.microsoft.com/office/drawing/2014/main" id="{E4206BD0-EF34-F716-A811-EFBCC5519F40}"/>
                </a:ext>
              </a:extLst>
            </p:cNvPr>
            <p:cNvSpPr txBox="1">
              <a:spLocks noChangeArrowheads="1"/>
            </p:cNvSpPr>
            <p:nvPr/>
          </p:nvSpPr>
          <p:spPr bwMode="auto">
            <a:xfrm>
              <a:off x="1435155" y="2291967"/>
              <a:ext cx="948407" cy="246221"/>
            </a:xfrm>
            <a:prstGeom prst="rect">
              <a:avLst/>
            </a:prstGeom>
            <a:noFill/>
            <a:ln w="9525" algn="ctr">
              <a:noFill/>
              <a:miter lim="800000"/>
              <a:headEnd/>
              <a:tailEnd/>
            </a:ln>
          </p:spPr>
          <p:txBody>
            <a:bodyPr>
              <a:spAutoFit/>
            </a:bodyPr>
            <a:lstStyle/>
            <a:p>
              <a:pPr>
                <a:spcBef>
                  <a:spcPct val="60000"/>
                </a:spcBef>
                <a:defRPr/>
              </a:pPr>
              <a:r>
                <a:rPr lang="en-US" sz="1000" b="1" kern="0">
                  <a:solidFill>
                    <a:srgbClr val="C00000"/>
                  </a:solidFill>
                  <a:latin typeface="Segoe UI" panose="020B0502040204020203" pitchFamily="34" charset="0"/>
                  <a:cs typeface="Segoe UI" panose="020B0502040204020203" pitchFamily="34" charset="0"/>
                </a:rPr>
                <a:t>Quick Win</a:t>
              </a:r>
            </a:p>
          </p:txBody>
        </p:sp>
        <p:sp>
          <p:nvSpPr>
            <p:cNvPr id="42" name="Text Box 47">
              <a:extLst>
                <a:ext uri="{FF2B5EF4-FFF2-40B4-BE49-F238E27FC236}">
                  <a16:creationId xmlns:a16="http://schemas.microsoft.com/office/drawing/2014/main" id="{288C3D54-C217-ACEB-7BA4-F4FD825F1C2F}"/>
                </a:ext>
              </a:extLst>
            </p:cNvPr>
            <p:cNvSpPr txBox="1">
              <a:spLocks noChangeArrowheads="1"/>
            </p:cNvSpPr>
            <p:nvPr/>
          </p:nvSpPr>
          <p:spPr bwMode="auto">
            <a:xfrm>
              <a:off x="4520819" y="2291967"/>
              <a:ext cx="926145" cy="246221"/>
            </a:xfrm>
            <a:prstGeom prst="rect">
              <a:avLst/>
            </a:prstGeom>
            <a:noFill/>
            <a:ln w="9525" algn="ctr">
              <a:noFill/>
              <a:miter lim="800000"/>
              <a:headEnd/>
              <a:tailEnd/>
            </a:ln>
          </p:spPr>
          <p:txBody>
            <a:bodyPr>
              <a:spAutoFit/>
            </a:bodyPr>
            <a:lstStyle/>
            <a:p>
              <a:pPr>
                <a:spcBef>
                  <a:spcPct val="60000"/>
                </a:spcBef>
                <a:defRPr/>
              </a:pPr>
              <a:r>
                <a:rPr lang="en-US" sz="1000" b="1" kern="0">
                  <a:solidFill>
                    <a:srgbClr val="C00000"/>
                  </a:solidFill>
                  <a:latin typeface="Segoe UI" panose="020B0502040204020203" pitchFamily="34" charset="0"/>
                  <a:cs typeface="Segoe UI" panose="020B0502040204020203" pitchFamily="34" charset="0"/>
                </a:rPr>
                <a:t>Long Term</a:t>
              </a:r>
            </a:p>
          </p:txBody>
        </p:sp>
        <p:sp>
          <p:nvSpPr>
            <p:cNvPr id="43" name="Oval 3">
              <a:extLst>
                <a:ext uri="{FF2B5EF4-FFF2-40B4-BE49-F238E27FC236}">
                  <a16:creationId xmlns:a16="http://schemas.microsoft.com/office/drawing/2014/main" id="{B3018E6B-6005-CA36-81F8-0450887AB097}"/>
                </a:ext>
              </a:extLst>
            </p:cNvPr>
            <p:cNvSpPr>
              <a:spLocks noChangeArrowheads="1"/>
            </p:cNvSpPr>
            <p:nvPr/>
          </p:nvSpPr>
          <p:spPr bwMode="auto">
            <a:xfrm>
              <a:off x="1314934" y="3930530"/>
              <a:ext cx="216000" cy="216000"/>
            </a:xfrm>
            <a:prstGeom prst="ellipse">
              <a:avLst/>
            </a:prstGeom>
            <a:solidFill>
              <a:srgbClr val="FF0000"/>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a:solidFill>
                    <a:srgbClr val="FFFFFF"/>
                  </a:solidFill>
                  <a:latin typeface="Segoe UI" panose="020B0502040204020203" pitchFamily="34" charset="0"/>
                  <a:ea typeface="MS PGothic" pitchFamily="34" charset="-128"/>
                  <a:cs typeface="Segoe UI" panose="020B0502040204020203" pitchFamily="34" charset="0"/>
                </a:rPr>
                <a:t>1</a:t>
              </a:r>
            </a:p>
          </p:txBody>
        </p:sp>
        <p:sp>
          <p:nvSpPr>
            <p:cNvPr id="44" name="Oval 3">
              <a:extLst>
                <a:ext uri="{FF2B5EF4-FFF2-40B4-BE49-F238E27FC236}">
                  <a16:creationId xmlns:a16="http://schemas.microsoft.com/office/drawing/2014/main" id="{75B494C4-BCA9-4072-B849-6E37808746F2}"/>
                </a:ext>
              </a:extLst>
            </p:cNvPr>
            <p:cNvSpPr>
              <a:spLocks noChangeArrowheads="1"/>
            </p:cNvSpPr>
            <p:nvPr/>
          </p:nvSpPr>
          <p:spPr bwMode="auto">
            <a:xfrm>
              <a:off x="1742385" y="3930530"/>
              <a:ext cx="216000" cy="216000"/>
            </a:xfrm>
            <a:prstGeom prst="ellipse">
              <a:avLst/>
            </a:prstGeom>
            <a:solidFill>
              <a:srgbClr val="FF0000"/>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a:solidFill>
                    <a:srgbClr val="FFFFFF"/>
                  </a:solidFill>
                  <a:latin typeface="Segoe UI" panose="020B0502040204020203" pitchFamily="34" charset="0"/>
                  <a:ea typeface="MS PGothic" pitchFamily="34" charset="-128"/>
                  <a:cs typeface="Segoe UI" panose="020B0502040204020203" pitchFamily="34" charset="0"/>
                </a:rPr>
                <a:t>2</a:t>
              </a:r>
            </a:p>
          </p:txBody>
        </p:sp>
        <p:sp>
          <p:nvSpPr>
            <p:cNvPr id="45" name="Oval 3">
              <a:extLst>
                <a:ext uri="{FF2B5EF4-FFF2-40B4-BE49-F238E27FC236}">
                  <a16:creationId xmlns:a16="http://schemas.microsoft.com/office/drawing/2014/main" id="{A4D060A6-6644-B264-7764-30768D05E46D}"/>
                </a:ext>
              </a:extLst>
            </p:cNvPr>
            <p:cNvSpPr>
              <a:spLocks noChangeArrowheads="1"/>
            </p:cNvSpPr>
            <p:nvPr/>
          </p:nvSpPr>
          <p:spPr bwMode="auto">
            <a:xfrm>
              <a:off x="1671143" y="4856675"/>
              <a:ext cx="216000" cy="216000"/>
            </a:xfrm>
            <a:prstGeom prst="ellipse">
              <a:avLst/>
            </a:prstGeom>
            <a:solidFill>
              <a:srgbClr val="FF0000"/>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a:solidFill>
                    <a:srgbClr val="FFFFFF"/>
                  </a:solidFill>
                  <a:latin typeface="Segoe UI" panose="020B0502040204020203" pitchFamily="34" charset="0"/>
                  <a:ea typeface="MS PGothic" pitchFamily="34" charset="-128"/>
                  <a:cs typeface="Segoe UI" panose="020B0502040204020203" pitchFamily="34" charset="0"/>
                </a:rPr>
                <a:t>4</a:t>
              </a:r>
            </a:p>
          </p:txBody>
        </p:sp>
        <p:sp>
          <p:nvSpPr>
            <p:cNvPr id="46" name="Oval 3">
              <a:extLst>
                <a:ext uri="{FF2B5EF4-FFF2-40B4-BE49-F238E27FC236}">
                  <a16:creationId xmlns:a16="http://schemas.microsoft.com/office/drawing/2014/main" id="{9A9972ED-D5E3-D0BF-D903-E0B1DBC825D5}"/>
                </a:ext>
              </a:extLst>
            </p:cNvPr>
            <p:cNvSpPr>
              <a:spLocks noChangeArrowheads="1"/>
            </p:cNvSpPr>
            <p:nvPr/>
          </p:nvSpPr>
          <p:spPr bwMode="auto">
            <a:xfrm>
              <a:off x="2383562" y="3716804"/>
              <a:ext cx="216000" cy="216000"/>
            </a:xfrm>
            <a:prstGeom prst="ellipse">
              <a:avLst/>
            </a:prstGeom>
            <a:solidFill>
              <a:srgbClr val="FF0000"/>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a:solidFill>
                    <a:srgbClr val="FFFFFF"/>
                  </a:solidFill>
                  <a:latin typeface="Segoe UI" panose="020B0502040204020203" pitchFamily="34" charset="0"/>
                  <a:ea typeface="MS PGothic" pitchFamily="34" charset="-128"/>
                  <a:cs typeface="Segoe UI" panose="020B0502040204020203" pitchFamily="34" charset="0"/>
                </a:rPr>
                <a:t>3</a:t>
              </a:r>
            </a:p>
          </p:txBody>
        </p:sp>
        <p:sp>
          <p:nvSpPr>
            <p:cNvPr id="47" name="Oval 3">
              <a:extLst>
                <a:ext uri="{FF2B5EF4-FFF2-40B4-BE49-F238E27FC236}">
                  <a16:creationId xmlns:a16="http://schemas.microsoft.com/office/drawing/2014/main" id="{F87593B5-9C8D-E122-FE76-47ABD2DD32C8}"/>
                </a:ext>
              </a:extLst>
            </p:cNvPr>
            <p:cNvSpPr>
              <a:spLocks noChangeArrowheads="1"/>
            </p:cNvSpPr>
            <p:nvPr/>
          </p:nvSpPr>
          <p:spPr bwMode="auto">
            <a:xfrm>
              <a:off x="2785783" y="2719418"/>
              <a:ext cx="216000" cy="216000"/>
            </a:xfrm>
            <a:prstGeom prst="ellipse">
              <a:avLst/>
            </a:prstGeom>
            <a:solidFill>
              <a:schemeClr val="tx1"/>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a:solidFill>
                    <a:srgbClr val="FFFFFF"/>
                  </a:solidFill>
                  <a:latin typeface="Segoe UI" panose="020B0502040204020203" pitchFamily="34" charset="0"/>
                  <a:ea typeface="MS PGothic" pitchFamily="34" charset="-128"/>
                  <a:cs typeface="Segoe UI" panose="020B0502040204020203" pitchFamily="34" charset="0"/>
                </a:rPr>
                <a:t>5</a:t>
              </a:r>
            </a:p>
          </p:txBody>
        </p:sp>
        <p:sp>
          <p:nvSpPr>
            <p:cNvPr id="48" name="Oval 3">
              <a:extLst>
                <a:ext uri="{FF2B5EF4-FFF2-40B4-BE49-F238E27FC236}">
                  <a16:creationId xmlns:a16="http://schemas.microsoft.com/office/drawing/2014/main" id="{21B78784-4F48-457F-B417-F2E1BE96CA05}"/>
                </a:ext>
              </a:extLst>
            </p:cNvPr>
            <p:cNvSpPr>
              <a:spLocks noChangeArrowheads="1"/>
            </p:cNvSpPr>
            <p:nvPr/>
          </p:nvSpPr>
          <p:spPr bwMode="auto">
            <a:xfrm>
              <a:off x="3523433" y="4163551"/>
              <a:ext cx="216000" cy="216000"/>
            </a:xfrm>
            <a:prstGeom prst="ellipse">
              <a:avLst/>
            </a:prstGeom>
            <a:solidFill>
              <a:srgbClr val="FF0000"/>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a:solidFill>
                    <a:srgbClr val="FFFFFF"/>
                  </a:solidFill>
                  <a:latin typeface="Segoe UI" panose="020B0502040204020203" pitchFamily="34" charset="0"/>
                  <a:ea typeface="MS PGothic" pitchFamily="34" charset="-128"/>
                  <a:cs typeface="Segoe UI" panose="020B0502040204020203" pitchFamily="34" charset="0"/>
                </a:rPr>
                <a:t>6</a:t>
              </a:r>
            </a:p>
          </p:txBody>
        </p:sp>
        <p:sp>
          <p:nvSpPr>
            <p:cNvPr id="49" name="Oval 3">
              <a:extLst>
                <a:ext uri="{FF2B5EF4-FFF2-40B4-BE49-F238E27FC236}">
                  <a16:creationId xmlns:a16="http://schemas.microsoft.com/office/drawing/2014/main" id="{8212C8CA-B68E-AB7A-593C-4B59A9A036DB}"/>
                </a:ext>
              </a:extLst>
            </p:cNvPr>
            <p:cNvSpPr>
              <a:spLocks noChangeArrowheads="1"/>
            </p:cNvSpPr>
            <p:nvPr/>
          </p:nvSpPr>
          <p:spPr bwMode="auto">
            <a:xfrm>
              <a:off x="3309707" y="3930530"/>
              <a:ext cx="216000" cy="216000"/>
            </a:xfrm>
            <a:prstGeom prst="ellipse">
              <a:avLst/>
            </a:prstGeom>
            <a:solidFill>
              <a:schemeClr val="tx1"/>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a:solidFill>
                    <a:srgbClr val="FFFFFF"/>
                  </a:solidFill>
                  <a:latin typeface="Segoe UI" panose="020B0502040204020203" pitchFamily="34" charset="0"/>
                  <a:ea typeface="MS PGothic" pitchFamily="34" charset="-128"/>
                  <a:cs typeface="Segoe UI" panose="020B0502040204020203" pitchFamily="34" charset="0"/>
                </a:rPr>
                <a:t>8</a:t>
              </a:r>
            </a:p>
          </p:txBody>
        </p:sp>
        <p:sp>
          <p:nvSpPr>
            <p:cNvPr id="50" name="Oval 3">
              <a:extLst>
                <a:ext uri="{FF2B5EF4-FFF2-40B4-BE49-F238E27FC236}">
                  <a16:creationId xmlns:a16="http://schemas.microsoft.com/office/drawing/2014/main" id="{C4C6A899-C767-A592-0B7E-68ED74422BAE}"/>
                </a:ext>
              </a:extLst>
            </p:cNvPr>
            <p:cNvSpPr>
              <a:spLocks noChangeArrowheads="1"/>
            </p:cNvSpPr>
            <p:nvPr/>
          </p:nvSpPr>
          <p:spPr bwMode="auto">
            <a:xfrm>
              <a:off x="3167223" y="2719418"/>
              <a:ext cx="216000" cy="216000"/>
            </a:xfrm>
            <a:prstGeom prst="ellipse">
              <a:avLst/>
            </a:prstGeom>
            <a:solidFill>
              <a:srgbClr val="FF0000"/>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a:solidFill>
                    <a:srgbClr val="FFFFFF"/>
                  </a:solidFill>
                  <a:latin typeface="Segoe UI" panose="020B0502040204020203" pitchFamily="34" charset="0"/>
                  <a:ea typeface="MS PGothic" pitchFamily="34" charset="-128"/>
                  <a:cs typeface="Segoe UI" panose="020B0502040204020203" pitchFamily="34" charset="0"/>
                </a:rPr>
                <a:t>7</a:t>
              </a:r>
            </a:p>
          </p:txBody>
        </p:sp>
        <p:sp>
          <p:nvSpPr>
            <p:cNvPr id="51" name="Oval 3">
              <a:extLst>
                <a:ext uri="{FF2B5EF4-FFF2-40B4-BE49-F238E27FC236}">
                  <a16:creationId xmlns:a16="http://schemas.microsoft.com/office/drawing/2014/main" id="{91290832-75BE-871F-AFE1-BC76660815B6}"/>
                </a:ext>
              </a:extLst>
            </p:cNvPr>
            <p:cNvSpPr>
              <a:spLocks noChangeArrowheads="1"/>
            </p:cNvSpPr>
            <p:nvPr/>
          </p:nvSpPr>
          <p:spPr bwMode="auto">
            <a:xfrm>
              <a:off x="3523433" y="2719418"/>
              <a:ext cx="216000" cy="216000"/>
            </a:xfrm>
            <a:prstGeom prst="ellipse">
              <a:avLst/>
            </a:prstGeom>
            <a:solidFill>
              <a:schemeClr val="tx1"/>
            </a:solidFill>
            <a:ln w="9525" algn="ctr">
              <a:noFill/>
              <a:round/>
              <a:headEnd/>
              <a:tailEnd/>
            </a:ln>
          </p:spPr>
          <p:txBody>
            <a:bodyPr wrap="none" lIns="90000" tIns="46800" rIns="90000" bIns="46800" anchor="ctr"/>
            <a:lstStyle/>
            <a:p>
              <a:pPr marL="174625" indent="-174625" algn="ctr" fontAlgn="ctr">
                <a:buClr>
                  <a:srgbClr val="6699FF"/>
                </a:buClr>
              </a:pPr>
              <a:r>
                <a:rPr kumimoji="1" lang="en-US" altLang="ja-JP" sz="1200" b="1">
                  <a:solidFill>
                    <a:srgbClr val="FFFFFF"/>
                  </a:solidFill>
                  <a:latin typeface="Segoe UI" panose="020B0502040204020203" pitchFamily="34" charset="0"/>
                  <a:ea typeface="MS PGothic" pitchFamily="34" charset="-128"/>
                  <a:cs typeface="Segoe UI" panose="020B0502040204020203" pitchFamily="34" charset="0"/>
                </a:rPr>
                <a:t>9</a:t>
              </a:r>
            </a:p>
          </p:txBody>
        </p:sp>
        <p:sp>
          <p:nvSpPr>
            <p:cNvPr id="52" name="Oval 3">
              <a:extLst>
                <a:ext uri="{FF2B5EF4-FFF2-40B4-BE49-F238E27FC236}">
                  <a16:creationId xmlns:a16="http://schemas.microsoft.com/office/drawing/2014/main" id="{4BA6AFF1-EB0C-684A-CD55-421312F14B96}"/>
                </a:ext>
              </a:extLst>
            </p:cNvPr>
            <p:cNvSpPr>
              <a:spLocks noChangeArrowheads="1"/>
            </p:cNvSpPr>
            <p:nvPr/>
          </p:nvSpPr>
          <p:spPr bwMode="auto">
            <a:xfrm>
              <a:off x="5208007" y="3431837"/>
              <a:ext cx="216000" cy="216000"/>
            </a:xfrm>
            <a:prstGeom prst="ellipse">
              <a:avLst/>
            </a:prstGeom>
            <a:solidFill>
              <a:schemeClr val="tx1"/>
            </a:solidFill>
            <a:ln w="9525" algn="ctr">
              <a:noFill/>
              <a:round/>
              <a:headEnd/>
              <a:tailEnd/>
            </a:ln>
          </p:spPr>
          <p:txBody>
            <a:bodyPr wrap="none" lIns="90000" tIns="46800" rIns="90000" bIns="46800" anchor="ctr"/>
            <a:lstStyle/>
            <a:p>
              <a:pPr marL="174625" indent="-174625" algn="ctr" fontAlgn="ctr">
                <a:buClr>
                  <a:srgbClr val="6699FF"/>
                </a:buClr>
                <a:defRPr/>
              </a:pPr>
              <a:r>
                <a:rPr kumimoji="1" lang="en-US" altLang="ja-JP" sz="1200" b="1" kern="0">
                  <a:solidFill>
                    <a:srgbClr val="FFFFFF"/>
                  </a:solidFill>
                  <a:latin typeface="Segoe UI" panose="020B0502040204020203" pitchFamily="34" charset="0"/>
                  <a:ea typeface="MS PGothic" pitchFamily="34" charset="-128"/>
                  <a:cs typeface="Segoe UI" panose="020B0502040204020203" pitchFamily="34" charset="0"/>
                </a:rPr>
                <a:t>10</a:t>
              </a:r>
            </a:p>
          </p:txBody>
        </p:sp>
        <p:sp>
          <p:nvSpPr>
            <p:cNvPr id="53" name="Line 28">
              <a:extLst>
                <a:ext uri="{FF2B5EF4-FFF2-40B4-BE49-F238E27FC236}">
                  <a16:creationId xmlns:a16="http://schemas.microsoft.com/office/drawing/2014/main" id="{82741A64-7F5E-BAD9-508B-CC576AA08FBC}"/>
                </a:ext>
              </a:extLst>
            </p:cNvPr>
            <p:cNvSpPr>
              <a:spLocks noChangeShapeType="1"/>
            </p:cNvSpPr>
            <p:nvPr/>
          </p:nvSpPr>
          <p:spPr bwMode="auto">
            <a:xfrm>
              <a:off x="1177513" y="5499337"/>
              <a:ext cx="4690631" cy="0"/>
            </a:xfrm>
            <a:prstGeom prst="line">
              <a:avLst/>
            </a:prstGeom>
            <a:noFill/>
            <a:ln w="6350">
              <a:solidFill>
                <a:schemeClr val="tx1"/>
              </a:solidFill>
              <a:round/>
              <a:headEnd type="none" w="med" len="med"/>
              <a:tailEnd type="triangle" w="med" len="med"/>
            </a:ln>
          </p:spPr>
          <p:txBody>
            <a:bodyPr wrap="none" lIns="90000" tIns="46800" rIns="90000" bIns="46800" anchor="ctr"/>
            <a:lstStyle/>
            <a:p>
              <a:pPr>
                <a:defRPr/>
              </a:pPr>
              <a:endParaRPr lang="en-US" kern="0">
                <a:solidFill>
                  <a:sysClr val="windowText" lastClr="000000"/>
                </a:solidFill>
                <a:latin typeface="Segoe UI" panose="020B0502040204020203" pitchFamily="34" charset="0"/>
                <a:cs typeface="Segoe UI" panose="020B0502040204020203" pitchFamily="34" charset="0"/>
              </a:endParaRPr>
            </a:p>
          </p:txBody>
        </p:sp>
        <p:sp>
          <p:nvSpPr>
            <p:cNvPr id="54" name="Line 28">
              <a:extLst>
                <a:ext uri="{FF2B5EF4-FFF2-40B4-BE49-F238E27FC236}">
                  <a16:creationId xmlns:a16="http://schemas.microsoft.com/office/drawing/2014/main" id="{704EEA10-9D6A-120E-EE8E-3BBFE9669227}"/>
                </a:ext>
              </a:extLst>
            </p:cNvPr>
            <p:cNvSpPr>
              <a:spLocks noChangeShapeType="1"/>
            </p:cNvSpPr>
            <p:nvPr/>
          </p:nvSpPr>
          <p:spPr bwMode="auto">
            <a:xfrm flipV="1">
              <a:off x="1170781" y="2017606"/>
              <a:ext cx="0" cy="3471316"/>
            </a:xfrm>
            <a:prstGeom prst="line">
              <a:avLst/>
            </a:prstGeom>
            <a:noFill/>
            <a:ln w="6350">
              <a:solidFill>
                <a:schemeClr val="tx1"/>
              </a:solidFill>
              <a:round/>
              <a:headEnd type="none" w="med" len="med"/>
              <a:tailEnd type="triangle" w="med" len="med"/>
            </a:ln>
          </p:spPr>
          <p:txBody>
            <a:bodyPr wrap="none" lIns="90000" tIns="46800" rIns="90000" bIns="46800" anchor="ctr"/>
            <a:lstStyle/>
            <a:p>
              <a:pPr>
                <a:defRPr/>
              </a:pPr>
              <a:endParaRPr lang="en-US" kern="0">
                <a:solidFill>
                  <a:sysClr val="windowText" lastClr="000000"/>
                </a:solidFill>
                <a:latin typeface="Segoe UI" panose="020B0502040204020203" pitchFamily="34" charset="0"/>
                <a:cs typeface="Segoe UI" panose="020B0502040204020203" pitchFamily="34" charset="0"/>
              </a:endParaRPr>
            </a:p>
          </p:txBody>
        </p:sp>
        <p:sp>
          <p:nvSpPr>
            <p:cNvPr id="55" name="Rectangle 54">
              <a:extLst>
                <a:ext uri="{FF2B5EF4-FFF2-40B4-BE49-F238E27FC236}">
                  <a16:creationId xmlns:a16="http://schemas.microsoft.com/office/drawing/2014/main" id="{9D9A8F5B-80FF-3BA9-B173-817F6D8FCA14}"/>
                </a:ext>
              </a:extLst>
            </p:cNvPr>
            <p:cNvSpPr/>
            <p:nvPr/>
          </p:nvSpPr>
          <p:spPr bwMode="auto">
            <a:xfrm>
              <a:off x="323528" y="1852571"/>
              <a:ext cx="675427" cy="553998"/>
            </a:xfrm>
            <a:prstGeom prst="rect">
              <a:avLst/>
            </a:prstGeom>
          </p:spPr>
          <p:txBody>
            <a:bodyPr wrap="square" lIns="0" tIns="0" rIns="0" bIns="0">
              <a:spAutoFit/>
            </a:bodyPr>
            <a:lstStyle/>
            <a:p>
              <a:pPr fontAlgn="ctr">
                <a:buClr>
                  <a:srgbClr val="6699FF"/>
                </a:buClr>
                <a:defRPr/>
              </a:pPr>
              <a:r>
                <a:rPr kumimoji="1" lang="en-US" altLang="ja-JP" sz="1200" b="1" kern="0">
                  <a:latin typeface="Segoe UI" panose="020B0502040204020203" pitchFamily="34" charset="0"/>
                  <a:ea typeface="MS PGothic" pitchFamily="34" charset="-128"/>
                  <a:cs typeface="Segoe UI" panose="020B0502040204020203" pitchFamily="34" charset="0"/>
                </a:rPr>
                <a:t>Level of Potential Benefits</a:t>
              </a:r>
            </a:p>
          </p:txBody>
        </p:sp>
      </p:grpSp>
      <p:sp>
        <p:nvSpPr>
          <p:cNvPr id="58" name="TextBox 57">
            <a:extLst>
              <a:ext uri="{FF2B5EF4-FFF2-40B4-BE49-F238E27FC236}">
                <a16:creationId xmlns:a16="http://schemas.microsoft.com/office/drawing/2014/main" id="{59FC94F2-1646-7D09-EE71-7172797EAF61}"/>
              </a:ext>
            </a:extLst>
          </p:cNvPr>
          <p:cNvSpPr txBox="1"/>
          <p:nvPr/>
        </p:nvSpPr>
        <p:spPr>
          <a:xfrm>
            <a:off x="8018024" y="1416682"/>
            <a:ext cx="3869452" cy="461665"/>
          </a:xfrm>
          <a:prstGeom prst="rect">
            <a:avLst/>
          </a:prstGeom>
          <a:noFill/>
        </p:spPr>
        <p:txBody>
          <a:bodyPr wrap="square">
            <a:spAutoFit/>
          </a:bodyPr>
          <a:lstStyle/>
          <a:p>
            <a:r>
              <a:rPr lang="en-US" sz="12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200" err="1">
                <a:solidFill>
                  <a:schemeClr val="tx1">
                    <a:lumMod val="75000"/>
                    <a:lumOff val="25000"/>
                  </a:schemeClr>
                </a:solidFill>
                <a:latin typeface="Segoe UI" panose="020B0502040204020203" pitchFamily="34" charset="0"/>
                <a:cs typeface="Segoe UI" panose="020B0502040204020203" pitchFamily="34" charset="0"/>
              </a:rPr>
              <a:t>ame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elit</a:t>
            </a:r>
            <a:r>
              <a:rPr lang="en-US" sz="1200">
                <a:solidFill>
                  <a:schemeClr val="tx1">
                    <a:lumMod val="75000"/>
                    <a:lumOff val="25000"/>
                  </a:schemeClr>
                </a:solidFill>
                <a:latin typeface="Segoe UI" panose="020B0502040204020203" pitchFamily="34" charset="0"/>
                <a:cs typeface="Segoe UI" panose="020B0502040204020203" pitchFamily="34" charset="0"/>
              </a:rPr>
              <a:t>, sed do </a:t>
            </a:r>
            <a:r>
              <a:rPr lang="en-US" sz="1200" err="1">
                <a:solidFill>
                  <a:schemeClr val="tx1">
                    <a:lumMod val="75000"/>
                    <a:lumOff val="25000"/>
                  </a:schemeClr>
                </a:solidFill>
                <a:latin typeface="Segoe UI" panose="020B0502040204020203" pitchFamily="34" charset="0"/>
                <a:cs typeface="Segoe UI" panose="020B0502040204020203" pitchFamily="34" charset="0"/>
              </a:rPr>
              <a:t>eiusmod</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tempo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t</a:t>
            </a:r>
            <a:r>
              <a:rPr lang="en-US" sz="1200">
                <a:solidFill>
                  <a:schemeClr val="tx1">
                    <a:lumMod val="75000"/>
                    <a:lumOff val="25000"/>
                  </a:schemeClr>
                </a:solidFill>
                <a:latin typeface="Segoe UI" panose="020B0502040204020203" pitchFamily="34" charset="0"/>
                <a:cs typeface="Segoe UI" panose="020B0502040204020203" pitchFamily="34" charset="0"/>
              </a:rPr>
              <a:t> labore.</a:t>
            </a:r>
            <a:endParaRPr lang="en-BR" sz="1200"/>
          </a:p>
        </p:txBody>
      </p:sp>
      <p:sp>
        <p:nvSpPr>
          <p:cNvPr id="59" name="TextBox 58">
            <a:extLst>
              <a:ext uri="{FF2B5EF4-FFF2-40B4-BE49-F238E27FC236}">
                <a16:creationId xmlns:a16="http://schemas.microsoft.com/office/drawing/2014/main" id="{C5FB65C8-A866-918E-D714-C65D0DA8712E}"/>
              </a:ext>
            </a:extLst>
          </p:cNvPr>
          <p:cNvSpPr txBox="1"/>
          <p:nvPr/>
        </p:nvSpPr>
        <p:spPr>
          <a:xfrm>
            <a:off x="8018024" y="1904009"/>
            <a:ext cx="3869452" cy="461665"/>
          </a:xfrm>
          <a:prstGeom prst="rect">
            <a:avLst/>
          </a:prstGeom>
          <a:noFill/>
        </p:spPr>
        <p:txBody>
          <a:bodyPr wrap="square">
            <a:spAutoFit/>
          </a:bodyPr>
          <a:lstStyle/>
          <a:p>
            <a:r>
              <a:rPr lang="en-US" sz="12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200" err="1">
                <a:solidFill>
                  <a:schemeClr val="tx1">
                    <a:lumMod val="75000"/>
                    <a:lumOff val="25000"/>
                  </a:schemeClr>
                </a:solidFill>
                <a:latin typeface="Segoe UI" panose="020B0502040204020203" pitchFamily="34" charset="0"/>
                <a:cs typeface="Segoe UI" panose="020B0502040204020203" pitchFamily="34" charset="0"/>
              </a:rPr>
              <a:t>ame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elit</a:t>
            </a:r>
            <a:r>
              <a:rPr lang="en-US" sz="1200">
                <a:solidFill>
                  <a:schemeClr val="tx1">
                    <a:lumMod val="75000"/>
                    <a:lumOff val="25000"/>
                  </a:schemeClr>
                </a:solidFill>
                <a:latin typeface="Segoe UI" panose="020B0502040204020203" pitchFamily="34" charset="0"/>
                <a:cs typeface="Segoe UI" panose="020B0502040204020203" pitchFamily="34" charset="0"/>
              </a:rPr>
              <a:t>, sed do </a:t>
            </a:r>
            <a:r>
              <a:rPr lang="en-US" sz="1200" err="1">
                <a:solidFill>
                  <a:schemeClr val="tx1">
                    <a:lumMod val="75000"/>
                    <a:lumOff val="25000"/>
                  </a:schemeClr>
                </a:solidFill>
                <a:latin typeface="Segoe UI" panose="020B0502040204020203" pitchFamily="34" charset="0"/>
                <a:cs typeface="Segoe UI" panose="020B0502040204020203" pitchFamily="34" charset="0"/>
              </a:rPr>
              <a:t>eiusmod</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tempo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t</a:t>
            </a:r>
            <a:r>
              <a:rPr lang="en-US" sz="1200">
                <a:solidFill>
                  <a:schemeClr val="tx1">
                    <a:lumMod val="75000"/>
                    <a:lumOff val="25000"/>
                  </a:schemeClr>
                </a:solidFill>
                <a:latin typeface="Segoe UI" panose="020B0502040204020203" pitchFamily="34" charset="0"/>
                <a:cs typeface="Segoe UI" panose="020B0502040204020203" pitchFamily="34" charset="0"/>
              </a:rPr>
              <a:t> labore.</a:t>
            </a:r>
            <a:endParaRPr lang="en-BR" sz="1200"/>
          </a:p>
        </p:txBody>
      </p:sp>
      <p:sp>
        <p:nvSpPr>
          <p:cNvPr id="60" name="TextBox 59">
            <a:extLst>
              <a:ext uri="{FF2B5EF4-FFF2-40B4-BE49-F238E27FC236}">
                <a16:creationId xmlns:a16="http://schemas.microsoft.com/office/drawing/2014/main" id="{DD3ED23E-BB00-27AC-EAA3-CD19F45163E2}"/>
              </a:ext>
            </a:extLst>
          </p:cNvPr>
          <p:cNvSpPr txBox="1"/>
          <p:nvPr/>
        </p:nvSpPr>
        <p:spPr>
          <a:xfrm>
            <a:off x="8018024" y="2391336"/>
            <a:ext cx="3869452" cy="461665"/>
          </a:xfrm>
          <a:prstGeom prst="rect">
            <a:avLst/>
          </a:prstGeom>
          <a:noFill/>
        </p:spPr>
        <p:txBody>
          <a:bodyPr wrap="square">
            <a:spAutoFit/>
          </a:bodyPr>
          <a:lstStyle/>
          <a:p>
            <a:r>
              <a:rPr lang="en-US" sz="12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200" err="1">
                <a:solidFill>
                  <a:schemeClr val="tx1">
                    <a:lumMod val="75000"/>
                    <a:lumOff val="25000"/>
                  </a:schemeClr>
                </a:solidFill>
                <a:latin typeface="Segoe UI" panose="020B0502040204020203" pitchFamily="34" charset="0"/>
                <a:cs typeface="Segoe UI" panose="020B0502040204020203" pitchFamily="34" charset="0"/>
              </a:rPr>
              <a:t>ame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elit</a:t>
            </a:r>
            <a:r>
              <a:rPr lang="en-US" sz="1200">
                <a:solidFill>
                  <a:schemeClr val="tx1">
                    <a:lumMod val="75000"/>
                    <a:lumOff val="25000"/>
                  </a:schemeClr>
                </a:solidFill>
                <a:latin typeface="Segoe UI" panose="020B0502040204020203" pitchFamily="34" charset="0"/>
                <a:cs typeface="Segoe UI" panose="020B0502040204020203" pitchFamily="34" charset="0"/>
              </a:rPr>
              <a:t>, sed do </a:t>
            </a:r>
            <a:r>
              <a:rPr lang="en-US" sz="1200" err="1">
                <a:solidFill>
                  <a:schemeClr val="tx1">
                    <a:lumMod val="75000"/>
                    <a:lumOff val="25000"/>
                  </a:schemeClr>
                </a:solidFill>
                <a:latin typeface="Segoe UI" panose="020B0502040204020203" pitchFamily="34" charset="0"/>
                <a:cs typeface="Segoe UI" panose="020B0502040204020203" pitchFamily="34" charset="0"/>
              </a:rPr>
              <a:t>eiusmod</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tempo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t</a:t>
            </a:r>
            <a:r>
              <a:rPr lang="en-US" sz="1200">
                <a:solidFill>
                  <a:schemeClr val="tx1">
                    <a:lumMod val="75000"/>
                    <a:lumOff val="25000"/>
                  </a:schemeClr>
                </a:solidFill>
                <a:latin typeface="Segoe UI" panose="020B0502040204020203" pitchFamily="34" charset="0"/>
                <a:cs typeface="Segoe UI" panose="020B0502040204020203" pitchFamily="34" charset="0"/>
              </a:rPr>
              <a:t> labore.</a:t>
            </a:r>
            <a:endParaRPr lang="en-BR" sz="1200"/>
          </a:p>
        </p:txBody>
      </p:sp>
      <p:sp>
        <p:nvSpPr>
          <p:cNvPr id="61" name="TextBox 60">
            <a:extLst>
              <a:ext uri="{FF2B5EF4-FFF2-40B4-BE49-F238E27FC236}">
                <a16:creationId xmlns:a16="http://schemas.microsoft.com/office/drawing/2014/main" id="{31CE1FF2-3E7E-8EE8-2886-A009FD19CEF9}"/>
              </a:ext>
            </a:extLst>
          </p:cNvPr>
          <p:cNvSpPr txBox="1"/>
          <p:nvPr/>
        </p:nvSpPr>
        <p:spPr>
          <a:xfrm>
            <a:off x="8018024" y="2878663"/>
            <a:ext cx="3869452" cy="461665"/>
          </a:xfrm>
          <a:prstGeom prst="rect">
            <a:avLst/>
          </a:prstGeom>
          <a:noFill/>
        </p:spPr>
        <p:txBody>
          <a:bodyPr wrap="square">
            <a:spAutoFit/>
          </a:bodyPr>
          <a:lstStyle/>
          <a:p>
            <a:r>
              <a:rPr lang="en-US" sz="12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200" err="1">
                <a:solidFill>
                  <a:schemeClr val="tx1">
                    <a:lumMod val="75000"/>
                    <a:lumOff val="25000"/>
                  </a:schemeClr>
                </a:solidFill>
                <a:latin typeface="Segoe UI" panose="020B0502040204020203" pitchFamily="34" charset="0"/>
                <a:cs typeface="Segoe UI" panose="020B0502040204020203" pitchFamily="34" charset="0"/>
              </a:rPr>
              <a:t>ame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elit</a:t>
            </a:r>
            <a:r>
              <a:rPr lang="en-US" sz="1200">
                <a:solidFill>
                  <a:schemeClr val="tx1">
                    <a:lumMod val="75000"/>
                    <a:lumOff val="25000"/>
                  </a:schemeClr>
                </a:solidFill>
                <a:latin typeface="Segoe UI" panose="020B0502040204020203" pitchFamily="34" charset="0"/>
                <a:cs typeface="Segoe UI" panose="020B0502040204020203" pitchFamily="34" charset="0"/>
              </a:rPr>
              <a:t>, sed do </a:t>
            </a:r>
            <a:r>
              <a:rPr lang="en-US" sz="1200" err="1">
                <a:solidFill>
                  <a:schemeClr val="tx1">
                    <a:lumMod val="75000"/>
                    <a:lumOff val="25000"/>
                  </a:schemeClr>
                </a:solidFill>
                <a:latin typeface="Segoe UI" panose="020B0502040204020203" pitchFamily="34" charset="0"/>
                <a:cs typeface="Segoe UI" panose="020B0502040204020203" pitchFamily="34" charset="0"/>
              </a:rPr>
              <a:t>eiusmod</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tempo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t</a:t>
            </a:r>
            <a:r>
              <a:rPr lang="en-US" sz="1200">
                <a:solidFill>
                  <a:schemeClr val="tx1">
                    <a:lumMod val="75000"/>
                    <a:lumOff val="25000"/>
                  </a:schemeClr>
                </a:solidFill>
                <a:latin typeface="Segoe UI" panose="020B0502040204020203" pitchFamily="34" charset="0"/>
                <a:cs typeface="Segoe UI" panose="020B0502040204020203" pitchFamily="34" charset="0"/>
              </a:rPr>
              <a:t> labore.</a:t>
            </a:r>
            <a:endParaRPr lang="en-BR" sz="1200"/>
          </a:p>
        </p:txBody>
      </p:sp>
      <p:sp>
        <p:nvSpPr>
          <p:cNvPr id="62" name="TextBox 61">
            <a:extLst>
              <a:ext uri="{FF2B5EF4-FFF2-40B4-BE49-F238E27FC236}">
                <a16:creationId xmlns:a16="http://schemas.microsoft.com/office/drawing/2014/main" id="{8621C8BD-62B3-CF30-8DDC-09ADA4C92AA1}"/>
              </a:ext>
            </a:extLst>
          </p:cNvPr>
          <p:cNvSpPr txBox="1"/>
          <p:nvPr/>
        </p:nvSpPr>
        <p:spPr>
          <a:xfrm>
            <a:off x="8018024" y="3365990"/>
            <a:ext cx="3869452" cy="461665"/>
          </a:xfrm>
          <a:prstGeom prst="rect">
            <a:avLst/>
          </a:prstGeom>
          <a:noFill/>
        </p:spPr>
        <p:txBody>
          <a:bodyPr wrap="square">
            <a:spAutoFit/>
          </a:bodyPr>
          <a:lstStyle/>
          <a:p>
            <a:r>
              <a:rPr lang="en-US" sz="12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200" err="1">
                <a:solidFill>
                  <a:schemeClr val="tx1">
                    <a:lumMod val="75000"/>
                    <a:lumOff val="25000"/>
                  </a:schemeClr>
                </a:solidFill>
                <a:latin typeface="Segoe UI" panose="020B0502040204020203" pitchFamily="34" charset="0"/>
                <a:cs typeface="Segoe UI" panose="020B0502040204020203" pitchFamily="34" charset="0"/>
              </a:rPr>
              <a:t>ame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elit</a:t>
            </a:r>
            <a:r>
              <a:rPr lang="en-US" sz="1200">
                <a:solidFill>
                  <a:schemeClr val="tx1">
                    <a:lumMod val="75000"/>
                    <a:lumOff val="25000"/>
                  </a:schemeClr>
                </a:solidFill>
                <a:latin typeface="Segoe UI" panose="020B0502040204020203" pitchFamily="34" charset="0"/>
                <a:cs typeface="Segoe UI" panose="020B0502040204020203" pitchFamily="34" charset="0"/>
              </a:rPr>
              <a:t>, sed do </a:t>
            </a:r>
            <a:r>
              <a:rPr lang="en-US" sz="1200" err="1">
                <a:solidFill>
                  <a:schemeClr val="tx1">
                    <a:lumMod val="75000"/>
                    <a:lumOff val="25000"/>
                  </a:schemeClr>
                </a:solidFill>
                <a:latin typeface="Segoe UI" panose="020B0502040204020203" pitchFamily="34" charset="0"/>
                <a:cs typeface="Segoe UI" panose="020B0502040204020203" pitchFamily="34" charset="0"/>
              </a:rPr>
              <a:t>eiusmod</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tempo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t</a:t>
            </a:r>
            <a:r>
              <a:rPr lang="en-US" sz="1200">
                <a:solidFill>
                  <a:schemeClr val="tx1">
                    <a:lumMod val="75000"/>
                    <a:lumOff val="25000"/>
                  </a:schemeClr>
                </a:solidFill>
                <a:latin typeface="Segoe UI" panose="020B0502040204020203" pitchFamily="34" charset="0"/>
                <a:cs typeface="Segoe UI" panose="020B0502040204020203" pitchFamily="34" charset="0"/>
              </a:rPr>
              <a:t> labore.</a:t>
            </a:r>
            <a:endParaRPr lang="en-BR" sz="1200"/>
          </a:p>
        </p:txBody>
      </p:sp>
      <p:sp>
        <p:nvSpPr>
          <p:cNvPr id="63" name="TextBox 62">
            <a:extLst>
              <a:ext uri="{FF2B5EF4-FFF2-40B4-BE49-F238E27FC236}">
                <a16:creationId xmlns:a16="http://schemas.microsoft.com/office/drawing/2014/main" id="{10E5BDDC-674D-C616-2EF3-9761AC9B8B71}"/>
              </a:ext>
            </a:extLst>
          </p:cNvPr>
          <p:cNvSpPr txBox="1"/>
          <p:nvPr/>
        </p:nvSpPr>
        <p:spPr>
          <a:xfrm>
            <a:off x="8018024" y="3853317"/>
            <a:ext cx="3869452" cy="461665"/>
          </a:xfrm>
          <a:prstGeom prst="rect">
            <a:avLst/>
          </a:prstGeom>
          <a:noFill/>
        </p:spPr>
        <p:txBody>
          <a:bodyPr wrap="square">
            <a:spAutoFit/>
          </a:bodyPr>
          <a:lstStyle/>
          <a:p>
            <a:r>
              <a:rPr lang="en-US" sz="12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200" err="1">
                <a:solidFill>
                  <a:schemeClr val="tx1">
                    <a:lumMod val="75000"/>
                    <a:lumOff val="25000"/>
                  </a:schemeClr>
                </a:solidFill>
                <a:latin typeface="Segoe UI" panose="020B0502040204020203" pitchFamily="34" charset="0"/>
                <a:cs typeface="Segoe UI" panose="020B0502040204020203" pitchFamily="34" charset="0"/>
              </a:rPr>
              <a:t>ame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elit</a:t>
            </a:r>
            <a:r>
              <a:rPr lang="en-US" sz="1200">
                <a:solidFill>
                  <a:schemeClr val="tx1">
                    <a:lumMod val="75000"/>
                    <a:lumOff val="25000"/>
                  </a:schemeClr>
                </a:solidFill>
                <a:latin typeface="Segoe UI" panose="020B0502040204020203" pitchFamily="34" charset="0"/>
                <a:cs typeface="Segoe UI" panose="020B0502040204020203" pitchFamily="34" charset="0"/>
              </a:rPr>
              <a:t>, sed do </a:t>
            </a:r>
            <a:r>
              <a:rPr lang="en-US" sz="1200" err="1">
                <a:solidFill>
                  <a:schemeClr val="tx1">
                    <a:lumMod val="75000"/>
                    <a:lumOff val="25000"/>
                  </a:schemeClr>
                </a:solidFill>
                <a:latin typeface="Segoe UI" panose="020B0502040204020203" pitchFamily="34" charset="0"/>
                <a:cs typeface="Segoe UI" panose="020B0502040204020203" pitchFamily="34" charset="0"/>
              </a:rPr>
              <a:t>eiusmod</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tempo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t</a:t>
            </a:r>
            <a:r>
              <a:rPr lang="en-US" sz="1200">
                <a:solidFill>
                  <a:schemeClr val="tx1">
                    <a:lumMod val="75000"/>
                    <a:lumOff val="25000"/>
                  </a:schemeClr>
                </a:solidFill>
                <a:latin typeface="Segoe UI" panose="020B0502040204020203" pitchFamily="34" charset="0"/>
                <a:cs typeface="Segoe UI" panose="020B0502040204020203" pitchFamily="34" charset="0"/>
              </a:rPr>
              <a:t> labore.</a:t>
            </a:r>
            <a:endParaRPr lang="en-BR" sz="1200"/>
          </a:p>
        </p:txBody>
      </p:sp>
      <p:sp>
        <p:nvSpPr>
          <p:cNvPr id="64" name="TextBox 63">
            <a:extLst>
              <a:ext uri="{FF2B5EF4-FFF2-40B4-BE49-F238E27FC236}">
                <a16:creationId xmlns:a16="http://schemas.microsoft.com/office/drawing/2014/main" id="{ABC421C9-5653-7AD0-22C8-188A793FCC72}"/>
              </a:ext>
            </a:extLst>
          </p:cNvPr>
          <p:cNvSpPr txBox="1"/>
          <p:nvPr/>
        </p:nvSpPr>
        <p:spPr>
          <a:xfrm>
            <a:off x="8018024" y="4340644"/>
            <a:ext cx="3869452" cy="461665"/>
          </a:xfrm>
          <a:prstGeom prst="rect">
            <a:avLst/>
          </a:prstGeom>
          <a:noFill/>
        </p:spPr>
        <p:txBody>
          <a:bodyPr wrap="square">
            <a:spAutoFit/>
          </a:bodyPr>
          <a:lstStyle/>
          <a:p>
            <a:r>
              <a:rPr lang="en-US" sz="12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200" err="1">
                <a:solidFill>
                  <a:schemeClr val="tx1">
                    <a:lumMod val="75000"/>
                    <a:lumOff val="25000"/>
                  </a:schemeClr>
                </a:solidFill>
                <a:latin typeface="Segoe UI" panose="020B0502040204020203" pitchFamily="34" charset="0"/>
                <a:cs typeface="Segoe UI" panose="020B0502040204020203" pitchFamily="34" charset="0"/>
              </a:rPr>
              <a:t>ame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elit</a:t>
            </a:r>
            <a:r>
              <a:rPr lang="en-US" sz="1200">
                <a:solidFill>
                  <a:schemeClr val="tx1">
                    <a:lumMod val="75000"/>
                    <a:lumOff val="25000"/>
                  </a:schemeClr>
                </a:solidFill>
                <a:latin typeface="Segoe UI" panose="020B0502040204020203" pitchFamily="34" charset="0"/>
                <a:cs typeface="Segoe UI" panose="020B0502040204020203" pitchFamily="34" charset="0"/>
              </a:rPr>
              <a:t>, sed do </a:t>
            </a:r>
            <a:r>
              <a:rPr lang="en-US" sz="1200" err="1">
                <a:solidFill>
                  <a:schemeClr val="tx1">
                    <a:lumMod val="75000"/>
                    <a:lumOff val="25000"/>
                  </a:schemeClr>
                </a:solidFill>
                <a:latin typeface="Segoe UI" panose="020B0502040204020203" pitchFamily="34" charset="0"/>
                <a:cs typeface="Segoe UI" panose="020B0502040204020203" pitchFamily="34" charset="0"/>
              </a:rPr>
              <a:t>eiusmod</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tempo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t</a:t>
            </a:r>
            <a:r>
              <a:rPr lang="en-US" sz="1200">
                <a:solidFill>
                  <a:schemeClr val="tx1">
                    <a:lumMod val="75000"/>
                    <a:lumOff val="25000"/>
                  </a:schemeClr>
                </a:solidFill>
                <a:latin typeface="Segoe UI" panose="020B0502040204020203" pitchFamily="34" charset="0"/>
                <a:cs typeface="Segoe UI" panose="020B0502040204020203" pitchFamily="34" charset="0"/>
              </a:rPr>
              <a:t> labore.</a:t>
            </a:r>
            <a:endParaRPr lang="en-BR" sz="1200"/>
          </a:p>
        </p:txBody>
      </p:sp>
      <p:sp>
        <p:nvSpPr>
          <p:cNvPr id="65" name="TextBox 64">
            <a:extLst>
              <a:ext uri="{FF2B5EF4-FFF2-40B4-BE49-F238E27FC236}">
                <a16:creationId xmlns:a16="http://schemas.microsoft.com/office/drawing/2014/main" id="{1FFF532B-43B2-32BB-D800-748506D8B904}"/>
              </a:ext>
            </a:extLst>
          </p:cNvPr>
          <p:cNvSpPr txBox="1"/>
          <p:nvPr/>
        </p:nvSpPr>
        <p:spPr>
          <a:xfrm>
            <a:off x="8018024" y="4827971"/>
            <a:ext cx="3869452" cy="461665"/>
          </a:xfrm>
          <a:prstGeom prst="rect">
            <a:avLst/>
          </a:prstGeom>
          <a:noFill/>
        </p:spPr>
        <p:txBody>
          <a:bodyPr wrap="square">
            <a:spAutoFit/>
          </a:bodyPr>
          <a:lstStyle/>
          <a:p>
            <a:r>
              <a:rPr lang="en-US" sz="12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200" err="1">
                <a:solidFill>
                  <a:schemeClr val="tx1">
                    <a:lumMod val="75000"/>
                    <a:lumOff val="25000"/>
                  </a:schemeClr>
                </a:solidFill>
                <a:latin typeface="Segoe UI" panose="020B0502040204020203" pitchFamily="34" charset="0"/>
                <a:cs typeface="Segoe UI" panose="020B0502040204020203" pitchFamily="34" charset="0"/>
              </a:rPr>
              <a:t>ame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elit</a:t>
            </a:r>
            <a:r>
              <a:rPr lang="en-US" sz="1200">
                <a:solidFill>
                  <a:schemeClr val="tx1">
                    <a:lumMod val="75000"/>
                    <a:lumOff val="25000"/>
                  </a:schemeClr>
                </a:solidFill>
                <a:latin typeface="Segoe UI" panose="020B0502040204020203" pitchFamily="34" charset="0"/>
                <a:cs typeface="Segoe UI" panose="020B0502040204020203" pitchFamily="34" charset="0"/>
              </a:rPr>
              <a:t>, sed do </a:t>
            </a:r>
            <a:r>
              <a:rPr lang="en-US" sz="1200" err="1">
                <a:solidFill>
                  <a:schemeClr val="tx1">
                    <a:lumMod val="75000"/>
                    <a:lumOff val="25000"/>
                  </a:schemeClr>
                </a:solidFill>
                <a:latin typeface="Segoe UI" panose="020B0502040204020203" pitchFamily="34" charset="0"/>
                <a:cs typeface="Segoe UI" panose="020B0502040204020203" pitchFamily="34" charset="0"/>
              </a:rPr>
              <a:t>eiusmod</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tempo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t</a:t>
            </a:r>
            <a:r>
              <a:rPr lang="en-US" sz="1200">
                <a:solidFill>
                  <a:schemeClr val="tx1">
                    <a:lumMod val="75000"/>
                    <a:lumOff val="25000"/>
                  </a:schemeClr>
                </a:solidFill>
                <a:latin typeface="Segoe UI" panose="020B0502040204020203" pitchFamily="34" charset="0"/>
                <a:cs typeface="Segoe UI" panose="020B0502040204020203" pitchFamily="34" charset="0"/>
              </a:rPr>
              <a:t> labore.</a:t>
            </a:r>
            <a:endParaRPr lang="en-BR" sz="1200"/>
          </a:p>
        </p:txBody>
      </p:sp>
      <p:sp>
        <p:nvSpPr>
          <p:cNvPr id="66" name="TextBox 65">
            <a:extLst>
              <a:ext uri="{FF2B5EF4-FFF2-40B4-BE49-F238E27FC236}">
                <a16:creationId xmlns:a16="http://schemas.microsoft.com/office/drawing/2014/main" id="{CA6DA3DE-A7A5-6393-CBE2-61FCF771CE8E}"/>
              </a:ext>
            </a:extLst>
          </p:cNvPr>
          <p:cNvSpPr txBox="1"/>
          <p:nvPr/>
        </p:nvSpPr>
        <p:spPr>
          <a:xfrm>
            <a:off x="8018024" y="5315298"/>
            <a:ext cx="3869452" cy="461665"/>
          </a:xfrm>
          <a:prstGeom prst="rect">
            <a:avLst/>
          </a:prstGeom>
          <a:noFill/>
        </p:spPr>
        <p:txBody>
          <a:bodyPr wrap="square">
            <a:spAutoFit/>
          </a:bodyPr>
          <a:lstStyle/>
          <a:p>
            <a:r>
              <a:rPr lang="en-US" sz="12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200" err="1">
                <a:solidFill>
                  <a:schemeClr val="tx1">
                    <a:lumMod val="75000"/>
                    <a:lumOff val="25000"/>
                  </a:schemeClr>
                </a:solidFill>
                <a:latin typeface="Segoe UI" panose="020B0502040204020203" pitchFamily="34" charset="0"/>
                <a:cs typeface="Segoe UI" panose="020B0502040204020203" pitchFamily="34" charset="0"/>
              </a:rPr>
              <a:t>ame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elit</a:t>
            </a:r>
            <a:r>
              <a:rPr lang="en-US" sz="1200">
                <a:solidFill>
                  <a:schemeClr val="tx1">
                    <a:lumMod val="75000"/>
                    <a:lumOff val="25000"/>
                  </a:schemeClr>
                </a:solidFill>
                <a:latin typeface="Segoe UI" panose="020B0502040204020203" pitchFamily="34" charset="0"/>
                <a:cs typeface="Segoe UI" panose="020B0502040204020203" pitchFamily="34" charset="0"/>
              </a:rPr>
              <a:t>, sed do </a:t>
            </a:r>
            <a:r>
              <a:rPr lang="en-US" sz="1200" err="1">
                <a:solidFill>
                  <a:schemeClr val="tx1">
                    <a:lumMod val="75000"/>
                    <a:lumOff val="25000"/>
                  </a:schemeClr>
                </a:solidFill>
                <a:latin typeface="Segoe UI" panose="020B0502040204020203" pitchFamily="34" charset="0"/>
                <a:cs typeface="Segoe UI" panose="020B0502040204020203" pitchFamily="34" charset="0"/>
              </a:rPr>
              <a:t>eiusmod</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tempo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t</a:t>
            </a:r>
            <a:r>
              <a:rPr lang="en-US" sz="1200">
                <a:solidFill>
                  <a:schemeClr val="tx1">
                    <a:lumMod val="75000"/>
                    <a:lumOff val="25000"/>
                  </a:schemeClr>
                </a:solidFill>
                <a:latin typeface="Segoe UI" panose="020B0502040204020203" pitchFamily="34" charset="0"/>
                <a:cs typeface="Segoe UI" panose="020B0502040204020203" pitchFamily="34" charset="0"/>
              </a:rPr>
              <a:t> labore.</a:t>
            </a:r>
            <a:endParaRPr lang="en-BR" sz="1200"/>
          </a:p>
        </p:txBody>
      </p:sp>
      <p:sp>
        <p:nvSpPr>
          <p:cNvPr id="67" name="TextBox 66">
            <a:extLst>
              <a:ext uri="{FF2B5EF4-FFF2-40B4-BE49-F238E27FC236}">
                <a16:creationId xmlns:a16="http://schemas.microsoft.com/office/drawing/2014/main" id="{C187DFF1-9EA3-A58E-8A50-4B9CA31A9024}"/>
              </a:ext>
            </a:extLst>
          </p:cNvPr>
          <p:cNvSpPr txBox="1"/>
          <p:nvPr/>
        </p:nvSpPr>
        <p:spPr>
          <a:xfrm>
            <a:off x="8018024" y="5802625"/>
            <a:ext cx="3869452" cy="461665"/>
          </a:xfrm>
          <a:prstGeom prst="rect">
            <a:avLst/>
          </a:prstGeom>
          <a:noFill/>
        </p:spPr>
        <p:txBody>
          <a:bodyPr wrap="square">
            <a:spAutoFit/>
          </a:bodyPr>
          <a:lstStyle/>
          <a:p>
            <a:r>
              <a:rPr lang="en-US" sz="12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200" err="1">
                <a:solidFill>
                  <a:schemeClr val="tx1">
                    <a:lumMod val="75000"/>
                    <a:lumOff val="25000"/>
                  </a:schemeClr>
                </a:solidFill>
                <a:latin typeface="Segoe UI" panose="020B0502040204020203" pitchFamily="34" charset="0"/>
                <a:cs typeface="Segoe UI" panose="020B0502040204020203" pitchFamily="34" charset="0"/>
              </a:rPr>
              <a:t>ame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elit</a:t>
            </a:r>
            <a:r>
              <a:rPr lang="en-US" sz="1200">
                <a:solidFill>
                  <a:schemeClr val="tx1">
                    <a:lumMod val="75000"/>
                    <a:lumOff val="25000"/>
                  </a:schemeClr>
                </a:solidFill>
                <a:latin typeface="Segoe UI" panose="020B0502040204020203" pitchFamily="34" charset="0"/>
                <a:cs typeface="Segoe UI" panose="020B0502040204020203" pitchFamily="34" charset="0"/>
              </a:rPr>
              <a:t>, sed do </a:t>
            </a:r>
            <a:r>
              <a:rPr lang="en-US" sz="1200" err="1">
                <a:solidFill>
                  <a:schemeClr val="tx1">
                    <a:lumMod val="75000"/>
                    <a:lumOff val="25000"/>
                  </a:schemeClr>
                </a:solidFill>
                <a:latin typeface="Segoe UI" panose="020B0502040204020203" pitchFamily="34" charset="0"/>
                <a:cs typeface="Segoe UI" panose="020B0502040204020203" pitchFamily="34" charset="0"/>
              </a:rPr>
              <a:t>eiusmod</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tempo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t</a:t>
            </a:r>
            <a:r>
              <a:rPr lang="en-US" sz="1200">
                <a:solidFill>
                  <a:schemeClr val="tx1">
                    <a:lumMod val="75000"/>
                    <a:lumOff val="25000"/>
                  </a:schemeClr>
                </a:solidFill>
                <a:latin typeface="Segoe UI" panose="020B0502040204020203" pitchFamily="34" charset="0"/>
                <a:cs typeface="Segoe UI" panose="020B0502040204020203" pitchFamily="34" charset="0"/>
              </a:rPr>
              <a:t> labore.</a:t>
            </a:r>
            <a:endParaRPr lang="en-BR" sz="1200"/>
          </a:p>
        </p:txBody>
      </p:sp>
    </p:spTree>
    <p:extLst>
      <p:ext uri="{BB962C8B-B14F-4D97-AF65-F5344CB8AC3E}">
        <p14:creationId xmlns:p14="http://schemas.microsoft.com/office/powerpoint/2010/main" val="36585231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70F544-7CDB-15B8-B358-3C7FE70C66CA}"/>
              </a:ext>
            </a:extLst>
          </p:cNvPr>
          <p:cNvSpPr>
            <a:spLocks noGrp="1"/>
          </p:cNvSpPr>
          <p:nvPr>
            <p:ph type="title"/>
          </p:nvPr>
        </p:nvSpPr>
        <p:spPr/>
        <p:txBody>
          <a:bodyPr/>
          <a:lstStyle/>
          <a:p>
            <a:r>
              <a:rPr lang="en-BR"/>
              <a:t>Project Management</a:t>
            </a:r>
          </a:p>
        </p:txBody>
      </p:sp>
      <p:sp>
        <p:nvSpPr>
          <p:cNvPr id="3" name="Footer Placeholder 2">
            <a:extLst>
              <a:ext uri="{FF2B5EF4-FFF2-40B4-BE49-F238E27FC236}">
                <a16:creationId xmlns:a16="http://schemas.microsoft.com/office/drawing/2014/main" id="{97FC4274-01DE-69D2-CACB-CD34E40A8A8D}"/>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DFE0B93D-B0E4-C501-98DB-90AC80722CCA}"/>
              </a:ext>
            </a:extLst>
          </p:cNvPr>
          <p:cNvSpPr>
            <a:spLocks noGrp="1"/>
          </p:cNvSpPr>
          <p:nvPr>
            <p:ph type="sldNum" sz="quarter" idx="12"/>
          </p:nvPr>
        </p:nvSpPr>
        <p:spPr/>
        <p:txBody>
          <a:bodyPr/>
          <a:lstStyle/>
          <a:p>
            <a:fld id="{A8DDC45B-7265-3747-B738-ED29642119D9}" type="slidenum">
              <a:rPr lang="en-BR" smtClean="0"/>
              <a:pPr/>
              <a:t>39</a:t>
            </a:fld>
            <a:endParaRPr lang="en-BR"/>
          </a:p>
        </p:txBody>
      </p:sp>
      <p:sp>
        <p:nvSpPr>
          <p:cNvPr id="5" name="Text Placeholder 4">
            <a:extLst>
              <a:ext uri="{FF2B5EF4-FFF2-40B4-BE49-F238E27FC236}">
                <a16:creationId xmlns:a16="http://schemas.microsoft.com/office/drawing/2014/main" id="{11875C91-2497-C742-ECE2-8866A052F9F2}"/>
              </a:ext>
            </a:extLst>
          </p:cNvPr>
          <p:cNvSpPr>
            <a:spLocks noGrp="1"/>
          </p:cNvSpPr>
          <p:nvPr>
            <p:ph type="body" sz="quarter" idx="13"/>
          </p:nvPr>
        </p:nvSpPr>
        <p:spPr/>
        <p:txBody>
          <a:bodyPr/>
          <a:lstStyle/>
          <a:p>
            <a:r>
              <a:rPr lang="en-BR"/>
              <a:t>Client Value Drivers</a:t>
            </a:r>
          </a:p>
        </p:txBody>
      </p:sp>
      <p:sp>
        <p:nvSpPr>
          <p:cNvPr id="6" name="Text Box 45">
            <a:extLst>
              <a:ext uri="{FF2B5EF4-FFF2-40B4-BE49-F238E27FC236}">
                <a16:creationId xmlns:a16="http://schemas.microsoft.com/office/drawing/2014/main" id="{AA99D3F1-2722-CA1F-4C0C-DBDC71CB9C7E}"/>
              </a:ext>
            </a:extLst>
          </p:cNvPr>
          <p:cNvSpPr txBox="1">
            <a:spLocks noChangeArrowheads="1"/>
          </p:cNvSpPr>
          <p:nvPr/>
        </p:nvSpPr>
        <p:spPr bwMode="auto">
          <a:xfrm>
            <a:off x="1215025" y="2273850"/>
            <a:ext cx="3907241" cy="3502336"/>
          </a:xfrm>
          <a:prstGeom prst="rect">
            <a:avLst/>
          </a:prstGeom>
          <a:solidFill>
            <a:schemeClr val="bg1">
              <a:lumMod val="65000"/>
            </a:schemeClr>
          </a:solidFill>
          <a:ln w="9525" algn="ctr">
            <a:noFill/>
            <a:miter lim="800000"/>
            <a:headEnd/>
            <a:tailEnd/>
          </a:ln>
        </p:spPr>
        <p:txBody>
          <a:bodyPr wrap="square" lIns="72000" tIns="72000" rIns="36000" bIns="72000">
            <a:noAutofit/>
          </a:bodyPr>
          <a:lstStyle/>
          <a:p>
            <a:pPr marL="90000" indent="-90000">
              <a:spcBef>
                <a:spcPts val="300"/>
              </a:spcBef>
              <a:spcAft>
                <a:spcPts val="300"/>
              </a:spcAft>
              <a:buSzPct val="100000"/>
              <a:buFontTx/>
              <a:buChar char="•"/>
            </a:pPr>
            <a:r>
              <a:rPr lang="en-GB" sz="1200">
                <a:latin typeface="Segoe UI" panose="020B0502040204020203" pitchFamily="34" charset="0"/>
                <a:cs typeface="Segoe UI" panose="020B0502040204020203" pitchFamily="34" charset="0"/>
              </a:rPr>
              <a:t>[Context Point 1]</a:t>
            </a:r>
          </a:p>
          <a:p>
            <a:pPr marL="90000" indent="-90000">
              <a:spcBef>
                <a:spcPts val="300"/>
              </a:spcBef>
              <a:spcAft>
                <a:spcPts val="300"/>
              </a:spcAft>
              <a:buSzPct val="100000"/>
              <a:buFontTx/>
              <a:buChar char="•"/>
            </a:pPr>
            <a:r>
              <a:rPr lang="en-GB" sz="1200">
                <a:latin typeface="Segoe UI" panose="020B0502040204020203" pitchFamily="34" charset="0"/>
                <a:cs typeface="Segoe UI" panose="020B0502040204020203" pitchFamily="34" charset="0"/>
              </a:rPr>
              <a:t>[Context Point 2]</a:t>
            </a:r>
          </a:p>
          <a:p>
            <a:pPr marL="90000" indent="-90000">
              <a:spcBef>
                <a:spcPts val="300"/>
              </a:spcBef>
              <a:spcAft>
                <a:spcPts val="300"/>
              </a:spcAft>
              <a:buSzPct val="100000"/>
              <a:buFontTx/>
              <a:buChar char="•"/>
            </a:pPr>
            <a:r>
              <a:rPr lang="en-GB" sz="1200">
                <a:latin typeface="Segoe UI" panose="020B0502040204020203" pitchFamily="34" charset="0"/>
                <a:cs typeface="Segoe UI" panose="020B0502040204020203" pitchFamily="34" charset="0"/>
              </a:rPr>
              <a:t>[Context Point 3]</a:t>
            </a:r>
            <a:endParaRPr lang="en-GB" sz="1200">
              <a:solidFill>
                <a:schemeClr val="bg1"/>
              </a:solidFill>
              <a:latin typeface="Segoe UI" panose="020B0502040204020203" pitchFamily="34" charset="0"/>
              <a:cs typeface="Segoe UI" panose="020B0502040204020203" pitchFamily="34" charset="0"/>
            </a:endParaRPr>
          </a:p>
        </p:txBody>
      </p:sp>
      <p:sp>
        <p:nvSpPr>
          <p:cNvPr id="7" name="Text Box 26">
            <a:extLst>
              <a:ext uri="{FF2B5EF4-FFF2-40B4-BE49-F238E27FC236}">
                <a16:creationId xmlns:a16="http://schemas.microsoft.com/office/drawing/2014/main" id="{66513376-261C-702E-9B8F-00A96AFCD151}"/>
              </a:ext>
            </a:extLst>
          </p:cNvPr>
          <p:cNvSpPr txBox="1">
            <a:spLocks noChangeArrowheads="1"/>
          </p:cNvSpPr>
          <p:nvPr/>
        </p:nvSpPr>
        <p:spPr bwMode="auto">
          <a:xfrm>
            <a:off x="1166197" y="1939078"/>
            <a:ext cx="667748" cy="172355"/>
          </a:xfrm>
          <a:prstGeom prst="rect">
            <a:avLst/>
          </a:prstGeom>
          <a:noFill/>
          <a:ln w="19050">
            <a:noFill/>
            <a:miter lim="800000"/>
            <a:headEnd/>
            <a:tailEnd/>
          </a:ln>
        </p:spPr>
        <p:txBody>
          <a:bodyPr wrap="none" lIns="0" tIns="0" rIns="0" bIns="0">
            <a:spAutoFit/>
          </a:bodyPr>
          <a:lstStyle/>
          <a:p>
            <a:pPr algn="ctr" rtl="0" eaLnBrk="0" fontAlgn="base" hangingPunct="0">
              <a:lnSpc>
                <a:spcPct val="80000"/>
              </a:lnSpc>
              <a:spcBef>
                <a:spcPct val="0"/>
              </a:spcBef>
              <a:spcAft>
                <a:spcPct val="0"/>
              </a:spcAft>
            </a:pPr>
            <a:r>
              <a:rPr lang="en-GB" sz="1400" b="1">
                <a:solidFill>
                  <a:srgbClr val="000000"/>
                </a:solidFill>
                <a:latin typeface="Segoe UI" panose="020B0502040204020203" pitchFamily="34" charset="0"/>
                <a:cs typeface="Segoe UI" panose="020B0502040204020203" pitchFamily="34" charset="0"/>
              </a:rPr>
              <a:t>Context</a:t>
            </a:r>
          </a:p>
        </p:txBody>
      </p:sp>
      <p:cxnSp>
        <p:nvCxnSpPr>
          <p:cNvPr id="8" name="AutoShape 8">
            <a:extLst>
              <a:ext uri="{FF2B5EF4-FFF2-40B4-BE49-F238E27FC236}">
                <a16:creationId xmlns:a16="http://schemas.microsoft.com/office/drawing/2014/main" id="{467D6458-62E1-D650-72C8-4E7D5FDC741C}"/>
              </a:ext>
            </a:extLst>
          </p:cNvPr>
          <p:cNvCxnSpPr>
            <a:cxnSpLocks noChangeShapeType="1"/>
            <a:stCxn id="6" idx="3"/>
            <a:endCxn id="20" idx="1"/>
          </p:cNvCxnSpPr>
          <p:nvPr/>
        </p:nvCxnSpPr>
        <p:spPr bwMode="auto">
          <a:xfrm flipV="1">
            <a:off x="5122266" y="2531920"/>
            <a:ext cx="1242391" cy="1493098"/>
          </a:xfrm>
          <a:prstGeom prst="bentConnector3">
            <a:avLst>
              <a:gd name="adj1" fmla="val 50000"/>
            </a:avLst>
          </a:prstGeom>
          <a:noFill/>
          <a:ln w="6350">
            <a:solidFill>
              <a:schemeClr val="tx1">
                <a:lumMod val="50000"/>
                <a:lumOff val="50000"/>
              </a:schemeClr>
            </a:solidFill>
            <a:miter lim="800000"/>
            <a:headEnd/>
            <a:tailEnd/>
          </a:ln>
        </p:spPr>
      </p:cxnSp>
      <p:cxnSp>
        <p:nvCxnSpPr>
          <p:cNvPr id="9" name="AutoShape 9">
            <a:extLst>
              <a:ext uri="{FF2B5EF4-FFF2-40B4-BE49-F238E27FC236}">
                <a16:creationId xmlns:a16="http://schemas.microsoft.com/office/drawing/2014/main" id="{0069EAC6-27F4-CD5B-A8CE-433019DA94C9}"/>
              </a:ext>
            </a:extLst>
          </p:cNvPr>
          <p:cNvCxnSpPr>
            <a:cxnSpLocks noChangeShapeType="1"/>
            <a:stCxn id="6" idx="3"/>
            <a:endCxn id="21" idx="1"/>
          </p:cNvCxnSpPr>
          <p:nvPr/>
        </p:nvCxnSpPr>
        <p:spPr bwMode="auto">
          <a:xfrm flipV="1">
            <a:off x="5122266" y="3267111"/>
            <a:ext cx="1242391" cy="757907"/>
          </a:xfrm>
          <a:prstGeom prst="bentConnector3">
            <a:avLst>
              <a:gd name="adj1" fmla="val 50000"/>
            </a:avLst>
          </a:prstGeom>
          <a:noFill/>
          <a:ln w="6350">
            <a:solidFill>
              <a:schemeClr val="tx1">
                <a:lumMod val="50000"/>
                <a:lumOff val="50000"/>
              </a:schemeClr>
            </a:solidFill>
            <a:miter lim="800000"/>
            <a:headEnd/>
            <a:tailEnd/>
          </a:ln>
        </p:spPr>
      </p:cxnSp>
      <p:cxnSp>
        <p:nvCxnSpPr>
          <p:cNvPr id="10" name="AutoShape 11">
            <a:extLst>
              <a:ext uri="{FF2B5EF4-FFF2-40B4-BE49-F238E27FC236}">
                <a16:creationId xmlns:a16="http://schemas.microsoft.com/office/drawing/2014/main" id="{8A536A5E-9F78-8A3E-D0DF-22AFA139F20A}"/>
              </a:ext>
            </a:extLst>
          </p:cNvPr>
          <p:cNvCxnSpPr>
            <a:cxnSpLocks noChangeShapeType="1"/>
            <a:stCxn id="6" idx="3"/>
            <a:endCxn id="22" idx="1"/>
          </p:cNvCxnSpPr>
          <p:nvPr/>
        </p:nvCxnSpPr>
        <p:spPr bwMode="auto">
          <a:xfrm>
            <a:off x="5122266" y="4025018"/>
            <a:ext cx="1242391" cy="766961"/>
          </a:xfrm>
          <a:prstGeom prst="bentConnector3">
            <a:avLst>
              <a:gd name="adj1" fmla="val 50000"/>
            </a:avLst>
          </a:prstGeom>
          <a:noFill/>
          <a:ln w="6350">
            <a:solidFill>
              <a:schemeClr val="tx1">
                <a:lumMod val="50000"/>
                <a:lumOff val="50000"/>
              </a:schemeClr>
            </a:solidFill>
            <a:miter lim="800000"/>
            <a:headEnd/>
            <a:tailEnd/>
          </a:ln>
        </p:spPr>
      </p:cxnSp>
      <p:cxnSp>
        <p:nvCxnSpPr>
          <p:cNvPr id="11" name="AutoShape 12">
            <a:extLst>
              <a:ext uri="{FF2B5EF4-FFF2-40B4-BE49-F238E27FC236}">
                <a16:creationId xmlns:a16="http://schemas.microsoft.com/office/drawing/2014/main" id="{F200BF62-C2AD-CFBB-5531-4B82E66E857B}"/>
              </a:ext>
            </a:extLst>
          </p:cNvPr>
          <p:cNvCxnSpPr>
            <a:cxnSpLocks noChangeShapeType="1"/>
            <a:stCxn id="6" idx="3"/>
            <a:endCxn id="23" idx="1"/>
          </p:cNvCxnSpPr>
          <p:nvPr/>
        </p:nvCxnSpPr>
        <p:spPr bwMode="auto">
          <a:xfrm>
            <a:off x="5122266" y="4025018"/>
            <a:ext cx="1242391" cy="1500027"/>
          </a:xfrm>
          <a:prstGeom prst="bentConnector3">
            <a:avLst>
              <a:gd name="adj1" fmla="val 50000"/>
            </a:avLst>
          </a:prstGeom>
          <a:noFill/>
          <a:ln w="6350">
            <a:solidFill>
              <a:schemeClr val="tx1">
                <a:lumMod val="50000"/>
                <a:lumOff val="50000"/>
              </a:schemeClr>
            </a:solidFill>
            <a:miter lim="800000"/>
            <a:headEnd/>
            <a:tailEnd/>
          </a:ln>
        </p:spPr>
      </p:cxnSp>
      <p:sp>
        <p:nvSpPr>
          <p:cNvPr id="12" name="Text Box 26">
            <a:extLst>
              <a:ext uri="{FF2B5EF4-FFF2-40B4-BE49-F238E27FC236}">
                <a16:creationId xmlns:a16="http://schemas.microsoft.com/office/drawing/2014/main" id="{226C10B4-7F84-A37C-6EB1-794BE7FEB0EF}"/>
              </a:ext>
            </a:extLst>
          </p:cNvPr>
          <p:cNvSpPr txBox="1">
            <a:spLocks noChangeArrowheads="1"/>
          </p:cNvSpPr>
          <p:nvPr/>
        </p:nvSpPr>
        <p:spPr bwMode="auto">
          <a:xfrm>
            <a:off x="6283715" y="1939078"/>
            <a:ext cx="1554080" cy="172355"/>
          </a:xfrm>
          <a:prstGeom prst="rect">
            <a:avLst/>
          </a:prstGeom>
          <a:noFill/>
          <a:ln w="19050">
            <a:noFill/>
            <a:miter lim="800000"/>
            <a:headEnd/>
            <a:tailEnd/>
          </a:ln>
        </p:spPr>
        <p:txBody>
          <a:bodyPr wrap="none" lIns="0" tIns="0" rIns="0" bIns="0">
            <a:spAutoFit/>
          </a:bodyPr>
          <a:lstStyle/>
          <a:p>
            <a:pPr algn="ctr" rtl="0" eaLnBrk="0" fontAlgn="base" hangingPunct="0">
              <a:lnSpc>
                <a:spcPct val="80000"/>
              </a:lnSpc>
              <a:spcBef>
                <a:spcPct val="0"/>
              </a:spcBef>
              <a:spcAft>
                <a:spcPct val="0"/>
              </a:spcAft>
            </a:pPr>
            <a:r>
              <a:rPr lang="en-GB" sz="1400" b="1">
                <a:solidFill>
                  <a:srgbClr val="000000"/>
                </a:solidFill>
                <a:latin typeface="Segoe UI" panose="020B0502040204020203" pitchFamily="34" charset="0"/>
                <a:cs typeface="Segoe UI" panose="020B0502040204020203" pitchFamily="34" charset="0"/>
              </a:rPr>
              <a:t>Key Value Drivers*</a:t>
            </a:r>
          </a:p>
        </p:txBody>
      </p:sp>
      <p:sp>
        <p:nvSpPr>
          <p:cNvPr id="13" name="Text Box 26">
            <a:extLst>
              <a:ext uri="{FF2B5EF4-FFF2-40B4-BE49-F238E27FC236}">
                <a16:creationId xmlns:a16="http://schemas.microsoft.com/office/drawing/2014/main" id="{887A6999-4843-4D16-5794-E1DF4EC313AF}"/>
              </a:ext>
            </a:extLst>
          </p:cNvPr>
          <p:cNvSpPr txBox="1">
            <a:spLocks noChangeArrowheads="1"/>
          </p:cNvSpPr>
          <p:nvPr/>
        </p:nvSpPr>
        <p:spPr bwMode="auto">
          <a:xfrm>
            <a:off x="8191722" y="1939078"/>
            <a:ext cx="583366" cy="172355"/>
          </a:xfrm>
          <a:prstGeom prst="rect">
            <a:avLst/>
          </a:prstGeom>
          <a:noFill/>
          <a:ln w="19050">
            <a:noFill/>
            <a:miter lim="800000"/>
            <a:headEnd/>
            <a:tailEnd/>
          </a:ln>
        </p:spPr>
        <p:txBody>
          <a:bodyPr wrap="none" lIns="0" tIns="0" rIns="0" bIns="0">
            <a:spAutoFit/>
          </a:bodyPr>
          <a:lstStyle/>
          <a:p>
            <a:pPr algn="ctr" rtl="0" eaLnBrk="0" fontAlgn="base" hangingPunct="0">
              <a:lnSpc>
                <a:spcPct val="80000"/>
              </a:lnSpc>
              <a:spcBef>
                <a:spcPct val="0"/>
              </a:spcBef>
              <a:spcAft>
                <a:spcPct val="0"/>
              </a:spcAft>
            </a:pPr>
            <a:r>
              <a:rPr lang="en-GB" sz="1400" b="1">
                <a:solidFill>
                  <a:srgbClr val="000000"/>
                </a:solidFill>
                <a:latin typeface="Segoe UI" panose="020B0502040204020203" pitchFamily="34" charset="0"/>
                <a:cs typeface="Segoe UI" panose="020B0502040204020203" pitchFamily="34" charset="0"/>
              </a:rPr>
              <a:t>Impact</a:t>
            </a:r>
          </a:p>
        </p:txBody>
      </p:sp>
      <p:sp>
        <p:nvSpPr>
          <p:cNvPr id="14" name="Text Box 13">
            <a:extLst>
              <a:ext uri="{FF2B5EF4-FFF2-40B4-BE49-F238E27FC236}">
                <a16:creationId xmlns:a16="http://schemas.microsoft.com/office/drawing/2014/main" id="{F1F00198-12E2-73B3-0795-1FFD8A2E50DF}"/>
              </a:ext>
            </a:extLst>
          </p:cNvPr>
          <p:cNvSpPr txBox="1">
            <a:spLocks noChangeArrowheads="1"/>
          </p:cNvSpPr>
          <p:nvPr/>
        </p:nvSpPr>
        <p:spPr bwMode="auto">
          <a:xfrm>
            <a:off x="8235742" y="2463468"/>
            <a:ext cx="2892151" cy="147733"/>
          </a:xfrm>
          <a:prstGeom prst="rect">
            <a:avLst/>
          </a:prstGeom>
          <a:noFill/>
          <a:ln w="12700">
            <a:noFill/>
            <a:miter lim="800000"/>
            <a:headEnd/>
            <a:tailEnd/>
          </a:ln>
        </p:spPr>
        <p:txBody>
          <a:bodyPr wrap="square" lIns="36000" tIns="0" rIns="36000" bIns="0">
            <a:spAutoFit/>
          </a:bodyPr>
          <a:lstStyle/>
          <a:p>
            <a:pPr marL="88900" indent="-88900" eaLnBrk="0" fontAlgn="base" hangingPunct="0">
              <a:lnSpc>
                <a:spcPct val="80000"/>
              </a:lnSpc>
              <a:spcBef>
                <a:spcPct val="0"/>
              </a:spcBef>
              <a:spcAft>
                <a:spcPct val="0"/>
              </a:spcAft>
              <a:buSzPct val="100000"/>
              <a:buFontTx/>
              <a:buChar char="•"/>
            </a:pPr>
            <a:r>
              <a:rPr lang="en-GB" sz="1200">
                <a:latin typeface="Segoe UI" panose="020B0502040204020203" pitchFamily="34" charset="0"/>
                <a:cs typeface="Segoe UI" panose="020B0502040204020203" pitchFamily="34" charset="0"/>
              </a:rPr>
              <a:t>Client Impact/ Performance #1 ...</a:t>
            </a:r>
          </a:p>
        </p:txBody>
      </p:sp>
      <p:sp>
        <p:nvSpPr>
          <p:cNvPr id="15" name="Text Box 13">
            <a:extLst>
              <a:ext uri="{FF2B5EF4-FFF2-40B4-BE49-F238E27FC236}">
                <a16:creationId xmlns:a16="http://schemas.microsoft.com/office/drawing/2014/main" id="{B35BA1AD-DF24-1F0A-218C-D86FAD9DE30B}"/>
              </a:ext>
            </a:extLst>
          </p:cNvPr>
          <p:cNvSpPr txBox="1">
            <a:spLocks noChangeArrowheads="1"/>
          </p:cNvSpPr>
          <p:nvPr/>
        </p:nvSpPr>
        <p:spPr bwMode="auto">
          <a:xfrm>
            <a:off x="8235742" y="3176134"/>
            <a:ext cx="2892151" cy="147733"/>
          </a:xfrm>
          <a:prstGeom prst="rect">
            <a:avLst/>
          </a:prstGeom>
          <a:noFill/>
          <a:ln w="12700">
            <a:noFill/>
            <a:miter lim="800000"/>
            <a:headEnd/>
            <a:tailEnd/>
          </a:ln>
        </p:spPr>
        <p:txBody>
          <a:bodyPr wrap="square" lIns="36000" tIns="0" rIns="36000" bIns="0">
            <a:spAutoFit/>
          </a:bodyPr>
          <a:lstStyle/>
          <a:p>
            <a:pPr marL="88900" indent="-88900" eaLnBrk="0" fontAlgn="base" hangingPunct="0">
              <a:lnSpc>
                <a:spcPct val="80000"/>
              </a:lnSpc>
              <a:spcBef>
                <a:spcPct val="0"/>
              </a:spcBef>
              <a:spcAft>
                <a:spcPct val="0"/>
              </a:spcAft>
              <a:buSzPct val="100000"/>
              <a:buFontTx/>
              <a:buChar char="•"/>
            </a:pPr>
            <a:r>
              <a:rPr lang="en-GB" sz="1200">
                <a:latin typeface="Segoe UI" panose="020B0502040204020203" pitchFamily="34" charset="0"/>
                <a:cs typeface="Segoe UI" panose="020B0502040204020203" pitchFamily="34" charset="0"/>
              </a:rPr>
              <a:t>Client Impact/ Performance #2 ...</a:t>
            </a:r>
          </a:p>
        </p:txBody>
      </p:sp>
      <p:sp>
        <p:nvSpPr>
          <p:cNvPr id="16" name="Text Box 13">
            <a:extLst>
              <a:ext uri="{FF2B5EF4-FFF2-40B4-BE49-F238E27FC236}">
                <a16:creationId xmlns:a16="http://schemas.microsoft.com/office/drawing/2014/main" id="{C1C401A0-229A-E0A8-93E2-ACE69C1121B9}"/>
              </a:ext>
            </a:extLst>
          </p:cNvPr>
          <p:cNvSpPr txBox="1">
            <a:spLocks noChangeArrowheads="1"/>
          </p:cNvSpPr>
          <p:nvPr/>
        </p:nvSpPr>
        <p:spPr bwMode="auto">
          <a:xfrm>
            <a:off x="8235742" y="3938311"/>
            <a:ext cx="2892151" cy="147733"/>
          </a:xfrm>
          <a:prstGeom prst="rect">
            <a:avLst/>
          </a:prstGeom>
          <a:noFill/>
          <a:ln w="12700">
            <a:noFill/>
            <a:miter lim="800000"/>
            <a:headEnd/>
            <a:tailEnd/>
          </a:ln>
        </p:spPr>
        <p:txBody>
          <a:bodyPr wrap="square" lIns="36000" tIns="0" rIns="36000" bIns="0">
            <a:spAutoFit/>
          </a:bodyPr>
          <a:lstStyle/>
          <a:p>
            <a:pPr marL="88900" indent="-88900" eaLnBrk="0" fontAlgn="base" hangingPunct="0">
              <a:lnSpc>
                <a:spcPct val="80000"/>
              </a:lnSpc>
              <a:spcBef>
                <a:spcPct val="0"/>
              </a:spcBef>
              <a:spcAft>
                <a:spcPct val="0"/>
              </a:spcAft>
              <a:buSzPct val="100000"/>
              <a:buFontTx/>
              <a:buChar char="•"/>
            </a:pPr>
            <a:r>
              <a:rPr lang="en-GB" sz="1200">
                <a:latin typeface="Segoe UI" panose="020B0502040204020203" pitchFamily="34" charset="0"/>
                <a:cs typeface="Segoe UI" panose="020B0502040204020203" pitchFamily="34" charset="0"/>
              </a:rPr>
              <a:t>Client Impact/ Performance #3 ...</a:t>
            </a:r>
          </a:p>
        </p:txBody>
      </p:sp>
      <p:sp>
        <p:nvSpPr>
          <p:cNvPr id="17" name="Text Box 13">
            <a:extLst>
              <a:ext uri="{FF2B5EF4-FFF2-40B4-BE49-F238E27FC236}">
                <a16:creationId xmlns:a16="http://schemas.microsoft.com/office/drawing/2014/main" id="{4D7239B0-FC17-8AC9-EED9-3CE9C43BE2A5}"/>
              </a:ext>
            </a:extLst>
          </p:cNvPr>
          <p:cNvSpPr txBox="1">
            <a:spLocks noChangeArrowheads="1"/>
          </p:cNvSpPr>
          <p:nvPr/>
        </p:nvSpPr>
        <p:spPr bwMode="auto">
          <a:xfrm>
            <a:off x="8248442" y="4700488"/>
            <a:ext cx="2892151" cy="147733"/>
          </a:xfrm>
          <a:prstGeom prst="rect">
            <a:avLst/>
          </a:prstGeom>
          <a:noFill/>
          <a:ln w="12700">
            <a:noFill/>
            <a:miter lim="800000"/>
            <a:headEnd/>
            <a:tailEnd/>
          </a:ln>
        </p:spPr>
        <p:txBody>
          <a:bodyPr wrap="square" lIns="36000" tIns="0" rIns="36000" bIns="0">
            <a:spAutoFit/>
          </a:bodyPr>
          <a:lstStyle/>
          <a:p>
            <a:pPr marL="88900" indent="-88900" eaLnBrk="0" fontAlgn="base" hangingPunct="0">
              <a:lnSpc>
                <a:spcPct val="80000"/>
              </a:lnSpc>
              <a:spcBef>
                <a:spcPct val="0"/>
              </a:spcBef>
              <a:spcAft>
                <a:spcPct val="0"/>
              </a:spcAft>
              <a:buSzPct val="100000"/>
              <a:buFontTx/>
              <a:buChar char="•"/>
            </a:pPr>
            <a:r>
              <a:rPr lang="en-GB" sz="1200">
                <a:latin typeface="Segoe UI" panose="020B0502040204020203" pitchFamily="34" charset="0"/>
                <a:cs typeface="Segoe UI" panose="020B0502040204020203" pitchFamily="34" charset="0"/>
              </a:rPr>
              <a:t>Client Impact/ Performance #4 ...</a:t>
            </a:r>
          </a:p>
        </p:txBody>
      </p:sp>
      <p:sp>
        <p:nvSpPr>
          <p:cNvPr id="18" name="Text Box 13">
            <a:extLst>
              <a:ext uri="{FF2B5EF4-FFF2-40B4-BE49-F238E27FC236}">
                <a16:creationId xmlns:a16="http://schemas.microsoft.com/office/drawing/2014/main" id="{4421EF70-57DC-11F9-4EAC-A3C5C6C49030}"/>
              </a:ext>
            </a:extLst>
          </p:cNvPr>
          <p:cNvSpPr txBox="1">
            <a:spLocks noChangeArrowheads="1"/>
          </p:cNvSpPr>
          <p:nvPr/>
        </p:nvSpPr>
        <p:spPr bwMode="auto">
          <a:xfrm>
            <a:off x="8235742" y="5451800"/>
            <a:ext cx="2892151" cy="147733"/>
          </a:xfrm>
          <a:prstGeom prst="rect">
            <a:avLst/>
          </a:prstGeom>
          <a:noFill/>
          <a:ln w="12700">
            <a:noFill/>
            <a:miter lim="800000"/>
            <a:headEnd/>
            <a:tailEnd/>
          </a:ln>
        </p:spPr>
        <p:txBody>
          <a:bodyPr wrap="square" lIns="36000" tIns="0" rIns="36000" bIns="0">
            <a:spAutoFit/>
          </a:bodyPr>
          <a:lstStyle/>
          <a:p>
            <a:pPr marL="88900" indent="-88900" eaLnBrk="0" fontAlgn="base" hangingPunct="0">
              <a:lnSpc>
                <a:spcPct val="80000"/>
              </a:lnSpc>
              <a:spcBef>
                <a:spcPct val="0"/>
              </a:spcBef>
              <a:spcAft>
                <a:spcPct val="0"/>
              </a:spcAft>
              <a:buSzPct val="100000"/>
              <a:buFontTx/>
              <a:buChar char="•"/>
            </a:pPr>
            <a:r>
              <a:rPr lang="en-GB" sz="1200">
                <a:latin typeface="Segoe UI" panose="020B0502040204020203" pitchFamily="34" charset="0"/>
                <a:cs typeface="Segoe UI" panose="020B0502040204020203" pitchFamily="34" charset="0"/>
              </a:rPr>
              <a:t>Client Impact/ Performance #5 ...</a:t>
            </a:r>
          </a:p>
        </p:txBody>
      </p:sp>
      <p:cxnSp>
        <p:nvCxnSpPr>
          <p:cNvPr id="19" name="Straight Connector 18">
            <a:extLst>
              <a:ext uri="{FF2B5EF4-FFF2-40B4-BE49-F238E27FC236}">
                <a16:creationId xmlns:a16="http://schemas.microsoft.com/office/drawing/2014/main" id="{B21532EA-00F0-3B89-2AA6-244290B84E71}"/>
              </a:ext>
            </a:extLst>
          </p:cNvPr>
          <p:cNvCxnSpPr/>
          <p:nvPr/>
        </p:nvCxnSpPr>
        <p:spPr bwMode="auto">
          <a:xfrm flipH="1">
            <a:off x="5465680" y="4023430"/>
            <a:ext cx="361665"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 Box 3">
            <a:extLst>
              <a:ext uri="{FF2B5EF4-FFF2-40B4-BE49-F238E27FC236}">
                <a16:creationId xmlns:a16="http://schemas.microsoft.com/office/drawing/2014/main" id="{883CDB14-E4FE-FA78-1FC2-16FB366E7124}"/>
              </a:ext>
            </a:extLst>
          </p:cNvPr>
          <p:cNvSpPr txBox="1">
            <a:spLocks noChangeArrowheads="1"/>
          </p:cNvSpPr>
          <p:nvPr/>
        </p:nvSpPr>
        <p:spPr bwMode="auto">
          <a:xfrm>
            <a:off x="6364657" y="2286010"/>
            <a:ext cx="1373944" cy="491819"/>
          </a:xfrm>
          <a:prstGeom prst="rect">
            <a:avLst/>
          </a:prstGeom>
          <a:solidFill>
            <a:srgbClr val="C00000"/>
          </a:solidFill>
          <a:ln w="9525">
            <a:noFill/>
            <a:miter lim="800000"/>
            <a:headEnd/>
            <a:tailEnd/>
          </a:ln>
        </p:spPr>
        <p:txBody>
          <a:bodyPr lIns="72000" rIns="45720" anchor="ctr" anchorCtr="0"/>
          <a:lstStyle/>
          <a:p>
            <a:pPr rtl="0" eaLnBrk="0" fontAlgn="base" hangingPunct="0">
              <a:lnSpc>
                <a:spcPct val="80000"/>
              </a:lnSpc>
              <a:spcBef>
                <a:spcPct val="0"/>
              </a:spcBef>
              <a:spcAft>
                <a:spcPct val="0"/>
              </a:spcAft>
            </a:pPr>
            <a:r>
              <a:rPr lang="en-GB" sz="1200" b="1">
                <a:solidFill>
                  <a:schemeClr val="bg1"/>
                </a:solidFill>
                <a:latin typeface="Segoe UI" panose="020B0502040204020203" pitchFamily="34" charset="0"/>
                <a:cs typeface="Segoe UI" panose="020B0502040204020203" pitchFamily="34" charset="0"/>
              </a:rPr>
              <a:t>Driver #1 ... </a:t>
            </a:r>
          </a:p>
        </p:txBody>
      </p:sp>
      <p:sp>
        <p:nvSpPr>
          <p:cNvPr id="21" name="Text Box 4">
            <a:extLst>
              <a:ext uri="{FF2B5EF4-FFF2-40B4-BE49-F238E27FC236}">
                <a16:creationId xmlns:a16="http://schemas.microsoft.com/office/drawing/2014/main" id="{F5C2A1A2-D81A-A6AC-9769-E1FDF2A8A4C5}"/>
              </a:ext>
            </a:extLst>
          </p:cNvPr>
          <p:cNvSpPr txBox="1">
            <a:spLocks noChangeArrowheads="1"/>
          </p:cNvSpPr>
          <p:nvPr/>
        </p:nvSpPr>
        <p:spPr bwMode="auto">
          <a:xfrm>
            <a:off x="6364657" y="3024880"/>
            <a:ext cx="1373944" cy="484461"/>
          </a:xfrm>
          <a:prstGeom prst="rect">
            <a:avLst/>
          </a:prstGeom>
          <a:solidFill>
            <a:srgbClr val="C00000"/>
          </a:solidFill>
          <a:ln w="9525">
            <a:noFill/>
            <a:miter lim="800000"/>
            <a:headEnd/>
            <a:tailEnd/>
          </a:ln>
        </p:spPr>
        <p:txBody>
          <a:bodyPr lIns="72000" rIns="45720" anchor="ctr" anchorCtr="0"/>
          <a:lstStyle/>
          <a:p>
            <a:pPr eaLnBrk="0" fontAlgn="base" hangingPunct="0">
              <a:lnSpc>
                <a:spcPct val="80000"/>
              </a:lnSpc>
              <a:spcBef>
                <a:spcPct val="0"/>
              </a:spcBef>
              <a:spcAft>
                <a:spcPct val="0"/>
              </a:spcAft>
            </a:pPr>
            <a:r>
              <a:rPr lang="en-GB" sz="1200" b="1">
                <a:solidFill>
                  <a:schemeClr val="bg1"/>
                </a:solidFill>
                <a:latin typeface="Segoe UI" panose="020B0502040204020203" pitchFamily="34" charset="0"/>
                <a:cs typeface="Segoe UI" panose="020B0502040204020203" pitchFamily="34" charset="0"/>
              </a:rPr>
              <a:t>Driver #2 ... </a:t>
            </a:r>
          </a:p>
        </p:txBody>
      </p:sp>
      <p:sp>
        <p:nvSpPr>
          <p:cNvPr id="22" name="Text Box 6">
            <a:extLst>
              <a:ext uri="{FF2B5EF4-FFF2-40B4-BE49-F238E27FC236}">
                <a16:creationId xmlns:a16="http://schemas.microsoft.com/office/drawing/2014/main" id="{BE4DA308-22FF-4B00-D67F-6DE29016F945}"/>
              </a:ext>
            </a:extLst>
          </p:cNvPr>
          <p:cNvSpPr txBox="1">
            <a:spLocks noChangeArrowheads="1"/>
          </p:cNvSpPr>
          <p:nvPr/>
        </p:nvSpPr>
        <p:spPr bwMode="auto">
          <a:xfrm>
            <a:off x="6364657" y="4557104"/>
            <a:ext cx="1373944" cy="469750"/>
          </a:xfrm>
          <a:prstGeom prst="rect">
            <a:avLst/>
          </a:prstGeom>
          <a:solidFill>
            <a:srgbClr val="C00000"/>
          </a:solidFill>
          <a:ln w="9525">
            <a:noFill/>
            <a:miter lim="800000"/>
            <a:headEnd/>
            <a:tailEnd/>
          </a:ln>
        </p:spPr>
        <p:txBody>
          <a:bodyPr lIns="72000" rIns="45720" anchor="ctr" anchorCtr="0"/>
          <a:lstStyle/>
          <a:p>
            <a:pPr eaLnBrk="0" fontAlgn="base" hangingPunct="0">
              <a:lnSpc>
                <a:spcPct val="80000"/>
              </a:lnSpc>
              <a:spcBef>
                <a:spcPct val="0"/>
              </a:spcBef>
              <a:spcAft>
                <a:spcPct val="0"/>
              </a:spcAft>
            </a:pPr>
            <a:r>
              <a:rPr lang="en-GB" sz="1200" b="1">
                <a:solidFill>
                  <a:schemeClr val="bg1"/>
                </a:solidFill>
                <a:latin typeface="Segoe UI" panose="020B0502040204020203" pitchFamily="34" charset="0"/>
                <a:cs typeface="Segoe UI" panose="020B0502040204020203" pitchFamily="34" charset="0"/>
              </a:rPr>
              <a:t>Driver #4 ... </a:t>
            </a:r>
          </a:p>
        </p:txBody>
      </p:sp>
      <p:sp>
        <p:nvSpPr>
          <p:cNvPr id="23" name="Text Box 7">
            <a:extLst>
              <a:ext uri="{FF2B5EF4-FFF2-40B4-BE49-F238E27FC236}">
                <a16:creationId xmlns:a16="http://schemas.microsoft.com/office/drawing/2014/main" id="{53D0566E-73FB-3087-D770-37ED2800498F}"/>
              </a:ext>
            </a:extLst>
          </p:cNvPr>
          <p:cNvSpPr txBox="1">
            <a:spLocks noChangeArrowheads="1"/>
          </p:cNvSpPr>
          <p:nvPr/>
        </p:nvSpPr>
        <p:spPr bwMode="auto">
          <a:xfrm>
            <a:off x="6364657" y="5273904"/>
            <a:ext cx="1373944" cy="502282"/>
          </a:xfrm>
          <a:prstGeom prst="rect">
            <a:avLst/>
          </a:prstGeom>
          <a:solidFill>
            <a:srgbClr val="C00000"/>
          </a:solidFill>
          <a:ln w="9525">
            <a:noFill/>
            <a:miter lim="800000"/>
            <a:headEnd/>
            <a:tailEnd/>
          </a:ln>
        </p:spPr>
        <p:txBody>
          <a:bodyPr lIns="72000" rIns="45720" anchor="ctr" anchorCtr="0"/>
          <a:lstStyle/>
          <a:p>
            <a:pPr eaLnBrk="0" fontAlgn="base" hangingPunct="0">
              <a:lnSpc>
                <a:spcPct val="80000"/>
              </a:lnSpc>
              <a:spcBef>
                <a:spcPct val="0"/>
              </a:spcBef>
              <a:spcAft>
                <a:spcPct val="0"/>
              </a:spcAft>
            </a:pPr>
            <a:r>
              <a:rPr lang="en-GB" sz="1200" b="1">
                <a:solidFill>
                  <a:schemeClr val="bg1"/>
                </a:solidFill>
                <a:latin typeface="Segoe UI" panose="020B0502040204020203" pitchFamily="34" charset="0"/>
                <a:cs typeface="Segoe UI" panose="020B0502040204020203" pitchFamily="34" charset="0"/>
              </a:rPr>
              <a:t>Driver #5 ... </a:t>
            </a:r>
          </a:p>
        </p:txBody>
      </p:sp>
      <p:sp>
        <p:nvSpPr>
          <p:cNvPr id="24" name="Text Box 5">
            <a:extLst>
              <a:ext uri="{FF2B5EF4-FFF2-40B4-BE49-F238E27FC236}">
                <a16:creationId xmlns:a16="http://schemas.microsoft.com/office/drawing/2014/main" id="{289679F3-6B47-19B2-6ADA-8ED18E1144FD}"/>
              </a:ext>
            </a:extLst>
          </p:cNvPr>
          <p:cNvSpPr txBox="1">
            <a:spLocks noChangeArrowheads="1"/>
          </p:cNvSpPr>
          <p:nvPr/>
        </p:nvSpPr>
        <p:spPr bwMode="auto">
          <a:xfrm>
            <a:off x="6364657" y="3756391"/>
            <a:ext cx="1373944" cy="553662"/>
          </a:xfrm>
          <a:prstGeom prst="rect">
            <a:avLst/>
          </a:prstGeom>
          <a:solidFill>
            <a:srgbClr val="C00000"/>
          </a:solidFill>
          <a:ln w="9525">
            <a:solidFill>
              <a:schemeClr val="tx1">
                <a:lumMod val="50000"/>
                <a:lumOff val="50000"/>
              </a:schemeClr>
            </a:solidFill>
            <a:miter lim="800000"/>
            <a:headEnd/>
            <a:tailEnd/>
          </a:ln>
        </p:spPr>
        <p:txBody>
          <a:bodyPr lIns="72000" rIns="45720" anchor="ctr" anchorCtr="0"/>
          <a:lstStyle/>
          <a:p>
            <a:pPr eaLnBrk="0" fontAlgn="base" hangingPunct="0">
              <a:lnSpc>
                <a:spcPct val="80000"/>
              </a:lnSpc>
              <a:spcBef>
                <a:spcPct val="0"/>
              </a:spcBef>
              <a:spcAft>
                <a:spcPct val="0"/>
              </a:spcAft>
            </a:pPr>
            <a:r>
              <a:rPr lang="en-GB" sz="1200" b="1">
                <a:solidFill>
                  <a:schemeClr val="bg1"/>
                </a:solidFill>
                <a:latin typeface="Segoe UI" panose="020B0502040204020203" pitchFamily="34" charset="0"/>
                <a:cs typeface="Segoe UI" panose="020B0502040204020203" pitchFamily="34" charset="0"/>
              </a:rPr>
              <a:t>Driver #3 ... </a:t>
            </a:r>
          </a:p>
        </p:txBody>
      </p:sp>
    </p:spTree>
    <p:extLst>
      <p:ext uri="{BB962C8B-B14F-4D97-AF65-F5344CB8AC3E}">
        <p14:creationId xmlns:p14="http://schemas.microsoft.com/office/powerpoint/2010/main" val="38322154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3549B-814F-A059-C18F-A04B0E321DAB}"/>
              </a:ext>
            </a:extLst>
          </p:cNvPr>
          <p:cNvSpPr>
            <a:spLocks noGrp="1"/>
          </p:cNvSpPr>
          <p:nvPr>
            <p:ph type="title"/>
          </p:nvPr>
        </p:nvSpPr>
        <p:spPr/>
        <p:txBody>
          <a:bodyPr/>
          <a:lstStyle/>
          <a:p>
            <a:r>
              <a:rPr lang="en-BR"/>
              <a:t>Text Displays</a:t>
            </a:r>
          </a:p>
        </p:txBody>
      </p:sp>
      <p:sp>
        <p:nvSpPr>
          <p:cNvPr id="3" name="Footer Placeholder 2">
            <a:extLst>
              <a:ext uri="{FF2B5EF4-FFF2-40B4-BE49-F238E27FC236}">
                <a16:creationId xmlns:a16="http://schemas.microsoft.com/office/drawing/2014/main" id="{78DAE861-94F7-BDAD-8106-0EB615F0C1A9}"/>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1CD9FCB2-3024-0ED8-8192-BED181AA524D}"/>
              </a:ext>
            </a:extLst>
          </p:cNvPr>
          <p:cNvSpPr>
            <a:spLocks noGrp="1"/>
          </p:cNvSpPr>
          <p:nvPr>
            <p:ph type="sldNum" sz="quarter" idx="12"/>
          </p:nvPr>
        </p:nvSpPr>
        <p:spPr/>
        <p:txBody>
          <a:bodyPr/>
          <a:lstStyle/>
          <a:p>
            <a:fld id="{A8DDC45B-7265-3747-B738-ED29642119D9}" type="slidenum">
              <a:rPr lang="en-BR" smtClean="0"/>
              <a:pPr/>
              <a:t>4</a:t>
            </a:fld>
            <a:endParaRPr lang="en-BR"/>
          </a:p>
        </p:txBody>
      </p:sp>
      <p:sp>
        <p:nvSpPr>
          <p:cNvPr id="5" name="Text Placeholder 4">
            <a:extLst>
              <a:ext uri="{FF2B5EF4-FFF2-40B4-BE49-F238E27FC236}">
                <a16:creationId xmlns:a16="http://schemas.microsoft.com/office/drawing/2014/main" id="{A7683322-B861-3248-2298-F097658DE01E}"/>
              </a:ext>
            </a:extLst>
          </p:cNvPr>
          <p:cNvSpPr>
            <a:spLocks noGrp="1"/>
          </p:cNvSpPr>
          <p:nvPr>
            <p:ph type="body" sz="quarter" idx="13"/>
          </p:nvPr>
        </p:nvSpPr>
        <p:spPr/>
        <p:txBody>
          <a:bodyPr/>
          <a:lstStyle/>
          <a:p>
            <a:r>
              <a:rPr lang="en-BR"/>
              <a:t>Introduction Slide</a:t>
            </a:r>
          </a:p>
        </p:txBody>
      </p:sp>
      <p:sp>
        <p:nvSpPr>
          <p:cNvPr id="7" name="TextBox 6">
            <a:extLst>
              <a:ext uri="{FF2B5EF4-FFF2-40B4-BE49-F238E27FC236}">
                <a16:creationId xmlns:a16="http://schemas.microsoft.com/office/drawing/2014/main" id="{15281290-6ABC-4171-5C7D-E1118DC5EF41}"/>
              </a:ext>
            </a:extLst>
          </p:cNvPr>
          <p:cNvSpPr txBox="1"/>
          <p:nvPr/>
        </p:nvSpPr>
        <p:spPr>
          <a:xfrm>
            <a:off x="334961" y="1418824"/>
            <a:ext cx="11518371" cy="830997"/>
          </a:xfrm>
          <a:prstGeom prst="rect">
            <a:avLst/>
          </a:prstGeom>
          <a:noFill/>
        </p:spPr>
        <p:txBody>
          <a:bodyPr wrap="square">
            <a:spAutoFit/>
          </a:bodyPr>
          <a:lstStyle/>
          <a:p>
            <a:r>
              <a:rPr lang="en-US" sz="1600">
                <a:latin typeface="Segoe UI" panose="020B0502040204020203" pitchFamily="34" charset="0"/>
                <a:cs typeface="Segoe UI" panose="020B0502040204020203" pitchFamily="34" charset="0"/>
              </a:rPr>
              <a:t>Lorem ipsum dolor sit </a:t>
            </a:r>
            <a:r>
              <a:rPr lang="en-US" sz="1600" err="1">
                <a:latin typeface="Segoe UI" panose="020B0502040204020203" pitchFamily="34" charset="0"/>
                <a:cs typeface="Segoe UI" panose="020B0502040204020203" pitchFamily="34" charset="0"/>
              </a:rPr>
              <a:t>amet</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consectetur</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adipiscing</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elit</a:t>
            </a:r>
            <a:r>
              <a:rPr lang="en-US" sz="1600">
                <a:latin typeface="Segoe UI" panose="020B0502040204020203" pitchFamily="34" charset="0"/>
                <a:cs typeface="Segoe UI" panose="020B0502040204020203" pitchFamily="34" charset="0"/>
              </a:rPr>
              <a:t>, sed do </a:t>
            </a:r>
            <a:r>
              <a:rPr lang="en-US" sz="1600" err="1">
                <a:latin typeface="Segoe UI" panose="020B0502040204020203" pitchFamily="34" charset="0"/>
                <a:cs typeface="Segoe UI" panose="020B0502040204020203" pitchFamily="34" charset="0"/>
              </a:rPr>
              <a:t>eiusmod</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tempor</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incididunt</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ut</a:t>
            </a:r>
            <a:r>
              <a:rPr lang="en-US" sz="1600">
                <a:latin typeface="Segoe UI" panose="020B0502040204020203" pitchFamily="34" charset="0"/>
                <a:cs typeface="Segoe UI" panose="020B0502040204020203" pitchFamily="34" charset="0"/>
              </a:rPr>
              <a:t> labore et dolore magna </a:t>
            </a:r>
            <a:r>
              <a:rPr lang="en-US" sz="1600" err="1">
                <a:latin typeface="Segoe UI" panose="020B0502040204020203" pitchFamily="34" charset="0"/>
                <a:cs typeface="Segoe UI" panose="020B0502040204020203" pitchFamily="34" charset="0"/>
              </a:rPr>
              <a:t>aliqua</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Quis</a:t>
            </a:r>
            <a:r>
              <a:rPr lang="en-US" sz="1600">
                <a:latin typeface="Segoe UI" panose="020B0502040204020203" pitchFamily="34" charset="0"/>
                <a:cs typeface="Segoe UI" panose="020B0502040204020203" pitchFamily="34" charset="0"/>
              </a:rPr>
              <a:t> ipsum </a:t>
            </a:r>
            <a:r>
              <a:rPr lang="en-US" sz="1600" err="1">
                <a:latin typeface="Segoe UI" panose="020B0502040204020203" pitchFamily="34" charset="0"/>
                <a:cs typeface="Segoe UI" panose="020B0502040204020203" pitchFamily="34" charset="0"/>
              </a:rPr>
              <a:t>suspendisse</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ultrices</a:t>
            </a:r>
            <a:r>
              <a:rPr lang="en-US" sz="1600">
                <a:latin typeface="Segoe UI" panose="020B0502040204020203" pitchFamily="34" charset="0"/>
                <a:cs typeface="Segoe UI" panose="020B0502040204020203" pitchFamily="34" charset="0"/>
              </a:rPr>
              <a:t> gravida. </a:t>
            </a:r>
            <a:r>
              <a:rPr lang="en-US" sz="1600" err="1">
                <a:latin typeface="Segoe UI" panose="020B0502040204020203" pitchFamily="34" charset="0"/>
                <a:cs typeface="Segoe UI" panose="020B0502040204020203" pitchFamily="34" charset="0"/>
              </a:rPr>
              <a:t>Risus</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commodo</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viverra</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maecenas</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accumsan</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lacus</a:t>
            </a:r>
            <a:r>
              <a:rPr lang="en-US" sz="1600">
                <a:latin typeface="Segoe UI" panose="020B0502040204020203" pitchFamily="34" charset="0"/>
                <a:cs typeface="Segoe UI" panose="020B0502040204020203" pitchFamily="34" charset="0"/>
              </a:rPr>
              <a:t> vel </a:t>
            </a:r>
            <a:r>
              <a:rPr lang="en-US" sz="1600" err="1">
                <a:latin typeface="Segoe UI" panose="020B0502040204020203" pitchFamily="34" charset="0"/>
                <a:cs typeface="Segoe UI" panose="020B0502040204020203" pitchFamily="34" charset="0"/>
              </a:rPr>
              <a:t>facilisis</a:t>
            </a:r>
            <a:r>
              <a:rPr lang="en-US" sz="1600">
                <a:latin typeface="Segoe UI" panose="020B0502040204020203" pitchFamily="34" charset="0"/>
                <a:cs typeface="Segoe UI" panose="020B0502040204020203" pitchFamily="34" charset="0"/>
              </a:rPr>
              <a:t>. Lorem ipsum dolor sit </a:t>
            </a:r>
            <a:r>
              <a:rPr lang="en-US" sz="1600" err="1">
                <a:latin typeface="Segoe UI" panose="020B0502040204020203" pitchFamily="34" charset="0"/>
                <a:cs typeface="Segoe UI" panose="020B0502040204020203" pitchFamily="34" charset="0"/>
              </a:rPr>
              <a:t>amet</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consectetur</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adipiscing</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elit</a:t>
            </a:r>
            <a:r>
              <a:rPr lang="en-US" sz="1600">
                <a:latin typeface="Segoe UI" panose="020B0502040204020203" pitchFamily="34" charset="0"/>
                <a:cs typeface="Segoe UI" panose="020B0502040204020203" pitchFamily="34" charset="0"/>
              </a:rPr>
              <a:t>, sed do </a:t>
            </a:r>
            <a:r>
              <a:rPr lang="en-US" sz="1600" err="1">
                <a:latin typeface="Segoe UI" panose="020B0502040204020203" pitchFamily="34" charset="0"/>
                <a:cs typeface="Segoe UI" panose="020B0502040204020203" pitchFamily="34" charset="0"/>
              </a:rPr>
              <a:t>eiusmod</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tempor</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incididunt</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ut</a:t>
            </a:r>
            <a:r>
              <a:rPr lang="en-US" sz="1600">
                <a:latin typeface="Segoe UI" panose="020B0502040204020203" pitchFamily="34" charset="0"/>
                <a:cs typeface="Segoe UI" panose="020B0502040204020203" pitchFamily="34" charset="0"/>
              </a:rPr>
              <a:t> labore et dolore magna </a:t>
            </a:r>
            <a:r>
              <a:rPr lang="en-US" sz="1600" err="1">
                <a:latin typeface="Segoe UI" panose="020B0502040204020203" pitchFamily="34" charset="0"/>
                <a:cs typeface="Segoe UI" panose="020B0502040204020203" pitchFamily="34" charset="0"/>
              </a:rPr>
              <a:t>aliqua</a:t>
            </a:r>
            <a:r>
              <a:rPr lang="en-US" sz="1600">
                <a:latin typeface="Segoe UI" panose="020B0502040204020203" pitchFamily="34" charset="0"/>
                <a:cs typeface="Segoe UI" panose="020B0502040204020203" pitchFamily="34" charset="0"/>
              </a:rPr>
              <a:t>.</a:t>
            </a:r>
          </a:p>
        </p:txBody>
      </p:sp>
      <p:sp>
        <p:nvSpPr>
          <p:cNvPr id="8" name="TextBox 7">
            <a:extLst>
              <a:ext uri="{FF2B5EF4-FFF2-40B4-BE49-F238E27FC236}">
                <a16:creationId xmlns:a16="http://schemas.microsoft.com/office/drawing/2014/main" id="{5C10DB90-BBF5-C110-0A9E-0901C7460BB0}"/>
              </a:ext>
            </a:extLst>
          </p:cNvPr>
          <p:cNvSpPr txBox="1"/>
          <p:nvPr/>
        </p:nvSpPr>
        <p:spPr>
          <a:xfrm>
            <a:off x="334961" y="2724432"/>
            <a:ext cx="5449556" cy="523220"/>
          </a:xfrm>
          <a:prstGeom prst="rect">
            <a:avLst/>
          </a:prstGeom>
          <a:noFill/>
        </p:spPr>
        <p:txBody>
          <a:bodyPr wrap="square" lIns="91440" tIns="45720" rIns="91440" bIns="45720" rtlCol="0" anchor="t">
            <a:spAutoFit/>
          </a:bodyPr>
          <a:lstStyle/>
          <a:p>
            <a:r>
              <a:rPr lang="en-US" sz="1400" b="1">
                <a:solidFill>
                  <a:schemeClr val="tx1">
                    <a:lumMod val="65000"/>
                    <a:lumOff val="35000"/>
                  </a:schemeClr>
                </a:solidFill>
                <a:effectLst/>
                <a:latin typeface="Segoe UI" panose="020B0502040204020203" pitchFamily="34" charset="0"/>
                <a:cs typeface="Segoe UI" panose="020B0502040204020203" pitchFamily="34" charset="0"/>
              </a:rPr>
              <a:t>Brief outline of the presentation topics</a:t>
            </a:r>
          </a:p>
          <a:p>
            <a:endParaRPr lang="en-US" sz="1400" b="1">
              <a:solidFill>
                <a:schemeClr val="tx1">
                  <a:lumMod val="65000"/>
                  <a:lumOff val="35000"/>
                </a:schemeClr>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067138FB-82A4-915A-1C8F-C4858E53D6DF}"/>
              </a:ext>
            </a:extLst>
          </p:cNvPr>
          <p:cNvSpPr txBox="1"/>
          <p:nvPr/>
        </p:nvSpPr>
        <p:spPr>
          <a:xfrm>
            <a:off x="334961" y="4441744"/>
            <a:ext cx="5449556" cy="307777"/>
          </a:xfrm>
          <a:prstGeom prst="rect">
            <a:avLst/>
          </a:prstGeom>
          <a:noFill/>
        </p:spPr>
        <p:txBody>
          <a:bodyPr wrap="square" lIns="91440" tIns="45720" rIns="91440" bIns="45720" rtlCol="0" anchor="t">
            <a:spAutoFit/>
          </a:bodyPr>
          <a:lstStyle/>
          <a:p>
            <a:pPr algn="l"/>
            <a:r>
              <a:rPr lang="en-US" sz="1400" b="1">
                <a:solidFill>
                  <a:schemeClr val="tx1">
                    <a:lumMod val="65000"/>
                    <a:lumOff val="35000"/>
                  </a:schemeClr>
                </a:solidFill>
                <a:effectLst/>
                <a:latin typeface="Segoe UI" panose="020B0502040204020203" pitchFamily="34" charset="0"/>
                <a:cs typeface="Segoe UI" panose="020B0502040204020203" pitchFamily="34" charset="0"/>
              </a:rPr>
              <a:t>Can be in bullet points or numbered list</a:t>
            </a:r>
          </a:p>
        </p:txBody>
      </p:sp>
      <p:sp>
        <p:nvSpPr>
          <p:cNvPr id="10" name="TextBox 9">
            <a:extLst>
              <a:ext uri="{FF2B5EF4-FFF2-40B4-BE49-F238E27FC236}">
                <a16:creationId xmlns:a16="http://schemas.microsoft.com/office/drawing/2014/main" id="{41DB5905-2B7B-F16C-E0D9-A33C6B91769F}"/>
              </a:ext>
            </a:extLst>
          </p:cNvPr>
          <p:cNvSpPr txBox="1"/>
          <p:nvPr/>
        </p:nvSpPr>
        <p:spPr>
          <a:xfrm>
            <a:off x="334961" y="3137000"/>
            <a:ext cx="11518371" cy="523220"/>
          </a:xfrm>
          <a:prstGeom prst="rect">
            <a:avLst/>
          </a:prstGeom>
          <a:noFill/>
        </p:spPr>
        <p:txBody>
          <a:bodyPr wrap="square" rtlCol="0">
            <a:spAutoFit/>
          </a:bodyPr>
          <a:lstStyle/>
          <a:p>
            <a:r>
              <a:rPr lang="en-US" sz="1400">
                <a:latin typeface="Segoe UI" panose="020B0502040204020203" pitchFamily="34" charset="0"/>
                <a:cs typeface="Segoe UI" panose="020B0502040204020203" pitchFamily="34" charset="0"/>
              </a:rPr>
              <a:t>Lorem ipsum dolor sit </a:t>
            </a:r>
            <a:r>
              <a:rPr lang="en-US" sz="1400" err="1">
                <a:latin typeface="Segoe UI" panose="020B0502040204020203" pitchFamily="34" charset="0"/>
                <a:cs typeface="Segoe UI" panose="020B0502040204020203" pitchFamily="34" charset="0"/>
              </a:rPr>
              <a:t>amet</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consectetur</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adipiscing</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elit</a:t>
            </a:r>
            <a:r>
              <a:rPr lang="en-US" sz="1400">
                <a:latin typeface="Segoe UI" panose="020B0502040204020203" pitchFamily="34" charset="0"/>
                <a:cs typeface="Segoe UI" panose="020B0502040204020203" pitchFamily="34" charset="0"/>
              </a:rPr>
              <a:t>, sed do </a:t>
            </a:r>
            <a:r>
              <a:rPr lang="en-US" sz="1400" err="1">
                <a:latin typeface="Segoe UI" panose="020B0502040204020203" pitchFamily="34" charset="0"/>
                <a:cs typeface="Segoe UI" panose="020B0502040204020203" pitchFamily="34" charset="0"/>
              </a:rPr>
              <a:t>eiusmod</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tempor</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incididunt</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ut</a:t>
            </a:r>
            <a:r>
              <a:rPr lang="en-US" sz="1400">
                <a:latin typeface="Segoe UI" panose="020B0502040204020203" pitchFamily="34" charset="0"/>
                <a:cs typeface="Segoe UI" panose="020B0502040204020203" pitchFamily="34" charset="0"/>
              </a:rPr>
              <a:t> labore et dolore magna </a:t>
            </a:r>
            <a:r>
              <a:rPr lang="en-US" sz="1400" err="1">
                <a:latin typeface="Segoe UI" panose="020B0502040204020203" pitchFamily="34" charset="0"/>
                <a:cs typeface="Segoe UI" panose="020B0502040204020203" pitchFamily="34" charset="0"/>
              </a:rPr>
              <a:t>aliqua</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Quis</a:t>
            </a:r>
            <a:r>
              <a:rPr lang="en-US" sz="1400">
                <a:latin typeface="Segoe UI" panose="020B0502040204020203" pitchFamily="34" charset="0"/>
                <a:cs typeface="Segoe UI" panose="020B0502040204020203" pitchFamily="34" charset="0"/>
              </a:rPr>
              <a:t> ipsum </a:t>
            </a:r>
            <a:r>
              <a:rPr lang="en-US" sz="1400" err="1">
                <a:latin typeface="Segoe UI" panose="020B0502040204020203" pitchFamily="34" charset="0"/>
                <a:cs typeface="Segoe UI" panose="020B0502040204020203" pitchFamily="34" charset="0"/>
              </a:rPr>
              <a:t>suspendisse</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ultrices</a:t>
            </a:r>
            <a:r>
              <a:rPr lang="en-US" sz="1400">
                <a:latin typeface="Segoe UI" panose="020B0502040204020203" pitchFamily="34" charset="0"/>
                <a:cs typeface="Segoe UI" panose="020B0502040204020203" pitchFamily="34" charset="0"/>
              </a:rPr>
              <a:t> gravida. </a:t>
            </a:r>
            <a:r>
              <a:rPr lang="en-US" sz="1400" err="1">
                <a:latin typeface="Segoe UI" panose="020B0502040204020203" pitchFamily="34" charset="0"/>
                <a:cs typeface="Segoe UI" panose="020B0502040204020203" pitchFamily="34" charset="0"/>
              </a:rPr>
              <a:t>Risus</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commodo</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viverra</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maecenas</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accumsan</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lacus</a:t>
            </a:r>
            <a:r>
              <a:rPr lang="en-US" sz="1400">
                <a:latin typeface="Segoe UI" panose="020B0502040204020203" pitchFamily="34" charset="0"/>
                <a:cs typeface="Segoe UI" panose="020B0502040204020203" pitchFamily="34" charset="0"/>
              </a:rPr>
              <a:t> vel </a:t>
            </a:r>
            <a:r>
              <a:rPr lang="en-US" sz="1400" err="1">
                <a:latin typeface="Segoe UI" panose="020B0502040204020203" pitchFamily="34" charset="0"/>
                <a:cs typeface="Segoe UI" panose="020B0502040204020203" pitchFamily="34" charset="0"/>
              </a:rPr>
              <a:t>facilisis</a:t>
            </a:r>
            <a:r>
              <a:rPr lang="en-US" sz="1400">
                <a:latin typeface="Segoe UI" panose="020B0502040204020203" pitchFamily="34" charset="0"/>
                <a:cs typeface="Segoe UI" panose="020B0502040204020203" pitchFamily="34" charset="0"/>
              </a:rPr>
              <a:t>. </a:t>
            </a:r>
          </a:p>
        </p:txBody>
      </p:sp>
      <p:sp>
        <p:nvSpPr>
          <p:cNvPr id="11" name="TextBox 10">
            <a:extLst>
              <a:ext uri="{FF2B5EF4-FFF2-40B4-BE49-F238E27FC236}">
                <a16:creationId xmlns:a16="http://schemas.microsoft.com/office/drawing/2014/main" id="{0DA97CF9-F553-B523-8C70-A88B972EC34F}"/>
              </a:ext>
            </a:extLst>
          </p:cNvPr>
          <p:cNvSpPr txBox="1"/>
          <p:nvPr/>
        </p:nvSpPr>
        <p:spPr>
          <a:xfrm>
            <a:off x="334963" y="4854312"/>
            <a:ext cx="11518369" cy="954107"/>
          </a:xfrm>
          <a:prstGeom prst="rect">
            <a:avLst/>
          </a:prstGeom>
          <a:noFill/>
        </p:spPr>
        <p:txBody>
          <a:bodyPr wrap="square" rtlCol="0">
            <a:spAutoFit/>
          </a:bodyPr>
          <a:lstStyle/>
          <a:p>
            <a:pPr indent="-285750">
              <a:buFont typeface="Arial" panose="020B0604020202020204" pitchFamily="34" charset="0"/>
              <a:buChar char="•"/>
            </a:pPr>
            <a:r>
              <a:rPr lang="en-US" sz="1400">
                <a:latin typeface="Segoe UI" panose="020B0502040204020203" pitchFamily="34" charset="0"/>
                <a:cs typeface="Segoe UI" panose="020B0502040204020203" pitchFamily="34" charset="0"/>
              </a:rPr>
              <a:t>Optional bullet #1 summarizing important high-level win element (business focused)</a:t>
            </a:r>
          </a:p>
          <a:p>
            <a:pPr indent="-285750">
              <a:buFont typeface="Arial" panose="020B0604020202020204" pitchFamily="34" charset="0"/>
              <a:buChar char="•"/>
            </a:pPr>
            <a:r>
              <a:rPr lang="en-US" sz="1400">
                <a:latin typeface="Segoe UI" panose="020B0502040204020203" pitchFamily="34" charset="0"/>
                <a:cs typeface="Segoe UI" panose="020B0502040204020203" pitchFamily="34" charset="0"/>
              </a:rPr>
              <a:t>Optional bullet #2 summarizing important high-level win element (business focused)</a:t>
            </a:r>
          </a:p>
          <a:p>
            <a:pPr indent="-285750">
              <a:buFont typeface="Arial" panose="020B0604020202020204" pitchFamily="34" charset="0"/>
              <a:buChar char="•"/>
            </a:pPr>
            <a:r>
              <a:rPr lang="en-US" sz="1400">
                <a:latin typeface="Segoe UI" panose="020B0502040204020203" pitchFamily="34" charset="0"/>
                <a:cs typeface="Segoe UI" panose="020B0502040204020203" pitchFamily="34" charset="0"/>
              </a:rPr>
              <a:t>Optional bullet #3 summarizing important high-level win element (business focused)</a:t>
            </a:r>
          </a:p>
          <a:p>
            <a:pPr indent="-285750">
              <a:buFont typeface="Arial" panose="020B0604020202020204" pitchFamily="34" charset="0"/>
              <a:buChar char="•"/>
            </a:pPr>
            <a:endParaRPr lang="en-US" sz="14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8850176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CBF54-9E5A-190C-016B-D5715E275D12}"/>
              </a:ext>
            </a:extLst>
          </p:cNvPr>
          <p:cNvSpPr>
            <a:spLocks noGrp="1"/>
          </p:cNvSpPr>
          <p:nvPr>
            <p:ph type="title"/>
          </p:nvPr>
        </p:nvSpPr>
        <p:spPr/>
        <p:txBody>
          <a:bodyPr/>
          <a:lstStyle/>
          <a:p>
            <a:r>
              <a:rPr lang="en-BR"/>
              <a:t>Project Management</a:t>
            </a:r>
          </a:p>
        </p:txBody>
      </p:sp>
      <p:sp>
        <p:nvSpPr>
          <p:cNvPr id="3" name="Footer Placeholder 2">
            <a:extLst>
              <a:ext uri="{FF2B5EF4-FFF2-40B4-BE49-F238E27FC236}">
                <a16:creationId xmlns:a16="http://schemas.microsoft.com/office/drawing/2014/main" id="{E86D0E66-AC5D-7BE7-7987-827E474EBD35}"/>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384FAD57-D00B-0BA3-7D17-8DB9299F836E}"/>
              </a:ext>
            </a:extLst>
          </p:cNvPr>
          <p:cNvSpPr>
            <a:spLocks noGrp="1"/>
          </p:cNvSpPr>
          <p:nvPr>
            <p:ph type="sldNum" sz="quarter" idx="12"/>
          </p:nvPr>
        </p:nvSpPr>
        <p:spPr/>
        <p:txBody>
          <a:bodyPr/>
          <a:lstStyle/>
          <a:p>
            <a:fld id="{A8DDC45B-7265-3747-B738-ED29642119D9}" type="slidenum">
              <a:rPr lang="en-BR" smtClean="0"/>
              <a:pPr/>
              <a:t>40</a:t>
            </a:fld>
            <a:endParaRPr lang="en-BR"/>
          </a:p>
        </p:txBody>
      </p:sp>
      <p:sp>
        <p:nvSpPr>
          <p:cNvPr id="5" name="Text Placeholder 4">
            <a:extLst>
              <a:ext uri="{FF2B5EF4-FFF2-40B4-BE49-F238E27FC236}">
                <a16:creationId xmlns:a16="http://schemas.microsoft.com/office/drawing/2014/main" id="{253F49B9-31C2-1D96-6DEE-B6B7CC0FB80C}"/>
              </a:ext>
            </a:extLst>
          </p:cNvPr>
          <p:cNvSpPr>
            <a:spLocks noGrp="1"/>
          </p:cNvSpPr>
          <p:nvPr>
            <p:ph type="body" sz="quarter" idx="13"/>
          </p:nvPr>
        </p:nvSpPr>
        <p:spPr/>
        <p:txBody>
          <a:bodyPr/>
          <a:lstStyle/>
          <a:p>
            <a:r>
              <a:rPr lang="en-BR"/>
              <a:t>Organization Chart</a:t>
            </a:r>
          </a:p>
        </p:txBody>
      </p:sp>
      <p:sp>
        <p:nvSpPr>
          <p:cNvPr id="6" name="Rectangle 4">
            <a:extLst>
              <a:ext uri="{FF2B5EF4-FFF2-40B4-BE49-F238E27FC236}">
                <a16:creationId xmlns:a16="http://schemas.microsoft.com/office/drawing/2014/main" id="{FE77AC2D-8D7B-E6E8-A315-C1510848837F}"/>
              </a:ext>
            </a:extLst>
          </p:cNvPr>
          <p:cNvSpPr>
            <a:spLocks noChangeArrowheads="1"/>
          </p:cNvSpPr>
          <p:nvPr/>
        </p:nvSpPr>
        <p:spPr bwMode="auto">
          <a:xfrm>
            <a:off x="2857826" y="2559075"/>
            <a:ext cx="1440000" cy="432000"/>
          </a:xfrm>
          <a:prstGeom prst="rect">
            <a:avLst/>
          </a:prstGeom>
          <a:solidFill>
            <a:srgbClr val="C00000"/>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sp>
        <p:nvSpPr>
          <p:cNvPr id="7" name="Rectangle 5">
            <a:extLst>
              <a:ext uri="{FF2B5EF4-FFF2-40B4-BE49-F238E27FC236}">
                <a16:creationId xmlns:a16="http://schemas.microsoft.com/office/drawing/2014/main" id="{F4B83D95-05EA-0980-E44A-4E099174929F}"/>
              </a:ext>
            </a:extLst>
          </p:cNvPr>
          <p:cNvSpPr>
            <a:spLocks noChangeArrowheads="1"/>
          </p:cNvSpPr>
          <p:nvPr/>
        </p:nvSpPr>
        <p:spPr bwMode="auto">
          <a:xfrm>
            <a:off x="5377564" y="1628801"/>
            <a:ext cx="1440000" cy="432000"/>
          </a:xfrm>
          <a:prstGeom prst="rect">
            <a:avLst/>
          </a:prstGeom>
          <a:solidFill>
            <a:schemeClr val="tx1">
              <a:lumMod val="75000"/>
              <a:lumOff val="25000"/>
            </a:schemeClr>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sp>
        <p:nvSpPr>
          <p:cNvPr id="8" name="Rectangle 6">
            <a:extLst>
              <a:ext uri="{FF2B5EF4-FFF2-40B4-BE49-F238E27FC236}">
                <a16:creationId xmlns:a16="http://schemas.microsoft.com/office/drawing/2014/main" id="{058ADCA5-3EC0-E6EB-5BCF-EC2916C0BC15}"/>
              </a:ext>
            </a:extLst>
          </p:cNvPr>
          <p:cNvSpPr>
            <a:spLocks noChangeArrowheads="1"/>
          </p:cNvSpPr>
          <p:nvPr/>
        </p:nvSpPr>
        <p:spPr bwMode="auto">
          <a:xfrm>
            <a:off x="7897301" y="2559075"/>
            <a:ext cx="1440000" cy="432000"/>
          </a:xfrm>
          <a:prstGeom prst="rect">
            <a:avLst/>
          </a:prstGeom>
          <a:solidFill>
            <a:srgbClr val="C00000"/>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cxnSp>
        <p:nvCxnSpPr>
          <p:cNvPr id="9" name="AutoShape 7">
            <a:extLst>
              <a:ext uri="{FF2B5EF4-FFF2-40B4-BE49-F238E27FC236}">
                <a16:creationId xmlns:a16="http://schemas.microsoft.com/office/drawing/2014/main" id="{D67A7203-727E-370A-35B3-23A4B0BABBF9}"/>
              </a:ext>
            </a:extLst>
          </p:cNvPr>
          <p:cNvCxnSpPr>
            <a:cxnSpLocks noChangeShapeType="1"/>
            <a:stCxn id="7" idx="2"/>
            <a:endCxn id="6" idx="0"/>
          </p:cNvCxnSpPr>
          <p:nvPr/>
        </p:nvCxnSpPr>
        <p:spPr bwMode="auto">
          <a:xfrm rot="5400000">
            <a:off x="4588558" y="1050069"/>
            <a:ext cx="498274" cy="2519738"/>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 name="AutoShape 8">
            <a:extLst>
              <a:ext uri="{FF2B5EF4-FFF2-40B4-BE49-F238E27FC236}">
                <a16:creationId xmlns:a16="http://schemas.microsoft.com/office/drawing/2014/main" id="{BF6D4991-EC30-1537-06E2-12153DA158BC}"/>
              </a:ext>
            </a:extLst>
          </p:cNvPr>
          <p:cNvCxnSpPr>
            <a:cxnSpLocks noChangeShapeType="1"/>
            <a:stCxn id="7" idx="2"/>
            <a:endCxn id="8" idx="0"/>
          </p:cNvCxnSpPr>
          <p:nvPr/>
        </p:nvCxnSpPr>
        <p:spPr bwMode="auto">
          <a:xfrm rot="16200000" flipH="1">
            <a:off x="7108295" y="1050069"/>
            <a:ext cx="498274" cy="251973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1" name="AutoShape 9">
            <a:extLst>
              <a:ext uri="{FF2B5EF4-FFF2-40B4-BE49-F238E27FC236}">
                <a16:creationId xmlns:a16="http://schemas.microsoft.com/office/drawing/2014/main" id="{EC82E0AE-C833-9CFF-0F40-A0CADE74C4B8}"/>
              </a:ext>
            </a:extLst>
          </p:cNvPr>
          <p:cNvCxnSpPr>
            <a:cxnSpLocks noChangeShapeType="1"/>
            <a:stCxn id="6" idx="2"/>
            <a:endCxn id="16" idx="0"/>
          </p:cNvCxnSpPr>
          <p:nvPr/>
        </p:nvCxnSpPr>
        <p:spPr bwMode="auto">
          <a:xfrm rot="5400000">
            <a:off x="2545966" y="2501939"/>
            <a:ext cx="542725" cy="152099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 name="AutoShape 10">
            <a:extLst>
              <a:ext uri="{FF2B5EF4-FFF2-40B4-BE49-F238E27FC236}">
                <a16:creationId xmlns:a16="http://schemas.microsoft.com/office/drawing/2014/main" id="{AAD03AC3-EF8E-56FD-966B-A5C1B09E1EC2}"/>
              </a:ext>
            </a:extLst>
          </p:cNvPr>
          <p:cNvCxnSpPr>
            <a:cxnSpLocks noChangeShapeType="1"/>
            <a:stCxn id="6" idx="2"/>
            <a:endCxn id="15" idx="0"/>
          </p:cNvCxnSpPr>
          <p:nvPr/>
        </p:nvCxnSpPr>
        <p:spPr bwMode="auto">
          <a:xfrm rot="16200000" flipH="1">
            <a:off x="3988391" y="2580510"/>
            <a:ext cx="542725" cy="1363854"/>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 name="AutoShape 11">
            <a:extLst>
              <a:ext uri="{FF2B5EF4-FFF2-40B4-BE49-F238E27FC236}">
                <a16:creationId xmlns:a16="http://schemas.microsoft.com/office/drawing/2014/main" id="{C5E2D3F5-4058-4DCD-DB8D-F275974751A3}"/>
              </a:ext>
            </a:extLst>
          </p:cNvPr>
          <p:cNvCxnSpPr>
            <a:cxnSpLocks noChangeShapeType="1"/>
            <a:stCxn id="8" idx="2"/>
            <a:endCxn id="18" idx="0"/>
          </p:cNvCxnSpPr>
          <p:nvPr/>
        </p:nvCxnSpPr>
        <p:spPr bwMode="auto">
          <a:xfrm rot="5400000">
            <a:off x="7664012" y="2580510"/>
            <a:ext cx="542725" cy="1363854"/>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 name="AutoShape 12">
            <a:extLst>
              <a:ext uri="{FF2B5EF4-FFF2-40B4-BE49-F238E27FC236}">
                <a16:creationId xmlns:a16="http://schemas.microsoft.com/office/drawing/2014/main" id="{D6F62782-32D6-48B8-0751-CA4FD57BADD8}"/>
              </a:ext>
            </a:extLst>
          </p:cNvPr>
          <p:cNvCxnSpPr>
            <a:cxnSpLocks noChangeShapeType="1"/>
            <a:stCxn id="8" idx="2"/>
            <a:endCxn id="17" idx="0"/>
          </p:cNvCxnSpPr>
          <p:nvPr/>
        </p:nvCxnSpPr>
        <p:spPr bwMode="auto">
          <a:xfrm rot="16200000" flipH="1">
            <a:off x="9108865" y="2499510"/>
            <a:ext cx="542725" cy="1525853"/>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Rectangle 13">
            <a:extLst>
              <a:ext uri="{FF2B5EF4-FFF2-40B4-BE49-F238E27FC236}">
                <a16:creationId xmlns:a16="http://schemas.microsoft.com/office/drawing/2014/main" id="{CA150EDE-2980-19A6-3403-D08AB59EE467}"/>
              </a:ext>
            </a:extLst>
          </p:cNvPr>
          <p:cNvSpPr>
            <a:spLocks noChangeArrowheads="1"/>
          </p:cNvSpPr>
          <p:nvPr/>
        </p:nvSpPr>
        <p:spPr bwMode="auto">
          <a:xfrm>
            <a:off x="4221680" y="3533800"/>
            <a:ext cx="1440000" cy="432000"/>
          </a:xfrm>
          <a:prstGeom prst="rect">
            <a:avLst/>
          </a:prstGeom>
          <a:solidFill>
            <a:schemeClr val="tx1">
              <a:lumMod val="50000"/>
              <a:lumOff val="50000"/>
            </a:schemeClr>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sp>
        <p:nvSpPr>
          <p:cNvPr id="16" name="Rectangle 14">
            <a:extLst>
              <a:ext uri="{FF2B5EF4-FFF2-40B4-BE49-F238E27FC236}">
                <a16:creationId xmlns:a16="http://schemas.microsoft.com/office/drawing/2014/main" id="{7CBF9DC1-3CFC-3910-A4B1-44A9D90035E3}"/>
              </a:ext>
            </a:extLst>
          </p:cNvPr>
          <p:cNvSpPr>
            <a:spLocks noChangeArrowheads="1"/>
          </p:cNvSpPr>
          <p:nvPr/>
        </p:nvSpPr>
        <p:spPr bwMode="auto">
          <a:xfrm>
            <a:off x="1336829" y="3533800"/>
            <a:ext cx="1440000" cy="432000"/>
          </a:xfrm>
          <a:prstGeom prst="rect">
            <a:avLst/>
          </a:prstGeom>
          <a:solidFill>
            <a:schemeClr val="tx1">
              <a:lumMod val="50000"/>
              <a:lumOff val="50000"/>
            </a:schemeClr>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sp>
        <p:nvSpPr>
          <p:cNvPr id="17" name="Rectangle 15">
            <a:extLst>
              <a:ext uri="{FF2B5EF4-FFF2-40B4-BE49-F238E27FC236}">
                <a16:creationId xmlns:a16="http://schemas.microsoft.com/office/drawing/2014/main" id="{86006A9B-B3AC-E557-B277-4E50A67DFD8F}"/>
              </a:ext>
            </a:extLst>
          </p:cNvPr>
          <p:cNvSpPr>
            <a:spLocks noChangeArrowheads="1"/>
          </p:cNvSpPr>
          <p:nvPr/>
        </p:nvSpPr>
        <p:spPr bwMode="auto">
          <a:xfrm>
            <a:off x="9423154" y="3533800"/>
            <a:ext cx="1440000" cy="432000"/>
          </a:xfrm>
          <a:prstGeom prst="rect">
            <a:avLst/>
          </a:prstGeom>
          <a:solidFill>
            <a:schemeClr val="tx1">
              <a:lumMod val="50000"/>
              <a:lumOff val="50000"/>
            </a:schemeClr>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sp>
        <p:nvSpPr>
          <p:cNvPr id="18" name="Rectangle 16">
            <a:extLst>
              <a:ext uri="{FF2B5EF4-FFF2-40B4-BE49-F238E27FC236}">
                <a16:creationId xmlns:a16="http://schemas.microsoft.com/office/drawing/2014/main" id="{9D4E9D83-3310-8DEE-1187-4F500DF6B931}"/>
              </a:ext>
            </a:extLst>
          </p:cNvPr>
          <p:cNvSpPr>
            <a:spLocks noChangeArrowheads="1"/>
          </p:cNvSpPr>
          <p:nvPr/>
        </p:nvSpPr>
        <p:spPr bwMode="auto">
          <a:xfrm>
            <a:off x="6533447" y="3533800"/>
            <a:ext cx="1440000" cy="432000"/>
          </a:xfrm>
          <a:prstGeom prst="rect">
            <a:avLst/>
          </a:prstGeom>
          <a:solidFill>
            <a:schemeClr val="tx1">
              <a:lumMod val="50000"/>
              <a:lumOff val="50000"/>
            </a:schemeClr>
          </a:solidFill>
          <a:ln w="6350">
            <a:noFill/>
            <a:miter lim="800000"/>
            <a:headEnd/>
            <a:tailEnd/>
          </a:ln>
          <a:effectLst/>
        </p:spPr>
        <p:txBody>
          <a:bodyPr lIns="72000" tIns="72000" rIns="72000" bIns="72000" anchor="ctr"/>
          <a:lstStyle/>
          <a:p>
            <a:pPr algn="ctr" eaLnBrk="0" hangingPunct="0"/>
            <a:r>
              <a:rPr lang="en-GB" sz="1200" b="1">
                <a:solidFill>
                  <a:schemeClr val="bg1"/>
                </a:solidFill>
              </a:rPr>
              <a:t>Text</a:t>
            </a:r>
            <a:endParaRPr lang="en-US" sz="1200" b="1">
              <a:solidFill>
                <a:schemeClr val="bg1"/>
              </a:solidFill>
            </a:endParaRPr>
          </a:p>
        </p:txBody>
      </p:sp>
      <p:sp>
        <p:nvSpPr>
          <p:cNvPr id="19" name="Rectangle 17">
            <a:extLst>
              <a:ext uri="{FF2B5EF4-FFF2-40B4-BE49-F238E27FC236}">
                <a16:creationId xmlns:a16="http://schemas.microsoft.com/office/drawing/2014/main" id="{800A9F34-E8AD-0BA6-13DF-194F1CA6AEBF}"/>
              </a:ext>
            </a:extLst>
          </p:cNvPr>
          <p:cNvSpPr>
            <a:spLocks noChangeArrowheads="1"/>
          </p:cNvSpPr>
          <p:nvPr/>
        </p:nvSpPr>
        <p:spPr bwMode="auto">
          <a:xfrm>
            <a:off x="338090" y="5625899"/>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20" name="Rectangle 18">
            <a:extLst>
              <a:ext uri="{FF2B5EF4-FFF2-40B4-BE49-F238E27FC236}">
                <a16:creationId xmlns:a16="http://schemas.microsoft.com/office/drawing/2014/main" id="{674C04F7-30EB-678D-D75A-941CC212A81C}"/>
              </a:ext>
            </a:extLst>
          </p:cNvPr>
          <p:cNvSpPr>
            <a:spLocks noChangeArrowheads="1"/>
          </p:cNvSpPr>
          <p:nvPr/>
        </p:nvSpPr>
        <p:spPr bwMode="auto">
          <a:xfrm>
            <a:off x="1498829" y="5625899"/>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21" name="Rectangle 19">
            <a:extLst>
              <a:ext uri="{FF2B5EF4-FFF2-40B4-BE49-F238E27FC236}">
                <a16:creationId xmlns:a16="http://schemas.microsoft.com/office/drawing/2014/main" id="{C0A7262D-9CCD-2AB5-B91E-BA809F12AF4A}"/>
              </a:ext>
            </a:extLst>
          </p:cNvPr>
          <p:cNvSpPr>
            <a:spLocks noChangeArrowheads="1"/>
          </p:cNvSpPr>
          <p:nvPr/>
        </p:nvSpPr>
        <p:spPr bwMode="auto">
          <a:xfrm>
            <a:off x="2649856" y="5625899"/>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22" name="Rectangle 20">
            <a:extLst>
              <a:ext uri="{FF2B5EF4-FFF2-40B4-BE49-F238E27FC236}">
                <a16:creationId xmlns:a16="http://schemas.microsoft.com/office/drawing/2014/main" id="{F29341D1-F20F-E81E-5D43-426837ECBF70}"/>
              </a:ext>
            </a:extLst>
          </p:cNvPr>
          <p:cNvSpPr>
            <a:spLocks noChangeArrowheads="1"/>
          </p:cNvSpPr>
          <p:nvPr/>
        </p:nvSpPr>
        <p:spPr bwMode="auto">
          <a:xfrm>
            <a:off x="8429271" y="5625900"/>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23" name="Rectangle 21">
            <a:extLst>
              <a:ext uri="{FF2B5EF4-FFF2-40B4-BE49-F238E27FC236}">
                <a16:creationId xmlns:a16="http://schemas.microsoft.com/office/drawing/2014/main" id="{F121A002-2D51-76A3-E823-4A95B78C9E79}"/>
              </a:ext>
            </a:extLst>
          </p:cNvPr>
          <p:cNvSpPr>
            <a:spLocks noChangeArrowheads="1"/>
          </p:cNvSpPr>
          <p:nvPr/>
        </p:nvSpPr>
        <p:spPr bwMode="auto">
          <a:xfrm>
            <a:off x="9585154" y="5625900"/>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24" name="Rectangle 22">
            <a:extLst>
              <a:ext uri="{FF2B5EF4-FFF2-40B4-BE49-F238E27FC236}">
                <a16:creationId xmlns:a16="http://schemas.microsoft.com/office/drawing/2014/main" id="{C7840134-C7EA-A070-51DF-2FC782951B01}"/>
              </a:ext>
            </a:extLst>
          </p:cNvPr>
          <p:cNvSpPr>
            <a:spLocks noChangeArrowheads="1"/>
          </p:cNvSpPr>
          <p:nvPr/>
        </p:nvSpPr>
        <p:spPr bwMode="auto">
          <a:xfrm>
            <a:off x="10741038" y="5625900"/>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cxnSp>
        <p:nvCxnSpPr>
          <p:cNvPr id="25" name="AutoShape 23">
            <a:extLst>
              <a:ext uri="{FF2B5EF4-FFF2-40B4-BE49-F238E27FC236}">
                <a16:creationId xmlns:a16="http://schemas.microsoft.com/office/drawing/2014/main" id="{120893BE-5AB9-2D58-BCB6-53804B8D1551}"/>
              </a:ext>
            </a:extLst>
          </p:cNvPr>
          <p:cNvCxnSpPr>
            <a:cxnSpLocks noChangeShapeType="1"/>
            <a:stCxn id="16" idx="2"/>
            <a:endCxn id="19" idx="0"/>
          </p:cNvCxnSpPr>
          <p:nvPr/>
        </p:nvCxnSpPr>
        <p:spPr bwMode="auto">
          <a:xfrm rot="5400000">
            <a:off x="646411" y="4215480"/>
            <a:ext cx="1660099" cy="1160739"/>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 name="AutoShape 24">
            <a:extLst>
              <a:ext uri="{FF2B5EF4-FFF2-40B4-BE49-F238E27FC236}">
                <a16:creationId xmlns:a16="http://schemas.microsoft.com/office/drawing/2014/main" id="{F4047CD7-1948-D8A0-FF0C-050E3E8CE03C}"/>
              </a:ext>
            </a:extLst>
          </p:cNvPr>
          <p:cNvCxnSpPr>
            <a:cxnSpLocks noChangeShapeType="1"/>
            <a:stCxn id="16" idx="2"/>
            <a:endCxn id="20" idx="0"/>
          </p:cNvCxnSpPr>
          <p:nvPr/>
        </p:nvCxnSpPr>
        <p:spPr bwMode="auto">
          <a:xfrm>
            <a:off x="2056829" y="3965800"/>
            <a:ext cx="0" cy="1660099"/>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7" name="AutoShape 25">
            <a:extLst>
              <a:ext uri="{FF2B5EF4-FFF2-40B4-BE49-F238E27FC236}">
                <a16:creationId xmlns:a16="http://schemas.microsoft.com/office/drawing/2014/main" id="{C1569B0B-9E9C-4100-4BC0-A7A3502C314F}"/>
              </a:ext>
            </a:extLst>
          </p:cNvPr>
          <p:cNvCxnSpPr>
            <a:cxnSpLocks noChangeShapeType="1"/>
            <a:stCxn id="16" idx="2"/>
            <a:endCxn id="21" idx="0"/>
          </p:cNvCxnSpPr>
          <p:nvPr/>
        </p:nvCxnSpPr>
        <p:spPr bwMode="auto">
          <a:xfrm rot="16200000" flipH="1">
            <a:off x="1802293" y="4220335"/>
            <a:ext cx="1660099" cy="1151027"/>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8" name="AutoShape 26">
            <a:extLst>
              <a:ext uri="{FF2B5EF4-FFF2-40B4-BE49-F238E27FC236}">
                <a16:creationId xmlns:a16="http://schemas.microsoft.com/office/drawing/2014/main" id="{4A2FBB96-AD71-250E-AB29-D0EE13972D92}"/>
              </a:ext>
            </a:extLst>
          </p:cNvPr>
          <p:cNvCxnSpPr>
            <a:cxnSpLocks noChangeShapeType="1"/>
            <a:stCxn id="17" idx="2"/>
            <a:endCxn id="22" idx="0"/>
          </p:cNvCxnSpPr>
          <p:nvPr/>
        </p:nvCxnSpPr>
        <p:spPr bwMode="auto">
          <a:xfrm rot="5400000">
            <a:off x="8735163" y="4217909"/>
            <a:ext cx="1660100" cy="1155883"/>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9" name="AutoShape 27">
            <a:extLst>
              <a:ext uri="{FF2B5EF4-FFF2-40B4-BE49-F238E27FC236}">
                <a16:creationId xmlns:a16="http://schemas.microsoft.com/office/drawing/2014/main" id="{2B8F1E56-AAE1-A3F2-1C73-C774F8552C1B}"/>
              </a:ext>
            </a:extLst>
          </p:cNvPr>
          <p:cNvCxnSpPr>
            <a:cxnSpLocks noChangeShapeType="1"/>
            <a:stCxn id="17" idx="2"/>
            <a:endCxn id="23" idx="0"/>
          </p:cNvCxnSpPr>
          <p:nvPr/>
        </p:nvCxnSpPr>
        <p:spPr bwMode="auto">
          <a:xfrm>
            <a:off x="10143154" y="3965800"/>
            <a:ext cx="0" cy="1660100"/>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0" name="AutoShape 28">
            <a:extLst>
              <a:ext uri="{FF2B5EF4-FFF2-40B4-BE49-F238E27FC236}">
                <a16:creationId xmlns:a16="http://schemas.microsoft.com/office/drawing/2014/main" id="{904DFA9E-909C-ADD9-089C-98897EF3DFDB}"/>
              </a:ext>
            </a:extLst>
          </p:cNvPr>
          <p:cNvCxnSpPr>
            <a:cxnSpLocks noChangeShapeType="1"/>
            <a:stCxn id="17" idx="2"/>
            <a:endCxn id="24" idx="0"/>
          </p:cNvCxnSpPr>
          <p:nvPr/>
        </p:nvCxnSpPr>
        <p:spPr bwMode="auto">
          <a:xfrm rot="16200000" flipH="1">
            <a:off x="9891046" y="4217908"/>
            <a:ext cx="1660100" cy="1155884"/>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1" name="Rectangle 29">
            <a:extLst>
              <a:ext uri="{FF2B5EF4-FFF2-40B4-BE49-F238E27FC236}">
                <a16:creationId xmlns:a16="http://schemas.microsoft.com/office/drawing/2014/main" id="{8A9625CB-68DA-D7C6-2414-A8ACA090FA99}"/>
              </a:ext>
            </a:extLst>
          </p:cNvPr>
          <p:cNvSpPr>
            <a:spLocks noChangeArrowheads="1"/>
          </p:cNvSpPr>
          <p:nvPr/>
        </p:nvSpPr>
        <p:spPr bwMode="auto">
          <a:xfrm>
            <a:off x="3805739" y="4549801"/>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32" name="Rectangle 30">
            <a:extLst>
              <a:ext uri="{FF2B5EF4-FFF2-40B4-BE49-F238E27FC236}">
                <a16:creationId xmlns:a16="http://schemas.microsoft.com/office/drawing/2014/main" id="{4FEE91B3-BBC9-8F55-66AF-51F52CA9D3CC}"/>
              </a:ext>
            </a:extLst>
          </p:cNvPr>
          <p:cNvSpPr>
            <a:spLocks noChangeArrowheads="1"/>
          </p:cNvSpPr>
          <p:nvPr/>
        </p:nvSpPr>
        <p:spPr bwMode="auto">
          <a:xfrm>
            <a:off x="4961622" y="4549801"/>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33" name="Rectangle 31">
            <a:extLst>
              <a:ext uri="{FF2B5EF4-FFF2-40B4-BE49-F238E27FC236}">
                <a16:creationId xmlns:a16="http://schemas.microsoft.com/office/drawing/2014/main" id="{B711797A-CD5E-9A28-D0FD-B75A09912E06}"/>
              </a:ext>
            </a:extLst>
          </p:cNvPr>
          <p:cNvSpPr>
            <a:spLocks noChangeArrowheads="1"/>
          </p:cNvSpPr>
          <p:nvPr/>
        </p:nvSpPr>
        <p:spPr bwMode="auto">
          <a:xfrm>
            <a:off x="6117505" y="4549801"/>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sp>
        <p:nvSpPr>
          <p:cNvPr id="34" name="Rectangle 32">
            <a:extLst>
              <a:ext uri="{FF2B5EF4-FFF2-40B4-BE49-F238E27FC236}">
                <a16:creationId xmlns:a16="http://schemas.microsoft.com/office/drawing/2014/main" id="{0C284539-B6F1-22F2-C099-B0C25A052DB3}"/>
              </a:ext>
            </a:extLst>
          </p:cNvPr>
          <p:cNvSpPr>
            <a:spLocks noChangeArrowheads="1"/>
          </p:cNvSpPr>
          <p:nvPr/>
        </p:nvSpPr>
        <p:spPr bwMode="auto">
          <a:xfrm>
            <a:off x="7273388" y="4549801"/>
            <a:ext cx="1116000" cy="432000"/>
          </a:xfrm>
          <a:prstGeom prst="rect">
            <a:avLst/>
          </a:prstGeom>
          <a:solidFill>
            <a:srgbClr val="E4E7E7"/>
          </a:solidFill>
          <a:ln w="6350">
            <a:noFill/>
            <a:miter lim="800000"/>
            <a:headEnd/>
            <a:tailEnd/>
          </a:ln>
          <a:effectLst/>
        </p:spPr>
        <p:txBody>
          <a:bodyPr lIns="72000" tIns="72000" rIns="72000" bIns="72000" anchor="ctr"/>
          <a:lstStyle/>
          <a:p>
            <a:pPr algn="ctr" eaLnBrk="0" hangingPunct="0"/>
            <a:r>
              <a:rPr lang="en-GB" sz="1200"/>
              <a:t>Text</a:t>
            </a:r>
            <a:endParaRPr lang="en-US" sz="1200"/>
          </a:p>
        </p:txBody>
      </p:sp>
      <p:cxnSp>
        <p:nvCxnSpPr>
          <p:cNvPr id="35" name="AutoShape 33">
            <a:extLst>
              <a:ext uri="{FF2B5EF4-FFF2-40B4-BE49-F238E27FC236}">
                <a16:creationId xmlns:a16="http://schemas.microsoft.com/office/drawing/2014/main" id="{7CA924B2-637E-4966-0121-C818EB6153C8}"/>
              </a:ext>
            </a:extLst>
          </p:cNvPr>
          <p:cNvCxnSpPr>
            <a:cxnSpLocks noChangeShapeType="1"/>
            <a:stCxn id="15" idx="2"/>
            <a:endCxn id="31" idx="0"/>
          </p:cNvCxnSpPr>
          <p:nvPr/>
        </p:nvCxnSpPr>
        <p:spPr bwMode="auto">
          <a:xfrm rot="5400000">
            <a:off x="4360710" y="3968830"/>
            <a:ext cx="584001" cy="577941"/>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6" name="AutoShape 34">
            <a:extLst>
              <a:ext uri="{FF2B5EF4-FFF2-40B4-BE49-F238E27FC236}">
                <a16:creationId xmlns:a16="http://schemas.microsoft.com/office/drawing/2014/main" id="{5C9B6BE2-568D-BBA6-FF15-26B4DA721BDE}"/>
              </a:ext>
            </a:extLst>
          </p:cNvPr>
          <p:cNvCxnSpPr>
            <a:cxnSpLocks noChangeShapeType="1"/>
            <a:stCxn id="15" idx="2"/>
            <a:endCxn id="32" idx="0"/>
          </p:cNvCxnSpPr>
          <p:nvPr/>
        </p:nvCxnSpPr>
        <p:spPr bwMode="auto">
          <a:xfrm rot="16200000" flipH="1">
            <a:off x="4938651" y="3968829"/>
            <a:ext cx="584001" cy="577942"/>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7" name="AutoShape 35">
            <a:extLst>
              <a:ext uri="{FF2B5EF4-FFF2-40B4-BE49-F238E27FC236}">
                <a16:creationId xmlns:a16="http://schemas.microsoft.com/office/drawing/2014/main" id="{3CEA2B34-8E7F-0C43-7774-33D7C1D387EC}"/>
              </a:ext>
            </a:extLst>
          </p:cNvPr>
          <p:cNvCxnSpPr>
            <a:cxnSpLocks noChangeShapeType="1"/>
            <a:stCxn id="18" idx="2"/>
            <a:endCxn id="33" idx="0"/>
          </p:cNvCxnSpPr>
          <p:nvPr/>
        </p:nvCxnSpPr>
        <p:spPr bwMode="auto">
          <a:xfrm rot="5400000">
            <a:off x="6672476" y="3968829"/>
            <a:ext cx="584001" cy="577942"/>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8" name="AutoShape 36">
            <a:extLst>
              <a:ext uri="{FF2B5EF4-FFF2-40B4-BE49-F238E27FC236}">
                <a16:creationId xmlns:a16="http://schemas.microsoft.com/office/drawing/2014/main" id="{C0A75D3C-507C-EC3A-A6E4-83B67D75939C}"/>
              </a:ext>
            </a:extLst>
          </p:cNvPr>
          <p:cNvCxnSpPr>
            <a:cxnSpLocks noChangeShapeType="1"/>
            <a:stCxn id="18" idx="2"/>
            <a:endCxn id="34" idx="0"/>
          </p:cNvCxnSpPr>
          <p:nvPr/>
        </p:nvCxnSpPr>
        <p:spPr bwMode="auto">
          <a:xfrm rot="16200000" flipH="1">
            <a:off x="7250417" y="3968829"/>
            <a:ext cx="584001" cy="577941"/>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691394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9A7CFF-3F6C-71BD-9ACB-F77B5900EEE1}"/>
              </a:ext>
            </a:extLst>
          </p:cNvPr>
          <p:cNvSpPr>
            <a:spLocks noGrp="1"/>
          </p:cNvSpPr>
          <p:nvPr>
            <p:ph type="title"/>
          </p:nvPr>
        </p:nvSpPr>
        <p:spPr/>
        <p:txBody>
          <a:bodyPr/>
          <a:lstStyle/>
          <a:p>
            <a:r>
              <a:rPr lang="en-BR"/>
              <a:t>Project Mana</a:t>
            </a:r>
            <a:r>
              <a:rPr lang="pt-BR" err="1"/>
              <a:t>ge</a:t>
            </a:r>
            <a:r>
              <a:rPr lang="en-BR"/>
              <a:t>ment</a:t>
            </a:r>
          </a:p>
        </p:txBody>
      </p:sp>
      <p:sp>
        <p:nvSpPr>
          <p:cNvPr id="3" name="Footer Placeholder 2">
            <a:extLst>
              <a:ext uri="{FF2B5EF4-FFF2-40B4-BE49-F238E27FC236}">
                <a16:creationId xmlns:a16="http://schemas.microsoft.com/office/drawing/2014/main" id="{43421151-9997-EA3F-1CE0-22F5F681EB0A}"/>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DF218866-F26F-8E4D-E69F-C8EBC2000A96}"/>
              </a:ext>
            </a:extLst>
          </p:cNvPr>
          <p:cNvSpPr>
            <a:spLocks noGrp="1"/>
          </p:cNvSpPr>
          <p:nvPr>
            <p:ph type="sldNum" sz="quarter" idx="12"/>
          </p:nvPr>
        </p:nvSpPr>
        <p:spPr/>
        <p:txBody>
          <a:bodyPr/>
          <a:lstStyle/>
          <a:p>
            <a:fld id="{A8DDC45B-7265-3747-B738-ED29642119D9}" type="slidenum">
              <a:rPr lang="en-BR" smtClean="0"/>
              <a:pPr/>
              <a:t>41</a:t>
            </a:fld>
            <a:endParaRPr lang="en-BR"/>
          </a:p>
        </p:txBody>
      </p:sp>
      <p:sp>
        <p:nvSpPr>
          <p:cNvPr id="5" name="Text Placeholder 4">
            <a:extLst>
              <a:ext uri="{FF2B5EF4-FFF2-40B4-BE49-F238E27FC236}">
                <a16:creationId xmlns:a16="http://schemas.microsoft.com/office/drawing/2014/main" id="{57134E1C-E834-6F0A-986E-6BBC6F899F30}"/>
              </a:ext>
            </a:extLst>
          </p:cNvPr>
          <p:cNvSpPr>
            <a:spLocks noGrp="1"/>
          </p:cNvSpPr>
          <p:nvPr>
            <p:ph type="body" sz="quarter" idx="13"/>
          </p:nvPr>
        </p:nvSpPr>
        <p:spPr/>
        <p:txBody>
          <a:bodyPr/>
          <a:lstStyle/>
          <a:p>
            <a:r>
              <a:rPr lang="en-BR"/>
              <a:t>Organization Chart</a:t>
            </a:r>
          </a:p>
        </p:txBody>
      </p:sp>
      <p:sp>
        <p:nvSpPr>
          <p:cNvPr id="6" name="Rectangle 4">
            <a:extLst>
              <a:ext uri="{FF2B5EF4-FFF2-40B4-BE49-F238E27FC236}">
                <a16:creationId xmlns:a16="http://schemas.microsoft.com/office/drawing/2014/main" id="{93D8082E-6848-6526-7D17-EF4985167659}"/>
              </a:ext>
            </a:extLst>
          </p:cNvPr>
          <p:cNvSpPr>
            <a:spLocks noChangeArrowheads="1"/>
          </p:cNvSpPr>
          <p:nvPr/>
        </p:nvSpPr>
        <p:spPr bwMode="auto">
          <a:xfrm>
            <a:off x="5209148" y="1654644"/>
            <a:ext cx="1828311" cy="488764"/>
          </a:xfrm>
          <a:prstGeom prst="rect">
            <a:avLst/>
          </a:prstGeom>
          <a:solidFill>
            <a:srgbClr val="C00000"/>
          </a:solidFill>
          <a:ln w="6350">
            <a:noFill/>
            <a:miter lim="800000"/>
            <a:headEnd type="none" w="sm" len="sm"/>
            <a:tailEnd type="none" w="sm" len="sm"/>
          </a:ln>
          <a:effectLst/>
        </p:spPr>
        <p:txBody>
          <a:bodyPr wrap="none" lIns="72000" tIns="72000" rIns="72000" bIns="72000" anchor="ctr"/>
          <a:lstStyle/>
          <a:p>
            <a:pPr algn="l" eaLnBrk="0" hangingPunct="0"/>
            <a:r>
              <a:rPr lang="en-US" sz="1200" b="1">
                <a:solidFill>
                  <a:schemeClr val="bg1"/>
                </a:solidFill>
              </a:rPr>
              <a:t>Name</a:t>
            </a:r>
          </a:p>
          <a:p>
            <a:pPr algn="l" eaLnBrk="0" hangingPunct="0"/>
            <a:r>
              <a:rPr lang="en-US" sz="1200">
                <a:solidFill>
                  <a:schemeClr val="bg1"/>
                </a:solidFill>
              </a:rPr>
              <a:t>Senior Program Manager</a:t>
            </a:r>
          </a:p>
        </p:txBody>
      </p:sp>
      <p:cxnSp>
        <p:nvCxnSpPr>
          <p:cNvPr id="7" name="AutoShape 5">
            <a:extLst>
              <a:ext uri="{FF2B5EF4-FFF2-40B4-BE49-F238E27FC236}">
                <a16:creationId xmlns:a16="http://schemas.microsoft.com/office/drawing/2014/main" id="{3EB1148E-8457-0DE7-7176-E7E64EF65DF7}"/>
              </a:ext>
            </a:extLst>
          </p:cNvPr>
          <p:cNvCxnSpPr>
            <a:cxnSpLocks noChangeShapeType="1"/>
            <a:stCxn id="12" idx="0"/>
            <a:endCxn id="6" idx="2"/>
          </p:cNvCxnSpPr>
          <p:nvPr/>
        </p:nvCxnSpPr>
        <p:spPr bwMode="auto">
          <a:xfrm rot="5400000" flipH="1" flipV="1">
            <a:off x="3575441" y="179604"/>
            <a:ext cx="584059" cy="4511668"/>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 name="AutoShape 6">
            <a:extLst>
              <a:ext uri="{FF2B5EF4-FFF2-40B4-BE49-F238E27FC236}">
                <a16:creationId xmlns:a16="http://schemas.microsoft.com/office/drawing/2014/main" id="{BF33E936-598E-28A9-3C96-17C538496C7C}"/>
              </a:ext>
            </a:extLst>
          </p:cNvPr>
          <p:cNvCxnSpPr>
            <a:cxnSpLocks noChangeShapeType="1"/>
            <a:stCxn id="21" idx="0"/>
            <a:endCxn id="6" idx="2"/>
          </p:cNvCxnSpPr>
          <p:nvPr/>
        </p:nvCxnSpPr>
        <p:spPr bwMode="auto">
          <a:xfrm rot="5400000" flipH="1" flipV="1">
            <a:off x="4702594" y="1306757"/>
            <a:ext cx="584059" cy="2257362"/>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 name="AutoShape 7">
            <a:extLst>
              <a:ext uri="{FF2B5EF4-FFF2-40B4-BE49-F238E27FC236}">
                <a16:creationId xmlns:a16="http://schemas.microsoft.com/office/drawing/2014/main" id="{4C8E88DB-FD6B-5C1C-E1C7-F9673BB8B4A3}"/>
              </a:ext>
            </a:extLst>
          </p:cNvPr>
          <p:cNvCxnSpPr>
            <a:cxnSpLocks noChangeShapeType="1"/>
            <a:stCxn id="6" idx="2"/>
            <a:endCxn id="30" idx="0"/>
          </p:cNvCxnSpPr>
          <p:nvPr/>
        </p:nvCxnSpPr>
        <p:spPr bwMode="auto">
          <a:xfrm>
            <a:off x="6123304" y="2143408"/>
            <a:ext cx="0" cy="584059"/>
          </a:xfrm>
          <a:prstGeom prst="straightConnector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 name="AutoShape 8">
            <a:extLst>
              <a:ext uri="{FF2B5EF4-FFF2-40B4-BE49-F238E27FC236}">
                <a16:creationId xmlns:a16="http://schemas.microsoft.com/office/drawing/2014/main" id="{5472C2E7-BD22-B48B-C811-2C19930EB5AF}"/>
              </a:ext>
            </a:extLst>
          </p:cNvPr>
          <p:cNvCxnSpPr>
            <a:cxnSpLocks noChangeShapeType="1"/>
            <a:stCxn id="6" idx="2"/>
            <a:endCxn id="39" idx="0"/>
          </p:cNvCxnSpPr>
          <p:nvPr/>
        </p:nvCxnSpPr>
        <p:spPr bwMode="auto">
          <a:xfrm rot="16200000" flipH="1">
            <a:off x="6959447" y="1307265"/>
            <a:ext cx="584059" cy="2256344"/>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1" name="AutoShape 9">
            <a:extLst>
              <a:ext uri="{FF2B5EF4-FFF2-40B4-BE49-F238E27FC236}">
                <a16:creationId xmlns:a16="http://schemas.microsoft.com/office/drawing/2014/main" id="{8C369CD0-CBD0-7F2F-A030-07A579FCE350}"/>
              </a:ext>
            </a:extLst>
          </p:cNvPr>
          <p:cNvCxnSpPr>
            <a:cxnSpLocks noChangeShapeType="1"/>
            <a:stCxn id="6" idx="2"/>
            <a:endCxn id="48" idx="0"/>
          </p:cNvCxnSpPr>
          <p:nvPr/>
        </p:nvCxnSpPr>
        <p:spPr bwMode="auto">
          <a:xfrm rot="16200000" flipH="1">
            <a:off x="8087110" y="179602"/>
            <a:ext cx="584059" cy="4511670"/>
          </a:xfrm>
          <a:prstGeom prst="bentConnector3">
            <a:avLst>
              <a:gd name="adj1" fmla="val 5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2" name="Rectangle 11">
            <a:extLst>
              <a:ext uri="{FF2B5EF4-FFF2-40B4-BE49-F238E27FC236}">
                <a16:creationId xmlns:a16="http://schemas.microsoft.com/office/drawing/2014/main" id="{21D5BBE6-D104-E8ED-97E5-B73F6B462BE2}"/>
              </a:ext>
            </a:extLst>
          </p:cNvPr>
          <p:cNvSpPr>
            <a:spLocks noChangeArrowheads="1"/>
          </p:cNvSpPr>
          <p:nvPr/>
        </p:nvSpPr>
        <p:spPr bwMode="auto">
          <a:xfrm>
            <a:off x="698500" y="2727467"/>
            <a:ext cx="1826272" cy="484152"/>
          </a:xfrm>
          <a:prstGeom prst="rect">
            <a:avLst/>
          </a:prstGeom>
          <a:solidFill>
            <a:schemeClr val="tx1">
              <a:lumMod val="50000"/>
              <a:lumOff val="50000"/>
            </a:schemeClr>
          </a:solidFill>
          <a:ln w="6350">
            <a:noFill/>
            <a:miter lim="800000"/>
            <a:headEnd type="none" w="sm" len="sm"/>
            <a:tailEnd type="none" w="sm" len="sm"/>
          </a:ln>
          <a:effectLst/>
        </p:spPr>
        <p:txBody>
          <a:bodyPr wrap="none" lIns="72000" tIns="72000" rIns="72000" bIns="72000" anchor="ctr"/>
          <a:lstStyle/>
          <a:p>
            <a:pPr algn="l" eaLnBrk="0" hangingPunct="0"/>
            <a:r>
              <a:rPr lang="en-US" sz="1200" b="1">
                <a:solidFill>
                  <a:schemeClr val="bg1"/>
                </a:solidFill>
              </a:rPr>
              <a:t>Name Dep. 1</a:t>
            </a:r>
          </a:p>
          <a:p>
            <a:pPr algn="l" eaLnBrk="0" hangingPunct="0"/>
            <a:r>
              <a:rPr lang="en-US" sz="1200">
                <a:solidFill>
                  <a:schemeClr val="bg1"/>
                </a:solidFill>
              </a:rPr>
              <a:t>SVP Department 1</a:t>
            </a:r>
          </a:p>
        </p:txBody>
      </p:sp>
      <p:sp>
        <p:nvSpPr>
          <p:cNvPr id="13" name="Rectangle 12">
            <a:extLst>
              <a:ext uri="{FF2B5EF4-FFF2-40B4-BE49-F238E27FC236}">
                <a16:creationId xmlns:a16="http://schemas.microsoft.com/office/drawing/2014/main" id="{F0BEB86A-6BC5-79CE-027D-7A4B2F3DD451}"/>
              </a:ext>
            </a:extLst>
          </p:cNvPr>
          <p:cNvSpPr>
            <a:spLocks noChangeArrowheads="1"/>
          </p:cNvSpPr>
          <p:nvPr/>
        </p:nvSpPr>
        <p:spPr bwMode="auto">
          <a:xfrm>
            <a:off x="973664" y="3549829"/>
            <a:ext cx="1551108" cy="485690"/>
          </a:xfrm>
          <a:prstGeom prst="rect">
            <a:avLst/>
          </a:prstGeom>
          <a:solidFill>
            <a:schemeClr val="tx2">
              <a:lumMod val="20000"/>
              <a:lumOff val="80000"/>
            </a:schemeClr>
          </a:solidFill>
          <a:ln w="6350">
            <a:noFill/>
            <a:miter lim="800000"/>
            <a:headEnd type="none" w="sm" len="sm"/>
            <a:tailEnd type="none" w="sm" len="sm"/>
          </a:ln>
          <a:effectLst/>
        </p:spPr>
        <p:txBody>
          <a:bodyPr wrap="none" lIns="72000" tIns="72000" rIns="72000" bIns="72000"/>
          <a:lstStyle/>
          <a:p>
            <a:pPr algn="l" eaLnBrk="0" hangingPunct="0"/>
            <a:r>
              <a:rPr lang="en-US" sz="1200" b="1"/>
              <a:t>Name</a:t>
            </a:r>
            <a:br>
              <a:rPr lang="en-US" sz="1200" b="1"/>
            </a:br>
            <a:r>
              <a:rPr lang="en-US" sz="1200"/>
              <a:t>Title</a:t>
            </a:r>
          </a:p>
        </p:txBody>
      </p:sp>
      <p:sp>
        <p:nvSpPr>
          <p:cNvPr id="14" name="Rectangle 13">
            <a:extLst>
              <a:ext uri="{FF2B5EF4-FFF2-40B4-BE49-F238E27FC236}">
                <a16:creationId xmlns:a16="http://schemas.microsoft.com/office/drawing/2014/main" id="{CCE4452F-146C-6A46-E33E-9C607D4D6F26}"/>
              </a:ext>
            </a:extLst>
          </p:cNvPr>
          <p:cNvSpPr>
            <a:spLocks noChangeArrowheads="1"/>
          </p:cNvSpPr>
          <p:nvPr/>
        </p:nvSpPr>
        <p:spPr bwMode="auto">
          <a:xfrm>
            <a:off x="973664" y="4187681"/>
            <a:ext cx="1551108" cy="488764"/>
          </a:xfrm>
          <a:prstGeom prst="rect">
            <a:avLst/>
          </a:prstGeom>
          <a:solidFill>
            <a:schemeClr val="tx2">
              <a:lumMod val="20000"/>
              <a:lumOff val="80000"/>
            </a:schemeClr>
          </a:solidFill>
          <a:ln w="6350">
            <a:noFill/>
            <a:miter lim="800000"/>
            <a:headEnd type="none" w="sm" len="sm"/>
            <a:tailEnd type="none" w="sm" len="sm"/>
          </a:ln>
          <a:effectLst/>
        </p:spPr>
        <p:txBody>
          <a:bodyPr wrap="none" lIns="72000" tIns="72000" rIns="72000" bIns="72000"/>
          <a:lstStyle/>
          <a:p>
            <a:pPr algn="l" eaLnBrk="0" hangingPunct="0"/>
            <a:r>
              <a:rPr lang="en-US" sz="1200" b="1"/>
              <a:t>Name</a:t>
            </a:r>
            <a:br>
              <a:rPr lang="en-US" sz="1200" b="1"/>
            </a:br>
            <a:r>
              <a:rPr lang="en-US" sz="1200"/>
              <a:t>Title</a:t>
            </a:r>
          </a:p>
        </p:txBody>
      </p:sp>
      <p:sp>
        <p:nvSpPr>
          <p:cNvPr id="15" name="Rectangle 14">
            <a:extLst>
              <a:ext uri="{FF2B5EF4-FFF2-40B4-BE49-F238E27FC236}">
                <a16:creationId xmlns:a16="http://schemas.microsoft.com/office/drawing/2014/main" id="{F733A22B-88B7-3B47-1A2E-C4CFCAB32E1A}"/>
              </a:ext>
            </a:extLst>
          </p:cNvPr>
          <p:cNvSpPr>
            <a:spLocks noChangeArrowheads="1"/>
          </p:cNvSpPr>
          <p:nvPr/>
        </p:nvSpPr>
        <p:spPr bwMode="auto">
          <a:xfrm>
            <a:off x="973664" y="4862422"/>
            <a:ext cx="1551108" cy="487227"/>
          </a:xfrm>
          <a:prstGeom prst="rect">
            <a:avLst/>
          </a:prstGeom>
          <a:solidFill>
            <a:schemeClr val="tx2">
              <a:lumMod val="20000"/>
              <a:lumOff val="80000"/>
            </a:schemeClr>
          </a:solidFill>
          <a:ln w="6350">
            <a:noFill/>
            <a:miter lim="800000"/>
            <a:headEnd type="none" w="sm" len="sm"/>
            <a:tailEnd type="none" w="sm" len="sm"/>
          </a:ln>
          <a:effectLst/>
        </p:spPr>
        <p:txBody>
          <a:bodyPr wrap="none" lIns="72000" tIns="72000" rIns="72000" bIns="72000"/>
          <a:lstStyle/>
          <a:p>
            <a:pPr algn="l" eaLnBrk="0" hangingPunct="0"/>
            <a:r>
              <a:rPr lang="en-US" sz="1200" b="1"/>
              <a:t>Name</a:t>
            </a:r>
            <a:br>
              <a:rPr lang="en-US" sz="1200" b="1"/>
            </a:br>
            <a:r>
              <a:rPr lang="en-US" sz="1200"/>
              <a:t>Title</a:t>
            </a:r>
          </a:p>
        </p:txBody>
      </p:sp>
      <p:sp>
        <p:nvSpPr>
          <p:cNvPr id="16" name="Rectangle 15">
            <a:extLst>
              <a:ext uri="{FF2B5EF4-FFF2-40B4-BE49-F238E27FC236}">
                <a16:creationId xmlns:a16="http://schemas.microsoft.com/office/drawing/2014/main" id="{7655D682-C06C-3303-6C61-48568084C58D}"/>
              </a:ext>
            </a:extLst>
          </p:cNvPr>
          <p:cNvSpPr>
            <a:spLocks noChangeArrowheads="1"/>
          </p:cNvSpPr>
          <p:nvPr/>
        </p:nvSpPr>
        <p:spPr bwMode="auto">
          <a:xfrm>
            <a:off x="973664" y="5535623"/>
            <a:ext cx="1551108" cy="488764"/>
          </a:xfrm>
          <a:prstGeom prst="rect">
            <a:avLst/>
          </a:prstGeom>
          <a:solidFill>
            <a:schemeClr val="tx2">
              <a:lumMod val="20000"/>
              <a:lumOff val="80000"/>
            </a:schemeClr>
          </a:solidFill>
          <a:ln w="6350">
            <a:noFill/>
            <a:miter lim="800000"/>
            <a:headEnd type="none" w="sm" len="sm"/>
            <a:tailEnd type="none" w="sm" len="sm"/>
          </a:ln>
          <a:effectLst/>
        </p:spPr>
        <p:txBody>
          <a:bodyPr wrap="none" lIns="72000" tIns="72000" rIns="72000" bIns="72000"/>
          <a:lstStyle/>
          <a:p>
            <a:pPr algn="l" eaLnBrk="0" hangingPunct="0"/>
            <a:r>
              <a:rPr lang="en-US" sz="1200" b="1"/>
              <a:t>Name</a:t>
            </a:r>
            <a:br>
              <a:rPr lang="en-US" sz="1200" b="1"/>
            </a:br>
            <a:r>
              <a:rPr lang="en-US" sz="1200"/>
              <a:t>Title</a:t>
            </a:r>
          </a:p>
        </p:txBody>
      </p:sp>
      <p:cxnSp>
        <p:nvCxnSpPr>
          <p:cNvPr id="17" name="AutoShape 16">
            <a:extLst>
              <a:ext uri="{FF2B5EF4-FFF2-40B4-BE49-F238E27FC236}">
                <a16:creationId xmlns:a16="http://schemas.microsoft.com/office/drawing/2014/main" id="{8CBD5AF1-2F81-6119-57B5-53138D16148D}"/>
              </a:ext>
            </a:extLst>
          </p:cNvPr>
          <p:cNvCxnSpPr>
            <a:cxnSpLocks noChangeShapeType="1"/>
            <a:stCxn id="12" idx="2"/>
            <a:endCxn id="13" idx="1"/>
          </p:cNvCxnSpPr>
          <p:nvPr/>
        </p:nvCxnSpPr>
        <p:spPr bwMode="auto">
          <a:xfrm rot="5400000">
            <a:off x="1002123" y="3183160"/>
            <a:ext cx="581055" cy="637972"/>
          </a:xfrm>
          <a:prstGeom prst="bentConnector4">
            <a:avLst>
              <a:gd name="adj1" fmla="val 29103"/>
              <a:gd name="adj2" fmla="val 151957"/>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 name="AutoShape 17">
            <a:extLst>
              <a:ext uri="{FF2B5EF4-FFF2-40B4-BE49-F238E27FC236}">
                <a16:creationId xmlns:a16="http://schemas.microsoft.com/office/drawing/2014/main" id="{7BDA0834-5E22-C91B-DF66-B598DCD4861B}"/>
              </a:ext>
            </a:extLst>
          </p:cNvPr>
          <p:cNvCxnSpPr>
            <a:cxnSpLocks noChangeShapeType="1"/>
            <a:stCxn id="13" idx="1"/>
            <a:endCxn id="14" idx="1"/>
          </p:cNvCxnSpPr>
          <p:nvPr/>
        </p:nvCxnSpPr>
        <p:spPr bwMode="auto">
          <a:xfrm rot="10800000" flipH="1" flipV="1">
            <a:off x="973663" y="3792675"/>
            <a:ext cx="4077" cy="639389"/>
          </a:xfrm>
          <a:prstGeom prst="bentConnector3">
            <a:avLst>
              <a:gd name="adj1" fmla="val -80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AutoShape 18">
            <a:extLst>
              <a:ext uri="{FF2B5EF4-FFF2-40B4-BE49-F238E27FC236}">
                <a16:creationId xmlns:a16="http://schemas.microsoft.com/office/drawing/2014/main" id="{C6E97914-00B0-62A0-4C0D-1654FD355B3C}"/>
              </a:ext>
            </a:extLst>
          </p:cNvPr>
          <p:cNvCxnSpPr>
            <a:cxnSpLocks noChangeShapeType="1"/>
            <a:stCxn id="14" idx="1"/>
            <a:endCxn id="15" idx="1"/>
          </p:cNvCxnSpPr>
          <p:nvPr/>
        </p:nvCxnSpPr>
        <p:spPr bwMode="auto">
          <a:xfrm rot="10800000" flipH="1" flipV="1">
            <a:off x="973663" y="4432064"/>
            <a:ext cx="4077" cy="673203"/>
          </a:xfrm>
          <a:prstGeom prst="bentConnector3">
            <a:avLst>
              <a:gd name="adj1" fmla="val -80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AutoShape 19">
            <a:extLst>
              <a:ext uri="{FF2B5EF4-FFF2-40B4-BE49-F238E27FC236}">
                <a16:creationId xmlns:a16="http://schemas.microsoft.com/office/drawing/2014/main" id="{973FCB98-07E9-C78B-89A8-FF5EEA12A8AB}"/>
              </a:ext>
            </a:extLst>
          </p:cNvPr>
          <p:cNvCxnSpPr>
            <a:cxnSpLocks noChangeShapeType="1"/>
            <a:stCxn id="15" idx="1"/>
            <a:endCxn id="16" idx="1"/>
          </p:cNvCxnSpPr>
          <p:nvPr/>
        </p:nvCxnSpPr>
        <p:spPr bwMode="auto">
          <a:xfrm rot="10800000" flipH="1" flipV="1">
            <a:off x="973663" y="5105265"/>
            <a:ext cx="4077" cy="674740"/>
          </a:xfrm>
          <a:prstGeom prst="bentConnector3">
            <a:avLst>
              <a:gd name="adj1" fmla="val -80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1" name="Rectangle 21">
            <a:extLst>
              <a:ext uri="{FF2B5EF4-FFF2-40B4-BE49-F238E27FC236}">
                <a16:creationId xmlns:a16="http://schemas.microsoft.com/office/drawing/2014/main" id="{E4B5A781-CF4D-F3C8-B5AB-0236CA6191A1}"/>
              </a:ext>
            </a:extLst>
          </p:cNvPr>
          <p:cNvSpPr>
            <a:spLocks noChangeArrowheads="1"/>
          </p:cNvSpPr>
          <p:nvPr/>
        </p:nvSpPr>
        <p:spPr bwMode="auto">
          <a:xfrm>
            <a:off x="2952806" y="2727467"/>
            <a:ext cx="1826272" cy="484152"/>
          </a:xfrm>
          <a:prstGeom prst="rect">
            <a:avLst/>
          </a:prstGeom>
          <a:solidFill>
            <a:schemeClr val="tx1">
              <a:lumMod val="50000"/>
              <a:lumOff val="50000"/>
            </a:schemeClr>
          </a:solidFill>
          <a:ln w="6350">
            <a:noFill/>
            <a:miter lim="800000"/>
            <a:headEnd type="none" w="sm" len="sm"/>
            <a:tailEnd type="none" w="sm" len="sm"/>
          </a:ln>
          <a:effectLst/>
        </p:spPr>
        <p:txBody>
          <a:bodyPr wrap="none" lIns="72000" tIns="72000" rIns="72000" bIns="72000" anchor="ctr"/>
          <a:lstStyle/>
          <a:p>
            <a:pPr algn="l" eaLnBrk="0" hangingPunct="0"/>
            <a:r>
              <a:rPr lang="en-US" sz="1200" b="1">
                <a:solidFill>
                  <a:schemeClr val="bg1"/>
                </a:solidFill>
              </a:rPr>
              <a:t>Name Dep. 2</a:t>
            </a:r>
          </a:p>
          <a:p>
            <a:pPr algn="l" eaLnBrk="0" hangingPunct="0"/>
            <a:r>
              <a:rPr lang="en-US" sz="1200">
                <a:solidFill>
                  <a:schemeClr val="bg1"/>
                </a:solidFill>
              </a:rPr>
              <a:t>SVP Department 2</a:t>
            </a:r>
          </a:p>
        </p:txBody>
      </p:sp>
      <p:sp>
        <p:nvSpPr>
          <p:cNvPr id="22" name="Rectangle 22">
            <a:extLst>
              <a:ext uri="{FF2B5EF4-FFF2-40B4-BE49-F238E27FC236}">
                <a16:creationId xmlns:a16="http://schemas.microsoft.com/office/drawing/2014/main" id="{302166F8-EC06-9604-47ED-59B5BD038F4E}"/>
              </a:ext>
            </a:extLst>
          </p:cNvPr>
          <p:cNvSpPr>
            <a:spLocks noChangeArrowheads="1"/>
          </p:cNvSpPr>
          <p:nvPr/>
        </p:nvSpPr>
        <p:spPr bwMode="auto">
          <a:xfrm>
            <a:off x="3230007" y="3549829"/>
            <a:ext cx="1549070" cy="485690"/>
          </a:xfrm>
          <a:prstGeom prst="rect">
            <a:avLst/>
          </a:prstGeom>
          <a:solidFill>
            <a:schemeClr val="tx2">
              <a:lumMod val="20000"/>
              <a:lumOff val="80000"/>
            </a:schemeClr>
          </a:solidFill>
          <a:ln w="6350">
            <a:noFill/>
            <a:miter lim="800000"/>
            <a:headEnd type="none" w="sm" len="sm"/>
            <a:tailEnd type="none" w="sm" len="sm"/>
          </a:ln>
          <a:effectLst/>
        </p:spPr>
        <p:txBody>
          <a:bodyPr wrap="none" lIns="72000" tIns="72000" rIns="72000" bIns="72000"/>
          <a:lstStyle/>
          <a:p>
            <a:pPr algn="l" eaLnBrk="0" hangingPunct="0"/>
            <a:r>
              <a:rPr lang="en-US" sz="1200" b="1"/>
              <a:t>Name</a:t>
            </a:r>
            <a:br>
              <a:rPr lang="en-US" sz="1200" b="1"/>
            </a:br>
            <a:r>
              <a:rPr lang="en-US" sz="1200"/>
              <a:t>Title</a:t>
            </a:r>
          </a:p>
        </p:txBody>
      </p:sp>
      <p:sp>
        <p:nvSpPr>
          <p:cNvPr id="23" name="Rectangle 23">
            <a:extLst>
              <a:ext uri="{FF2B5EF4-FFF2-40B4-BE49-F238E27FC236}">
                <a16:creationId xmlns:a16="http://schemas.microsoft.com/office/drawing/2014/main" id="{44E69F10-C82C-4074-258E-C8686EC53A19}"/>
              </a:ext>
            </a:extLst>
          </p:cNvPr>
          <p:cNvSpPr>
            <a:spLocks noChangeArrowheads="1"/>
          </p:cNvSpPr>
          <p:nvPr/>
        </p:nvSpPr>
        <p:spPr bwMode="auto">
          <a:xfrm>
            <a:off x="3230007" y="4187681"/>
            <a:ext cx="1549070" cy="488764"/>
          </a:xfrm>
          <a:prstGeom prst="rect">
            <a:avLst/>
          </a:prstGeom>
          <a:solidFill>
            <a:schemeClr val="tx2">
              <a:lumMod val="20000"/>
              <a:lumOff val="80000"/>
            </a:schemeClr>
          </a:solidFill>
          <a:ln w="6350">
            <a:noFill/>
            <a:miter lim="800000"/>
            <a:headEnd type="none" w="sm" len="sm"/>
            <a:tailEnd type="none" w="sm" len="sm"/>
          </a:ln>
          <a:effectLst/>
        </p:spPr>
        <p:txBody>
          <a:bodyPr wrap="none" lIns="72000" tIns="72000" rIns="72000" bIns="72000"/>
          <a:lstStyle/>
          <a:p>
            <a:pPr algn="l" eaLnBrk="0" hangingPunct="0"/>
            <a:r>
              <a:rPr lang="en-US" sz="1200" b="1"/>
              <a:t>Name</a:t>
            </a:r>
            <a:br>
              <a:rPr lang="en-US" sz="1200" b="1"/>
            </a:br>
            <a:r>
              <a:rPr lang="en-US" sz="1200"/>
              <a:t>Title</a:t>
            </a:r>
          </a:p>
        </p:txBody>
      </p:sp>
      <p:sp>
        <p:nvSpPr>
          <p:cNvPr id="24" name="Rectangle 24">
            <a:extLst>
              <a:ext uri="{FF2B5EF4-FFF2-40B4-BE49-F238E27FC236}">
                <a16:creationId xmlns:a16="http://schemas.microsoft.com/office/drawing/2014/main" id="{0DD0B245-9BEA-AD38-826D-1FA93DF49C20}"/>
              </a:ext>
            </a:extLst>
          </p:cNvPr>
          <p:cNvSpPr>
            <a:spLocks noChangeArrowheads="1"/>
          </p:cNvSpPr>
          <p:nvPr/>
        </p:nvSpPr>
        <p:spPr bwMode="auto">
          <a:xfrm>
            <a:off x="3230007" y="4862422"/>
            <a:ext cx="1549070" cy="487227"/>
          </a:xfrm>
          <a:prstGeom prst="rect">
            <a:avLst/>
          </a:prstGeom>
          <a:solidFill>
            <a:schemeClr val="tx2">
              <a:lumMod val="20000"/>
              <a:lumOff val="80000"/>
            </a:schemeClr>
          </a:solidFill>
          <a:ln w="6350">
            <a:noFill/>
            <a:miter lim="800000"/>
            <a:headEnd type="none" w="sm" len="sm"/>
            <a:tailEnd type="none" w="sm" len="sm"/>
          </a:ln>
          <a:effectLst/>
        </p:spPr>
        <p:txBody>
          <a:bodyPr wrap="none" lIns="72000" tIns="72000" rIns="72000" bIns="72000"/>
          <a:lstStyle/>
          <a:p>
            <a:pPr algn="l" eaLnBrk="0" hangingPunct="0"/>
            <a:r>
              <a:rPr lang="en-US" sz="1200" b="1"/>
              <a:t>Name</a:t>
            </a:r>
            <a:br>
              <a:rPr lang="en-US" sz="1200" b="1"/>
            </a:br>
            <a:r>
              <a:rPr lang="en-US" sz="1200"/>
              <a:t>Title</a:t>
            </a:r>
          </a:p>
        </p:txBody>
      </p:sp>
      <p:sp>
        <p:nvSpPr>
          <p:cNvPr id="25" name="Rectangle 25">
            <a:extLst>
              <a:ext uri="{FF2B5EF4-FFF2-40B4-BE49-F238E27FC236}">
                <a16:creationId xmlns:a16="http://schemas.microsoft.com/office/drawing/2014/main" id="{7363DD8F-CC71-A8B1-0745-F3C6C2B0F94D}"/>
              </a:ext>
            </a:extLst>
          </p:cNvPr>
          <p:cNvSpPr>
            <a:spLocks noChangeArrowheads="1"/>
          </p:cNvSpPr>
          <p:nvPr/>
        </p:nvSpPr>
        <p:spPr bwMode="auto">
          <a:xfrm>
            <a:off x="3230007" y="5535623"/>
            <a:ext cx="1549070" cy="488764"/>
          </a:xfrm>
          <a:prstGeom prst="rect">
            <a:avLst/>
          </a:prstGeom>
          <a:solidFill>
            <a:schemeClr val="tx2">
              <a:lumMod val="20000"/>
              <a:lumOff val="80000"/>
            </a:schemeClr>
          </a:solidFill>
          <a:ln w="6350">
            <a:noFill/>
            <a:miter lim="800000"/>
            <a:headEnd type="none" w="sm" len="sm"/>
            <a:tailEnd type="none" w="sm" len="sm"/>
          </a:ln>
          <a:effectLst/>
        </p:spPr>
        <p:txBody>
          <a:bodyPr wrap="none" lIns="72000" tIns="72000" rIns="72000" bIns="72000"/>
          <a:lstStyle/>
          <a:p>
            <a:pPr algn="l" eaLnBrk="0" hangingPunct="0"/>
            <a:r>
              <a:rPr lang="en-US" sz="1200" b="1"/>
              <a:t>Name</a:t>
            </a:r>
            <a:br>
              <a:rPr lang="en-US" sz="1200" b="1"/>
            </a:br>
            <a:r>
              <a:rPr lang="en-US" sz="1200"/>
              <a:t>Title</a:t>
            </a:r>
          </a:p>
        </p:txBody>
      </p:sp>
      <p:cxnSp>
        <p:nvCxnSpPr>
          <p:cNvPr id="26" name="AutoShape 26">
            <a:extLst>
              <a:ext uri="{FF2B5EF4-FFF2-40B4-BE49-F238E27FC236}">
                <a16:creationId xmlns:a16="http://schemas.microsoft.com/office/drawing/2014/main" id="{F36BDE21-00A4-A41F-646E-A1366BC5B75A}"/>
              </a:ext>
            </a:extLst>
          </p:cNvPr>
          <p:cNvCxnSpPr>
            <a:cxnSpLocks noChangeShapeType="1"/>
            <a:stCxn id="22" idx="1"/>
            <a:endCxn id="23" idx="1"/>
          </p:cNvCxnSpPr>
          <p:nvPr/>
        </p:nvCxnSpPr>
        <p:spPr bwMode="auto">
          <a:xfrm rot="10800000" flipH="1" flipV="1">
            <a:off x="3230008" y="3792675"/>
            <a:ext cx="2038" cy="639389"/>
          </a:xfrm>
          <a:prstGeom prst="bentConnector3">
            <a:avLst>
              <a:gd name="adj1" fmla="val -144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7" name="AutoShape 27">
            <a:extLst>
              <a:ext uri="{FF2B5EF4-FFF2-40B4-BE49-F238E27FC236}">
                <a16:creationId xmlns:a16="http://schemas.microsoft.com/office/drawing/2014/main" id="{50F12F5D-7674-41A1-82C8-1621705280E5}"/>
              </a:ext>
            </a:extLst>
          </p:cNvPr>
          <p:cNvCxnSpPr>
            <a:cxnSpLocks noChangeShapeType="1"/>
            <a:stCxn id="23" idx="1"/>
            <a:endCxn id="24" idx="1"/>
          </p:cNvCxnSpPr>
          <p:nvPr/>
        </p:nvCxnSpPr>
        <p:spPr bwMode="auto">
          <a:xfrm rot="10800000" flipH="1" flipV="1">
            <a:off x="3230008" y="4432064"/>
            <a:ext cx="2038" cy="673203"/>
          </a:xfrm>
          <a:prstGeom prst="bentConnector3">
            <a:avLst>
              <a:gd name="adj1" fmla="val -144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8" name="AutoShape 28">
            <a:extLst>
              <a:ext uri="{FF2B5EF4-FFF2-40B4-BE49-F238E27FC236}">
                <a16:creationId xmlns:a16="http://schemas.microsoft.com/office/drawing/2014/main" id="{7C05D32D-95D0-B8A7-87E1-51C71D973145}"/>
              </a:ext>
            </a:extLst>
          </p:cNvPr>
          <p:cNvCxnSpPr>
            <a:cxnSpLocks noChangeShapeType="1"/>
            <a:stCxn id="24" idx="1"/>
            <a:endCxn id="25" idx="1"/>
          </p:cNvCxnSpPr>
          <p:nvPr/>
        </p:nvCxnSpPr>
        <p:spPr bwMode="auto">
          <a:xfrm rot="10800000" flipH="1" flipV="1">
            <a:off x="3230008" y="5105265"/>
            <a:ext cx="2038" cy="674740"/>
          </a:xfrm>
          <a:prstGeom prst="bentConnector3">
            <a:avLst>
              <a:gd name="adj1" fmla="val -144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9" name="AutoShape 29">
            <a:extLst>
              <a:ext uri="{FF2B5EF4-FFF2-40B4-BE49-F238E27FC236}">
                <a16:creationId xmlns:a16="http://schemas.microsoft.com/office/drawing/2014/main" id="{FA6F4DE5-6ADE-FE67-5F9F-FD7AE0E21623}"/>
              </a:ext>
            </a:extLst>
          </p:cNvPr>
          <p:cNvCxnSpPr>
            <a:cxnSpLocks noChangeShapeType="1"/>
            <a:stCxn id="21" idx="2"/>
            <a:endCxn id="22" idx="1"/>
          </p:cNvCxnSpPr>
          <p:nvPr/>
        </p:nvCxnSpPr>
        <p:spPr bwMode="auto">
          <a:xfrm rot="5400000">
            <a:off x="3257448" y="3184179"/>
            <a:ext cx="581055" cy="635935"/>
          </a:xfrm>
          <a:prstGeom prst="bentConnector4">
            <a:avLst>
              <a:gd name="adj1" fmla="val 29103"/>
              <a:gd name="adj2" fmla="val 146731"/>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0" name="Rectangle 31">
            <a:extLst>
              <a:ext uri="{FF2B5EF4-FFF2-40B4-BE49-F238E27FC236}">
                <a16:creationId xmlns:a16="http://schemas.microsoft.com/office/drawing/2014/main" id="{7E53D679-737F-A21E-2390-EA3027FE5780}"/>
              </a:ext>
            </a:extLst>
          </p:cNvPr>
          <p:cNvSpPr>
            <a:spLocks noChangeArrowheads="1"/>
          </p:cNvSpPr>
          <p:nvPr/>
        </p:nvSpPr>
        <p:spPr bwMode="auto">
          <a:xfrm>
            <a:off x="5209148" y="2727467"/>
            <a:ext cx="1828311" cy="484152"/>
          </a:xfrm>
          <a:prstGeom prst="rect">
            <a:avLst/>
          </a:prstGeom>
          <a:solidFill>
            <a:schemeClr val="tx1">
              <a:lumMod val="50000"/>
              <a:lumOff val="50000"/>
            </a:schemeClr>
          </a:solidFill>
          <a:ln w="6350">
            <a:noFill/>
            <a:miter lim="800000"/>
            <a:headEnd type="none" w="sm" len="sm"/>
            <a:tailEnd type="none" w="sm" len="sm"/>
          </a:ln>
          <a:effectLst/>
        </p:spPr>
        <p:txBody>
          <a:bodyPr wrap="none" lIns="72000" tIns="72000" rIns="72000" bIns="72000" anchor="ctr"/>
          <a:lstStyle/>
          <a:p>
            <a:pPr algn="l" eaLnBrk="0" hangingPunct="0"/>
            <a:r>
              <a:rPr lang="en-US" sz="1200" b="1">
                <a:solidFill>
                  <a:schemeClr val="bg1"/>
                </a:solidFill>
              </a:rPr>
              <a:t>Name Dep. 3</a:t>
            </a:r>
          </a:p>
          <a:p>
            <a:pPr algn="l" eaLnBrk="0" hangingPunct="0"/>
            <a:r>
              <a:rPr lang="en-US" sz="1200">
                <a:solidFill>
                  <a:schemeClr val="bg1"/>
                </a:solidFill>
              </a:rPr>
              <a:t>SVP Department 3</a:t>
            </a:r>
          </a:p>
        </p:txBody>
      </p:sp>
      <p:sp>
        <p:nvSpPr>
          <p:cNvPr id="31" name="Rectangle 32">
            <a:extLst>
              <a:ext uri="{FF2B5EF4-FFF2-40B4-BE49-F238E27FC236}">
                <a16:creationId xmlns:a16="http://schemas.microsoft.com/office/drawing/2014/main" id="{C58FC930-0D79-0D38-6EAC-9ED6C4862A81}"/>
              </a:ext>
            </a:extLst>
          </p:cNvPr>
          <p:cNvSpPr>
            <a:spLocks noChangeArrowheads="1"/>
          </p:cNvSpPr>
          <p:nvPr/>
        </p:nvSpPr>
        <p:spPr bwMode="auto">
          <a:xfrm>
            <a:off x="5484312" y="3549829"/>
            <a:ext cx="1553147" cy="485690"/>
          </a:xfrm>
          <a:prstGeom prst="rect">
            <a:avLst/>
          </a:prstGeom>
          <a:solidFill>
            <a:schemeClr val="tx2">
              <a:lumMod val="20000"/>
              <a:lumOff val="80000"/>
            </a:schemeClr>
          </a:solidFill>
          <a:ln w="6350">
            <a:noFill/>
            <a:miter lim="800000"/>
            <a:headEnd type="none" w="sm" len="sm"/>
            <a:tailEnd type="none" w="sm" len="sm"/>
          </a:ln>
          <a:effectLst/>
        </p:spPr>
        <p:txBody>
          <a:bodyPr wrap="none" lIns="72000" tIns="72000" rIns="72000" bIns="72000"/>
          <a:lstStyle/>
          <a:p>
            <a:pPr algn="l" eaLnBrk="0" hangingPunct="0"/>
            <a:r>
              <a:rPr lang="en-US" sz="1200" b="1"/>
              <a:t>Name</a:t>
            </a:r>
            <a:br>
              <a:rPr lang="en-US" sz="1200" b="1"/>
            </a:br>
            <a:r>
              <a:rPr lang="en-US" sz="1200"/>
              <a:t>Title</a:t>
            </a:r>
          </a:p>
        </p:txBody>
      </p:sp>
      <p:sp>
        <p:nvSpPr>
          <p:cNvPr id="32" name="Rectangle 33">
            <a:extLst>
              <a:ext uri="{FF2B5EF4-FFF2-40B4-BE49-F238E27FC236}">
                <a16:creationId xmlns:a16="http://schemas.microsoft.com/office/drawing/2014/main" id="{55B4460D-EF65-550E-4C23-590BD548A34C}"/>
              </a:ext>
            </a:extLst>
          </p:cNvPr>
          <p:cNvSpPr>
            <a:spLocks noChangeArrowheads="1"/>
          </p:cNvSpPr>
          <p:nvPr/>
        </p:nvSpPr>
        <p:spPr bwMode="auto">
          <a:xfrm>
            <a:off x="5484312" y="4187681"/>
            <a:ext cx="1553147" cy="488764"/>
          </a:xfrm>
          <a:prstGeom prst="rect">
            <a:avLst/>
          </a:prstGeom>
          <a:solidFill>
            <a:schemeClr val="tx2">
              <a:lumMod val="20000"/>
              <a:lumOff val="80000"/>
            </a:schemeClr>
          </a:solidFill>
          <a:ln w="6350">
            <a:noFill/>
            <a:miter lim="800000"/>
            <a:headEnd type="none" w="sm" len="sm"/>
            <a:tailEnd type="none" w="sm" len="sm"/>
          </a:ln>
          <a:effectLst/>
        </p:spPr>
        <p:txBody>
          <a:bodyPr wrap="none" lIns="72000" tIns="72000" rIns="72000" bIns="72000"/>
          <a:lstStyle/>
          <a:p>
            <a:pPr algn="l" eaLnBrk="0" hangingPunct="0"/>
            <a:r>
              <a:rPr lang="en-US" sz="1200" b="1"/>
              <a:t>Name</a:t>
            </a:r>
            <a:br>
              <a:rPr lang="en-US" sz="1200" b="1"/>
            </a:br>
            <a:r>
              <a:rPr lang="en-US" sz="1200"/>
              <a:t>Title</a:t>
            </a:r>
          </a:p>
        </p:txBody>
      </p:sp>
      <p:sp>
        <p:nvSpPr>
          <p:cNvPr id="33" name="Rectangle 34">
            <a:extLst>
              <a:ext uri="{FF2B5EF4-FFF2-40B4-BE49-F238E27FC236}">
                <a16:creationId xmlns:a16="http://schemas.microsoft.com/office/drawing/2014/main" id="{50E78B99-9679-764E-02B7-C4E6E231BF2D}"/>
              </a:ext>
            </a:extLst>
          </p:cNvPr>
          <p:cNvSpPr>
            <a:spLocks noChangeArrowheads="1"/>
          </p:cNvSpPr>
          <p:nvPr/>
        </p:nvSpPr>
        <p:spPr bwMode="auto">
          <a:xfrm>
            <a:off x="5484312" y="4893161"/>
            <a:ext cx="1553147" cy="487227"/>
          </a:xfrm>
          <a:prstGeom prst="rect">
            <a:avLst/>
          </a:prstGeom>
          <a:solidFill>
            <a:schemeClr val="tx2">
              <a:lumMod val="20000"/>
              <a:lumOff val="80000"/>
            </a:schemeClr>
          </a:solidFill>
          <a:ln w="6350">
            <a:noFill/>
            <a:miter lim="800000"/>
            <a:headEnd type="none" w="sm" len="sm"/>
            <a:tailEnd type="none" w="sm" len="sm"/>
          </a:ln>
          <a:effectLst/>
        </p:spPr>
        <p:txBody>
          <a:bodyPr wrap="none" lIns="72000" tIns="72000" rIns="72000" bIns="72000"/>
          <a:lstStyle/>
          <a:p>
            <a:pPr algn="l" eaLnBrk="0" hangingPunct="0"/>
            <a:r>
              <a:rPr lang="en-US" sz="1200" b="1"/>
              <a:t>Name</a:t>
            </a:r>
            <a:br>
              <a:rPr lang="en-US" sz="1200" b="1"/>
            </a:br>
            <a:r>
              <a:rPr lang="en-US" sz="1200"/>
              <a:t>Title</a:t>
            </a:r>
          </a:p>
        </p:txBody>
      </p:sp>
      <p:sp>
        <p:nvSpPr>
          <p:cNvPr id="34" name="Rectangle 35">
            <a:extLst>
              <a:ext uri="{FF2B5EF4-FFF2-40B4-BE49-F238E27FC236}">
                <a16:creationId xmlns:a16="http://schemas.microsoft.com/office/drawing/2014/main" id="{B640EB32-7049-E282-B9C0-84CF874C52F8}"/>
              </a:ext>
            </a:extLst>
          </p:cNvPr>
          <p:cNvSpPr>
            <a:spLocks noChangeArrowheads="1"/>
          </p:cNvSpPr>
          <p:nvPr/>
        </p:nvSpPr>
        <p:spPr bwMode="auto">
          <a:xfrm>
            <a:off x="5484312" y="5535623"/>
            <a:ext cx="1553147" cy="488764"/>
          </a:xfrm>
          <a:prstGeom prst="rect">
            <a:avLst/>
          </a:prstGeom>
          <a:solidFill>
            <a:schemeClr val="tx2">
              <a:lumMod val="20000"/>
              <a:lumOff val="80000"/>
            </a:schemeClr>
          </a:solidFill>
          <a:ln w="6350">
            <a:noFill/>
            <a:miter lim="800000"/>
            <a:headEnd type="none" w="sm" len="sm"/>
            <a:tailEnd type="none" w="sm" len="sm"/>
          </a:ln>
          <a:effectLst/>
        </p:spPr>
        <p:txBody>
          <a:bodyPr wrap="none" lIns="72000" tIns="72000" rIns="72000" bIns="72000"/>
          <a:lstStyle/>
          <a:p>
            <a:pPr algn="l" eaLnBrk="0" hangingPunct="0"/>
            <a:r>
              <a:rPr lang="en-US" sz="1200" b="1"/>
              <a:t>Name</a:t>
            </a:r>
            <a:br>
              <a:rPr lang="en-US" sz="1200" b="1"/>
            </a:br>
            <a:r>
              <a:rPr lang="en-US" sz="1200"/>
              <a:t>Title</a:t>
            </a:r>
          </a:p>
        </p:txBody>
      </p:sp>
      <p:cxnSp>
        <p:nvCxnSpPr>
          <p:cNvPr id="35" name="AutoShape 36">
            <a:extLst>
              <a:ext uri="{FF2B5EF4-FFF2-40B4-BE49-F238E27FC236}">
                <a16:creationId xmlns:a16="http://schemas.microsoft.com/office/drawing/2014/main" id="{545E5CED-E06B-2E1A-29F3-D137E361A887}"/>
              </a:ext>
            </a:extLst>
          </p:cNvPr>
          <p:cNvCxnSpPr>
            <a:cxnSpLocks noChangeShapeType="1"/>
            <a:stCxn id="31" idx="1"/>
            <a:endCxn id="32" idx="1"/>
          </p:cNvCxnSpPr>
          <p:nvPr/>
        </p:nvCxnSpPr>
        <p:spPr bwMode="auto">
          <a:xfrm rot="10800000" flipH="1" flipV="1">
            <a:off x="5484314" y="3792675"/>
            <a:ext cx="2038" cy="639389"/>
          </a:xfrm>
          <a:prstGeom prst="bentConnector3">
            <a:avLst>
              <a:gd name="adj1" fmla="val -144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6" name="AutoShape 37">
            <a:extLst>
              <a:ext uri="{FF2B5EF4-FFF2-40B4-BE49-F238E27FC236}">
                <a16:creationId xmlns:a16="http://schemas.microsoft.com/office/drawing/2014/main" id="{012E91D0-2746-EE0A-319B-C432F1F238D8}"/>
              </a:ext>
            </a:extLst>
          </p:cNvPr>
          <p:cNvCxnSpPr>
            <a:cxnSpLocks noChangeShapeType="1"/>
            <a:stCxn id="32" idx="1"/>
            <a:endCxn id="33" idx="1"/>
          </p:cNvCxnSpPr>
          <p:nvPr/>
        </p:nvCxnSpPr>
        <p:spPr bwMode="auto">
          <a:xfrm rot="10800000" flipH="1" flipV="1">
            <a:off x="5484314" y="4432064"/>
            <a:ext cx="2038" cy="703943"/>
          </a:xfrm>
          <a:prstGeom prst="bentConnector3">
            <a:avLst>
              <a:gd name="adj1" fmla="val -144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7" name="AutoShape 38">
            <a:extLst>
              <a:ext uri="{FF2B5EF4-FFF2-40B4-BE49-F238E27FC236}">
                <a16:creationId xmlns:a16="http://schemas.microsoft.com/office/drawing/2014/main" id="{9792438C-9640-6ADA-275E-B11BF31CD525}"/>
              </a:ext>
            </a:extLst>
          </p:cNvPr>
          <p:cNvCxnSpPr>
            <a:cxnSpLocks noChangeShapeType="1"/>
            <a:stCxn id="33" idx="1"/>
            <a:endCxn id="34" idx="1"/>
          </p:cNvCxnSpPr>
          <p:nvPr/>
        </p:nvCxnSpPr>
        <p:spPr bwMode="auto">
          <a:xfrm rot="10800000" flipH="1" flipV="1">
            <a:off x="5484314" y="5136005"/>
            <a:ext cx="2038" cy="644000"/>
          </a:xfrm>
          <a:prstGeom prst="bentConnector3">
            <a:avLst>
              <a:gd name="adj1" fmla="val -144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8" name="AutoShape 39">
            <a:extLst>
              <a:ext uri="{FF2B5EF4-FFF2-40B4-BE49-F238E27FC236}">
                <a16:creationId xmlns:a16="http://schemas.microsoft.com/office/drawing/2014/main" id="{1B61AA85-D83F-5E5B-C401-2307C4EDC58E}"/>
              </a:ext>
            </a:extLst>
          </p:cNvPr>
          <p:cNvCxnSpPr>
            <a:cxnSpLocks noChangeShapeType="1"/>
            <a:stCxn id="30" idx="2"/>
            <a:endCxn id="31" idx="1"/>
          </p:cNvCxnSpPr>
          <p:nvPr/>
        </p:nvCxnSpPr>
        <p:spPr bwMode="auto">
          <a:xfrm rot="5400000">
            <a:off x="5513281" y="3182650"/>
            <a:ext cx="581055" cy="638992"/>
          </a:xfrm>
          <a:prstGeom prst="bentConnector4">
            <a:avLst>
              <a:gd name="adj1" fmla="val 29103"/>
              <a:gd name="adj2" fmla="val 146507"/>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9" name="Rectangle 41">
            <a:extLst>
              <a:ext uri="{FF2B5EF4-FFF2-40B4-BE49-F238E27FC236}">
                <a16:creationId xmlns:a16="http://schemas.microsoft.com/office/drawing/2014/main" id="{7A8D5F37-DE7D-C159-2F66-7903B5F1F26F}"/>
              </a:ext>
            </a:extLst>
          </p:cNvPr>
          <p:cNvSpPr>
            <a:spLocks noChangeArrowheads="1"/>
          </p:cNvSpPr>
          <p:nvPr/>
        </p:nvSpPr>
        <p:spPr bwMode="auto">
          <a:xfrm>
            <a:off x="7467531" y="2727467"/>
            <a:ext cx="1824234" cy="485690"/>
          </a:xfrm>
          <a:prstGeom prst="rect">
            <a:avLst/>
          </a:prstGeom>
          <a:solidFill>
            <a:schemeClr val="tx1">
              <a:lumMod val="50000"/>
              <a:lumOff val="50000"/>
            </a:schemeClr>
          </a:solidFill>
          <a:ln w="6350">
            <a:noFill/>
            <a:miter lim="800000"/>
            <a:headEnd type="none" w="sm" len="sm"/>
            <a:tailEnd type="none" w="sm" len="sm"/>
          </a:ln>
          <a:effectLst/>
        </p:spPr>
        <p:txBody>
          <a:bodyPr wrap="none" lIns="72000" tIns="72000" rIns="72000" bIns="72000" anchor="ctr"/>
          <a:lstStyle/>
          <a:p>
            <a:pPr algn="l" eaLnBrk="0" hangingPunct="0"/>
            <a:r>
              <a:rPr lang="en-US" sz="1200" b="1">
                <a:solidFill>
                  <a:schemeClr val="bg1"/>
                </a:solidFill>
              </a:rPr>
              <a:t>Name Dep. 4</a:t>
            </a:r>
          </a:p>
          <a:p>
            <a:pPr algn="l" eaLnBrk="0" hangingPunct="0"/>
            <a:r>
              <a:rPr lang="en-US" sz="1200">
                <a:solidFill>
                  <a:schemeClr val="bg1"/>
                </a:solidFill>
              </a:rPr>
              <a:t>SVP Department 4</a:t>
            </a:r>
          </a:p>
        </p:txBody>
      </p:sp>
      <p:sp>
        <p:nvSpPr>
          <p:cNvPr id="40" name="Rectangle 42">
            <a:extLst>
              <a:ext uri="{FF2B5EF4-FFF2-40B4-BE49-F238E27FC236}">
                <a16:creationId xmlns:a16="http://schemas.microsoft.com/office/drawing/2014/main" id="{43A960EC-8EE3-AC7E-871B-0AF724A2BA47}"/>
              </a:ext>
            </a:extLst>
          </p:cNvPr>
          <p:cNvSpPr>
            <a:spLocks noChangeArrowheads="1"/>
          </p:cNvSpPr>
          <p:nvPr/>
        </p:nvSpPr>
        <p:spPr bwMode="auto">
          <a:xfrm>
            <a:off x="7742693" y="3580569"/>
            <a:ext cx="1549070" cy="485690"/>
          </a:xfrm>
          <a:prstGeom prst="rect">
            <a:avLst/>
          </a:prstGeom>
          <a:solidFill>
            <a:schemeClr val="tx2">
              <a:lumMod val="20000"/>
              <a:lumOff val="80000"/>
            </a:schemeClr>
          </a:solidFill>
          <a:ln w="6350">
            <a:noFill/>
            <a:miter lim="800000"/>
            <a:headEnd type="none" w="sm" len="sm"/>
            <a:tailEnd type="none" w="sm" len="sm"/>
          </a:ln>
          <a:effectLst/>
        </p:spPr>
        <p:txBody>
          <a:bodyPr wrap="none" lIns="72000" tIns="72000" rIns="72000" bIns="72000"/>
          <a:lstStyle/>
          <a:p>
            <a:pPr algn="l" eaLnBrk="0" hangingPunct="0"/>
            <a:r>
              <a:rPr lang="en-US" sz="1200" b="1"/>
              <a:t>Name</a:t>
            </a:r>
            <a:br>
              <a:rPr lang="en-US" sz="1200" b="1"/>
            </a:br>
            <a:r>
              <a:rPr lang="en-US" sz="1200"/>
              <a:t>Title</a:t>
            </a:r>
          </a:p>
        </p:txBody>
      </p:sp>
      <p:sp>
        <p:nvSpPr>
          <p:cNvPr id="41" name="Rectangle 43">
            <a:extLst>
              <a:ext uri="{FF2B5EF4-FFF2-40B4-BE49-F238E27FC236}">
                <a16:creationId xmlns:a16="http://schemas.microsoft.com/office/drawing/2014/main" id="{A03FA4FA-7880-E4B9-0E6C-E0CF4A7FAA31}"/>
              </a:ext>
            </a:extLst>
          </p:cNvPr>
          <p:cNvSpPr>
            <a:spLocks noChangeArrowheads="1"/>
          </p:cNvSpPr>
          <p:nvPr/>
        </p:nvSpPr>
        <p:spPr bwMode="auto">
          <a:xfrm>
            <a:off x="7742693" y="4218421"/>
            <a:ext cx="1549070" cy="488764"/>
          </a:xfrm>
          <a:prstGeom prst="rect">
            <a:avLst/>
          </a:prstGeom>
          <a:solidFill>
            <a:schemeClr val="tx2">
              <a:lumMod val="20000"/>
              <a:lumOff val="80000"/>
            </a:schemeClr>
          </a:solidFill>
          <a:ln w="6350">
            <a:noFill/>
            <a:miter lim="800000"/>
            <a:headEnd type="none" w="sm" len="sm"/>
            <a:tailEnd type="none" w="sm" len="sm"/>
          </a:ln>
          <a:effectLst/>
        </p:spPr>
        <p:txBody>
          <a:bodyPr wrap="none" lIns="72000" tIns="72000" rIns="72000" bIns="72000"/>
          <a:lstStyle/>
          <a:p>
            <a:pPr algn="l" eaLnBrk="0" hangingPunct="0"/>
            <a:r>
              <a:rPr lang="en-US" sz="1200" b="1"/>
              <a:t>Name</a:t>
            </a:r>
            <a:br>
              <a:rPr lang="en-US" sz="1200" b="1"/>
            </a:br>
            <a:r>
              <a:rPr lang="en-US" sz="1200"/>
              <a:t>Title</a:t>
            </a:r>
          </a:p>
        </p:txBody>
      </p:sp>
      <p:sp>
        <p:nvSpPr>
          <p:cNvPr id="42" name="Rectangle 44">
            <a:extLst>
              <a:ext uri="{FF2B5EF4-FFF2-40B4-BE49-F238E27FC236}">
                <a16:creationId xmlns:a16="http://schemas.microsoft.com/office/drawing/2014/main" id="{C472756C-6303-F482-2CF7-8C12E0446613}"/>
              </a:ext>
            </a:extLst>
          </p:cNvPr>
          <p:cNvSpPr>
            <a:spLocks noChangeArrowheads="1"/>
          </p:cNvSpPr>
          <p:nvPr/>
        </p:nvSpPr>
        <p:spPr bwMode="auto">
          <a:xfrm>
            <a:off x="7740658" y="4893161"/>
            <a:ext cx="1551108" cy="487227"/>
          </a:xfrm>
          <a:prstGeom prst="rect">
            <a:avLst/>
          </a:prstGeom>
          <a:solidFill>
            <a:schemeClr val="tx2">
              <a:lumMod val="20000"/>
              <a:lumOff val="80000"/>
            </a:schemeClr>
          </a:solidFill>
          <a:ln w="6350">
            <a:noFill/>
            <a:miter lim="800000"/>
            <a:headEnd type="none" w="sm" len="sm"/>
            <a:tailEnd type="none" w="sm" len="sm"/>
          </a:ln>
          <a:effectLst/>
        </p:spPr>
        <p:txBody>
          <a:bodyPr wrap="none" lIns="72000" tIns="72000" rIns="72000" bIns="72000"/>
          <a:lstStyle/>
          <a:p>
            <a:pPr algn="l" eaLnBrk="0" hangingPunct="0"/>
            <a:r>
              <a:rPr lang="en-US" sz="1200" b="1"/>
              <a:t>Name</a:t>
            </a:r>
            <a:br>
              <a:rPr lang="en-US" sz="1200" b="1"/>
            </a:br>
            <a:r>
              <a:rPr lang="en-US" sz="1200"/>
              <a:t>Title</a:t>
            </a:r>
          </a:p>
        </p:txBody>
      </p:sp>
      <p:sp>
        <p:nvSpPr>
          <p:cNvPr id="43" name="Rectangle 45">
            <a:extLst>
              <a:ext uri="{FF2B5EF4-FFF2-40B4-BE49-F238E27FC236}">
                <a16:creationId xmlns:a16="http://schemas.microsoft.com/office/drawing/2014/main" id="{E747E428-6B78-F296-9780-275790FDDE78}"/>
              </a:ext>
            </a:extLst>
          </p:cNvPr>
          <p:cNvSpPr>
            <a:spLocks noChangeArrowheads="1"/>
          </p:cNvSpPr>
          <p:nvPr/>
        </p:nvSpPr>
        <p:spPr bwMode="auto">
          <a:xfrm>
            <a:off x="7742693" y="5566363"/>
            <a:ext cx="1549070" cy="488764"/>
          </a:xfrm>
          <a:prstGeom prst="rect">
            <a:avLst/>
          </a:prstGeom>
          <a:solidFill>
            <a:schemeClr val="tx2">
              <a:lumMod val="20000"/>
              <a:lumOff val="80000"/>
            </a:schemeClr>
          </a:solidFill>
          <a:ln w="6350">
            <a:noFill/>
            <a:miter lim="800000"/>
            <a:headEnd type="none" w="sm" len="sm"/>
            <a:tailEnd type="none" w="sm" len="sm"/>
          </a:ln>
          <a:effectLst/>
        </p:spPr>
        <p:txBody>
          <a:bodyPr wrap="none" lIns="72000" tIns="72000" rIns="72000" bIns="72000"/>
          <a:lstStyle/>
          <a:p>
            <a:pPr algn="l" eaLnBrk="0" hangingPunct="0"/>
            <a:r>
              <a:rPr lang="en-US" sz="1200" b="1"/>
              <a:t>Name</a:t>
            </a:r>
            <a:br>
              <a:rPr lang="en-US" sz="1200" b="1"/>
            </a:br>
            <a:r>
              <a:rPr lang="en-US" sz="1200"/>
              <a:t>Title</a:t>
            </a:r>
          </a:p>
        </p:txBody>
      </p:sp>
      <p:cxnSp>
        <p:nvCxnSpPr>
          <p:cNvPr id="44" name="AutoShape 46">
            <a:extLst>
              <a:ext uri="{FF2B5EF4-FFF2-40B4-BE49-F238E27FC236}">
                <a16:creationId xmlns:a16="http://schemas.microsoft.com/office/drawing/2014/main" id="{42E42FE5-8320-B95F-E1A6-DA7E9FD44E2D}"/>
              </a:ext>
            </a:extLst>
          </p:cNvPr>
          <p:cNvCxnSpPr>
            <a:cxnSpLocks noChangeShapeType="1"/>
            <a:stCxn id="40" idx="1"/>
            <a:endCxn id="41" idx="1"/>
          </p:cNvCxnSpPr>
          <p:nvPr/>
        </p:nvCxnSpPr>
        <p:spPr bwMode="auto">
          <a:xfrm rot="10800000" flipH="1" flipV="1">
            <a:off x="7742695" y="3823415"/>
            <a:ext cx="2038" cy="639389"/>
          </a:xfrm>
          <a:prstGeom prst="bentConnector3">
            <a:avLst>
              <a:gd name="adj1" fmla="val -144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5" name="AutoShape 47">
            <a:extLst>
              <a:ext uri="{FF2B5EF4-FFF2-40B4-BE49-F238E27FC236}">
                <a16:creationId xmlns:a16="http://schemas.microsoft.com/office/drawing/2014/main" id="{32A0B7DE-6B9F-2F1B-ED05-991DA74C34BA}"/>
              </a:ext>
            </a:extLst>
          </p:cNvPr>
          <p:cNvCxnSpPr>
            <a:cxnSpLocks noChangeShapeType="1"/>
            <a:stCxn id="41" idx="1"/>
            <a:endCxn id="42" idx="1"/>
          </p:cNvCxnSpPr>
          <p:nvPr/>
        </p:nvCxnSpPr>
        <p:spPr bwMode="auto">
          <a:xfrm rot="10800000" flipV="1">
            <a:off x="7740658" y="4462803"/>
            <a:ext cx="2038" cy="673203"/>
          </a:xfrm>
          <a:prstGeom prst="bentConnector3">
            <a:avLst>
              <a:gd name="adj1" fmla="val 145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6" name="AutoShape 48">
            <a:extLst>
              <a:ext uri="{FF2B5EF4-FFF2-40B4-BE49-F238E27FC236}">
                <a16:creationId xmlns:a16="http://schemas.microsoft.com/office/drawing/2014/main" id="{2903F096-4F27-BC7D-26F0-A7F39E8CA949}"/>
              </a:ext>
            </a:extLst>
          </p:cNvPr>
          <p:cNvCxnSpPr>
            <a:cxnSpLocks noChangeShapeType="1"/>
            <a:stCxn id="42" idx="1"/>
            <a:endCxn id="43" idx="1"/>
          </p:cNvCxnSpPr>
          <p:nvPr/>
        </p:nvCxnSpPr>
        <p:spPr bwMode="auto">
          <a:xfrm rot="10800000" flipH="1" flipV="1">
            <a:off x="7740658" y="5136005"/>
            <a:ext cx="2038" cy="674740"/>
          </a:xfrm>
          <a:prstGeom prst="bentConnector3">
            <a:avLst>
              <a:gd name="adj1" fmla="val -144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7" name="AutoShape 49">
            <a:extLst>
              <a:ext uri="{FF2B5EF4-FFF2-40B4-BE49-F238E27FC236}">
                <a16:creationId xmlns:a16="http://schemas.microsoft.com/office/drawing/2014/main" id="{D8134EA6-509D-AACF-4544-55EFE77EC291}"/>
              </a:ext>
            </a:extLst>
          </p:cNvPr>
          <p:cNvCxnSpPr>
            <a:cxnSpLocks noChangeShapeType="1"/>
            <a:stCxn id="39" idx="2"/>
            <a:endCxn id="40" idx="1"/>
          </p:cNvCxnSpPr>
          <p:nvPr/>
        </p:nvCxnSpPr>
        <p:spPr bwMode="auto">
          <a:xfrm rot="5400000">
            <a:off x="7756043" y="3199808"/>
            <a:ext cx="610257" cy="636955"/>
          </a:xfrm>
          <a:prstGeom prst="bentConnector4">
            <a:avLst>
              <a:gd name="adj1" fmla="val 30103"/>
              <a:gd name="adj2" fmla="val 146657"/>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8" name="Rectangle 51">
            <a:extLst>
              <a:ext uri="{FF2B5EF4-FFF2-40B4-BE49-F238E27FC236}">
                <a16:creationId xmlns:a16="http://schemas.microsoft.com/office/drawing/2014/main" id="{23F12F82-57EC-EA8E-68E2-B846C050EE04}"/>
              </a:ext>
            </a:extLst>
          </p:cNvPr>
          <p:cNvSpPr>
            <a:spLocks noChangeArrowheads="1"/>
          </p:cNvSpPr>
          <p:nvPr/>
        </p:nvSpPr>
        <p:spPr bwMode="auto">
          <a:xfrm>
            <a:off x="9721838" y="2727467"/>
            <a:ext cx="1826272" cy="484152"/>
          </a:xfrm>
          <a:prstGeom prst="rect">
            <a:avLst/>
          </a:prstGeom>
          <a:solidFill>
            <a:schemeClr val="tx1">
              <a:lumMod val="50000"/>
              <a:lumOff val="50000"/>
            </a:schemeClr>
          </a:solidFill>
          <a:ln w="6350">
            <a:noFill/>
            <a:miter lim="800000"/>
            <a:headEnd type="none" w="sm" len="sm"/>
            <a:tailEnd type="none" w="sm" len="sm"/>
          </a:ln>
          <a:effectLst/>
        </p:spPr>
        <p:txBody>
          <a:bodyPr wrap="none" lIns="72000" tIns="72000" rIns="72000" bIns="72000" anchor="ctr"/>
          <a:lstStyle/>
          <a:p>
            <a:pPr algn="l" eaLnBrk="0" hangingPunct="0"/>
            <a:r>
              <a:rPr lang="en-US" sz="1200" b="1">
                <a:solidFill>
                  <a:schemeClr val="bg1"/>
                </a:solidFill>
              </a:rPr>
              <a:t>Name Dep. 5</a:t>
            </a:r>
          </a:p>
          <a:p>
            <a:pPr algn="l" eaLnBrk="0" hangingPunct="0"/>
            <a:r>
              <a:rPr lang="en-US" sz="1200">
                <a:solidFill>
                  <a:schemeClr val="bg1"/>
                </a:solidFill>
              </a:rPr>
              <a:t>SVP Department 5</a:t>
            </a:r>
          </a:p>
        </p:txBody>
      </p:sp>
      <p:sp>
        <p:nvSpPr>
          <p:cNvPr id="49" name="Rectangle 52">
            <a:extLst>
              <a:ext uri="{FF2B5EF4-FFF2-40B4-BE49-F238E27FC236}">
                <a16:creationId xmlns:a16="http://schemas.microsoft.com/office/drawing/2014/main" id="{0513D2E9-7D31-F9E9-BD29-1A8756ED60A6}"/>
              </a:ext>
            </a:extLst>
          </p:cNvPr>
          <p:cNvSpPr>
            <a:spLocks noChangeArrowheads="1"/>
          </p:cNvSpPr>
          <p:nvPr/>
        </p:nvSpPr>
        <p:spPr bwMode="auto">
          <a:xfrm>
            <a:off x="9994962" y="3549829"/>
            <a:ext cx="1553147" cy="485690"/>
          </a:xfrm>
          <a:prstGeom prst="rect">
            <a:avLst/>
          </a:prstGeom>
          <a:solidFill>
            <a:schemeClr val="tx2">
              <a:lumMod val="20000"/>
              <a:lumOff val="80000"/>
            </a:schemeClr>
          </a:solidFill>
          <a:ln w="6350">
            <a:noFill/>
            <a:miter lim="800000"/>
            <a:headEnd type="none" w="sm" len="sm"/>
            <a:tailEnd type="none" w="sm" len="sm"/>
          </a:ln>
          <a:effectLst/>
        </p:spPr>
        <p:txBody>
          <a:bodyPr wrap="none" lIns="72000" tIns="72000" rIns="72000" bIns="72000"/>
          <a:lstStyle/>
          <a:p>
            <a:pPr algn="l" eaLnBrk="0" hangingPunct="0"/>
            <a:r>
              <a:rPr lang="en-US" sz="1200" b="1"/>
              <a:t>Name</a:t>
            </a:r>
            <a:br>
              <a:rPr lang="en-US" sz="1200" b="1"/>
            </a:br>
            <a:r>
              <a:rPr lang="en-US" sz="1200"/>
              <a:t>Title</a:t>
            </a:r>
          </a:p>
        </p:txBody>
      </p:sp>
      <p:sp>
        <p:nvSpPr>
          <p:cNvPr id="50" name="Rectangle 53">
            <a:extLst>
              <a:ext uri="{FF2B5EF4-FFF2-40B4-BE49-F238E27FC236}">
                <a16:creationId xmlns:a16="http://schemas.microsoft.com/office/drawing/2014/main" id="{AFBA965A-A8C2-1109-A0C4-43DD0CC8A04B}"/>
              </a:ext>
            </a:extLst>
          </p:cNvPr>
          <p:cNvSpPr>
            <a:spLocks noChangeArrowheads="1"/>
          </p:cNvSpPr>
          <p:nvPr/>
        </p:nvSpPr>
        <p:spPr bwMode="auto">
          <a:xfrm>
            <a:off x="9994962" y="4187681"/>
            <a:ext cx="1553147" cy="488764"/>
          </a:xfrm>
          <a:prstGeom prst="rect">
            <a:avLst/>
          </a:prstGeom>
          <a:solidFill>
            <a:schemeClr val="tx2">
              <a:lumMod val="20000"/>
              <a:lumOff val="80000"/>
            </a:schemeClr>
          </a:solidFill>
          <a:ln w="6350">
            <a:noFill/>
            <a:miter lim="800000"/>
            <a:headEnd type="none" w="sm" len="sm"/>
            <a:tailEnd type="none" w="sm" len="sm"/>
          </a:ln>
          <a:effectLst/>
        </p:spPr>
        <p:txBody>
          <a:bodyPr wrap="none" lIns="72000" tIns="72000" rIns="72000" bIns="72000"/>
          <a:lstStyle/>
          <a:p>
            <a:pPr algn="l" eaLnBrk="0" hangingPunct="0"/>
            <a:r>
              <a:rPr lang="en-US" sz="1200" b="1"/>
              <a:t>Name</a:t>
            </a:r>
            <a:br>
              <a:rPr lang="en-US" sz="1200" b="1"/>
            </a:br>
            <a:r>
              <a:rPr lang="en-US" sz="1200"/>
              <a:t>Title</a:t>
            </a:r>
          </a:p>
        </p:txBody>
      </p:sp>
      <p:sp>
        <p:nvSpPr>
          <p:cNvPr id="51" name="Rectangle 54">
            <a:extLst>
              <a:ext uri="{FF2B5EF4-FFF2-40B4-BE49-F238E27FC236}">
                <a16:creationId xmlns:a16="http://schemas.microsoft.com/office/drawing/2014/main" id="{CE5EA731-9162-9A9E-9BD6-5AE6F58AEEA7}"/>
              </a:ext>
            </a:extLst>
          </p:cNvPr>
          <p:cNvSpPr>
            <a:spLocks noChangeArrowheads="1"/>
          </p:cNvSpPr>
          <p:nvPr/>
        </p:nvSpPr>
        <p:spPr bwMode="auto">
          <a:xfrm>
            <a:off x="9994962" y="4893161"/>
            <a:ext cx="1553147" cy="487227"/>
          </a:xfrm>
          <a:prstGeom prst="rect">
            <a:avLst/>
          </a:prstGeom>
          <a:solidFill>
            <a:schemeClr val="tx2">
              <a:lumMod val="20000"/>
              <a:lumOff val="80000"/>
            </a:schemeClr>
          </a:solidFill>
          <a:ln w="6350">
            <a:noFill/>
            <a:miter lim="800000"/>
            <a:headEnd type="none" w="sm" len="sm"/>
            <a:tailEnd type="none" w="sm" len="sm"/>
          </a:ln>
          <a:effectLst/>
        </p:spPr>
        <p:txBody>
          <a:bodyPr wrap="none" lIns="72000" tIns="72000" rIns="72000" bIns="72000"/>
          <a:lstStyle/>
          <a:p>
            <a:pPr algn="l" eaLnBrk="0" hangingPunct="0"/>
            <a:r>
              <a:rPr lang="en-US" sz="1200" b="1"/>
              <a:t>Name</a:t>
            </a:r>
            <a:br>
              <a:rPr lang="en-US" sz="1200" b="1"/>
            </a:br>
            <a:r>
              <a:rPr lang="en-US" sz="1200"/>
              <a:t>Title</a:t>
            </a:r>
          </a:p>
        </p:txBody>
      </p:sp>
      <p:sp>
        <p:nvSpPr>
          <p:cNvPr id="52" name="Rectangle 55">
            <a:extLst>
              <a:ext uri="{FF2B5EF4-FFF2-40B4-BE49-F238E27FC236}">
                <a16:creationId xmlns:a16="http://schemas.microsoft.com/office/drawing/2014/main" id="{0492866D-E171-08C5-6739-365DDA405394}"/>
              </a:ext>
            </a:extLst>
          </p:cNvPr>
          <p:cNvSpPr>
            <a:spLocks noChangeArrowheads="1"/>
          </p:cNvSpPr>
          <p:nvPr/>
        </p:nvSpPr>
        <p:spPr bwMode="auto">
          <a:xfrm>
            <a:off x="9994962" y="5535623"/>
            <a:ext cx="1553147" cy="488764"/>
          </a:xfrm>
          <a:prstGeom prst="rect">
            <a:avLst/>
          </a:prstGeom>
          <a:solidFill>
            <a:schemeClr val="tx2">
              <a:lumMod val="20000"/>
              <a:lumOff val="80000"/>
            </a:schemeClr>
          </a:solidFill>
          <a:ln w="6350">
            <a:noFill/>
            <a:miter lim="800000"/>
            <a:headEnd type="none" w="sm" len="sm"/>
            <a:tailEnd type="none" w="sm" len="sm"/>
          </a:ln>
          <a:effectLst/>
        </p:spPr>
        <p:txBody>
          <a:bodyPr wrap="none" lIns="72000" tIns="72000" rIns="72000" bIns="72000"/>
          <a:lstStyle/>
          <a:p>
            <a:pPr algn="l" eaLnBrk="0" hangingPunct="0"/>
            <a:r>
              <a:rPr lang="en-US" sz="1200" b="1"/>
              <a:t>Name</a:t>
            </a:r>
            <a:br>
              <a:rPr lang="en-US" sz="1200" b="1"/>
            </a:br>
            <a:r>
              <a:rPr lang="en-US" sz="1200"/>
              <a:t>Title</a:t>
            </a:r>
          </a:p>
        </p:txBody>
      </p:sp>
      <p:cxnSp>
        <p:nvCxnSpPr>
          <p:cNvPr id="53" name="AutoShape 56">
            <a:extLst>
              <a:ext uri="{FF2B5EF4-FFF2-40B4-BE49-F238E27FC236}">
                <a16:creationId xmlns:a16="http://schemas.microsoft.com/office/drawing/2014/main" id="{10D9017D-DF9D-AC00-9739-2DD420EFF453}"/>
              </a:ext>
            </a:extLst>
          </p:cNvPr>
          <p:cNvCxnSpPr>
            <a:cxnSpLocks noChangeShapeType="1"/>
            <a:stCxn id="49" idx="1"/>
            <a:endCxn id="50" idx="1"/>
          </p:cNvCxnSpPr>
          <p:nvPr/>
        </p:nvCxnSpPr>
        <p:spPr bwMode="auto">
          <a:xfrm rot="10800000" flipH="1" flipV="1">
            <a:off x="9994963" y="3792675"/>
            <a:ext cx="2038" cy="639389"/>
          </a:xfrm>
          <a:prstGeom prst="bentConnector3">
            <a:avLst>
              <a:gd name="adj1" fmla="val -144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4" name="AutoShape 57">
            <a:extLst>
              <a:ext uri="{FF2B5EF4-FFF2-40B4-BE49-F238E27FC236}">
                <a16:creationId xmlns:a16="http://schemas.microsoft.com/office/drawing/2014/main" id="{C714B481-A694-D9AD-B642-6866D9A86FBD}"/>
              </a:ext>
            </a:extLst>
          </p:cNvPr>
          <p:cNvCxnSpPr>
            <a:cxnSpLocks noChangeShapeType="1"/>
            <a:stCxn id="50" idx="1"/>
            <a:endCxn id="51" idx="1"/>
          </p:cNvCxnSpPr>
          <p:nvPr/>
        </p:nvCxnSpPr>
        <p:spPr bwMode="auto">
          <a:xfrm rot="10800000" flipH="1" flipV="1">
            <a:off x="9994963" y="4432064"/>
            <a:ext cx="2038" cy="703943"/>
          </a:xfrm>
          <a:prstGeom prst="bentConnector3">
            <a:avLst>
              <a:gd name="adj1" fmla="val -144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5" name="AutoShape 58">
            <a:extLst>
              <a:ext uri="{FF2B5EF4-FFF2-40B4-BE49-F238E27FC236}">
                <a16:creationId xmlns:a16="http://schemas.microsoft.com/office/drawing/2014/main" id="{3ECBA4C2-7349-642E-5B6B-CCB2359CC880}"/>
              </a:ext>
            </a:extLst>
          </p:cNvPr>
          <p:cNvCxnSpPr>
            <a:cxnSpLocks noChangeShapeType="1"/>
            <a:stCxn id="51" idx="1"/>
            <a:endCxn id="52" idx="1"/>
          </p:cNvCxnSpPr>
          <p:nvPr/>
        </p:nvCxnSpPr>
        <p:spPr bwMode="auto">
          <a:xfrm rot="10800000" flipH="1" flipV="1">
            <a:off x="9994963" y="5136005"/>
            <a:ext cx="2038" cy="644000"/>
          </a:xfrm>
          <a:prstGeom prst="bentConnector3">
            <a:avLst>
              <a:gd name="adj1" fmla="val -14400000"/>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6" name="AutoShape 59">
            <a:extLst>
              <a:ext uri="{FF2B5EF4-FFF2-40B4-BE49-F238E27FC236}">
                <a16:creationId xmlns:a16="http://schemas.microsoft.com/office/drawing/2014/main" id="{27D4659A-D20D-7E91-0E74-675BB5D055ED}"/>
              </a:ext>
            </a:extLst>
          </p:cNvPr>
          <p:cNvCxnSpPr>
            <a:cxnSpLocks noChangeShapeType="1"/>
            <a:stCxn id="48" idx="2"/>
            <a:endCxn id="49" idx="1"/>
          </p:cNvCxnSpPr>
          <p:nvPr/>
        </p:nvCxnSpPr>
        <p:spPr bwMode="auto">
          <a:xfrm rot="5400000">
            <a:off x="10024441" y="3182140"/>
            <a:ext cx="581055" cy="640012"/>
          </a:xfrm>
          <a:prstGeom prst="bentConnector4">
            <a:avLst>
              <a:gd name="adj1" fmla="val 29103"/>
              <a:gd name="adj2" fmla="val 144647"/>
            </a:avLst>
          </a:prstGeom>
          <a:ln w="12700" cap="rnd">
            <a:solidFill>
              <a:schemeClr val="tx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156436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55523-7DB8-311A-A6E3-DF14A28D52E8}"/>
              </a:ext>
            </a:extLst>
          </p:cNvPr>
          <p:cNvSpPr>
            <a:spLocks noGrp="1"/>
          </p:cNvSpPr>
          <p:nvPr>
            <p:ph type="title"/>
          </p:nvPr>
        </p:nvSpPr>
        <p:spPr/>
        <p:txBody>
          <a:bodyPr/>
          <a:lstStyle/>
          <a:p>
            <a:r>
              <a:rPr lang="en-BR"/>
              <a:t>Project Management</a:t>
            </a:r>
          </a:p>
        </p:txBody>
      </p:sp>
      <p:sp>
        <p:nvSpPr>
          <p:cNvPr id="3" name="Footer Placeholder 2">
            <a:extLst>
              <a:ext uri="{FF2B5EF4-FFF2-40B4-BE49-F238E27FC236}">
                <a16:creationId xmlns:a16="http://schemas.microsoft.com/office/drawing/2014/main" id="{34B1A4D7-89BE-4D0A-E595-F1F46ED8CF65}"/>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2C2005F3-E752-7BE7-D26B-B7C22003E28C}"/>
              </a:ext>
            </a:extLst>
          </p:cNvPr>
          <p:cNvSpPr>
            <a:spLocks noGrp="1"/>
          </p:cNvSpPr>
          <p:nvPr>
            <p:ph type="sldNum" sz="quarter" idx="12"/>
          </p:nvPr>
        </p:nvSpPr>
        <p:spPr/>
        <p:txBody>
          <a:bodyPr/>
          <a:lstStyle/>
          <a:p>
            <a:fld id="{A8DDC45B-7265-3747-B738-ED29642119D9}" type="slidenum">
              <a:rPr lang="en-BR" smtClean="0"/>
              <a:pPr/>
              <a:t>42</a:t>
            </a:fld>
            <a:endParaRPr lang="en-BR"/>
          </a:p>
        </p:txBody>
      </p:sp>
      <p:sp>
        <p:nvSpPr>
          <p:cNvPr id="5" name="Text Placeholder 4">
            <a:extLst>
              <a:ext uri="{FF2B5EF4-FFF2-40B4-BE49-F238E27FC236}">
                <a16:creationId xmlns:a16="http://schemas.microsoft.com/office/drawing/2014/main" id="{DDBAE3AF-6288-7225-CF20-EF6405B6B888}"/>
              </a:ext>
            </a:extLst>
          </p:cNvPr>
          <p:cNvSpPr>
            <a:spLocks noGrp="1"/>
          </p:cNvSpPr>
          <p:nvPr>
            <p:ph type="body" sz="quarter" idx="13"/>
          </p:nvPr>
        </p:nvSpPr>
        <p:spPr/>
        <p:txBody>
          <a:bodyPr/>
          <a:lstStyle/>
          <a:p>
            <a:r>
              <a:rPr lang="en-BR"/>
              <a:t>Team Organization</a:t>
            </a:r>
          </a:p>
        </p:txBody>
      </p:sp>
      <p:sp>
        <p:nvSpPr>
          <p:cNvPr id="6" name="Rectangle 19">
            <a:extLst>
              <a:ext uri="{FF2B5EF4-FFF2-40B4-BE49-F238E27FC236}">
                <a16:creationId xmlns:a16="http://schemas.microsoft.com/office/drawing/2014/main" id="{F92458DD-A63F-BA60-8FE1-0A4280E80F88}"/>
              </a:ext>
            </a:extLst>
          </p:cNvPr>
          <p:cNvSpPr>
            <a:spLocks noChangeArrowheads="1"/>
          </p:cNvSpPr>
          <p:nvPr/>
        </p:nvSpPr>
        <p:spPr bwMode="auto">
          <a:xfrm>
            <a:off x="6530584" y="4925554"/>
            <a:ext cx="3493526" cy="1182688"/>
          </a:xfrm>
          <a:prstGeom prst="rect">
            <a:avLst/>
          </a:prstGeom>
          <a:solidFill>
            <a:schemeClr val="bg1"/>
          </a:solidFill>
          <a:ln w="12700">
            <a:solidFill>
              <a:schemeClr val="tx2">
                <a:lumMod val="60000"/>
                <a:lumOff val="40000"/>
              </a:schemeClr>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marL="571500" indent="-112713" algn="ctr">
              <a:buClr>
                <a:schemeClr val="folHlink"/>
              </a:buClr>
              <a:defRPr/>
            </a:pPr>
            <a:endParaRPr lang="en-US" sz="1100">
              <a:solidFill>
                <a:schemeClr val="bg1"/>
              </a:solidFill>
            </a:endParaRPr>
          </a:p>
        </p:txBody>
      </p:sp>
      <p:sp>
        <p:nvSpPr>
          <p:cNvPr id="7" name="Rectangle 19">
            <a:extLst>
              <a:ext uri="{FF2B5EF4-FFF2-40B4-BE49-F238E27FC236}">
                <a16:creationId xmlns:a16="http://schemas.microsoft.com/office/drawing/2014/main" id="{E45AD57E-55B2-AE99-DA4A-0309DE6F5343}"/>
              </a:ext>
            </a:extLst>
          </p:cNvPr>
          <p:cNvSpPr>
            <a:spLocks noChangeArrowheads="1"/>
          </p:cNvSpPr>
          <p:nvPr/>
        </p:nvSpPr>
        <p:spPr bwMode="auto">
          <a:xfrm>
            <a:off x="2167890" y="1803457"/>
            <a:ext cx="7856220" cy="344487"/>
          </a:xfrm>
          <a:prstGeom prst="rect">
            <a:avLst/>
          </a:prstGeom>
          <a:solidFill>
            <a:schemeClr val="tx2"/>
          </a:solidFill>
          <a:ln>
            <a:no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algn="ctr">
              <a:buClr>
                <a:schemeClr val="folHlink"/>
              </a:buClr>
              <a:defRPr/>
            </a:pPr>
            <a:r>
              <a:rPr lang="en-US" sz="1200" b="1">
                <a:solidFill>
                  <a:schemeClr val="bg1"/>
                </a:solidFill>
              </a:rPr>
              <a:t>Executive Steering Team</a:t>
            </a:r>
          </a:p>
        </p:txBody>
      </p:sp>
      <p:sp>
        <p:nvSpPr>
          <p:cNvPr id="8" name="AutoShape 3">
            <a:extLst>
              <a:ext uri="{FF2B5EF4-FFF2-40B4-BE49-F238E27FC236}">
                <a16:creationId xmlns:a16="http://schemas.microsoft.com/office/drawing/2014/main" id="{16512A9F-C302-E5EE-381B-4415E074A7CC}"/>
              </a:ext>
            </a:extLst>
          </p:cNvPr>
          <p:cNvSpPr>
            <a:spLocks noChangeArrowheads="1"/>
          </p:cNvSpPr>
          <p:nvPr/>
        </p:nvSpPr>
        <p:spPr bwMode="auto">
          <a:xfrm>
            <a:off x="4648269" y="2273206"/>
            <a:ext cx="2902685" cy="230657"/>
          </a:xfrm>
          <a:prstGeom prst="roundRect">
            <a:avLst>
              <a:gd name="adj" fmla="val 0"/>
            </a:avLst>
          </a:prstGeom>
          <a:solidFill>
            <a:schemeClr val="tx1"/>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eaLnBrk="0" hangingPunct="0">
              <a:lnSpc>
                <a:spcPct val="100000"/>
              </a:lnSpc>
              <a:spcBef>
                <a:spcPct val="20000"/>
              </a:spcBef>
              <a:buFont typeface="Wingdings" pitchFamily="2" charset="2"/>
              <a:buNone/>
              <a:defRPr/>
            </a:pPr>
            <a:endParaRPr lang="en-US" sz="1100">
              <a:solidFill>
                <a:schemeClr val="bg1"/>
              </a:solidFill>
            </a:endParaRPr>
          </a:p>
          <a:p>
            <a:pPr algn="ctr" eaLnBrk="0" hangingPunct="0">
              <a:lnSpc>
                <a:spcPct val="100000"/>
              </a:lnSpc>
              <a:spcBef>
                <a:spcPct val="20000"/>
              </a:spcBef>
              <a:buFont typeface="Wingdings" pitchFamily="2" charset="2"/>
              <a:buNone/>
              <a:defRPr/>
            </a:pPr>
            <a:r>
              <a:rPr lang="en-US" sz="1100">
                <a:solidFill>
                  <a:schemeClr val="bg1"/>
                </a:solidFill>
              </a:rPr>
              <a:t>Role</a:t>
            </a:r>
          </a:p>
          <a:p>
            <a:pPr algn="ctr" eaLnBrk="0" hangingPunct="0">
              <a:lnSpc>
                <a:spcPct val="100000"/>
              </a:lnSpc>
              <a:spcBef>
                <a:spcPct val="20000"/>
              </a:spcBef>
              <a:buFont typeface="Wingdings" pitchFamily="2" charset="2"/>
              <a:buNone/>
              <a:defRPr/>
            </a:pPr>
            <a:endParaRPr lang="en-US" sz="1100"/>
          </a:p>
        </p:txBody>
      </p:sp>
      <p:sp>
        <p:nvSpPr>
          <p:cNvPr id="9" name="Rectangle 19">
            <a:extLst>
              <a:ext uri="{FF2B5EF4-FFF2-40B4-BE49-F238E27FC236}">
                <a16:creationId xmlns:a16="http://schemas.microsoft.com/office/drawing/2014/main" id="{07FCBBE0-B9FD-464F-731F-A89EAE194741}"/>
              </a:ext>
            </a:extLst>
          </p:cNvPr>
          <p:cNvSpPr>
            <a:spLocks noChangeArrowheads="1"/>
          </p:cNvSpPr>
          <p:nvPr/>
        </p:nvSpPr>
        <p:spPr bwMode="auto">
          <a:xfrm>
            <a:off x="2167890" y="1803458"/>
            <a:ext cx="7856220" cy="1182688"/>
          </a:xfrm>
          <a:prstGeom prst="rect">
            <a:avLst/>
          </a:prstGeom>
          <a:noFill/>
          <a:ln w="12700">
            <a:solidFill>
              <a:schemeClr val="tx2">
                <a:lumMod val="60000"/>
                <a:lumOff val="40000"/>
              </a:schemeClr>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marL="571500" indent="-112713" algn="ctr">
              <a:buClr>
                <a:schemeClr val="folHlink"/>
              </a:buClr>
              <a:defRPr/>
            </a:pPr>
            <a:endParaRPr lang="en-US" sz="1100">
              <a:solidFill>
                <a:schemeClr val="bg1"/>
              </a:solidFill>
            </a:endParaRPr>
          </a:p>
        </p:txBody>
      </p:sp>
      <p:sp>
        <p:nvSpPr>
          <p:cNvPr id="10" name="AutoShape 3">
            <a:extLst>
              <a:ext uri="{FF2B5EF4-FFF2-40B4-BE49-F238E27FC236}">
                <a16:creationId xmlns:a16="http://schemas.microsoft.com/office/drawing/2014/main" id="{14D62885-2D66-A4DA-BBF2-5275340A2013}"/>
              </a:ext>
            </a:extLst>
          </p:cNvPr>
          <p:cNvSpPr>
            <a:spLocks noChangeArrowheads="1"/>
          </p:cNvSpPr>
          <p:nvPr/>
        </p:nvSpPr>
        <p:spPr bwMode="auto">
          <a:xfrm>
            <a:off x="2476762" y="2629124"/>
            <a:ext cx="2902685" cy="230657"/>
          </a:xfrm>
          <a:prstGeom prst="roundRect">
            <a:avLst>
              <a:gd name="adj" fmla="val 0"/>
            </a:avLst>
          </a:prstGeom>
          <a:solidFill>
            <a:schemeClr val="accent1"/>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a:solidFill>
                  <a:schemeClr val="bg1"/>
                </a:solidFill>
              </a:rPr>
              <a:t>Role</a:t>
            </a:r>
          </a:p>
        </p:txBody>
      </p:sp>
      <p:sp>
        <p:nvSpPr>
          <p:cNvPr id="11" name="AutoShape 3">
            <a:extLst>
              <a:ext uri="{FF2B5EF4-FFF2-40B4-BE49-F238E27FC236}">
                <a16:creationId xmlns:a16="http://schemas.microsoft.com/office/drawing/2014/main" id="{DCC363C1-51CD-603C-9EE3-72BC165F265A}"/>
              </a:ext>
            </a:extLst>
          </p:cNvPr>
          <p:cNvSpPr>
            <a:spLocks noChangeArrowheads="1"/>
          </p:cNvSpPr>
          <p:nvPr/>
        </p:nvSpPr>
        <p:spPr bwMode="auto">
          <a:xfrm>
            <a:off x="6824112" y="2629124"/>
            <a:ext cx="2902685" cy="230657"/>
          </a:xfrm>
          <a:prstGeom prst="roundRect">
            <a:avLst>
              <a:gd name="adj" fmla="val 0"/>
            </a:avLst>
          </a:prstGeom>
          <a:solidFill>
            <a:srgbClr val="C00000"/>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a:solidFill>
                  <a:schemeClr val="bg1"/>
                </a:solidFill>
              </a:rPr>
              <a:t>Role</a:t>
            </a:r>
          </a:p>
        </p:txBody>
      </p:sp>
      <p:sp>
        <p:nvSpPr>
          <p:cNvPr id="12" name="Rectangle 19">
            <a:extLst>
              <a:ext uri="{FF2B5EF4-FFF2-40B4-BE49-F238E27FC236}">
                <a16:creationId xmlns:a16="http://schemas.microsoft.com/office/drawing/2014/main" id="{77726777-08ED-7BCF-0858-6C5C0EA2C721}"/>
              </a:ext>
            </a:extLst>
          </p:cNvPr>
          <p:cNvSpPr>
            <a:spLocks noChangeArrowheads="1"/>
          </p:cNvSpPr>
          <p:nvPr/>
        </p:nvSpPr>
        <p:spPr bwMode="auto">
          <a:xfrm>
            <a:off x="2177521" y="3175057"/>
            <a:ext cx="3493526" cy="344487"/>
          </a:xfrm>
          <a:prstGeom prst="rect">
            <a:avLst/>
          </a:prstGeom>
          <a:solidFill>
            <a:schemeClr val="tx2"/>
          </a:solidFill>
          <a:ln>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algn="ctr">
              <a:buClr>
                <a:schemeClr val="folHlink"/>
              </a:buClr>
              <a:defRPr/>
            </a:pPr>
            <a:r>
              <a:rPr lang="en-US" sz="1200" b="1">
                <a:solidFill>
                  <a:schemeClr val="bg1"/>
                </a:solidFill>
              </a:rPr>
              <a:t>Team 1</a:t>
            </a:r>
          </a:p>
        </p:txBody>
      </p:sp>
      <p:sp>
        <p:nvSpPr>
          <p:cNvPr id="13" name="AutoShape 3">
            <a:extLst>
              <a:ext uri="{FF2B5EF4-FFF2-40B4-BE49-F238E27FC236}">
                <a16:creationId xmlns:a16="http://schemas.microsoft.com/office/drawing/2014/main" id="{189901D2-E924-A875-6139-6A52EC2E3F65}"/>
              </a:ext>
            </a:extLst>
          </p:cNvPr>
          <p:cNvSpPr>
            <a:spLocks noChangeArrowheads="1"/>
          </p:cNvSpPr>
          <p:nvPr/>
        </p:nvSpPr>
        <p:spPr bwMode="auto">
          <a:xfrm>
            <a:off x="2476762" y="3644806"/>
            <a:ext cx="2902685" cy="230657"/>
          </a:xfrm>
          <a:prstGeom prst="roundRect">
            <a:avLst>
              <a:gd name="adj" fmla="val 0"/>
            </a:avLst>
          </a:prstGeom>
          <a:solidFill>
            <a:schemeClr val="accent1"/>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a:solidFill>
                  <a:schemeClr val="bg1"/>
                </a:solidFill>
              </a:rPr>
              <a:t>Role</a:t>
            </a:r>
          </a:p>
        </p:txBody>
      </p:sp>
      <p:sp>
        <p:nvSpPr>
          <p:cNvPr id="14" name="AutoShape 3">
            <a:extLst>
              <a:ext uri="{FF2B5EF4-FFF2-40B4-BE49-F238E27FC236}">
                <a16:creationId xmlns:a16="http://schemas.microsoft.com/office/drawing/2014/main" id="{E3F41860-99AB-8AA1-3E35-34A822B3239E}"/>
              </a:ext>
            </a:extLst>
          </p:cNvPr>
          <p:cNvSpPr>
            <a:spLocks noChangeArrowheads="1"/>
          </p:cNvSpPr>
          <p:nvPr/>
        </p:nvSpPr>
        <p:spPr bwMode="auto">
          <a:xfrm>
            <a:off x="2476762" y="4000724"/>
            <a:ext cx="2902685" cy="230657"/>
          </a:xfrm>
          <a:prstGeom prst="roundRect">
            <a:avLst>
              <a:gd name="adj" fmla="val 0"/>
            </a:avLst>
          </a:prstGeom>
          <a:solidFill>
            <a:schemeClr val="accent1"/>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a:solidFill>
                  <a:schemeClr val="bg1"/>
                </a:solidFill>
              </a:rPr>
              <a:t>Role</a:t>
            </a:r>
          </a:p>
        </p:txBody>
      </p:sp>
      <p:cxnSp>
        <p:nvCxnSpPr>
          <p:cNvPr id="15" name="Straight Connector 14">
            <a:extLst>
              <a:ext uri="{FF2B5EF4-FFF2-40B4-BE49-F238E27FC236}">
                <a16:creationId xmlns:a16="http://schemas.microsoft.com/office/drawing/2014/main" id="{0CA6E292-9FC6-A507-E527-A67C2DD446B9}"/>
              </a:ext>
            </a:extLst>
          </p:cNvPr>
          <p:cNvCxnSpPr>
            <a:stCxn id="10" idx="2"/>
            <a:endCxn id="12" idx="0"/>
          </p:cNvCxnSpPr>
          <p:nvPr/>
        </p:nvCxnSpPr>
        <p:spPr bwMode="auto">
          <a:xfrm flipH="1">
            <a:off x="3924283" y="2859781"/>
            <a:ext cx="3820" cy="315276"/>
          </a:xfrm>
          <a:prstGeom prst="line">
            <a:avLst/>
          </a:prstGeom>
          <a:solidFill>
            <a:schemeClr val="accent1"/>
          </a:solidFill>
          <a:ln w="9525" cap="flat" cmpd="sng" algn="ctr">
            <a:solidFill>
              <a:srgbClr val="778888"/>
            </a:solidFill>
            <a:prstDash val="solid"/>
            <a:round/>
            <a:headEnd type="none" w="med" len="med"/>
            <a:tailEnd type="none" w="med" len="med"/>
          </a:ln>
          <a:effectLst/>
        </p:spPr>
      </p:cxnSp>
      <p:sp>
        <p:nvSpPr>
          <p:cNvPr id="16" name="Rectangle 19">
            <a:extLst>
              <a:ext uri="{FF2B5EF4-FFF2-40B4-BE49-F238E27FC236}">
                <a16:creationId xmlns:a16="http://schemas.microsoft.com/office/drawing/2014/main" id="{8C4C40D4-8D7C-88E0-A903-708C243CEBF4}"/>
              </a:ext>
            </a:extLst>
          </p:cNvPr>
          <p:cNvSpPr>
            <a:spLocks noChangeArrowheads="1"/>
          </p:cNvSpPr>
          <p:nvPr/>
        </p:nvSpPr>
        <p:spPr bwMode="auto">
          <a:xfrm>
            <a:off x="2177521" y="3175058"/>
            <a:ext cx="3493526" cy="1182688"/>
          </a:xfrm>
          <a:prstGeom prst="rect">
            <a:avLst/>
          </a:prstGeom>
          <a:noFill/>
          <a:ln w="12700">
            <a:solidFill>
              <a:schemeClr val="tx2">
                <a:lumMod val="60000"/>
                <a:lumOff val="40000"/>
              </a:schemeClr>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marL="571500" indent="-112713" algn="ctr">
              <a:buClr>
                <a:schemeClr val="folHlink"/>
              </a:buClr>
              <a:defRPr/>
            </a:pPr>
            <a:endParaRPr lang="en-US" sz="1100">
              <a:solidFill>
                <a:schemeClr val="bg1"/>
              </a:solidFill>
            </a:endParaRPr>
          </a:p>
        </p:txBody>
      </p:sp>
      <p:sp>
        <p:nvSpPr>
          <p:cNvPr id="17" name="Rectangle 19">
            <a:extLst>
              <a:ext uri="{FF2B5EF4-FFF2-40B4-BE49-F238E27FC236}">
                <a16:creationId xmlns:a16="http://schemas.microsoft.com/office/drawing/2014/main" id="{D2F3C20E-FCCB-039B-F57C-4A67C6405A95}"/>
              </a:ext>
            </a:extLst>
          </p:cNvPr>
          <p:cNvSpPr>
            <a:spLocks noChangeArrowheads="1"/>
          </p:cNvSpPr>
          <p:nvPr/>
        </p:nvSpPr>
        <p:spPr bwMode="auto">
          <a:xfrm>
            <a:off x="6529769" y="3175058"/>
            <a:ext cx="3494341" cy="344487"/>
          </a:xfrm>
          <a:prstGeom prst="rect">
            <a:avLst/>
          </a:prstGeom>
          <a:solidFill>
            <a:schemeClr val="tx2"/>
          </a:solidFill>
          <a:ln>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algn="ctr">
              <a:buClr>
                <a:schemeClr val="folHlink"/>
              </a:buClr>
              <a:defRPr/>
            </a:pPr>
            <a:r>
              <a:rPr lang="en-US" sz="1200" b="1">
                <a:solidFill>
                  <a:schemeClr val="bg1"/>
                </a:solidFill>
              </a:rPr>
              <a:t>Team 2</a:t>
            </a:r>
          </a:p>
        </p:txBody>
      </p:sp>
      <p:sp>
        <p:nvSpPr>
          <p:cNvPr id="18" name="AutoShape 3">
            <a:extLst>
              <a:ext uri="{FF2B5EF4-FFF2-40B4-BE49-F238E27FC236}">
                <a16:creationId xmlns:a16="http://schemas.microsoft.com/office/drawing/2014/main" id="{0557ED67-922A-16E5-3C25-78D3152EA89B}"/>
              </a:ext>
            </a:extLst>
          </p:cNvPr>
          <p:cNvSpPr>
            <a:spLocks noChangeArrowheads="1"/>
          </p:cNvSpPr>
          <p:nvPr/>
        </p:nvSpPr>
        <p:spPr bwMode="auto">
          <a:xfrm>
            <a:off x="6838640" y="3644806"/>
            <a:ext cx="2902685" cy="230657"/>
          </a:xfrm>
          <a:prstGeom prst="roundRect">
            <a:avLst>
              <a:gd name="adj" fmla="val 0"/>
            </a:avLst>
          </a:prstGeom>
          <a:solidFill>
            <a:srgbClr val="C00000"/>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a:solidFill>
                  <a:schemeClr val="bg1"/>
                </a:solidFill>
              </a:rPr>
              <a:t>Senior Program Manager</a:t>
            </a:r>
          </a:p>
        </p:txBody>
      </p:sp>
      <p:cxnSp>
        <p:nvCxnSpPr>
          <p:cNvPr id="19" name="Straight Connector 18">
            <a:extLst>
              <a:ext uri="{FF2B5EF4-FFF2-40B4-BE49-F238E27FC236}">
                <a16:creationId xmlns:a16="http://schemas.microsoft.com/office/drawing/2014/main" id="{481CB2CC-FF1A-F19E-233F-1443B96C07E3}"/>
              </a:ext>
            </a:extLst>
          </p:cNvPr>
          <p:cNvCxnSpPr>
            <a:stCxn id="11" idx="2"/>
            <a:endCxn id="17" idx="0"/>
          </p:cNvCxnSpPr>
          <p:nvPr/>
        </p:nvCxnSpPr>
        <p:spPr bwMode="auto">
          <a:xfrm rot="16200000" flipH="1">
            <a:off x="8118560" y="3016676"/>
            <a:ext cx="315277" cy="1485"/>
          </a:xfrm>
          <a:prstGeom prst="line">
            <a:avLst/>
          </a:prstGeom>
          <a:solidFill>
            <a:schemeClr val="accent1"/>
          </a:solidFill>
          <a:ln w="9525" cap="flat" cmpd="sng" algn="ctr">
            <a:solidFill>
              <a:srgbClr val="778888"/>
            </a:solidFill>
            <a:prstDash val="solid"/>
            <a:round/>
            <a:headEnd type="none" w="med" len="med"/>
            <a:tailEnd type="none" w="med" len="med"/>
          </a:ln>
          <a:effectLst/>
        </p:spPr>
      </p:cxnSp>
      <p:sp>
        <p:nvSpPr>
          <p:cNvPr id="20" name="Rectangle 19">
            <a:extLst>
              <a:ext uri="{FF2B5EF4-FFF2-40B4-BE49-F238E27FC236}">
                <a16:creationId xmlns:a16="http://schemas.microsoft.com/office/drawing/2014/main" id="{4D64388D-4A30-0B24-4925-374A929C4CF3}"/>
              </a:ext>
            </a:extLst>
          </p:cNvPr>
          <p:cNvSpPr>
            <a:spLocks noChangeArrowheads="1"/>
          </p:cNvSpPr>
          <p:nvPr/>
        </p:nvSpPr>
        <p:spPr bwMode="auto">
          <a:xfrm>
            <a:off x="6529769" y="3175058"/>
            <a:ext cx="3494341" cy="1549400"/>
          </a:xfrm>
          <a:prstGeom prst="rect">
            <a:avLst/>
          </a:prstGeom>
          <a:noFill/>
          <a:ln w="12700">
            <a:solidFill>
              <a:schemeClr val="tx2">
                <a:lumMod val="60000"/>
                <a:lumOff val="40000"/>
              </a:schemeClr>
            </a:solid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marL="571500" indent="-112713" algn="ctr">
              <a:buClr>
                <a:schemeClr val="folHlink"/>
              </a:buClr>
              <a:defRPr/>
            </a:pPr>
            <a:endParaRPr lang="en-US" sz="1100">
              <a:solidFill>
                <a:schemeClr val="bg1"/>
              </a:solidFill>
            </a:endParaRPr>
          </a:p>
        </p:txBody>
      </p:sp>
      <p:cxnSp>
        <p:nvCxnSpPr>
          <p:cNvPr id="21" name="Straight Connector 20">
            <a:extLst>
              <a:ext uri="{FF2B5EF4-FFF2-40B4-BE49-F238E27FC236}">
                <a16:creationId xmlns:a16="http://schemas.microsoft.com/office/drawing/2014/main" id="{F9FF537B-BA00-33E3-157B-33FF6ABE5A3D}"/>
              </a:ext>
            </a:extLst>
          </p:cNvPr>
          <p:cNvCxnSpPr>
            <a:stCxn id="18" idx="2"/>
            <a:endCxn id="29" idx="0"/>
          </p:cNvCxnSpPr>
          <p:nvPr/>
        </p:nvCxnSpPr>
        <p:spPr bwMode="auto">
          <a:xfrm rot="16200000" flipH="1">
            <a:off x="8227850" y="3937596"/>
            <a:ext cx="125261" cy="992"/>
          </a:xfrm>
          <a:prstGeom prst="line">
            <a:avLst/>
          </a:prstGeom>
          <a:solidFill>
            <a:schemeClr val="accent1"/>
          </a:solidFill>
          <a:ln w="9525" cap="flat" cmpd="sng" algn="ctr">
            <a:solidFill>
              <a:srgbClr val="778888"/>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DDBAA254-4E40-920E-05B9-78C693739006}"/>
              </a:ext>
            </a:extLst>
          </p:cNvPr>
          <p:cNvCxnSpPr/>
          <p:nvPr/>
        </p:nvCxnSpPr>
        <p:spPr bwMode="auto">
          <a:xfrm rot="5400000">
            <a:off x="7352790" y="4293452"/>
            <a:ext cx="214313" cy="0"/>
          </a:xfrm>
          <a:prstGeom prst="line">
            <a:avLst/>
          </a:prstGeom>
          <a:solidFill>
            <a:schemeClr val="accent1"/>
          </a:solidFill>
          <a:ln w="9525" cap="flat" cmpd="sng" algn="ctr">
            <a:solidFill>
              <a:srgbClr val="778888"/>
            </a:solidFill>
            <a:prstDash val="solid"/>
            <a:round/>
            <a:headEnd type="none" w="med" len="med"/>
            <a:tailEnd type="none" w="med" len="med"/>
          </a:ln>
          <a:effectLst/>
        </p:spPr>
      </p:cxnSp>
      <p:cxnSp>
        <p:nvCxnSpPr>
          <p:cNvPr id="23" name="Straight Connector 22">
            <a:extLst>
              <a:ext uri="{FF2B5EF4-FFF2-40B4-BE49-F238E27FC236}">
                <a16:creationId xmlns:a16="http://schemas.microsoft.com/office/drawing/2014/main" id="{9142A327-47F3-0DA0-7304-B805E2541E39}"/>
              </a:ext>
            </a:extLst>
          </p:cNvPr>
          <p:cNvCxnSpPr/>
          <p:nvPr/>
        </p:nvCxnSpPr>
        <p:spPr bwMode="auto">
          <a:xfrm rot="5400000">
            <a:off x="8739607" y="4293453"/>
            <a:ext cx="214313" cy="0"/>
          </a:xfrm>
          <a:prstGeom prst="line">
            <a:avLst/>
          </a:prstGeom>
          <a:solidFill>
            <a:schemeClr val="accent1"/>
          </a:solidFill>
          <a:ln w="9525" cap="flat" cmpd="sng" algn="ctr">
            <a:solidFill>
              <a:srgbClr val="778888"/>
            </a:solidFill>
            <a:prstDash val="solid"/>
            <a:round/>
            <a:headEnd type="none" w="med" len="med"/>
            <a:tailEnd type="none" w="med" len="med"/>
          </a:ln>
          <a:effectLst/>
        </p:spPr>
      </p:cxnSp>
      <p:sp>
        <p:nvSpPr>
          <p:cNvPr id="24" name="AutoShape 3">
            <a:extLst>
              <a:ext uri="{FF2B5EF4-FFF2-40B4-BE49-F238E27FC236}">
                <a16:creationId xmlns:a16="http://schemas.microsoft.com/office/drawing/2014/main" id="{05477F24-3722-93DE-86BE-96E06B209F32}"/>
              </a:ext>
            </a:extLst>
          </p:cNvPr>
          <p:cNvSpPr>
            <a:spLocks noChangeArrowheads="1"/>
          </p:cNvSpPr>
          <p:nvPr/>
        </p:nvSpPr>
        <p:spPr bwMode="auto">
          <a:xfrm>
            <a:off x="6838642" y="4356006"/>
            <a:ext cx="1257855" cy="230657"/>
          </a:xfrm>
          <a:prstGeom prst="roundRect">
            <a:avLst>
              <a:gd name="adj" fmla="val 0"/>
            </a:avLst>
          </a:prstGeom>
          <a:solidFill>
            <a:srgbClr val="C00000"/>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a:solidFill>
                  <a:schemeClr val="bg1"/>
                </a:solidFill>
              </a:rPr>
              <a:t>Consultant</a:t>
            </a:r>
          </a:p>
        </p:txBody>
      </p:sp>
      <p:sp>
        <p:nvSpPr>
          <p:cNvPr id="25" name="AutoShape 3">
            <a:extLst>
              <a:ext uri="{FF2B5EF4-FFF2-40B4-BE49-F238E27FC236}">
                <a16:creationId xmlns:a16="http://schemas.microsoft.com/office/drawing/2014/main" id="{589D4530-B1AC-FDBF-B68F-C5A93D6B97C8}"/>
              </a:ext>
            </a:extLst>
          </p:cNvPr>
          <p:cNvSpPr>
            <a:spLocks noChangeArrowheads="1"/>
          </p:cNvSpPr>
          <p:nvPr/>
        </p:nvSpPr>
        <p:spPr bwMode="auto">
          <a:xfrm>
            <a:off x="8225458" y="4356006"/>
            <a:ext cx="1257855" cy="230657"/>
          </a:xfrm>
          <a:prstGeom prst="roundRect">
            <a:avLst>
              <a:gd name="adj" fmla="val 0"/>
            </a:avLst>
          </a:prstGeom>
          <a:solidFill>
            <a:srgbClr val="C00000"/>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a:solidFill>
                  <a:schemeClr val="bg1"/>
                </a:solidFill>
              </a:rPr>
              <a:t>Analyst</a:t>
            </a:r>
          </a:p>
        </p:txBody>
      </p:sp>
      <p:sp>
        <p:nvSpPr>
          <p:cNvPr id="26" name="AutoShape 3">
            <a:extLst>
              <a:ext uri="{FF2B5EF4-FFF2-40B4-BE49-F238E27FC236}">
                <a16:creationId xmlns:a16="http://schemas.microsoft.com/office/drawing/2014/main" id="{16B5B702-C115-19B3-623D-4FA6355C1ABE}"/>
              </a:ext>
            </a:extLst>
          </p:cNvPr>
          <p:cNvSpPr>
            <a:spLocks noChangeArrowheads="1"/>
          </p:cNvSpPr>
          <p:nvPr/>
        </p:nvSpPr>
        <p:spPr bwMode="auto">
          <a:xfrm>
            <a:off x="6839456" y="5395302"/>
            <a:ext cx="2902685" cy="230657"/>
          </a:xfrm>
          <a:prstGeom prst="roundRect">
            <a:avLst>
              <a:gd name="adj" fmla="val 0"/>
            </a:avLst>
          </a:prstGeom>
          <a:solidFill>
            <a:schemeClr val="accent4"/>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a:solidFill>
                  <a:schemeClr val="bg1"/>
                </a:solidFill>
              </a:rPr>
              <a:t>Consultant</a:t>
            </a:r>
          </a:p>
        </p:txBody>
      </p:sp>
      <p:sp>
        <p:nvSpPr>
          <p:cNvPr id="27" name="AutoShape 3">
            <a:extLst>
              <a:ext uri="{FF2B5EF4-FFF2-40B4-BE49-F238E27FC236}">
                <a16:creationId xmlns:a16="http://schemas.microsoft.com/office/drawing/2014/main" id="{A4B8A50C-7C86-6419-085A-B326FC9C12B9}"/>
              </a:ext>
            </a:extLst>
          </p:cNvPr>
          <p:cNvSpPr>
            <a:spLocks noChangeArrowheads="1"/>
          </p:cNvSpPr>
          <p:nvPr/>
        </p:nvSpPr>
        <p:spPr bwMode="auto">
          <a:xfrm>
            <a:off x="6839456" y="5751220"/>
            <a:ext cx="2902685" cy="230657"/>
          </a:xfrm>
          <a:prstGeom prst="roundRect">
            <a:avLst>
              <a:gd name="adj" fmla="val 0"/>
            </a:avLst>
          </a:prstGeom>
          <a:solidFill>
            <a:schemeClr val="accent4"/>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a:solidFill>
                  <a:schemeClr val="bg1"/>
                </a:solidFill>
              </a:rPr>
              <a:t>Analyst</a:t>
            </a:r>
          </a:p>
        </p:txBody>
      </p:sp>
      <p:cxnSp>
        <p:nvCxnSpPr>
          <p:cNvPr id="28" name="Straight Connector 27">
            <a:extLst>
              <a:ext uri="{FF2B5EF4-FFF2-40B4-BE49-F238E27FC236}">
                <a16:creationId xmlns:a16="http://schemas.microsoft.com/office/drawing/2014/main" id="{E837DDE1-8C8C-67DA-AA58-02BEDAF7A996}"/>
              </a:ext>
            </a:extLst>
          </p:cNvPr>
          <p:cNvCxnSpPr/>
          <p:nvPr/>
        </p:nvCxnSpPr>
        <p:spPr bwMode="auto">
          <a:xfrm rot="5400000">
            <a:off x="9225100" y="4574915"/>
            <a:ext cx="754380" cy="0"/>
          </a:xfrm>
          <a:prstGeom prst="line">
            <a:avLst/>
          </a:prstGeom>
          <a:solidFill>
            <a:schemeClr val="accent1"/>
          </a:solidFill>
          <a:ln w="9525" cap="flat" cmpd="sng" algn="ctr">
            <a:solidFill>
              <a:srgbClr val="778888"/>
            </a:solidFill>
            <a:prstDash val="solid"/>
            <a:round/>
            <a:headEnd type="none" w="med" len="med"/>
            <a:tailEnd type="none" w="med" len="med"/>
          </a:ln>
          <a:effectLst/>
        </p:spPr>
      </p:cxnSp>
      <p:sp>
        <p:nvSpPr>
          <p:cNvPr id="29" name="AutoShape 3">
            <a:extLst>
              <a:ext uri="{FF2B5EF4-FFF2-40B4-BE49-F238E27FC236}">
                <a16:creationId xmlns:a16="http://schemas.microsoft.com/office/drawing/2014/main" id="{C7913E96-6FBA-8C05-ED2C-BFBE0909DA62}"/>
              </a:ext>
            </a:extLst>
          </p:cNvPr>
          <p:cNvSpPr>
            <a:spLocks noChangeArrowheads="1"/>
          </p:cNvSpPr>
          <p:nvPr/>
        </p:nvSpPr>
        <p:spPr bwMode="auto">
          <a:xfrm>
            <a:off x="6838639" y="4000724"/>
            <a:ext cx="2904671" cy="230657"/>
          </a:xfrm>
          <a:prstGeom prst="roundRect">
            <a:avLst>
              <a:gd name="adj" fmla="val 0"/>
            </a:avLst>
          </a:prstGeom>
          <a:solidFill>
            <a:srgbClr val="C00000"/>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anchor="ctr"/>
          <a:lstStyle/>
          <a:p>
            <a:pPr algn="ctr">
              <a:lnSpc>
                <a:spcPct val="100000"/>
              </a:lnSpc>
              <a:spcBef>
                <a:spcPct val="20000"/>
              </a:spcBef>
              <a:defRPr/>
            </a:pPr>
            <a:r>
              <a:rPr lang="en-US" sz="1100" err="1">
                <a:solidFill>
                  <a:schemeClr val="bg1"/>
                </a:solidFill>
              </a:rPr>
              <a:t>Projetct</a:t>
            </a:r>
            <a:r>
              <a:rPr lang="en-US" sz="1100">
                <a:solidFill>
                  <a:schemeClr val="bg1"/>
                </a:solidFill>
              </a:rPr>
              <a:t> Manager</a:t>
            </a:r>
          </a:p>
        </p:txBody>
      </p:sp>
      <p:sp>
        <p:nvSpPr>
          <p:cNvPr id="30" name="Rectangle 19">
            <a:extLst>
              <a:ext uri="{FF2B5EF4-FFF2-40B4-BE49-F238E27FC236}">
                <a16:creationId xmlns:a16="http://schemas.microsoft.com/office/drawing/2014/main" id="{695D3ECF-E6CC-824C-4EB0-8F6DAD4D578A}"/>
              </a:ext>
            </a:extLst>
          </p:cNvPr>
          <p:cNvSpPr>
            <a:spLocks noChangeArrowheads="1"/>
          </p:cNvSpPr>
          <p:nvPr/>
        </p:nvSpPr>
        <p:spPr bwMode="auto">
          <a:xfrm>
            <a:off x="6530584" y="4925554"/>
            <a:ext cx="3493526" cy="344487"/>
          </a:xfrm>
          <a:prstGeom prst="rect">
            <a:avLst/>
          </a:prstGeom>
          <a:solidFill>
            <a:schemeClr val="tx2"/>
          </a:solidFill>
          <a:ln>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45720" rIns="45720" anchor="ctr"/>
          <a:lstStyle/>
          <a:p>
            <a:pPr algn="ctr">
              <a:buClr>
                <a:schemeClr val="folHlink"/>
              </a:buClr>
              <a:defRPr/>
            </a:pPr>
            <a:r>
              <a:rPr lang="en-US" sz="1200" b="1">
                <a:solidFill>
                  <a:schemeClr val="bg1"/>
                </a:solidFill>
              </a:rPr>
              <a:t>Team 3</a:t>
            </a:r>
          </a:p>
        </p:txBody>
      </p:sp>
    </p:spTree>
    <p:extLst>
      <p:ext uri="{BB962C8B-B14F-4D97-AF65-F5344CB8AC3E}">
        <p14:creationId xmlns:p14="http://schemas.microsoft.com/office/powerpoint/2010/main" val="33453089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2413FF-D18A-11FA-9CB2-5E0B8F0D0A8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148A81B-17EC-B98D-F304-F35B50FECBA4}"/>
              </a:ext>
            </a:extLst>
          </p:cNvPr>
          <p:cNvSpPr>
            <a:spLocks noGrp="1"/>
          </p:cNvSpPr>
          <p:nvPr>
            <p:ph type="title"/>
          </p:nvPr>
        </p:nvSpPr>
        <p:spPr/>
        <p:txBody>
          <a:bodyPr/>
          <a:lstStyle/>
          <a:p>
            <a:r>
              <a:rPr lang="pt-BR"/>
              <a:t>06</a:t>
            </a:r>
            <a:r>
              <a:rPr lang="en-BR"/>
              <a:t> | </a:t>
            </a:r>
            <a:r>
              <a:rPr lang="pt-BR" err="1"/>
              <a:t>Steerco</a:t>
            </a:r>
            <a:r>
              <a:rPr lang="pt-BR"/>
              <a:t> Slides</a:t>
            </a:r>
            <a:endParaRPr lang="en-BR"/>
          </a:p>
        </p:txBody>
      </p:sp>
      <p:sp>
        <p:nvSpPr>
          <p:cNvPr id="3" name="Footer Placeholder 2">
            <a:extLst>
              <a:ext uri="{FF2B5EF4-FFF2-40B4-BE49-F238E27FC236}">
                <a16:creationId xmlns:a16="http://schemas.microsoft.com/office/drawing/2014/main" id="{FEFBAFCE-CFF5-1419-DCEE-005B4AF391F9}"/>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BFF96F71-7BBC-6853-FED2-E3096092E586}"/>
              </a:ext>
            </a:extLst>
          </p:cNvPr>
          <p:cNvSpPr>
            <a:spLocks noGrp="1"/>
          </p:cNvSpPr>
          <p:nvPr>
            <p:ph type="sldNum" sz="quarter" idx="12"/>
          </p:nvPr>
        </p:nvSpPr>
        <p:spPr/>
        <p:txBody>
          <a:bodyPr/>
          <a:lstStyle/>
          <a:p>
            <a:fld id="{A8DDC45B-7265-3747-B738-ED29642119D9}" type="slidenum">
              <a:rPr lang="en-BR" smtClean="0"/>
              <a:pPr/>
              <a:t>43</a:t>
            </a:fld>
            <a:endParaRPr lang="en-BR"/>
          </a:p>
        </p:txBody>
      </p:sp>
      <p:sp>
        <p:nvSpPr>
          <p:cNvPr id="9" name="TextBox 8">
            <a:hlinkClick r:id="rId2" action="ppaction://hlinksldjump"/>
            <a:extLst>
              <a:ext uri="{FF2B5EF4-FFF2-40B4-BE49-F238E27FC236}">
                <a16:creationId xmlns:a16="http://schemas.microsoft.com/office/drawing/2014/main" id="{0DC9D3A2-10C7-0E4E-BEC1-BA4529012F59}"/>
              </a:ext>
            </a:extLst>
          </p:cNvPr>
          <p:cNvSpPr txBox="1"/>
          <p:nvPr/>
        </p:nvSpPr>
        <p:spPr>
          <a:xfrm>
            <a:off x="391754" y="780820"/>
            <a:ext cx="543739" cy="246221"/>
          </a:xfrm>
          <a:prstGeom prst="rect">
            <a:avLst/>
          </a:prstGeom>
          <a:noFill/>
        </p:spPr>
        <p:txBody>
          <a:bodyPr wrap="none" rtlCol="0">
            <a:spAutoFit/>
          </a:bodyPr>
          <a:lstStyle/>
          <a:p>
            <a:r>
              <a:rPr lang="en-BR" sz="1000">
                <a:solidFill>
                  <a:schemeClr val="accent3">
                    <a:lumMod val="60000"/>
                    <a:lumOff val="40000"/>
                  </a:schemeClr>
                </a:solidFill>
                <a:latin typeface="Segoe UI" panose="020B0502040204020203" pitchFamily="34" charset="0"/>
                <a:cs typeface="Segoe UI" panose="020B0502040204020203" pitchFamily="34" charset="0"/>
              </a:rPr>
              <a:t>INDEX</a:t>
            </a:r>
          </a:p>
        </p:txBody>
      </p:sp>
      <p:pic>
        <p:nvPicPr>
          <p:cNvPr id="10" name="Graphic 9" descr="Home with solid fill">
            <a:hlinkClick r:id="rId2" action="ppaction://hlinksldjump"/>
            <a:extLst>
              <a:ext uri="{FF2B5EF4-FFF2-40B4-BE49-F238E27FC236}">
                <a16:creationId xmlns:a16="http://schemas.microsoft.com/office/drawing/2014/main" id="{63A57D1B-C1B4-F4D3-C3A6-08DFA9CC127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1754" y="317458"/>
            <a:ext cx="543739" cy="543739"/>
          </a:xfrm>
          <a:prstGeom prst="rect">
            <a:avLst/>
          </a:prstGeom>
        </p:spPr>
      </p:pic>
    </p:spTree>
    <p:extLst>
      <p:ext uri="{BB962C8B-B14F-4D97-AF65-F5344CB8AC3E}">
        <p14:creationId xmlns:p14="http://schemas.microsoft.com/office/powerpoint/2010/main" val="12678164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0592D5-5472-B5F7-0F07-DDC09E25C62C}"/>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F635D715-A69A-7802-2BE0-14E43DA08842}"/>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DABC8F52-73FD-AC9F-139A-B846ACF2C199}"/>
              </a:ext>
            </a:extLst>
          </p:cNvPr>
          <p:cNvSpPr>
            <a:spLocks noGrp="1"/>
          </p:cNvSpPr>
          <p:nvPr>
            <p:ph type="sldNum" sz="quarter" idx="12"/>
          </p:nvPr>
        </p:nvSpPr>
        <p:spPr/>
        <p:txBody>
          <a:bodyPr/>
          <a:lstStyle/>
          <a:p>
            <a:fld id="{A8DDC45B-7265-3747-B738-ED29642119D9}" type="slidenum">
              <a:rPr lang="en-BR" smtClean="0"/>
              <a:pPr/>
              <a:t>44</a:t>
            </a:fld>
            <a:endParaRPr lang="en-BR"/>
          </a:p>
        </p:txBody>
      </p:sp>
      <p:sp>
        <p:nvSpPr>
          <p:cNvPr id="5" name="Text Placeholder 2">
            <a:extLst>
              <a:ext uri="{FF2B5EF4-FFF2-40B4-BE49-F238E27FC236}">
                <a16:creationId xmlns:a16="http://schemas.microsoft.com/office/drawing/2014/main" id="{6D285AA4-D128-0B13-8433-D938812959DD}"/>
              </a:ext>
            </a:extLst>
          </p:cNvPr>
          <p:cNvSpPr txBox="1">
            <a:spLocks/>
          </p:cNvSpPr>
          <p:nvPr/>
        </p:nvSpPr>
        <p:spPr>
          <a:xfrm>
            <a:off x="338667" y="2038854"/>
            <a:ext cx="5589056" cy="3756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lumMod val="75000"/>
                    <a:lumOff val="25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solidFill>
                  <a:schemeClr val="bg1"/>
                </a:solidFill>
              </a:rPr>
              <a:t>Depending on the client, you might need to create the presentation using their specific slides/branding.  Here is a presentation that can be leveraged for Sanofi: </a:t>
            </a:r>
            <a:r>
              <a:rPr kumimoji="0" lang="en-US" altLang="en-US" sz="1400" b="0" i="0" u="none" strike="noStrike" cap="none" normalizeH="0" baseline="0">
                <a:ln>
                  <a:noFill/>
                </a:ln>
                <a:solidFill>
                  <a:schemeClr val="tx1"/>
                </a:solidFill>
                <a:effectLst/>
                <a:latin typeface="Arial" panose="020B0604020202020204" pitchFamily="34" charset="0"/>
                <a:hlinkClick r:id="rId2"/>
              </a:rPr>
              <a:t>Sample </a:t>
            </a:r>
            <a:r>
              <a:rPr kumimoji="0" lang="en-US" altLang="en-US" sz="1400" b="0" i="0" u="none" strike="noStrike" cap="none" normalizeH="0" baseline="0" err="1">
                <a:ln>
                  <a:noFill/>
                </a:ln>
                <a:solidFill>
                  <a:schemeClr val="tx1"/>
                </a:solidFill>
                <a:effectLst/>
                <a:latin typeface="Arial" panose="020B0604020202020204" pitchFamily="34" charset="0"/>
                <a:hlinkClick r:id="rId2"/>
              </a:rPr>
              <a:t>Streeco</a:t>
            </a:r>
            <a:r>
              <a:rPr kumimoji="0" lang="en-US" altLang="en-US" sz="1400" b="0" i="0" u="none" strike="noStrike" cap="none" normalizeH="0" baseline="0">
                <a:ln>
                  <a:noFill/>
                </a:ln>
                <a:solidFill>
                  <a:schemeClr val="tx1"/>
                </a:solidFill>
                <a:effectLst/>
                <a:latin typeface="Arial" panose="020B0604020202020204" pitchFamily="34" charset="0"/>
                <a:hlinkClick r:id="rId2"/>
              </a:rPr>
              <a:t> Slides</a:t>
            </a:r>
            <a:endParaRPr lang="en-US" sz="1400">
              <a:solidFill>
                <a:schemeClr val="bg1"/>
              </a:solidFill>
            </a:endParaRPr>
          </a:p>
        </p:txBody>
      </p:sp>
      <p:sp>
        <p:nvSpPr>
          <p:cNvPr id="7" name="Text Placeholder 10">
            <a:extLst>
              <a:ext uri="{FF2B5EF4-FFF2-40B4-BE49-F238E27FC236}">
                <a16:creationId xmlns:a16="http://schemas.microsoft.com/office/drawing/2014/main" id="{1997290B-110E-9EA0-AC03-4B396026774A}"/>
              </a:ext>
            </a:extLst>
          </p:cNvPr>
          <p:cNvSpPr txBox="1">
            <a:spLocks/>
          </p:cNvSpPr>
          <p:nvPr/>
        </p:nvSpPr>
        <p:spPr bwMode="auto">
          <a:xfrm>
            <a:off x="487892" y="901443"/>
            <a:ext cx="11367557" cy="685786"/>
          </a:xfrm>
          <a:prstGeom prst="rect">
            <a:avLst/>
          </a:prstGeom>
        </p:spPr>
        <p:txBody>
          <a:bodyPr lIns="0" tIns="180000" rIns="0" bIns="0"/>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2"/>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2"/>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1800" b="0" i="0" kern="1200" cap="none" baseline="0">
                <a:solidFill>
                  <a:schemeClr val="tx2"/>
                </a:solidFill>
                <a:latin typeface="+mn-lt"/>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r>
              <a:rPr lang="en-IE" sz="1600">
                <a:solidFill>
                  <a:schemeClr val="bg1">
                    <a:lumMod val="85000"/>
                  </a:schemeClr>
                </a:solidFill>
                <a:latin typeface="Segoe UI" panose="020B0502040204020203" pitchFamily="34" charset="0"/>
                <a:cs typeface="Segoe UI" panose="020B0502040204020203" pitchFamily="34" charset="0"/>
              </a:rPr>
              <a:t>These slides are to be leveraged as a starting point. </a:t>
            </a:r>
            <a:endParaRPr lang="en-US" sz="1600">
              <a:solidFill>
                <a:schemeClr val="bg1">
                  <a:lumMod val="85000"/>
                </a:schemeClr>
              </a:solidFill>
              <a:latin typeface="Segoe UI" panose="020B0502040204020203" pitchFamily="34" charset="0"/>
              <a:cs typeface="Segoe UI" panose="020B0502040204020203" pitchFamily="34" charset="0"/>
            </a:endParaRPr>
          </a:p>
        </p:txBody>
      </p:sp>
      <p:sp>
        <p:nvSpPr>
          <p:cNvPr id="8" name="Text Placeholder 10">
            <a:extLst>
              <a:ext uri="{FF2B5EF4-FFF2-40B4-BE49-F238E27FC236}">
                <a16:creationId xmlns:a16="http://schemas.microsoft.com/office/drawing/2014/main" id="{49A6A1DF-B02C-261D-D479-9DEE198FF4F0}"/>
              </a:ext>
            </a:extLst>
          </p:cNvPr>
          <p:cNvSpPr txBox="1">
            <a:spLocks/>
          </p:cNvSpPr>
          <p:nvPr/>
        </p:nvSpPr>
        <p:spPr bwMode="auto">
          <a:xfrm>
            <a:off x="490008" y="1550832"/>
            <a:ext cx="11367557" cy="685786"/>
          </a:xfrm>
          <a:prstGeom prst="rect">
            <a:avLst/>
          </a:prstGeom>
        </p:spPr>
        <p:txBody>
          <a:bodyPr lIns="0" tIns="180000" rIns="0" bIns="0"/>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2"/>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2"/>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1800" b="0" i="0" kern="1200" cap="none" baseline="0">
                <a:solidFill>
                  <a:schemeClr val="tx2"/>
                </a:solidFill>
                <a:latin typeface="+mn-lt"/>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r>
              <a:rPr lang="en-IE" sz="1600">
                <a:solidFill>
                  <a:schemeClr val="bg1"/>
                </a:solidFill>
                <a:latin typeface="Segoe UI" panose="020B0502040204020203" pitchFamily="34" charset="0"/>
                <a:cs typeface="Segoe UI" panose="020B0502040204020203" pitchFamily="34" charset="0"/>
              </a:rPr>
              <a:t>Other considerations</a:t>
            </a:r>
            <a:endParaRPr lang="en-US" sz="1600">
              <a:solidFill>
                <a:schemeClr val="bg1"/>
              </a:solidFill>
              <a:latin typeface="Segoe UI" panose="020B0502040204020203" pitchFamily="34" charset="0"/>
              <a:cs typeface="Segoe UI" panose="020B0502040204020203" pitchFamily="34" charset="0"/>
            </a:endParaRPr>
          </a:p>
        </p:txBody>
      </p:sp>
      <p:sp>
        <p:nvSpPr>
          <p:cNvPr id="11" name="Title 1">
            <a:extLst>
              <a:ext uri="{FF2B5EF4-FFF2-40B4-BE49-F238E27FC236}">
                <a16:creationId xmlns:a16="http://schemas.microsoft.com/office/drawing/2014/main" id="{59CB908E-B78C-96C8-808A-CD68A0AF8488}"/>
              </a:ext>
            </a:extLst>
          </p:cNvPr>
          <p:cNvSpPr>
            <a:spLocks noGrp="1"/>
          </p:cNvSpPr>
          <p:nvPr>
            <p:ph type="title"/>
          </p:nvPr>
        </p:nvSpPr>
        <p:spPr>
          <a:xfrm>
            <a:off x="338667" y="252054"/>
            <a:ext cx="11518371" cy="729021"/>
          </a:xfrm>
        </p:spPr>
        <p:txBody>
          <a:bodyPr>
            <a:normAutofit/>
          </a:bodyPr>
          <a:lstStyle/>
          <a:p>
            <a:r>
              <a:rPr lang="en-US" sz="4400"/>
              <a:t>Key Points</a:t>
            </a:r>
            <a:endParaRPr lang="en-BR" sz="4400"/>
          </a:p>
        </p:txBody>
      </p:sp>
      <p:sp>
        <p:nvSpPr>
          <p:cNvPr id="10" name="Text Placeholder 2">
            <a:extLst>
              <a:ext uri="{FF2B5EF4-FFF2-40B4-BE49-F238E27FC236}">
                <a16:creationId xmlns:a16="http://schemas.microsoft.com/office/drawing/2014/main" id="{E168EC47-2936-1B53-6E0E-AC9C6349B446}"/>
              </a:ext>
            </a:extLst>
          </p:cNvPr>
          <p:cNvSpPr txBox="1">
            <a:spLocks/>
          </p:cNvSpPr>
          <p:nvPr/>
        </p:nvSpPr>
        <p:spPr>
          <a:xfrm>
            <a:off x="5927723" y="2036912"/>
            <a:ext cx="5589056" cy="37566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lumMod val="75000"/>
                    <a:lumOff val="25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solidFill>
                  <a:schemeClr val="bg1"/>
                </a:solidFill>
              </a:rPr>
              <a:t>The Steerco Deck should have the following content:</a:t>
            </a:r>
          </a:p>
          <a:p>
            <a:pPr lvl="1"/>
            <a:r>
              <a:rPr lang="en-US" sz="1400">
                <a:solidFill>
                  <a:schemeClr val="bg1"/>
                </a:solidFill>
              </a:rPr>
              <a:t>Executive Summary</a:t>
            </a:r>
          </a:p>
          <a:p>
            <a:pPr lvl="1"/>
            <a:r>
              <a:rPr lang="en-US" sz="1400">
                <a:solidFill>
                  <a:schemeClr val="bg1"/>
                </a:solidFill>
              </a:rPr>
              <a:t>Project / Program Status Update</a:t>
            </a:r>
          </a:p>
          <a:p>
            <a:pPr lvl="2"/>
            <a:r>
              <a:rPr lang="en-US" sz="1200">
                <a:solidFill>
                  <a:schemeClr val="bg1"/>
                </a:solidFill>
              </a:rPr>
              <a:t>Progress since last meeting</a:t>
            </a:r>
          </a:p>
          <a:p>
            <a:pPr lvl="2"/>
            <a:r>
              <a:rPr lang="en-US" sz="1200">
                <a:solidFill>
                  <a:schemeClr val="bg1"/>
                </a:solidFill>
              </a:rPr>
              <a:t>Milestones</a:t>
            </a:r>
          </a:p>
          <a:p>
            <a:pPr lvl="2"/>
            <a:r>
              <a:rPr lang="en-US" sz="1200">
                <a:solidFill>
                  <a:schemeClr val="bg1"/>
                </a:solidFill>
              </a:rPr>
              <a:t>Metrics</a:t>
            </a:r>
          </a:p>
          <a:p>
            <a:pPr lvl="1"/>
            <a:r>
              <a:rPr lang="en-US" sz="1400">
                <a:solidFill>
                  <a:schemeClr val="bg1"/>
                </a:solidFill>
              </a:rPr>
              <a:t>Timeline review</a:t>
            </a:r>
          </a:p>
          <a:p>
            <a:pPr lvl="1"/>
            <a:r>
              <a:rPr lang="en-US" sz="1400">
                <a:solidFill>
                  <a:schemeClr val="bg1"/>
                </a:solidFill>
              </a:rPr>
              <a:t>Other Topics </a:t>
            </a:r>
          </a:p>
          <a:p>
            <a:pPr lvl="2"/>
            <a:r>
              <a:rPr lang="en-US" sz="1200">
                <a:solidFill>
                  <a:schemeClr val="bg1"/>
                </a:solidFill>
              </a:rPr>
              <a:t>If there are specific one-off items to discuss</a:t>
            </a:r>
          </a:p>
          <a:p>
            <a:pPr lvl="1"/>
            <a:r>
              <a:rPr lang="en-US" sz="1400">
                <a:solidFill>
                  <a:schemeClr val="bg1"/>
                </a:solidFill>
              </a:rPr>
              <a:t>Risks and Issues</a:t>
            </a:r>
          </a:p>
          <a:p>
            <a:pPr lvl="1"/>
            <a:r>
              <a:rPr lang="en-US" sz="1400">
                <a:solidFill>
                  <a:schemeClr val="bg1"/>
                </a:solidFill>
              </a:rPr>
              <a:t>Decisions and Approvals</a:t>
            </a:r>
          </a:p>
          <a:p>
            <a:pPr lvl="1"/>
            <a:r>
              <a:rPr lang="en-US" sz="1400">
                <a:solidFill>
                  <a:schemeClr val="bg1"/>
                </a:solidFill>
              </a:rPr>
              <a:t>Forward-Looking View </a:t>
            </a:r>
          </a:p>
          <a:p>
            <a:pPr lvl="2"/>
            <a:r>
              <a:rPr lang="en-US" sz="1200">
                <a:solidFill>
                  <a:schemeClr val="bg1"/>
                </a:solidFill>
              </a:rPr>
              <a:t>Align on upcoming milestones and next steps</a:t>
            </a:r>
          </a:p>
        </p:txBody>
      </p:sp>
    </p:spTree>
    <p:extLst>
      <p:ext uri="{BB962C8B-B14F-4D97-AF65-F5344CB8AC3E}">
        <p14:creationId xmlns:p14="http://schemas.microsoft.com/office/powerpoint/2010/main" val="10580019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3B2E1-9655-60C4-4372-778C168A50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477E7B-EAB2-DF19-5554-D2F74F782048}"/>
              </a:ext>
            </a:extLst>
          </p:cNvPr>
          <p:cNvSpPr>
            <a:spLocks noGrp="1"/>
          </p:cNvSpPr>
          <p:nvPr>
            <p:ph type="title"/>
          </p:nvPr>
        </p:nvSpPr>
        <p:spPr/>
        <p:txBody>
          <a:bodyPr/>
          <a:lstStyle/>
          <a:p>
            <a:r>
              <a:rPr lang="en-US"/>
              <a:t>Executive Summary</a:t>
            </a:r>
            <a:endParaRPr lang="en-BR"/>
          </a:p>
        </p:txBody>
      </p:sp>
      <p:sp>
        <p:nvSpPr>
          <p:cNvPr id="3" name="Footer Placeholder 2">
            <a:extLst>
              <a:ext uri="{FF2B5EF4-FFF2-40B4-BE49-F238E27FC236}">
                <a16:creationId xmlns:a16="http://schemas.microsoft.com/office/drawing/2014/main" id="{9B3D7272-FE9B-B58F-A125-84AD9E9F5715}"/>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80F0AF9A-9C69-A7AE-9A8B-82B11A58AD68}"/>
              </a:ext>
            </a:extLst>
          </p:cNvPr>
          <p:cNvSpPr>
            <a:spLocks noGrp="1"/>
          </p:cNvSpPr>
          <p:nvPr>
            <p:ph type="sldNum" sz="quarter" idx="12"/>
          </p:nvPr>
        </p:nvSpPr>
        <p:spPr/>
        <p:txBody>
          <a:bodyPr/>
          <a:lstStyle/>
          <a:p>
            <a:fld id="{A8DDC45B-7265-3747-B738-ED29642119D9}" type="slidenum">
              <a:rPr lang="en-BR" smtClean="0"/>
              <a:pPr/>
              <a:t>45</a:t>
            </a:fld>
            <a:endParaRPr lang="en-BR"/>
          </a:p>
        </p:txBody>
      </p:sp>
      <p:sp>
        <p:nvSpPr>
          <p:cNvPr id="6" name="Left Bracket 5">
            <a:extLst>
              <a:ext uri="{FF2B5EF4-FFF2-40B4-BE49-F238E27FC236}">
                <a16:creationId xmlns:a16="http://schemas.microsoft.com/office/drawing/2014/main" id="{45C7EFB3-D06C-2B5F-CAA9-C4C96A796569}"/>
              </a:ext>
            </a:extLst>
          </p:cNvPr>
          <p:cNvSpPr/>
          <p:nvPr/>
        </p:nvSpPr>
        <p:spPr>
          <a:xfrm rot="5400000">
            <a:off x="5993486" y="-3193890"/>
            <a:ext cx="335666" cy="11385089"/>
          </a:xfrm>
          <a:prstGeom prst="leftBracket">
            <a:avLst/>
          </a:prstGeom>
          <a:ln>
            <a:solidFill>
              <a:srgbClr val="BE0A08"/>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noProof="0">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7D0C59FD-3804-51A9-DD8E-AF123F52BC95}"/>
              </a:ext>
            </a:extLst>
          </p:cNvPr>
          <p:cNvSpPr txBox="1"/>
          <p:nvPr/>
        </p:nvSpPr>
        <p:spPr>
          <a:xfrm>
            <a:off x="3582985" y="2139208"/>
            <a:ext cx="4678322" cy="461665"/>
          </a:xfrm>
          <a:prstGeom prst="rect">
            <a:avLst/>
          </a:prstGeom>
          <a:solidFill>
            <a:schemeClr val="bg1"/>
          </a:solidFill>
        </p:spPr>
        <p:txBody>
          <a:bodyPr wrap="square">
            <a:spAutoFit/>
          </a:bodyPr>
          <a:lstStyle/>
          <a:p>
            <a:pPr algn="ctr"/>
            <a:r>
              <a:rPr lang="sv-SE" sz="1200" b="1">
                <a:latin typeface="Segoe UI" panose="020B0502040204020203" pitchFamily="34" charset="0"/>
                <a:cs typeface="Segoe UI" panose="020B0502040204020203" pitchFamily="34" charset="0"/>
              </a:rPr>
              <a:t>adipiscing elit, sed do eiusmod tempor incididunt ut labore et dolore magna aliqua. </a:t>
            </a:r>
            <a:endParaRPr lang="en-US" sz="1200" b="1" noProof="0">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E1A00826-AFBE-F84E-D9E3-AB4BE6E9D6DD}"/>
              </a:ext>
            </a:extLst>
          </p:cNvPr>
          <p:cNvSpPr txBox="1"/>
          <p:nvPr/>
        </p:nvSpPr>
        <p:spPr>
          <a:xfrm>
            <a:off x="747685" y="3409208"/>
            <a:ext cx="2845629" cy="338554"/>
          </a:xfrm>
          <a:prstGeom prst="rect">
            <a:avLst/>
          </a:prstGeom>
          <a:noFill/>
        </p:spPr>
        <p:txBody>
          <a:bodyPr wrap="square">
            <a:spAutoFit/>
          </a:bodyPr>
          <a:lstStyle/>
          <a:p>
            <a:pPr algn="ctr"/>
            <a:r>
              <a:rPr lang="en-US" sz="1600" b="1" noProof="0">
                <a:solidFill>
                  <a:schemeClr val="tx2"/>
                </a:solidFill>
                <a:latin typeface="Segoe UI" panose="020B0502040204020203" pitchFamily="34" charset="0"/>
                <a:cs typeface="Segoe UI" panose="020B0502040204020203" pitchFamily="34" charset="0"/>
              </a:rPr>
              <a:t>Item A</a:t>
            </a:r>
          </a:p>
        </p:txBody>
      </p:sp>
      <p:sp>
        <p:nvSpPr>
          <p:cNvPr id="16" name="TextBox 15">
            <a:extLst>
              <a:ext uri="{FF2B5EF4-FFF2-40B4-BE49-F238E27FC236}">
                <a16:creationId xmlns:a16="http://schemas.microsoft.com/office/drawing/2014/main" id="{F77775BF-61DD-B52B-58BF-A2D4DF79890D}"/>
              </a:ext>
            </a:extLst>
          </p:cNvPr>
          <p:cNvSpPr txBox="1"/>
          <p:nvPr/>
        </p:nvSpPr>
        <p:spPr>
          <a:xfrm>
            <a:off x="577045" y="3836156"/>
            <a:ext cx="3343303" cy="1815882"/>
          </a:xfrm>
          <a:prstGeom prst="rect">
            <a:avLst/>
          </a:prstGeom>
          <a:noFill/>
        </p:spPr>
        <p:txBody>
          <a:bodyPr wrap="square">
            <a:spAutoFit/>
          </a:bodyPr>
          <a:lstStyle>
            <a:defPPr>
              <a:defRPr lang="en-BR"/>
            </a:defPPr>
            <a:lvl1pPr marL="285750" indent="-285750">
              <a:spcAft>
                <a:spcPts val="1800"/>
              </a:spcAft>
              <a:buFont typeface="Arial" panose="020B0604020202020204" pitchFamily="34" charset="0"/>
              <a:buChar char="•"/>
              <a:defRPr sz="1400">
                <a:solidFill>
                  <a:schemeClr val="tx1">
                    <a:lumMod val="75000"/>
                    <a:lumOff val="25000"/>
                  </a:schemeClr>
                </a:solidFill>
                <a:latin typeface="Segoe UI Light" panose="020B0502040204020203" pitchFamily="34" charset="0"/>
                <a:cs typeface="Segoe UI Light" panose="020B0502040204020203" pitchFamily="34" charset="0"/>
              </a:defRPr>
            </a:lvl1pPr>
          </a:lstStyle>
          <a:p>
            <a:pPr marL="0" indent="0" algn="ctr">
              <a:spcAft>
                <a:spcPts val="1200"/>
              </a:spcAft>
              <a:buNone/>
            </a:pPr>
            <a:r>
              <a:rPr lang="en-US" sz="1400">
                <a:latin typeface="Segoe UI" panose="020B0502040204020203" pitchFamily="34" charset="0"/>
                <a:cs typeface="Segoe UI" panose="020B0502040204020203" pitchFamily="34" charset="0"/>
              </a:rPr>
              <a:t>Lorem ipsum dolor sit </a:t>
            </a:r>
            <a:r>
              <a:rPr lang="en-US" sz="1400" err="1">
                <a:latin typeface="Segoe UI" panose="020B0502040204020203" pitchFamily="34" charset="0"/>
                <a:cs typeface="Segoe UI" panose="020B0502040204020203" pitchFamily="34" charset="0"/>
              </a:rPr>
              <a:t>amet</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consectetur</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adipiscing</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elit</a:t>
            </a:r>
            <a:r>
              <a:rPr lang="en-US" sz="1400">
                <a:latin typeface="Segoe UI" panose="020B0502040204020203" pitchFamily="34" charset="0"/>
                <a:cs typeface="Segoe UI" panose="020B0502040204020203" pitchFamily="34" charset="0"/>
              </a:rPr>
              <a:t>, sed do </a:t>
            </a:r>
            <a:r>
              <a:rPr lang="en-US" sz="1400" err="1">
                <a:latin typeface="Segoe UI" panose="020B0502040204020203" pitchFamily="34" charset="0"/>
                <a:cs typeface="Segoe UI" panose="020B0502040204020203" pitchFamily="34" charset="0"/>
              </a:rPr>
              <a:t>eiusmod</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tempor</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incididunt</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ut</a:t>
            </a:r>
            <a:r>
              <a:rPr lang="en-US" sz="1400">
                <a:latin typeface="Segoe UI" panose="020B0502040204020203" pitchFamily="34" charset="0"/>
                <a:cs typeface="Segoe UI" panose="020B0502040204020203" pitchFamily="34" charset="0"/>
              </a:rPr>
              <a:t> labore et dolore magna </a:t>
            </a:r>
            <a:r>
              <a:rPr lang="en-US" sz="1400" err="1">
                <a:latin typeface="Segoe UI" panose="020B0502040204020203" pitchFamily="34" charset="0"/>
                <a:cs typeface="Segoe UI" panose="020B0502040204020203" pitchFamily="34" charset="0"/>
              </a:rPr>
              <a:t>aliqua</a:t>
            </a:r>
            <a:r>
              <a:rPr lang="en-US" sz="1400">
                <a:latin typeface="Segoe UI" panose="020B0502040204020203" pitchFamily="34" charset="0"/>
                <a:cs typeface="Segoe UI" panose="020B0502040204020203" pitchFamily="34" charset="0"/>
              </a:rPr>
              <a:t>. Quis ipsum </a:t>
            </a:r>
            <a:r>
              <a:rPr lang="en-US" sz="1400" err="1">
                <a:latin typeface="Segoe UI" panose="020B0502040204020203" pitchFamily="34" charset="0"/>
                <a:cs typeface="Segoe UI" panose="020B0502040204020203" pitchFamily="34" charset="0"/>
              </a:rPr>
              <a:t>suspendisse</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ultrices</a:t>
            </a:r>
            <a:r>
              <a:rPr lang="en-US" sz="1400">
                <a:latin typeface="Segoe UI" panose="020B0502040204020203" pitchFamily="34" charset="0"/>
                <a:cs typeface="Segoe UI" panose="020B0502040204020203" pitchFamily="34" charset="0"/>
              </a:rPr>
              <a:t> gravida. </a:t>
            </a:r>
            <a:r>
              <a:rPr lang="en-US" sz="1400" err="1">
                <a:latin typeface="Segoe UI" panose="020B0502040204020203" pitchFamily="34" charset="0"/>
                <a:cs typeface="Segoe UI" panose="020B0502040204020203" pitchFamily="34" charset="0"/>
              </a:rPr>
              <a:t>Risus</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commodo</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viverra</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maecenas</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accumsan</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lacus</a:t>
            </a:r>
            <a:r>
              <a:rPr lang="en-US" sz="1400">
                <a:latin typeface="Segoe UI" panose="020B0502040204020203" pitchFamily="34" charset="0"/>
                <a:cs typeface="Segoe UI" panose="020B0502040204020203" pitchFamily="34" charset="0"/>
              </a:rPr>
              <a:t> vel </a:t>
            </a:r>
            <a:r>
              <a:rPr lang="en-US" sz="1400" err="1">
                <a:latin typeface="Segoe UI" panose="020B0502040204020203" pitchFamily="34" charset="0"/>
                <a:cs typeface="Segoe UI" panose="020B0502040204020203" pitchFamily="34" charset="0"/>
              </a:rPr>
              <a:t>facilisis</a:t>
            </a:r>
            <a:r>
              <a:rPr lang="en-US" sz="1400">
                <a:latin typeface="Segoe UI" panose="020B0502040204020203" pitchFamily="34" charset="0"/>
                <a:cs typeface="Segoe UI" panose="020B0502040204020203" pitchFamily="34" charset="0"/>
              </a:rPr>
              <a:t>. Lorem ipsum dolor sit </a:t>
            </a:r>
            <a:r>
              <a:rPr lang="en-US" sz="1400" err="1">
                <a:latin typeface="Segoe UI" panose="020B0502040204020203" pitchFamily="34" charset="0"/>
                <a:cs typeface="Segoe UI" panose="020B0502040204020203" pitchFamily="34" charset="0"/>
              </a:rPr>
              <a:t>amet</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consectetur</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adipiscing</a:t>
            </a:r>
            <a:endParaRPr lang="en-US" noProof="0">
              <a:latin typeface="Segoe UI" panose="020B0502040204020203" pitchFamily="34" charset="0"/>
              <a:cs typeface="Segoe UI" panose="020B0502040204020203" pitchFamily="34" charset="0"/>
            </a:endParaRPr>
          </a:p>
        </p:txBody>
      </p:sp>
      <p:sp>
        <p:nvSpPr>
          <p:cNvPr id="17" name="Left Bracket 16">
            <a:extLst>
              <a:ext uri="{FF2B5EF4-FFF2-40B4-BE49-F238E27FC236}">
                <a16:creationId xmlns:a16="http://schemas.microsoft.com/office/drawing/2014/main" id="{81035C2F-3A64-797C-3479-8DEF913FD849}"/>
              </a:ext>
            </a:extLst>
          </p:cNvPr>
          <p:cNvSpPr/>
          <p:nvPr/>
        </p:nvSpPr>
        <p:spPr>
          <a:xfrm rot="16200000" flipV="1">
            <a:off x="5993487" y="379210"/>
            <a:ext cx="335666" cy="11385089"/>
          </a:xfrm>
          <a:prstGeom prst="leftBracket">
            <a:avLst/>
          </a:prstGeom>
          <a:ln>
            <a:solidFill>
              <a:srgbClr val="C00000"/>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noProof="0">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3C9DD13F-EE01-7CDD-B4CF-E955BF287381}"/>
              </a:ext>
            </a:extLst>
          </p:cNvPr>
          <p:cNvSpPr txBox="1"/>
          <p:nvPr/>
        </p:nvSpPr>
        <p:spPr>
          <a:xfrm>
            <a:off x="4341525" y="3834752"/>
            <a:ext cx="3735977" cy="1600438"/>
          </a:xfrm>
          <a:prstGeom prst="rect">
            <a:avLst/>
          </a:prstGeom>
          <a:noFill/>
        </p:spPr>
        <p:txBody>
          <a:bodyPr wrap="square">
            <a:spAutoFit/>
          </a:bodyPr>
          <a:lstStyle>
            <a:defPPr>
              <a:defRPr lang="en-BR"/>
            </a:defPPr>
            <a:lvl1pPr marL="285750" indent="-285750">
              <a:spcAft>
                <a:spcPts val="1800"/>
              </a:spcAft>
              <a:buFont typeface="Arial" panose="020B0604020202020204" pitchFamily="34" charset="0"/>
              <a:buChar char="•"/>
              <a:defRPr sz="1400">
                <a:solidFill>
                  <a:schemeClr val="tx1">
                    <a:lumMod val="75000"/>
                    <a:lumOff val="25000"/>
                  </a:schemeClr>
                </a:solidFill>
                <a:latin typeface="Segoe UI Light" panose="020B0502040204020203" pitchFamily="34" charset="0"/>
                <a:cs typeface="Segoe UI Light" panose="020B0502040204020203" pitchFamily="34" charset="0"/>
              </a:defRPr>
            </a:lvl1pPr>
          </a:lstStyle>
          <a:p>
            <a:pPr marL="0" indent="0" algn="ctr">
              <a:spcAft>
                <a:spcPts val="1200"/>
              </a:spcAft>
              <a:buNone/>
            </a:pPr>
            <a:r>
              <a:rPr lang="en-US" sz="1400">
                <a:latin typeface="Segoe UI" panose="020B0502040204020203" pitchFamily="34" charset="0"/>
                <a:cs typeface="Segoe UI" panose="020B0502040204020203" pitchFamily="34" charset="0"/>
              </a:rPr>
              <a:t>Lorem ipsum dolor sit </a:t>
            </a:r>
            <a:r>
              <a:rPr lang="en-US" sz="1400" err="1">
                <a:latin typeface="Segoe UI" panose="020B0502040204020203" pitchFamily="34" charset="0"/>
                <a:cs typeface="Segoe UI" panose="020B0502040204020203" pitchFamily="34" charset="0"/>
              </a:rPr>
              <a:t>amet</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consectetur</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adipiscing</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elit</a:t>
            </a:r>
            <a:r>
              <a:rPr lang="en-US" sz="1400">
                <a:latin typeface="Segoe UI" panose="020B0502040204020203" pitchFamily="34" charset="0"/>
                <a:cs typeface="Segoe UI" panose="020B0502040204020203" pitchFamily="34" charset="0"/>
              </a:rPr>
              <a:t>, sed do </a:t>
            </a:r>
            <a:r>
              <a:rPr lang="en-US" sz="1400" err="1">
                <a:latin typeface="Segoe UI" panose="020B0502040204020203" pitchFamily="34" charset="0"/>
                <a:cs typeface="Segoe UI" panose="020B0502040204020203" pitchFamily="34" charset="0"/>
              </a:rPr>
              <a:t>eiusmod</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tempor</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incididunt</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ut</a:t>
            </a:r>
            <a:r>
              <a:rPr lang="en-US" sz="1400">
                <a:latin typeface="Segoe UI" panose="020B0502040204020203" pitchFamily="34" charset="0"/>
                <a:cs typeface="Segoe UI" panose="020B0502040204020203" pitchFamily="34" charset="0"/>
              </a:rPr>
              <a:t> labore et dolore magna </a:t>
            </a:r>
            <a:r>
              <a:rPr lang="en-US" sz="1400" err="1">
                <a:latin typeface="Segoe UI" panose="020B0502040204020203" pitchFamily="34" charset="0"/>
                <a:cs typeface="Segoe UI" panose="020B0502040204020203" pitchFamily="34" charset="0"/>
              </a:rPr>
              <a:t>aliqua</a:t>
            </a:r>
            <a:r>
              <a:rPr lang="en-US" sz="1400">
                <a:latin typeface="Segoe UI" panose="020B0502040204020203" pitchFamily="34" charset="0"/>
                <a:cs typeface="Segoe UI" panose="020B0502040204020203" pitchFamily="34" charset="0"/>
              </a:rPr>
              <a:t>. Quis ipsum </a:t>
            </a:r>
            <a:r>
              <a:rPr lang="en-US" sz="1400" err="1">
                <a:latin typeface="Segoe UI" panose="020B0502040204020203" pitchFamily="34" charset="0"/>
                <a:cs typeface="Segoe UI" panose="020B0502040204020203" pitchFamily="34" charset="0"/>
              </a:rPr>
              <a:t>suspendisse</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ultrices</a:t>
            </a:r>
            <a:r>
              <a:rPr lang="en-US" sz="1400">
                <a:latin typeface="Segoe UI" panose="020B0502040204020203" pitchFamily="34" charset="0"/>
                <a:cs typeface="Segoe UI" panose="020B0502040204020203" pitchFamily="34" charset="0"/>
              </a:rPr>
              <a:t> gravida. </a:t>
            </a:r>
            <a:r>
              <a:rPr lang="en-US" sz="1400" err="1">
                <a:latin typeface="Segoe UI" panose="020B0502040204020203" pitchFamily="34" charset="0"/>
                <a:cs typeface="Segoe UI" panose="020B0502040204020203" pitchFamily="34" charset="0"/>
              </a:rPr>
              <a:t>Risus</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commodo</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viverra</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maecenas</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accumsan</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lacus</a:t>
            </a:r>
            <a:r>
              <a:rPr lang="en-US" sz="1400">
                <a:latin typeface="Segoe UI" panose="020B0502040204020203" pitchFamily="34" charset="0"/>
                <a:cs typeface="Segoe UI" panose="020B0502040204020203" pitchFamily="34" charset="0"/>
              </a:rPr>
              <a:t> vel </a:t>
            </a:r>
            <a:r>
              <a:rPr lang="en-US" sz="1400" err="1">
                <a:latin typeface="Segoe UI" panose="020B0502040204020203" pitchFamily="34" charset="0"/>
                <a:cs typeface="Segoe UI" panose="020B0502040204020203" pitchFamily="34" charset="0"/>
              </a:rPr>
              <a:t>facilisis</a:t>
            </a:r>
            <a:r>
              <a:rPr lang="en-US" sz="1400">
                <a:latin typeface="Segoe UI" panose="020B0502040204020203" pitchFamily="34" charset="0"/>
                <a:cs typeface="Segoe UI" panose="020B0502040204020203" pitchFamily="34" charset="0"/>
              </a:rPr>
              <a:t>. Lorem ipsum dolor sit </a:t>
            </a:r>
            <a:r>
              <a:rPr lang="en-US" sz="1400" err="1">
                <a:latin typeface="Segoe UI" panose="020B0502040204020203" pitchFamily="34" charset="0"/>
                <a:cs typeface="Segoe UI" panose="020B0502040204020203" pitchFamily="34" charset="0"/>
              </a:rPr>
              <a:t>amet</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consectetur</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adipiscing</a:t>
            </a:r>
            <a:endParaRPr lang="en-US" noProof="0">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02B01015-014E-1E89-1289-EFFB85163776}"/>
              </a:ext>
            </a:extLst>
          </p:cNvPr>
          <p:cNvSpPr txBox="1"/>
          <p:nvPr/>
        </p:nvSpPr>
        <p:spPr>
          <a:xfrm>
            <a:off x="8498680" y="3836156"/>
            <a:ext cx="3219999" cy="1815882"/>
          </a:xfrm>
          <a:prstGeom prst="rect">
            <a:avLst/>
          </a:prstGeom>
          <a:noFill/>
        </p:spPr>
        <p:txBody>
          <a:bodyPr wrap="square">
            <a:spAutoFit/>
          </a:bodyPr>
          <a:lstStyle>
            <a:defPPr>
              <a:defRPr lang="en-BR"/>
            </a:defPPr>
            <a:lvl1pPr marL="285750" indent="-285750">
              <a:spcAft>
                <a:spcPts val="1800"/>
              </a:spcAft>
              <a:buFont typeface="Arial" panose="020B0604020202020204" pitchFamily="34" charset="0"/>
              <a:buChar char="•"/>
              <a:defRPr sz="1400">
                <a:solidFill>
                  <a:schemeClr val="tx1">
                    <a:lumMod val="75000"/>
                    <a:lumOff val="25000"/>
                  </a:schemeClr>
                </a:solidFill>
                <a:latin typeface="Segoe UI Light" panose="020B0502040204020203" pitchFamily="34" charset="0"/>
                <a:cs typeface="Segoe UI Light" panose="020B0502040204020203" pitchFamily="34" charset="0"/>
              </a:defRPr>
            </a:lvl1pPr>
          </a:lstStyle>
          <a:p>
            <a:pPr marL="0" indent="0" algn="ctr">
              <a:spcAft>
                <a:spcPts val="1200"/>
              </a:spcAft>
              <a:buNone/>
            </a:pPr>
            <a:r>
              <a:rPr lang="en-US" sz="1400">
                <a:latin typeface="Segoe UI" panose="020B0502040204020203" pitchFamily="34" charset="0"/>
                <a:cs typeface="Segoe UI" panose="020B0502040204020203" pitchFamily="34" charset="0"/>
              </a:rPr>
              <a:t>Lorem ipsum dolor sit </a:t>
            </a:r>
            <a:r>
              <a:rPr lang="en-US" sz="1400" err="1">
                <a:latin typeface="Segoe UI" panose="020B0502040204020203" pitchFamily="34" charset="0"/>
                <a:cs typeface="Segoe UI" panose="020B0502040204020203" pitchFamily="34" charset="0"/>
              </a:rPr>
              <a:t>amet</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consectetur</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adipiscing</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elit</a:t>
            </a:r>
            <a:r>
              <a:rPr lang="en-US" sz="1400">
                <a:latin typeface="Segoe UI" panose="020B0502040204020203" pitchFamily="34" charset="0"/>
                <a:cs typeface="Segoe UI" panose="020B0502040204020203" pitchFamily="34" charset="0"/>
              </a:rPr>
              <a:t>, sed do </a:t>
            </a:r>
            <a:r>
              <a:rPr lang="en-US" sz="1400" err="1">
                <a:latin typeface="Segoe UI" panose="020B0502040204020203" pitchFamily="34" charset="0"/>
                <a:cs typeface="Segoe UI" panose="020B0502040204020203" pitchFamily="34" charset="0"/>
              </a:rPr>
              <a:t>eiusmod</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tempor</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incididunt</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ut</a:t>
            </a:r>
            <a:r>
              <a:rPr lang="en-US" sz="1400">
                <a:latin typeface="Segoe UI" panose="020B0502040204020203" pitchFamily="34" charset="0"/>
                <a:cs typeface="Segoe UI" panose="020B0502040204020203" pitchFamily="34" charset="0"/>
              </a:rPr>
              <a:t> labore et dolore magna </a:t>
            </a:r>
            <a:r>
              <a:rPr lang="en-US" sz="1400" err="1">
                <a:latin typeface="Segoe UI" panose="020B0502040204020203" pitchFamily="34" charset="0"/>
                <a:cs typeface="Segoe UI" panose="020B0502040204020203" pitchFamily="34" charset="0"/>
              </a:rPr>
              <a:t>aliqua</a:t>
            </a:r>
            <a:r>
              <a:rPr lang="en-US" sz="1400">
                <a:latin typeface="Segoe UI" panose="020B0502040204020203" pitchFamily="34" charset="0"/>
                <a:cs typeface="Segoe UI" panose="020B0502040204020203" pitchFamily="34" charset="0"/>
              </a:rPr>
              <a:t>. Quis ipsum </a:t>
            </a:r>
            <a:r>
              <a:rPr lang="en-US" sz="1400" err="1">
                <a:latin typeface="Segoe UI" panose="020B0502040204020203" pitchFamily="34" charset="0"/>
                <a:cs typeface="Segoe UI" panose="020B0502040204020203" pitchFamily="34" charset="0"/>
              </a:rPr>
              <a:t>suspendisse</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ultrices</a:t>
            </a:r>
            <a:r>
              <a:rPr lang="en-US" sz="1400">
                <a:latin typeface="Segoe UI" panose="020B0502040204020203" pitchFamily="34" charset="0"/>
                <a:cs typeface="Segoe UI" panose="020B0502040204020203" pitchFamily="34" charset="0"/>
              </a:rPr>
              <a:t> gravida. </a:t>
            </a:r>
            <a:r>
              <a:rPr lang="en-US" sz="1400" err="1">
                <a:latin typeface="Segoe UI" panose="020B0502040204020203" pitchFamily="34" charset="0"/>
                <a:cs typeface="Segoe UI" panose="020B0502040204020203" pitchFamily="34" charset="0"/>
              </a:rPr>
              <a:t>Risus</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commodo</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viverra</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maecenas</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accumsan</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lacus</a:t>
            </a:r>
            <a:r>
              <a:rPr lang="en-US" sz="1400">
                <a:latin typeface="Segoe UI" panose="020B0502040204020203" pitchFamily="34" charset="0"/>
                <a:cs typeface="Segoe UI" panose="020B0502040204020203" pitchFamily="34" charset="0"/>
              </a:rPr>
              <a:t> vel </a:t>
            </a:r>
            <a:r>
              <a:rPr lang="en-US" sz="1400" err="1">
                <a:latin typeface="Segoe UI" panose="020B0502040204020203" pitchFamily="34" charset="0"/>
                <a:cs typeface="Segoe UI" panose="020B0502040204020203" pitchFamily="34" charset="0"/>
              </a:rPr>
              <a:t>facilisis</a:t>
            </a:r>
            <a:r>
              <a:rPr lang="en-US" sz="1400">
                <a:latin typeface="Segoe UI" panose="020B0502040204020203" pitchFamily="34" charset="0"/>
                <a:cs typeface="Segoe UI" panose="020B0502040204020203" pitchFamily="34" charset="0"/>
              </a:rPr>
              <a:t>. Lorem ipsum dolor sit </a:t>
            </a:r>
            <a:r>
              <a:rPr lang="en-US" sz="1400" err="1">
                <a:latin typeface="Segoe UI" panose="020B0502040204020203" pitchFamily="34" charset="0"/>
                <a:cs typeface="Segoe UI" panose="020B0502040204020203" pitchFamily="34" charset="0"/>
              </a:rPr>
              <a:t>amet</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consectetur</a:t>
            </a:r>
            <a:r>
              <a:rPr lang="en-US" sz="1400">
                <a:latin typeface="Segoe UI" panose="020B0502040204020203" pitchFamily="34" charset="0"/>
                <a:cs typeface="Segoe UI" panose="020B0502040204020203" pitchFamily="34" charset="0"/>
              </a:rPr>
              <a:t> </a:t>
            </a:r>
            <a:r>
              <a:rPr lang="en-US" sz="1400" err="1">
                <a:latin typeface="Segoe UI" panose="020B0502040204020203" pitchFamily="34" charset="0"/>
                <a:cs typeface="Segoe UI" panose="020B0502040204020203" pitchFamily="34" charset="0"/>
              </a:rPr>
              <a:t>adipiscing</a:t>
            </a:r>
            <a:endParaRPr lang="en-US" noProof="0">
              <a:latin typeface="Segoe UI" panose="020B0502040204020203" pitchFamily="34" charset="0"/>
              <a:cs typeface="Segoe UI" panose="020B0502040204020203" pitchFamily="34" charset="0"/>
            </a:endParaRPr>
          </a:p>
        </p:txBody>
      </p:sp>
      <p:pic>
        <p:nvPicPr>
          <p:cNvPr id="20" name="Graphic 19" descr="Circles with arrows with solid fill">
            <a:extLst>
              <a:ext uri="{FF2B5EF4-FFF2-40B4-BE49-F238E27FC236}">
                <a16:creationId xmlns:a16="http://schemas.microsoft.com/office/drawing/2014/main" id="{B01F9B52-677B-04C3-126B-34338E06232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92898" y="2733614"/>
            <a:ext cx="697572" cy="697572"/>
          </a:xfrm>
          <a:prstGeom prst="rect">
            <a:avLst/>
          </a:prstGeom>
        </p:spPr>
      </p:pic>
      <p:pic>
        <p:nvPicPr>
          <p:cNvPr id="21" name="Content Placeholder 13" descr="A close up of a sign&#10;&#10;Description generated with high confidence">
            <a:extLst>
              <a:ext uri="{FF2B5EF4-FFF2-40B4-BE49-F238E27FC236}">
                <a16:creationId xmlns:a16="http://schemas.microsoft.com/office/drawing/2014/main" id="{4CE9A603-986A-AE63-160F-B0CDE583C86F}"/>
              </a:ext>
            </a:extLst>
          </p:cNvPr>
          <p:cNvPicPr>
            <a:picLocks noChangeAspect="1"/>
          </p:cNvPicPr>
          <p:nvPr/>
        </p:nvPicPr>
        <p:blipFill rotWithShape="1">
          <a:blip r:embed="rId4" cstate="hqprint">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1821712" y="2761233"/>
            <a:ext cx="697573" cy="642334"/>
          </a:xfrm>
          <a:prstGeom prst="rect">
            <a:avLst/>
          </a:prstGeom>
          <a:solidFill>
            <a:schemeClr val="bg1"/>
          </a:solidFill>
        </p:spPr>
      </p:pic>
      <p:pic>
        <p:nvPicPr>
          <p:cNvPr id="22" name="Graphic 21" descr="Bar graph with upward trend with solid fill">
            <a:extLst>
              <a:ext uri="{FF2B5EF4-FFF2-40B4-BE49-F238E27FC236}">
                <a16:creationId xmlns:a16="http://schemas.microsoft.com/office/drawing/2014/main" id="{998FD4C6-07D8-ED8E-CB15-2D2901EF1F5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63423" y="2824323"/>
            <a:ext cx="516155" cy="516155"/>
          </a:xfrm>
          <a:prstGeom prst="rect">
            <a:avLst/>
          </a:prstGeom>
        </p:spPr>
      </p:pic>
      <p:sp>
        <p:nvSpPr>
          <p:cNvPr id="23" name="TextBox 22">
            <a:extLst>
              <a:ext uri="{FF2B5EF4-FFF2-40B4-BE49-F238E27FC236}">
                <a16:creationId xmlns:a16="http://schemas.microsoft.com/office/drawing/2014/main" id="{2F0850E2-7C41-FF50-30E9-DCF6AC1C3B4B}"/>
              </a:ext>
            </a:extLst>
          </p:cNvPr>
          <p:cNvSpPr txBox="1"/>
          <p:nvPr/>
        </p:nvSpPr>
        <p:spPr>
          <a:xfrm>
            <a:off x="4667341" y="3403567"/>
            <a:ext cx="2845629" cy="338554"/>
          </a:xfrm>
          <a:prstGeom prst="rect">
            <a:avLst/>
          </a:prstGeom>
          <a:noFill/>
        </p:spPr>
        <p:txBody>
          <a:bodyPr wrap="square">
            <a:spAutoFit/>
          </a:bodyPr>
          <a:lstStyle/>
          <a:p>
            <a:pPr algn="ctr"/>
            <a:r>
              <a:rPr lang="en-US" sz="1600" b="1" noProof="0">
                <a:solidFill>
                  <a:schemeClr val="tx2"/>
                </a:solidFill>
                <a:latin typeface="Segoe UI" panose="020B0502040204020203" pitchFamily="34" charset="0"/>
                <a:cs typeface="Segoe UI" panose="020B0502040204020203" pitchFamily="34" charset="0"/>
              </a:rPr>
              <a:t>Item B</a:t>
            </a:r>
          </a:p>
        </p:txBody>
      </p:sp>
      <p:sp>
        <p:nvSpPr>
          <p:cNvPr id="24" name="TextBox 23">
            <a:extLst>
              <a:ext uri="{FF2B5EF4-FFF2-40B4-BE49-F238E27FC236}">
                <a16:creationId xmlns:a16="http://schemas.microsoft.com/office/drawing/2014/main" id="{E8538781-0270-16B4-FF07-6121735EE873}"/>
              </a:ext>
            </a:extLst>
          </p:cNvPr>
          <p:cNvSpPr txBox="1"/>
          <p:nvPr/>
        </p:nvSpPr>
        <p:spPr>
          <a:xfrm>
            <a:off x="8598688" y="3413592"/>
            <a:ext cx="2845629" cy="338554"/>
          </a:xfrm>
          <a:prstGeom prst="rect">
            <a:avLst/>
          </a:prstGeom>
          <a:noFill/>
        </p:spPr>
        <p:txBody>
          <a:bodyPr wrap="square">
            <a:spAutoFit/>
          </a:bodyPr>
          <a:lstStyle/>
          <a:p>
            <a:pPr algn="ctr"/>
            <a:r>
              <a:rPr lang="en-US" sz="1600" b="1" noProof="0">
                <a:solidFill>
                  <a:schemeClr val="tx2"/>
                </a:solidFill>
                <a:latin typeface="Segoe UI" panose="020B0502040204020203" pitchFamily="34" charset="0"/>
                <a:cs typeface="Segoe UI" panose="020B0502040204020203" pitchFamily="34" charset="0"/>
              </a:rPr>
              <a:t>Item C</a:t>
            </a:r>
          </a:p>
        </p:txBody>
      </p:sp>
      <p:sp>
        <p:nvSpPr>
          <p:cNvPr id="25" name="TextBox 24">
            <a:extLst>
              <a:ext uri="{FF2B5EF4-FFF2-40B4-BE49-F238E27FC236}">
                <a16:creationId xmlns:a16="http://schemas.microsoft.com/office/drawing/2014/main" id="{103B6BFB-358C-F0B2-7C18-95C7C3AB321D}"/>
              </a:ext>
            </a:extLst>
          </p:cNvPr>
          <p:cNvSpPr txBox="1"/>
          <p:nvPr/>
        </p:nvSpPr>
        <p:spPr>
          <a:xfrm>
            <a:off x="334961" y="1418824"/>
            <a:ext cx="11518371" cy="584775"/>
          </a:xfrm>
          <a:prstGeom prst="rect">
            <a:avLst/>
          </a:prstGeom>
          <a:noFill/>
        </p:spPr>
        <p:txBody>
          <a:bodyPr wrap="square">
            <a:spAutoFit/>
          </a:bodyPr>
          <a:lstStyle/>
          <a:p>
            <a:r>
              <a:rPr lang="en-US" sz="1600">
                <a:latin typeface="Segoe UI" panose="020B0502040204020203" pitchFamily="34" charset="0"/>
                <a:cs typeface="Segoe UI" panose="020B0502040204020203" pitchFamily="34" charset="0"/>
              </a:rPr>
              <a:t>Lorem ipsum dolor sit </a:t>
            </a:r>
            <a:r>
              <a:rPr lang="en-US" sz="1600" err="1">
                <a:latin typeface="Segoe UI" panose="020B0502040204020203" pitchFamily="34" charset="0"/>
                <a:cs typeface="Segoe UI" panose="020B0502040204020203" pitchFamily="34" charset="0"/>
              </a:rPr>
              <a:t>amet</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consectetur</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adipiscing</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elit</a:t>
            </a:r>
            <a:r>
              <a:rPr lang="en-US" sz="1600">
                <a:latin typeface="Segoe UI" panose="020B0502040204020203" pitchFamily="34" charset="0"/>
                <a:cs typeface="Segoe UI" panose="020B0502040204020203" pitchFamily="34" charset="0"/>
              </a:rPr>
              <a:t>, sed do </a:t>
            </a:r>
            <a:r>
              <a:rPr lang="en-US" sz="1600" err="1">
                <a:latin typeface="Segoe UI" panose="020B0502040204020203" pitchFamily="34" charset="0"/>
                <a:cs typeface="Segoe UI" panose="020B0502040204020203" pitchFamily="34" charset="0"/>
              </a:rPr>
              <a:t>eiusmod</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tempor</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incididunt</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ut</a:t>
            </a:r>
            <a:r>
              <a:rPr lang="en-US" sz="1600">
                <a:latin typeface="Segoe UI" panose="020B0502040204020203" pitchFamily="34" charset="0"/>
                <a:cs typeface="Segoe UI" panose="020B0502040204020203" pitchFamily="34" charset="0"/>
              </a:rPr>
              <a:t> labore et dolore magna </a:t>
            </a:r>
            <a:r>
              <a:rPr lang="en-US" sz="1600" err="1">
                <a:latin typeface="Segoe UI" panose="020B0502040204020203" pitchFamily="34" charset="0"/>
                <a:cs typeface="Segoe UI" panose="020B0502040204020203" pitchFamily="34" charset="0"/>
              </a:rPr>
              <a:t>aliqua</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Quis</a:t>
            </a:r>
            <a:r>
              <a:rPr lang="en-US" sz="1600">
                <a:latin typeface="Segoe UI" panose="020B0502040204020203" pitchFamily="34" charset="0"/>
                <a:cs typeface="Segoe UI" panose="020B0502040204020203" pitchFamily="34" charset="0"/>
              </a:rPr>
              <a:t> ipsum </a:t>
            </a:r>
            <a:r>
              <a:rPr lang="en-US" sz="1600" err="1">
                <a:latin typeface="Segoe UI" panose="020B0502040204020203" pitchFamily="34" charset="0"/>
                <a:cs typeface="Segoe UI" panose="020B0502040204020203" pitchFamily="34" charset="0"/>
              </a:rPr>
              <a:t>suspendisse</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ultrices</a:t>
            </a:r>
            <a:r>
              <a:rPr lang="en-US" sz="1600">
                <a:latin typeface="Segoe UI" panose="020B0502040204020203" pitchFamily="34" charset="0"/>
                <a:cs typeface="Segoe UI" panose="020B0502040204020203" pitchFamily="34" charset="0"/>
              </a:rPr>
              <a:t> gravida. </a:t>
            </a:r>
            <a:r>
              <a:rPr lang="en-US" sz="1600" err="1">
                <a:latin typeface="Segoe UI" panose="020B0502040204020203" pitchFamily="34" charset="0"/>
                <a:cs typeface="Segoe UI" panose="020B0502040204020203" pitchFamily="34" charset="0"/>
              </a:rPr>
              <a:t>Risus</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commodo</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viverra</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maecenas</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accumsan</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lacus</a:t>
            </a:r>
            <a:r>
              <a:rPr lang="en-US" sz="1600">
                <a:latin typeface="Segoe UI" panose="020B0502040204020203" pitchFamily="34" charset="0"/>
                <a:cs typeface="Segoe UI" panose="020B0502040204020203" pitchFamily="34" charset="0"/>
              </a:rPr>
              <a:t> vel </a:t>
            </a:r>
            <a:r>
              <a:rPr lang="en-US" sz="1600" err="1">
                <a:latin typeface="Segoe UI" panose="020B0502040204020203" pitchFamily="34" charset="0"/>
                <a:cs typeface="Segoe UI" panose="020B0502040204020203" pitchFamily="34" charset="0"/>
              </a:rPr>
              <a:t>facilisis</a:t>
            </a:r>
            <a:r>
              <a:rPr lang="en-US" sz="1600">
                <a:latin typeface="Segoe UI" panose="020B0502040204020203" pitchFamily="34" charset="0"/>
                <a:cs typeface="Segoe UI" panose="020B0502040204020203" pitchFamily="34" charset="0"/>
              </a:rPr>
              <a:t>.</a:t>
            </a:r>
          </a:p>
        </p:txBody>
      </p:sp>
      <p:sp>
        <p:nvSpPr>
          <p:cNvPr id="28" name="Text Placeholder 4">
            <a:extLst>
              <a:ext uri="{FF2B5EF4-FFF2-40B4-BE49-F238E27FC236}">
                <a16:creationId xmlns:a16="http://schemas.microsoft.com/office/drawing/2014/main" id="{95E9C261-C444-CC25-8456-0C9AEE5F740B}"/>
              </a:ext>
            </a:extLst>
          </p:cNvPr>
          <p:cNvSpPr>
            <a:spLocks noGrp="1"/>
          </p:cNvSpPr>
          <p:nvPr>
            <p:ph type="body" sz="quarter" idx="13"/>
          </p:nvPr>
        </p:nvSpPr>
        <p:spPr>
          <a:xfrm>
            <a:off x="338138" y="989191"/>
            <a:ext cx="11518900" cy="429633"/>
          </a:xfrm>
        </p:spPr>
        <p:txBody>
          <a:bodyPr/>
          <a:lstStyle/>
          <a:p>
            <a:pPr>
              <a:spcBef>
                <a:spcPts val="0"/>
              </a:spcBef>
              <a:spcAft>
                <a:spcPts val="1200"/>
              </a:spcAft>
            </a:pPr>
            <a:r>
              <a:rPr lang="en-US" sz="2000"/>
              <a:t>Summarize key takeaways here.</a:t>
            </a:r>
          </a:p>
        </p:txBody>
      </p:sp>
    </p:spTree>
    <p:extLst>
      <p:ext uri="{BB962C8B-B14F-4D97-AF65-F5344CB8AC3E}">
        <p14:creationId xmlns:p14="http://schemas.microsoft.com/office/powerpoint/2010/main" val="13283441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092EF2-8288-E643-F9FA-27C600C7E86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EBDC592-5993-0143-41EC-3C6F13AE60F1}"/>
              </a:ext>
            </a:extLst>
          </p:cNvPr>
          <p:cNvSpPr>
            <a:spLocks noGrp="1"/>
          </p:cNvSpPr>
          <p:nvPr>
            <p:ph type="title"/>
          </p:nvPr>
        </p:nvSpPr>
        <p:spPr/>
        <p:txBody>
          <a:bodyPr/>
          <a:lstStyle/>
          <a:p>
            <a:r>
              <a:rPr lang="en-US"/>
              <a:t>Other Topics 1</a:t>
            </a:r>
            <a:endParaRPr lang="en-BR"/>
          </a:p>
        </p:txBody>
      </p:sp>
      <p:sp>
        <p:nvSpPr>
          <p:cNvPr id="3" name="Footer Placeholder 2">
            <a:extLst>
              <a:ext uri="{FF2B5EF4-FFF2-40B4-BE49-F238E27FC236}">
                <a16:creationId xmlns:a16="http://schemas.microsoft.com/office/drawing/2014/main" id="{0474E627-6709-8B9C-49F5-2EF59E0704F5}"/>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D6FB7CED-F595-63E2-EF3C-B45B59FE1A72}"/>
              </a:ext>
            </a:extLst>
          </p:cNvPr>
          <p:cNvSpPr>
            <a:spLocks noGrp="1"/>
          </p:cNvSpPr>
          <p:nvPr>
            <p:ph type="sldNum" sz="quarter" idx="12"/>
          </p:nvPr>
        </p:nvSpPr>
        <p:spPr/>
        <p:txBody>
          <a:bodyPr/>
          <a:lstStyle/>
          <a:p>
            <a:fld id="{A8DDC45B-7265-3747-B738-ED29642119D9}" type="slidenum">
              <a:rPr lang="en-BR" smtClean="0"/>
              <a:pPr/>
              <a:t>46</a:t>
            </a:fld>
            <a:endParaRPr lang="en-BR"/>
          </a:p>
        </p:txBody>
      </p:sp>
      <p:sp>
        <p:nvSpPr>
          <p:cNvPr id="5" name="Text Placeholder 4">
            <a:extLst>
              <a:ext uri="{FF2B5EF4-FFF2-40B4-BE49-F238E27FC236}">
                <a16:creationId xmlns:a16="http://schemas.microsoft.com/office/drawing/2014/main" id="{B592C5FB-6650-10E1-4A2F-FC7FD8AA7B07}"/>
              </a:ext>
            </a:extLst>
          </p:cNvPr>
          <p:cNvSpPr>
            <a:spLocks noGrp="1"/>
          </p:cNvSpPr>
          <p:nvPr>
            <p:ph type="body" sz="quarter" idx="13"/>
          </p:nvPr>
        </p:nvSpPr>
        <p:spPr/>
        <p:txBody>
          <a:bodyPr>
            <a:noAutofit/>
          </a:bodyPr>
          <a:lstStyle/>
          <a:p>
            <a:pPr>
              <a:spcBef>
                <a:spcPts val="0"/>
              </a:spcBef>
              <a:spcAft>
                <a:spcPts val="1200"/>
              </a:spcAft>
            </a:pPr>
            <a:r>
              <a:rPr lang="en-US" sz="1600"/>
              <a:t>Summarize key takeaways here.</a:t>
            </a:r>
          </a:p>
        </p:txBody>
      </p:sp>
      <p:sp>
        <p:nvSpPr>
          <p:cNvPr id="6" name="Rounded Rectangle 2050">
            <a:extLst>
              <a:ext uri="{FF2B5EF4-FFF2-40B4-BE49-F238E27FC236}">
                <a16:creationId xmlns:a16="http://schemas.microsoft.com/office/drawing/2014/main" id="{85A415FC-1790-FB04-80EA-F22D4A8E96F4}"/>
              </a:ext>
            </a:extLst>
          </p:cNvPr>
          <p:cNvSpPr/>
          <p:nvPr/>
        </p:nvSpPr>
        <p:spPr>
          <a:xfrm>
            <a:off x="1224473" y="5273890"/>
            <a:ext cx="9437330" cy="575957"/>
          </a:xfrm>
          <a:prstGeom prst="roundRect">
            <a:avLst>
              <a:gd name="adj" fmla="val 3640"/>
            </a:avLst>
          </a:prstGeom>
          <a:solidFill>
            <a:schemeClr val="tx1">
              <a:lumMod val="75000"/>
              <a:lumOff val="25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sz="1000"/>
          </a:p>
        </p:txBody>
      </p:sp>
      <p:sp>
        <p:nvSpPr>
          <p:cNvPr id="8" name="Freeform 8">
            <a:extLst>
              <a:ext uri="{FF2B5EF4-FFF2-40B4-BE49-F238E27FC236}">
                <a16:creationId xmlns:a16="http://schemas.microsoft.com/office/drawing/2014/main" id="{A556BCA4-D25C-0F06-1402-B47404165ED4}"/>
              </a:ext>
            </a:extLst>
          </p:cNvPr>
          <p:cNvSpPr>
            <a:spLocks noChangeAspect="1" noEditPoints="1"/>
          </p:cNvSpPr>
          <p:nvPr/>
        </p:nvSpPr>
        <p:spPr bwMode="gray">
          <a:xfrm rot="20149300" flipH="1">
            <a:off x="5048674" y="2641376"/>
            <a:ext cx="1708745" cy="645536"/>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endParaRPr>
          </a:p>
        </p:txBody>
      </p:sp>
      <p:sp>
        <p:nvSpPr>
          <p:cNvPr id="9" name="Freeform 8">
            <a:extLst>
              <a:ext uri="{FF2B5EF4-FFF2-40B4-BE49-F238E27FC236}">
                <a16:creationId xmlns:a16="http://schemas.microsoft.com/office/drawing/2014/main" id="{FB166459-B086-B4D9-FD29-3C20A6EAF6BD}"/>
              </a:ext>
            </a:extLst>
          </p:cNvPr>
          <p:cNvSpPr>
            <a:spLocks noChangeAspect="1" noEditPoints="1"/>
          </p:cNvSpPr>
          <p:nvPr/>
        </p:nvSpPr>
        <p:spPr bwMode="gray">
          <a:xfrm rot="20802173" flipV="1">
            <a:off x="5218678" y="3433933"/>
            <a:ext cx="1542429" cy="645536"/>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endParaRPr>
          </a:p>
        </p:txBody>
      </p:sp>
      <p:sp>
        <p:nvSpPr>
          <p:cNvPr id="10" name="TextBox 9">
            <a:extLst>
              <a:ext uri="{FF2B5EF4-FFF2-40B4-BE49-F238E27FC236}">
                <a16:creationId xmlns:a16="http://schemas.microsoft.com/office/drawing/2014/main" id="{CB05DE13-617D-56DC-C011-8977BA74A40B}"/>
              </a:ext>
            </a:extLst>
          </p:cNvPr>
          <p:cNvSpPr txBox="1"/>
          <p:nvPr/>
        </p:nvSpPr>
        <p:spPr>
          <a:xfrm>
            <a:off x="4446872" y="4863950"/>
            <a:ext cx="2325762" cy="307777"/>
          </a:xfrm>
          <a:prstGeom prst="rect">
            <a:avLst/>
          </a:prstGeom>
          <a:solidFill>
            <a:sysClr val="window" lastClr="FFFFFF"/>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BR" sz="1400" b="1" i="0" u="none" strike="noStrike" kern="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CLOUD PROGRAM</a:t>
            </a:r>
          </a:p>
        </p:txBody>
      </p:sp>
      <p:pic>
        <p:nvPicPr>
          <p:cNvPr id="11" name="Graphic 10" descr="Cloud Computing with solid fill">
            <a:extLst>
              <a:ext uri="{FF2B5EF4-FFF2-40B4-BE49-F238E27FC236}">
                <a16:creationId xmlns:a16="http://schemas.microsoft.com/office/drawing/2014/main" id="{A1ECC77F-D2D3-42FB-A44B-E6C96C00D7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6481" y="4244998"/>
            <a:ext cx="645071" cy="645071"/>
          </a:xfrm>
          <a:prstGeom prst="rect">
            <a:avLst/>
          </a:prstGeom>
        </p:spPr>
      </p:pic>
      <p:sp>
        <p:nvSpPr>
          <p:cNvPr id="12" name="Rounded Rectangle 2050">
            <a:extLst>
              <a:ext uri="{FF2B5EF4-FFF2-40B4-BE49-F238E27FC236}">
                <a16:creationId xmlns:a16="http://schemas.microsoft.com/office/drawing/2014/main" id="{91352F65-EBB8-E87C-B9C1-B278C8A903FA}"/>
              </a:ext>
            </a:extLst>
          </p:cNvPr>
          <p:cNvSpPr/>
          <p:nvPr/>
        </p:nvSpPr>
        <p:spPr>
          <a:xfrm>
            <a:off x="1220208" y="2572906"/>
            <a:ext cx="3809820" cy="1533179"/>
          </a:xfrm>
          <a:prstGeom prst="roundRect">
            <a:avLst>
              <a:gd name="adj" fmla="val 3640"/>
            </a:avLst>
          </a:prstGeom>
          <a:solidFill>
            <a:schemeClr val="tx1">
              <a:lumMod val="75000"/>
              <a:lumOff val="25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sz="1000"/>
          </a:p>
        </p:txBody>
      </p:sp>
      <p:sp>
        <p:nvSpPr>
          <p:cNvPr id="13" name="TextBox 12">
            <a:extLst>
              <a:ext uri="{FF2B5EF4-FFF2-40B4-BE49-F238E27FC236}">
                <a16:creationId xmlns:a16="http://schemas.microsoft.com/office/drawing/2014/main" id="{64D8EF3D-AC50-3139-602B-4D51FB2E8B56}"/>
              </a:ext>
            </a:extLst>
          </p:cNvPr>
          <p:cNvSpPr txBox="1"/>
          <p:nvPr/>
        </p:nvSpPr>
        <p:spPr>
          <a:xfrm>
            <a:off x="1595887" y="2162966"/>
            <a:ext cx="2325762" cy="307777"/>
          </a:xfrm>
          <a:prstGeom prst="rect">
            <a:avLst/>
          </a:prstGeom>
          <a:solidFill>
            <a:sysClr val="window" lastClr="FFFFFF"/>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a:solidFill>
                  <a:prstClr val="black">
                    <a:lumMod val="75000"/>
                    <a:lumOff val="25000"/>
                  </a:prstClr>
                </a:solidFill>
                <a:latin typeface="Segoe UI" panose="020B0502040204020203" pitchFamily="34" charset="0"/>
                <a:cs typeface="Segoe UI" panose="020B0502040204020203" pitchFamily="34" charset="0"/>
              </a:rPr>
              <a:t>XYZ </a:t>
            </a:r>
            <a:r>
              <a:rPr kumimoji="0" lang="en-US" sz="1400" b="1" i="0" u="none" strike="noStrike" kern="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PROGRAM</a:t>
            </a:r>
            <a:endParaRPr kumimoji="0" lang="en-BR" sz="1400" b="1" i="0" u="none" strike="noStrike" kern="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pic>
        <p:nvPicPr>
          <p:cNvPr id="15" name="Picture 14" descr="A black background with a black square&#10;&#10;Description automatically generated with medium confidence">
            <a:extLst>
              <a:ext uri="{FF2B5EF4-FFF2-40B4-BE49-F238E27FC236}">
                <a16:creationId xmlns:a16="http://schemas.microsoft.com/office/drawing/2014/main" id="{539CC50E-0016-81D1-5CAE-AE518C227F92}"/>
              </a:ext>
            </a:extLst>
          </p:cNvPr>
          <p:cNvPicPr>
            <a:picLocks noChangeAspect="1"/>
          </p:cNvPicPr>
          <p:nvPr/>
        </p:nvPicPr>
        <p:blipFill>
          <a:blip r:embed="rId5">
            <a:duotone>
              <a:srgbClr val="F5F5F5">
                <a:shade val="45000"/>
                <a:satMod val="135000"/>
              </a:srgbClr>
              <a:prstClr val="white"/>
            </a:duotone>
            <a:extLst>
              <a:ext uri="{28A0092B-C50C-407E-A947-70E740481C1C}">
                <a14:useLocalDpi xmlns:a14="http://schemas.microsoft.com/office/drawing/2010/main" val="0"/>
              </a:ext>
            </a:extLst>
          </a:blip>
          <a:stretch>
            <a:fillRect/>
          </a:stretch>
        </p:blipFill>
        <p:spPr>
          <a:xfrm>
            <a:off x="2526488" y="1513134"/>
            <a:ext cx="590737" cy="572222"/>
          </a:xfrm>
          <a:prstGeom prst="rect">
            <a:avLst/>
          </a:prstGeom>
        </p:spPr>
      </p:pic>
      <p:sp>
        <p:nvSpPr>
          <p:cNvPr id="16" name="Rounded Rectangle 2050">
            <a:extLst>
              <a:ext uri="{FF2B5EF4-FFF2-40B4-BE49-F238E27FC236}">
                <a16:creationId xmlns:a16="http://schemas.microsoft.com/office/drawing/2014/main" id="{ECCA7753-A841-340F-14D8-75AF899749C2}"/>
              </a:ext>
            </a:extLst>
          </p:cNvPr>
          <p:cNvSpPr/>
          <p:nvPr/>
        </p:nvSpPr>
        <p:spPr>
          <a:xfrm>
            <a:off x="6848755" y="2531403"/>
            <a:ext cx="3813048" cy="1556962"/>
          </a:xfrm>
          <a:prstGeom prst="roundRect">
            <a:avLst>
              <a:gd name="adj" fmla="val 3640"/>
            </a:avLst>
          </a:prstGeom>
          <a:solidFill>
            <a:schemeClr val="tx1">
              <a:lumMod val="75000"/>
              <a:lumOff val="25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sz="1000"/>
          </a:p>
        </p:txBody>
      </p:sp>
      <p:sp>
        <p:nvSpPr>
          <p:cNvPr id="17" name="TextBox 16">
            <a:extLst>
              <a:ext uri="{FF2B5EF4-FFF2-40B4-BE49-F238E27FC236}">
                <a16:creationId xmlns:a16="http://schemas.microsoft.com/office/drawing/2014/main" id="{6F514C81-AD3E-EC8E-55EE-CF42DA2950C0}"/>
              </a:ext>
            </a:extLst>
          </p:cNvPr>
          <p:cNvSpPr txBox="1"/>
          <p:nvPr/>
        </p:nvSpPr>
        <p:spPr>
          <a:xfrm>
            <a:off x="7692866" y="2121913"/>
            <a:ext cx="2325762" cy="307777"/>
          </a:xfrm>
          <a:prstGeom prst="rect">
            <a:avLst/>
          </a:prstGeom>
          <a:solidFill>
            <a:sysClr val="window" lastClr="FFFFFF"/>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rPr>
              <a:t>ZPT PROGRAM</a:t>
            </a:r>
            <a:endParaRPr kumimoji="0" lang="en-BR" sz="1400" b="1" i="0" u="none" strike="noStrike" kern="0" cap="none" spc="0" normalizeH="0" baseline="0" noProof="0">
              <a:ln>
                <a:noFill/>
              </a:ln>
              <a:solidFill>
                <a:prstClr val="black">
                  <a:lumMod val="75000"/>
                  <a:lumOff val="25000"/>
                </a:prstClr>
              </a:solidFill>
              <a:effectLst/>
              <a:uLnTx/>
              <a:uFillTx/>
              <a:latin typeface="Segoe UI" panose="020B0502040204020203" pitchFamily="34" charset="0"/>
              <a:cs typeface="Segoe UI" panose="020B0502040204020203" pitchFamily="34" charset="0"/>
            </a:endParaRPr>
          </a:p>
        </p:txBody>
      </p:sp>
      <p:pic>
        <p:nvPicPr>
          <p:cNvPr id="18" name="Picture 17" descr="A black background with a black square&#10;&#10;Description automatically generated with medium confidence">
            <a:extLst>
              <a:ext uri="{FF2B5EF4-FFF2-40B4-BE49-F238E27FC236}">
                <a16:creationId xmlns:a16="http://schemas.microsoft.com/office/drawing/2014/main" id="{6FA96D61-E370-AFC8-748C-733B674324ED}"/>
              </a:ext>
            </a:extLst>
          </p:cNvPr>
          <p:cNvPicPr>
            <a:picLocks noChangeAspect="1"/>
          </p:cNvPicPr>
          <p:nvPr/>
        </p:nvPicPr>
        <p:blipFill>
          <a:blip r:embed="rId5">
            <a:duotone>
              <a:srgbClr val="F5F5F5">
                <a:shade val="45000"/>
                <a:satMod val="135000"/>
              </a:srgbClr>
              <a:prstClr val="white"/>
            </a:duotone>
            <a:extLst>
              <a:ext uri="{28A0092B-C50C-407E-A947-70E740481C1C}">
                <a14:useLocalDpi xmlns:a14="http://schemas.microsoft.com/office/drawing/2010/main" val="0"/>
              </a:ext>
            </a:extLst>
          </a:blip>
          <a:stretch>
            <a:fillRect/>
          </a:stretch>
        </p:blipFill>
        <p:spPr>
          <a:xfrm>
            <a:off x="8727694" y="1471630"/>
            <a:ext cx="590737" cy="572222"/>
          </a:xfrm>
          <a:prstGeom prst="rect">
            <a:avLst/>
          </a:prstGeom>
        </p:spPr>
      </p:pic>
      <p:sp>
        <p:nvSpPr>
          <p:cNvPr id="19" name="Freeform 8">
            <a:extLst>
              <a:ext uri="{FF2B5EF4-FFF2-40B4-BE49-F238E27FC236}">
                <a16:creationId xmlns:a16="http://schemas.microsoft.com/office/drawing/2014/main" id="{DF479CA8-EBEB-1BB7-80CC-8E5E114A791A}"/>
              </a:ext>
            </a:extLst>
          </p:cNvPr>
          <p:cNvSpPr>
            <a:spLocks noEditPoints="1"/>
          </p:cNvSpPr>
          <p:nvPr/>
        </p:nvSpPr>
        <p:spPr bwMode="gray">
          <a:xfrm rot="4020210" flipV="1">
            <a:off x="1908773" y="4515074"/>
            <a:ext cx="1028286" cy="430357"/>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endParaRPr>
          </a:p>
        </p:txBody>
      </p:sp>
      <p:sp>
        <p:nvSpPr>
          <p:cNvPr id="20" name="Freeform 8">
            <a:extLst>
              <a:ext uri="{FF2B5EF4-FFF2-40B4-BE49-F238E27FC236}">
                <a16:creationId xmlns:a16="http://schemas.microsoft.com/office/drawing/2014/main" id="{001183EE-D87B-165F-A8DF-7C2735E92EDE}"/>
              </a:ext>
            </a:extLst>
          </p:cNvPr>
          <p:cNvSpPr>
            <a:spLocks noEditPoints="1"/>
          </p:cNvSpPr>
          <p:nvPr/>
        </p:nvSpPr>
        <p:spPr bwMode="gray">
          <a:xfrm rot="17579790" flipH="1" flipV="1">
            <a:off x="7678100" y="4523755"/>
            <a:ext cx="1028286" cy="430357"/>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solidFill>
                <a:schemeClr val="lt1"/>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444D553-2D9D-1B41-FA35-9FA58E96DA35}"/>
              </a:ext>
            </a:extLst>
          </p:cNvPr>
          <p:cNvSpPr txBox="1"/>
          <p:nvPr/>
        </p:nvSpPr>
        <p:spPr>
          <a:xfrm>
            <a:off x="5536260" y="3976112"/>
            <a:ext cx="827471" cy="215444"/>
          </a:xfrm>
          <a:prstGeom prst="rect">
            <a:avLst/>
          </a:prstGeom>
          <a:noFill/>
        </p:spPr>
        <p:txBody>
          <a:bodyPr wrap="none" rtlCol="0">
            <a:spAutoFit/>
          </a:bodyPr>
          <a:lstStyle/>
          <a:p>
            <a:r>
              <a:rPr lang="en-US" sz="800">
                <a:solidFill>
                  <a:prstClr val="black"/>
                </a:solidFill>
                <a:latin typeface="Segoe UI" panose="020B0502040204020203" pitchFamily="34" charset="0"/>
                <a:cs typeface="Segoe UI" panose="020B0502040204020203" pitchFamily="34" charset="0"/>
              </a:rPr>
              <a:t>App Inventory</a:t>
            </a:r>
          </a:p>
        </p:txBody>
      </p:sp>
      <p:sp>
        <p:nvSpPr>
          <p:cNvPr id="22" name="TextBox 21">
            <a:extLst>
              <a:ext uri="{FF2B5EF4-FFF2-40B4-BE49-F238E27FC236}">
                <a16:creationId xmlns:a16="http://schemas.microsoft.com/office/drawing/2014/main" id="{070D7999-6133-7632-8B9F-9089808B9B4D}"/>
              </a:ext>
            </a:extLst>
          </p:cNvPr>
          <p:cNvSpPr txBox="1"/>
          <p:nvPr/>
        </p:nvSpPr>
        <p:spPr>
          <a:xfrm>
            <a:off x="5479018" y="2434008"/>
            <a:ext cx="1045479" cy="215444"/>
          </a:xfrm>
          <a:prstGeom prst="rect">
            <a:avLst/>
          </a:prstGeom>
          <a:noFill/>
        </p:spPr>
        <p:txBody>
          <a:bodyPr wrap="none" rtlCol="0">
            <a:spAutoFit/>
          </a:bodyPr>
          <a:lstStyle/>
          <a:p>
            <a:r>
              <a:rPr lang="en-US" sz="800">
                <a:solidFill>
                  <a:prstClr val="black"/>
                </a:solidFill>
                <a:latin typeface="Segoe UI" panose="020B0502040204020203" pitchFamily="34" charset="0"/>
                <a:cs typeface="Segoe UI" panose="020B0502040204020203" pitchFamily="34" charset="0"/>
              </a:rPr>
              <a:t>Tactical Migrations</a:t>
            </a:r>
          </a:p>
        </p:txBody>
      </p:sp>
      <p:sp>
        <p:nvSpPr>
          <p:cNvPr id="23" name="TextBox 22">
            <a:extLst>
              <a:ext uri="{FF2B5EF4-FFF2-40B4-BE49-F238E27FC236}">
                <a16:creationId xmlns:a16="http://schemas.microsoft.com/office/drawing/2014/main" id="{CD79E101-4476-9564-F938-E7FFBDA929AD}"/>
              </a:ext>
            </a:extLst>
          </p:cNvPr>
          <p:cNvSpPr txBox="1"/>
          <p:nvPr/>
        </p:nvSpPr>
        <p:spPr>
          <a:xfrm>
            <a:off x="6772634" y="4430658"/>
            <a:ext cx="1412566" cy="215444"/>
          </a:xfrm>
          <a:prstGeom prst="rect">
            <a:avLst/>
          </a:prstGeom>
          <a:noFill/>
        </p:spPr>
        <p:txBody>
          <a:bodyPr wrap="none" rtlCol="0">
            <a:spAutoFit/>
          </a:bodyPr>
          <a:lstStyle/>
          <a:p>
            <a:r>
              <a:rPr lang="en-US" sz="800">
                <a:solidFill>
                  <a:prstClr val="black"/>
                </a:solidFill>
                <a:latin typeface="Segoe UI" panose="020B0502040204020203" pitchFamily="34" charset="0"/>
                <a:cs typeface="Segoe UI" panose="020B0502040204020203" pitchFamily="34" charset="0"/>
              </a:rPr>
              <a:t>Modernized Apps to Cloud</a:t>
            </a:r>
          </a:p>
        </p:txBody>
      </p:sp>
      <p:sp>
        <p:nvSpPr>
          <p:cNvPr id="24" name="TextBox 23">
            <a:extLst>
              <a:ext uri="{FF2B5EF4-FFF2-40B4-BE49-F238E27FC236}">
                <a16:creationId xmlns:a16="http://schemas.microsoft.com/office/drawing/2014/main" id="{1589F245-1487-F66E-6835-901CF06DDBC2}"/>
              </a:ext>
            </a:extLst>
          </p:cNvPr>
          <p:cNvSpPr txBox="1"/>
          <p:nvPr/>
        </p:nvSpPr>
        <p:spPr>
          <a:xfrm>
            <a:off x="2335913" y="4421978"/>
            <a:ext cx="1183337" cy="215444"/>
          </a:xfrm>
          <a:prstGeom prst="rect">
            <a:avLst/>
          </a:prstGeom>
          <a:noFill/>
        </p:spPr>
        <p:txBody>
          <a:bodyPr wrap="none" rtlCol="0">
            <a:spAutoFit/>
          </a:bodyPr>
          <a:lstStyle/>
          <a:p>
            <a:r>
              <a:rPr lang="en-US" sz="800">
                <a:solidFill>
                  <a:prstClr val="black"/>
                </a:solidFill>
                <a:latin typeface="Segoe UI" panose="020B0502040204020203" pitchFamily="34" charset="0"/>
                <a:cs typeface="Segoe UI" panose="020B0502040204020203" pitchFamily="34" charset="0"/>
              </a:rPr>
              <a:t>Lift and Shift to Cloud</a:t>
            </a:r>
          </a:p>
        </p:txBody>
      </p:sp>
      <p:sp>
        <p:nvSpPr>
          <p:cNvPr id="25" name="Freeform 8">
            <a:extLst>
              <a:ext uri="{FF2B5EF4-FFF2-40B4-BE49-F238E27FC236}">
                <a16:creationId xmlns:a16="http://schemas.microsoft.com/office/drawing/2014/main" id="{A3448B3A-DD11-8C95-B974-74243B2B371E}"/>
              </a:ext>
            </a:extLst>
          </p:cNvPr>
          <p:cNvSpPr>
            <a:spLocks noEditPoints="1"/>
          </p:cNvSpPr>
          <p:nvPr/>
        </p:nvSpPr>
        <p:spPr bwMode="gray">
          <a:xfrm rot="17579790" flipH="1" flipV="1">
            <a:off x="9366248" y="4492684"/>
            <a:ext cx="1028286" cy="430357"/>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solidFill>
                <a:schemeClr val="lt1"/>
              </a:solidFill>
              <a:latin typeface="Segoe UI" panose="020B0502040204020203" pitchFamily="34" charset="0"/>
              <a:cs typeface="Segoe UI" panose="020B0502040204020203" pitchFamily="34" charset="0"/>
            </a:endParaRPr>
          </a:p>
        </p:txBody>
      </p:sp>
      <p:sp>
        <p:nvSpPr>
          <p:cNvPr id="26" name="TextBox 25">
            <a:extLst>
              <a:ext uri="{FF2B5EF4-FFF2-40B4-BE49-F238E27FC236}">
                <a16:creationId xmlns:a16="http://schemas.microsoft.com/office/drawing/2014/main" id="{836F1374-D9AB-6538-DD49-56C6EB89044D}"/>
              </a:ext>
            </a:extLst>
          </p:cNvPr>
          <p:cNvSpPr txBox="1"/>
          <p:nvPr/>
        </p:nvSpPr>
        <p:spPr>
          <a:xfrm>
            <a:off x="8460782" y="4399587"/>
            <a:ext cx="1399742" cy="215444"/>
          </a:xfrm>
          <a:prstGeom prst="rect">
            <a:avLst/>
          </a:prstGeom>
          <a:noFill/>
        </p:spPr>
        <p:txBody>
          <a:bodyPr wrap="none" rtlCol="0">
            <a:spAutoFit/>
          </a:bodyPr>
          <a:lstStyle/>
          <a:p>
            <a:r>
              <a:rPr lang="en-US" sz="800">
                <a:solidFill>
                  <a:prstClr val="black"/>
                </a:solidFill>
                <a:latin typeface="Segoe UI" panose="020B0502040204020203" pitchFamily="34" charset="0"/>
                <a:cs typeface="Segoe UI" panose="020B0502040204020203" pitchFamily="34" charset="0"/>
              </a:rPr>
              <a:t>Modernized Apps in Cloud</a:t>
            </a:r>
          </a:p>
        </p:txBody>
      </p:sp>
      <p:sp>
        <p:nvSpPr>
          <p:cNvPr id="27" name="TextBox 26">
            <a:extLst>
              <a:ext uri="{FF2B5EF4-FFF2-40B4-BE49-F238E27FC236}">
                <a16:creationId xmlns:a16="http://schemas.microsoft.com/office/drawing/2014/main" id="{84BD2DB6-ACF1-E307-4416-B3DEC0A763FA}"/>
              </a:ext>
            </a:extLst>
          </p:cNvPr>
          <p:cNvSpPr txBox="1"/>
          <p:nvPr/>
        </p:nvSpPr>
        <p:spPr>
          <a:xfrm>
            <a:off x="2821857" y="6070737"/>
            <a:ext cx="2991037" cy="369332"/>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BR"/>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latin typeface="Segoe UI" panose="020B0502040204020203" pitchFamily="34" charset="0"/>
                <a:cs typeface="Segoe UI" panose="020B0502040204020203" pitchFamily="34" charset="0"/>
              </a:rPr>
              <a:t>In Program Y Scope</a:t>
            </a:r>
          </a:p>
        </p:txBody>
      </p:sp>
      <p:sp>
        <p:nvSpPr>
          <p:cNvPr id="30" name="TextBox 29">
            <a:extLst>
              <a:ext uri="{FF2B5EF4-FFF2-40B4-BE49-F238E27FC236}">
                <a16:creationId xmlns:a16="http://schemas.microsoft.com/office/drawing/2014/main" id="{22F9FE07-5EA9-0CBD-2579-B528101C9AA1}"/>
              </a:ext>
            </a:extLst>
          </p:cNvPr>
          <p:cNvSpPr txBox="1"/>
          <p:nvPr/>
        </p:nvSpPr>
        <p:spPr>
          <a:xfrm>
            <a:off x="6048718" y="6070737"/>
            <a:ext cx="3095281" cy="369332"/>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BR"/>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latin typeface="Segoe UI" panose="020B0502040204020203" pitchFamily="34" charset="0"/>
                <a:cs typeface="Segoe UI" panose="020B0502040204020203" pitchFamily="34" charset="0"/>
              </a:rPr>
              <a:t>Not In Program X Scope</a:t>
            </a:r>
          </a:p>
        </p:txBody>
      </p:sp>
      <p:sp>
        <p:nvSpPr>
          <p:cNvPr id="32" name="TextBox 31">
            <a:extLst>
              <a:ext uri="{FF2B5EF4-FFF2-40B4-BE49-F238E27FC236}">
                <a16:creationId xmlns:a16="http://schemas.microsoft.com/office/drawing/2014/main" id="{DF42958A-3BD5-D405-552B-27D1D94B1452}"/>
              </a:ext>
            </a:extLst>
          </p:cNvPr>
          <p:cNvSpPr txBox="1"/>
          <p:nvPr/>
        </p:nvSpPr>
        <p:spPr>
          <a:xfrm>
            <a:off x="1237791" y="2634631"/>
            <a:ext cx="3719547" cy="584775"/>
          </a:xfrm>
          <a:prstGeom prst="rect">
            <a:avLst/>
          </a:prstGeom>
          <a:noFill/>
        </p:spPr>
        <p:txBody>
          <a:bodyPr wrap="square">
            <a:spAutoFit/>
          </a:bodyPr>
          <a:lstStyle>
            <a:defPPr>
              <a:defRPr lang="en-BR"/>
            </a:defPPr>
            <a:lvl1pPr marL="285750" indent="-285750">
              <a:spcAft>
                <a:spcPts val="1800"/>
              </a:spcAft>
              <a:buFont typeface="Arial" panose="020B0604020202020204" pitchFamily="34" charset="0"/>
              <a:buChar char="•"/>
              <a:defRPr sz="1400">
                <a:solidFill>
                  <a:schemeClr val="tx1">
                    <a:lumMod val="75000"/>
                    <a:lumOff val="25000"/>
                  </a:schemeClr>
                </a:solidFill>
                <a:latin typeface="Segoe UI Light" panose="020B0502040204020203" pitchFamily="34" charset="0"/>
                <a:cs typeface="Segoe UI Light" panose="020B0502040204020203" pitchFamily="34" charset="0"/>
              </a:defRPr>
            </a:lvl1pPr>
          </a:lstStyle>
          <a:p>
            <a:pPr marL="0" indent="0">
              <a:spcAft>
                <a:spcPts val="0"/>
              </a:spcAft>
              <a:buFont typeface="Arial" panose="020B0604020202020204" pitchFamily="34" charset="0"/>
              <a:buNone/>
            </a:pPr>
            <a:r>
              <a:rPr lang="en-US" sz="1600" b="1">
                <a:solidFill>
                  <a:schemeClr val="bg1"/>
                </a:solidFill>
                <a:latin typeface="Segoe UI" panose="020B0502040204020203" pitchFamily="34" charset="0"/>
                <a:cs typeface="Segoe UI" panose="020B0502040204020203" pitchFamily="34" charset="0"/>
              </a:rPr>
              <a:t>Key Focus: </a:t>
            </a:r>
          </a:p>
          <a:p>
            <a:pPr marL="0" indent="0">
              <a:spcAft>
                <a:spcPts val="0"/>
              </a:spcAft>
              <a:buFont typeface="Arial" panose="020B0604020202020204" pitchFamily="34" charset="0"/>
              <a:buNone/>
            </a:pPr>
            <a:r>
              <a:rPr lang="en-US" sz="1600">
                <a:solidFill>
                  <a:schemeClr val="bg1"/>
                </a:solidFill>
                <a:latin typeface="Segoe UI" panose="020B0502040204020203" pitchFamily="34" charset="0"/>
                <a:cs typeface="Segoe UI" panose="020B0502040204020203" pitchFamily="34" charset="0"/>
              </a:rPr>
              <a:t>Closure of leased DCs </a:t>
            </a:r>
          </a:p>
        </p:txBody>
      </p:sp>
      <p:sp>
        <p:nvSpPr>
          <p:cNvPr id="33" name="TextBox 32">
            <a:extLst>
              <a:ext uri="{FF2B5EF4-FFF2-40B4-BE49-F238E27FC236}">
                <a16:creationId xmlns:a16="http://schemas.microsoft.com/office/drawing/2014/main" id="{8D54AD9B-059C-5054-895B-14ACE1B68E89}"/>
              </a:ext>
            </a:extLst>
          </p:cNvPr>
          <p:cNvSpPr txBox="1"/>
          <p:nvPr/>
        </p:nvSpPr>
        <p:spPr>
          <a:xfrm>
            <a:off x="6895505" y="2622014"/>
            <a:ext cx="3719547" cy="1323439"/>
          </a:xfrm>
          <a:prstGeom prst="rect">
            <a:avLst/>
          </a:prstGeom>
          <a:noFill/>
        </p:spPr>
        <p:txBody>
          <a:bodyPr wrap="square">
            <a:spAutoFit/>
          </a:bodyPr>
          <a:lstStyle>
            <a:defPPr>
              <a:defRPr lang="en-BR"/>
            </a:defPPr>
            <a:lvl1pPr marL="285750" indent="-285750">
              <a:spcAft>
                <a:spcPts val="1800"/>
              </a:spcAft>
              <a:buFont typeface="Arial" panose="020B0604020202020204" pitchFamily="34" charset="0"/>
              <a:buChar char="•"/>
              <a:defRPr sz="1400">
                <a:solidFill>
                  <a:schemeClr val="tx1">
                    <a:lumMod val="75000"/>
                    <a:lumOff val="25000"/>
                  </a:schemeClr>
                </a:solidFill>
                <a:latin typeface="Segoe UI Light" panose="020B0502040204020203" pitchFamily="34" charset="0"/>
                <a:cs typeface="Segoe UI Light" panose="020B0502040204020203" pitchFamily="34" charset="0"/>
              </a:defRPr>
            </a:lvl1pPr>
          </a:lstStyle>
          <a:p>
            <a:pPr marL="0" indent="0">
              <a:spcAft>
                <a:spcPts val="0"/>
              </a:spcAft>
              <a:buFont typeface="Arial" panose="020B0604020202020204" pitchFamily="34" charset="0"/>
              <a:buNone/>
            </a:pPr>
            <a:r>
              <a:rPr lang="en-US" sz="1600" b="1">
                <a:solidFill>
                  <a:schemeClr val="bg1"/>
                </a:solidFill>
                <a:latin typeface="Segoe UI" panose="020B0502040204020203" pitchFamily="34" charset="0"/>
                <a:cs typeface="Segoe UI" panose="020B0502040204020203" pitchFamily="34" charset="0"/>
              </a:rPr>
              <a:t>Key Focus: </a:t>
            </a:r>
          </a:p>
          <a:p>
            <a:pPr marL="0" indent="0">
              <a:spcAft>
                <a:spcPts val="0"/>
              </a:spcAft>
              <a:buFont typeface="Arial" panose="020B0604020202020204" pitchFamily="34" charset="0"/>
              <a:buNone/>
            </a:pPr>
            <a:r>
              <a:rPr lang="en-US" sz="1600">
                <a:solidFill>
                  <a:schemeClr val="bg1"/>
                </a:solidFill>
                <a:latin typeface="Segoe UI" panose="020B0502040204020203" pitchFamily="34" charset="0"/>
                <a:cs typeface="Segoe UI" panose="020B0502040204020203" pitchFamily="34" charset="0"/>
              </a:rPr>
              <a:t>Streamline and modernize application portfolio thru consolidation, decommission, obsolescence remediation</a:t>
            </a:r>
          </a:p>
        </p:txBody>
      </p:sp>
      <p:sp>
        <p:nvSpPr>
          <p:cNvPr id="34" name="TextBox 33">
            <a:extLst>
              <a:ext uri="{FF2B5EF4-FFF2-40B4-BE49-F238E27FC236}">
                <a16:creationId xmlns:a16="http://schemas.microsoft.com/office/drawing/2014/main" id="{D39BB9B7-A8FF-8B3E-6502-63D309027575}"/>
              </a:ext>
            </a:extLst>
          </p:cNvPr>
          <p:cNvSpPr txBox="1"/>
          <p:nvPr/>
        </p:nvSpPr>
        <p:spPr>
          <a:xfrm>
            <a:off x="1271878" y="5361605"/>
            <a:ext cx="9367365" cy="338554"/>
          </a:xfrm>
          <a:prstGeom prst="rect">
            <a:avLst/>
          </a:prstGeom>
          <a:noFill/>
        </p:spPr>
        <p:txBody>
          <a:bodyPr wrap="square">
            <a:spAutoFit/>
          </a:bodyPr>
          <a:lstStyle>
            <a:defPPr>
              <a:defRPr lang="en-BR"/>
            </a:defPPr>
            <a:lvl1pPr marL="285750" indent="-285750">
              <a:spcAft>
                <a:spcPts val="1800"/>
              </a:spcAft>
              <a:buFont typeface="Arial" panose="020B0604020202020204" pitchFamily="34" charset="0"/>
              <a:buChar char="•"/>
              <a:defRPr sz="1400">
                <a:solidFill>
                  <a:schemeClr val="tx1">
                    <a:lumMod val="75000"/>
                    <a:lumOff val="25000"/>
                  </a:schemeClr>
                </a:solidFill>
                <a:latin typeface="Segoe UI Light" panose="020B0502040204020203" pitchFamily="34" charset="0"/>
                <a:cs typeface="Segoe UI Light" panose="020B0502040204020203" pitchFamily="34" charset="0"/>
              </a:defRPr>
            </a:lvl1pPr>
          </a:lstStyle>
          <a:p>
            <a:pPr marL="0" indent="0">
              <a:spcAft>
                <a:spcPts val="0"/>
              </a:spcAft>
              <a:buFont typeface="Arial" panose="020B0604020202020204" pitchFamily="34" charset="0"/>
              <a:buNone/>
            </a:pPr>
            <a:r>
              <a:rPr lang="en-US" sz="1600" b="1">
                <a:solidFill>
                  <a:schemeClr val="bg1"/>
                </a:solidFill>
                <a:latin typeface="Segoe UI" panose="020B0502040204020203" pitchFamily="34" charset="0"/>
                <a:cs typeface="Segoe UI" panose="020B0502040204020203" pitchFamily="34" charset="0"/>
              </a:rPr>
              <a:t>Key Focus: </a:t>
            </a:r>
            <a:r>
              <a:rPr lang="en-US" sz="1600">
                <a:solidFill>
                  <a:schemeClr val="bg1"/>
                </a:solidFill>
                <a:latin typeface="Segoe UI" panose="020B0502040204020203" pitchFamily="34" charset="0"/>
                <a:cs typeface="Segoe UI" panose="020B0502040204020203" pitchFamily="34" charset="0"/>
              </a:rPr>
              <a:t>Migrations to cloud</a:t>
            </a:r>
          </a:p>
        </p:txBody>
      </p:sp>
      <p:grpSp>
        <p:nvGrpSpPr>
          <p:cNvPr id="57" name="Group 134">
            <a:extLst>
              <a:ext uri="{FF2B5EF4-FFF2-40B4-BE49-F238E27FC236}">
                <a16:creationId xmlns:a16="http://schemas.microsoft.com/office/drawing/2014/main" id="{02516246-B50E-FFA3-6F92-95A98784576C}"/>
              </a:ext>
            </a:extLst>
          </p:cNvPr>
          <p:cNvGrpSpPr/>
          <p:nvPr>
            <p:custDataLst>
              <p:tags r:id="rId1"/>
            </p:custDataLst>
          </p:nvPr>
        </p:nvGrpSpPr>
        <p:grpSpPr bwMode="auto">
          <a:xfrm>
            <a:off x="9720576" y="382967"/>
            <a:ext cx="894476" cy="481687"/>
            <a:chOff x="7792324" y="1498600"/>
            <a:chExt cx="894476" cy="481687"/>
          </a:xfrm>
        </p:grpSpPr>
        <p:sp>
          <p:nvSpPr>
            <p:cNvPr id="58" name="TextBox 57">
              <a:extLst>
                <a:ext uri="{FF2B5EF4-FFF2-40B4-BE49-F238E27FC236}">
                  <a16:creationId xmlns:a16="http://schemas.microsoft.com/office/drawing/2014/main" id="{ACFA4234-B30E-8131-438B-C4372033F10B}"/>
                </a:ext>
              </a:extLst>
            </p:cNvPr>
            <p:cNvSpPr txBox="1"/>
            <p:nvPr/>
          </p:nvSpPr>
          <p:spPr bwMode="auto">
            <a:xfrm>
              <a:off x="7792324" y="1524000"/>
              <a:ext cx="894476" cy="430887"/>
            </a:xfrm>
            <a:prstGeom prst="rect">
              <a:avLst/>
            </a:prstGeom>
            <a:noFill/>
          </p:spPr>
          <p:txBody>
            <a:bodyPr vert="horz" wrap="square" lIns="0" tIns="0" rIns="0" bIns="0" rtlCol="0" anchor="ctr" anchorCtr="1">
              <a:spAutoFit/>
            </a:bodyPr>
            <a:lstStyle/>
            <a:p>
              <a:pPr algn="ctr"/>
              <a:r>
                <a:rPr lang="en-US" sz="1400" b="1">
                  <a:solidFill>
                    <a:srgbClr val="000000"/>
                  </a:solidFill>
                  <a:latin typeface="Arial"/>
                </a:rPr>
                <a:t>Illustrative</a:t>
              </a:r>
            </a:p>
            <a:p>
              <a:r>
                <a:rPr lang="en-US" sz="1400" b="1">
                  <a:solidFill>
                    <a:srgbClr val="000000"/>
                  </a:solidFill>
                  <a:latin typeface="Arial"/>
                </a:rPr>
                <a:t>Contents</a:t>
              </a:r>
            </a:p>
          </p:txBody>
        </p:sp>
        <p:cxnSp>
          <p:nvCxnSpPr>
            <p:cNvPr id="59" name="Straight Connector 58">
              <a:extLst>
                <a:ext uri="{FF2B5EF4-FFF2-40B4-BE49-F238E27FC236}">
                  <a16:creationId xmlns:a16="http://schemas.microsoft.com/office/drawing/2014/main" id="{C3DCE929-BC8F-6175-B322-E1943E151315}"/>
                </a:ext>
              </a:extLst>
            </p:cNvPr>
            <p:cNvCxnSpPr/>
            <p:nvPr/>
          </p:nvCxnSpPr>
          <p:spPr bwMode="auto">
            <a:xfrm>
              <a:off x="7792324" y="1498600"/>
              <a:ext cx="894476"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E5C7D71-B9DC-6CA1-F999-A0B9765ED92B}"/>
                </a:ext>
              </a:extLst>
            </p:cNvPr>
            <p:cNvCxnSpPr/>
            <p:nvPr/>
          </p:nvCxnSpPr>
          <p:spPr bwMode="auto">
            <a:xfrm>
              <a:off x="7792324" y="1980287"/>
              <a:ext cx="894476"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2029860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5ED14E-CB83-C755-E2C0-6F3C4E54D180}"/>
            </a:ext>
          </a:extLst>
        </p:cNvPr>
        <p:cNvGrpSpPr/>
        <p:nvPr/>
      </p:nvGrpSpPr>
      <p:grpSpPr>
        <a:xfrm>
          <a:off x="0" y="0"/>
          <a:ext cx="0" cy="0"/>
          <a:chOff x="0" y="0"/>
          <a:chExt cx="0" cy="0"/>
        </a:xfrm>
      </p:grpSpPr>
      <p:sp>
        <p:nvSpPr>
          <p:cNvPr id="16" name="Retângulo 2">
            <a:extLst>
              <a:ext uri="{FF2B5EF4-FFF2-40B4-BE49-F238E27FC236}">
                <a16:creationId xmlns:a16="http://schemas.microsoft.com/office/drawing/2014/main" id="{ADCD6F8F-925C-0822-AB85-850B648F849C}"/>
              </a:ext>
            </a:extLst>
          </p:cNvPr>
          <p:cNvSpPr/>
          <p:nvPr/>
        </p:nvSpPr>
        <p:spPr>
          <a:xfrm>
            <a:off x="1177193" y="5718154"/>
            <a:ext cx="10876847" cy="82799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3">
            <a:extLst>
              <a:ext uri="{FF2B5EF4-FFF2-40B4-BE49-F238E27FC236}">
                <a16:creationId xmlns:a16="http://schemas.microsoft.com/office/drawing/2014/main" id="{CE5CA21F-7704-3D99-F630-2146F9F0A7E7}"/>
              </a:ext>
            </a:extLst>
          </p:cNvPr>
          <p:cNvSpPr/>
          <p:nvPr>
            <p:custDataLst>
              <p:tags r:id="rId1"/>
            </p:custDataLst>
          </p:nvPr>
        </p:nvSpPr>
        <p:spPr>
          <a:xfrm>
            <a:off x="334962" y="5718155"/>
            <a:ext cx="1386991" cy="8280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45" name="TextBox 44">
            <a:extLst>
              <a:ext uri="{FF2B5EF4-FFF2-40B4-BE49-F238E27FC236}">
                <a16:creationId xmlns:a16="http://schemas.microsoft.com/office/drawing/2014/main" id="{2B4442BE-D76E-ED98-9B92-714F785A9507}"/>
              </a:ext>
            </a:extLst>
          </p:cNvPr>
          <p:cNvSpPr txBox="1"/>
          <p:nvPr/>
        </p:nvSpPr>
        <p:spPr>
          <a:xfrm>
            <a:off x="337595" y="5718150"/>
            <a:ext cx="1299083" cy="769441"/>
          </a:xfrm>
          <a:prstGeom prst="rect">
            <a:avLst/>
          </a:prstGeom>
          <a:noFill/>
        </p:spPr>
        <p:txBody>
          <a:bodyPr wrap="square" rtlCol="0">
            <a:spAutoFit/>
          </a:bodyPr>
          <a:lstStyle/>
          <a:p>
            <a:r>
              <a:rPr lang="en-US" sz="1100">
                <a:solidFill>
                  <a:schemeClr val="bg1"/>
                </a:solidFill>
                <a:latin typeface="Segoe UI" panose="020B0502040204020203" pitchFamily="34" charset="0"/>
                <a:cs typeface="Segoe UI" panose="020B0502040204020203" pitchFamily="34" charset="0"/>
              </a:rPr>
              <a:t>How do we escalate: (second level)</a:t>
            </a:r>
          </a:p>
          <a:p>
            <a:endParaRPr lang="en-US" sz="1100">
              <a:solidFill>
                <a:schemeClr val="bg1"/>
              </a:solidFill>
              <a:latin typeface="Segoe UI" panose="020B0502040204020203" pitchFamily="34" charset="0"/>
              <a:cs typeface="Segoe UI" panose="020B0502040204020203" pitchFamily="34" charset="0"/>
            </a:endParaRPr>
          </a:p>
        </p:txBody>
      </p:sp>
      <p:sp>
        <p:nvSpPr>
          <p:cNvPr id="14" name="Retângulo 2">
            <a:extLst>
              <a:ext uri="{FF2B5EF4-FFF2-40B4-BE49-F238E27FC236}">
                <a16:creationId xmlns:a16="http://schemas.microsoft.com/office/drawing/2014/main" id="{FA3B4801-59F7-CA57-2CF4-34AA79052E8B}"/>
              </a:ext>
            </a:extLst>
          </p:cNvPr>
          <p:cNvSpPr/>
          <p:nvPr/>
        </p:nvSpPr>
        <p:spPr>
          <a:xfrm>
            <a:off x="999457" y="4817382"/>
            <a:ext cx="11057862" cy="82799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tângulo 2">
            <a:extLst>
              <a:ext uri="{FF2B5EF4-FFF2-40B4-BE49-F238E27FC236}">
                <a16:creationId xmlns:a16="http://schemas.microsoft.com/office/drawing/2014/main" id="{6A4807E0-B0CD-97BA-9E36-AC5AC2372588}"/>
              </a:ext>
            </a:extLst>
          </p:cNvPr>
          <p:cNvSpPr/>
          <p:nvPr/>
        </p:nvSpPr>
        <p:spPr>
          <a:xfrm>
            <a:off x="999458" y="3916609"/>
            <a:ext cx="11057861" cy="82799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tângulo 2">
            <a:extLst>
              <a:ext uri="{FF2B5EF4-FFF2-40B4-BE49-F238E27FC236}">
                <a16:creationId xmlns:a16="http://schemas.microsoft.com/office/drawing/2014/main" id="{B3CD276B-870B-D3E3-1D41-EE3C0E47850F}"/>
              </a:ext>
            </a:extLst>
          </p:cNvPr>
          <p:cNvSpPr/>
          <p:nvPr/>
        </p:nvSpPr>
        <p:spPr>
          <a:xfrm>
            <a:off x="1177193" y="3015836"/>
            <a:ext cx="10876847" cy="82799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tângulo 2">
            <a:extLst>
              <a:ext uri="{FF2B5EF4-FFF2-40B4-BE49-F238E27FC236}">
                <a16:creationId xmlns:a16="http://schemas.microsoft.com/office/drawing/2014/main" id="{03423F7A-5C3A-954D-7EF9-37B78365144E}"/>
              </a:ext>
            </a:extLst>
          </p:cNvPr>
          <p:cNvSpPr/>
          <p:nvPr/>
        </p:nvSpPr>
        <p:spPr>
          <a:xfrm>
            <a:off x="999458" y="2115063"/>
            <a:ext cx="11057861" cy="82799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A829F07-EDA1-174F-3F96-3A34B2ABD145}"/>
              </a:ext>
            </a:extLst>
          </p:cNvPr>
          <p:cNvSpPr>
            <a:spLocks noGrp="1"/>
          </p:cNvSpPr>
          <p:nvPr>
            <p:ph type="title"/>
          </p:nvPr>
        </p:nvSpPr>
        <p:spPr/>
        <p:txBody>
          <a:bodyPr/>
          <a:lstStyle/>
          <a:p>
            <a:r>
              <a:rPr lang="en-US"/>
              <a:t>Other Topics 2</a:t>
            </a:r>
            <a:endParaRPr lang="en-BR"/>
          </a:p>
        </p:txBody>
      </p:sp>
      <p:sp>
        <p:nvSpPr>
          <p:cNvPr id="3" name="Footer Placeholder 2">
            <a:extLst>
              <a:ext uri="{FF2B5EF4-FFF2-40B4-BE49-F238E27FC236}">
                <a16:creationId xmlns:a16="http://schemas.microsoft.com/office/drawing/2014/main" id="{F246438F-0C97-B8FE-0134-6A6E61F389FF}"/>
              </a:ext>
            </a:extLst>
          </p:cNvPr>
          <p:cNvSpPr>
            <a:spLocks noGrp="1"/>
          </p:cNvSpPr>
          <p:nvPr>
            <p:ph type="ftr" sz="quarter" idx="11"/>
          </p:nvPr>
        </p:nvSpPr>
        <p:spPr/>
        <p:txBody>
          <a:bodyPr/>
          <a:lstStyle/>
          <a:p>
            <a:r>
              <a:rPr lang="en-US"/>
              <a:t>© 2024 Mobiz. All rights reserved</a:t>
            </a:r>
            <a:endParaRPr lang="en-BR"/>
          </a:p>
        </p:txBody>
      </p:sp>
      <p:sp>
        <p:nvSpPr>
          <p:cNvPr id="5" name="Text Placeholder 4">
            <a:extLst>
              <a:ext uri="{FF2B5EF4-FFF2-40B4-BE49-F238E27FC236}">
                <a16:creationId xmlns:a16="http://schemas.microsoft.com/office/drawing/2014/main" id="{84EE64EF-AF38-C684-61AF-09EA3A16C7DE}"/>
              </a:ext>
            </a:extLst>
          </p:cNvPr>
          <p:cNvSpPr>
            <a:spLocks noGrp="1"/>
          </p:cNvSpPr>
          <p:nvPr>
            <p:ph type="body" sz="quarter" idx="13"/>
          </p:nvPr>
        </p:nvSpPr>
        <p:spPr/>
        <p:txBody>
          <a:bodyPr>
            <a:noAutofit/>
          </a:bodyPr>
          <a:lstStyle/>
          <a:p>
            <a:pPr>
              <a:spcBef>
                <a:spcPts val="0"/>
              </a:spcBef>
              <a:spcAft>
                <a:spcPts val="1200"/>
              </a:spcAft>
            </a:pPr>
            <a:r>
              <a:rPr lang="en-US" sz="1600"/>
              <a:t>Summarize key takeaways here.</a:t>
            </a:r>
          </a:p>
        </p:txBody>
      </p:sp>
      <p:cxnSp>
        <p:nvCxnSpPr>
          <p:cNvPr id="6" name="Straight Connector 6">
            <a:extLst>
              <a:ext uri="{FF2B5EF4-FFF2-40B4-BE49-F238E27FC236}">
                <a16:creationId xmlns:a16="http://schemas.microsoft.com/office/drawing/2014/main" id="{32D3EE19-C50B-A12B-2920-5A8C11B46B9D}"/>
              </a:ext>
            </a:extLst>
          </p:cNvPr>
          <p:cNvCxnSpPr>
            <a:cxnSpLocks/>
          </p:cNvCxnSpPr>
          <p:nvPr>
            <p:custDataLst>
              <p:tags r:id="rId2"/>
            </p:custDataLst>
          </p:nvPr>
        </p:nvCxnSpPr>
        <p:spPr bwMode="gray">
          <a:xfrm flipV="1">
            <a:off x="1292771" y="1923964"/>
            <a:ext cx="10564266" cy="5087"/>
          </a:xfrm>
          <a:prstGeom prst="line">
            <a:avLst/>
          </a:prstGeom>
          <a:solidFill>
            <a:schemeClr val="accent1"/>
          </a:solidFill>
          <a:ln w="9525" cap="flat" cmpd="sng" algn="ctr">
            <a:solidFill>
              <a:schemeClr val="tx1"/>
            </a:solidFill>
            <a:prstDash val="solid"/>
            <a:round/>
            <a:headEnd type="oval" w="med" len="med"/>
            <a:tailEnd type="oval" w="med" len="med"/>
          </a:ln>
          <a:effectLst/>
        </p:spPr>
      </p:cxnSp>
      <p:sp>
        <p:nvSpPr>
          <p:cNvPr id="7" name="Freeform 3">
            <a:extLst>
              <a:ext uri="{FF2B5EF4-FFF2-40B4-BE49-F238E27FC236}">
                <a16:creationId xmlns:a16="http://schemas.microsoft.com/office/drawing/2014/main" id="{4EE02CDC-18A2-0A7A-CD53-56B1A40572BE}"/>
              </a:ext>
            </a:extLst>
          </p:cNvPr>
          <p:cNvSpPr/>
          <p:nvPr>
            <p:custDataLst>
              <p:tags r:id="rId3"/>
            </p:custDataLst>
          </p:nvPr>
        </p:nvSpPr>
        <p:spPr>
          <a:xfrm>
            <a:off x="334962" y="2115064"/>
            <a:ext cx="1386991" cy="8280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9" name="Freeform 3">
            <a:extLst>
              <a:ext uri="{FF2B5EF4-FFF2-40B4-BE49-F238E27FC236}">
                <a16:creationId xmlns:a16="http://schemas.microsoft.com/office/drawing/2014/main" id="{697ADD54-1CF8-0192-47EA-E296886FE3D9}"/>
              </a:ext>
            </a:extLst>
          </p:cNvPr>
          <p:cNvSpPr/>
          <p:nvPr>
            <p:custDataLst>
              <p:tags r:id="rId4"/>
            </p:custDataLst>
          </p:nvPr>
        </p:nvSpPr>
        <p:spPr>
          <a:xfrm>
            <a:off x="334962" y="3015837"/>
            <a:ext cx="1386991" cy="8280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11" name="Freeform 3">
            <a:extLst>
              <a:ext uri="{FF2B5EF4-FFF2-40B4-BE49-F238E27FC236}">
                <a16:creationId xmlns:a16="http://schemas.microsoft.com/office/drawing/2014/main" id="{DE9D7B00-D35C-EF32-C078-967293D184E0}"/>
              </a:ext>
            </a:extLst>
          </p:cNvPr>
          <p:cNvSpPr/>
          <p:nvPr>
            <p:custDataLst>
              <p:tags r:id="rId5"/>
            </p:custDataLst>
          </p:nvPr>
        </p:nvSpPr>
        <p:spPr>
          <a:xfrm>
            <a:off x="334962" y="3916610"/>
            <a:ext cx="1386991" cy="8280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13" name="Freeform 3">
            <a:extLst>
              <a:ext uri="{FF2B5EF4-FFF2-40B4-BE49-F238E27FC236}">
                <a16:creationId xmlns:a16="http://schemas.microsoft.com/office/drawing/2014/main" id="{36B85512-C1EC-B69E-28D3-590A3E0FC6F6}"/>
              </a:ext>
            </a:extLst>
          </p:cNvPr>
          <p:cNvSpPr/>
          <p:nvPr>
            <p:custDataLst>
              <p:tags r:id="rId6"/>
            </p:custDataLst>
          </p:nvPr>
        </p:nvSpPr>
        <p:spPr>
          <a:xfrm>
            <a:off x="334962" y="4817383"/>
            <a:ext cx="1386991" cy="8280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17" name="Rectangle 16">
            <a:extLst>
              <a:ext uri="{FF2B5EF4-FFF2-40B4-BE49-F238E27FC236}">
                <a16:creationId xmlns:a16="http://schemas.microsoft.com/office/drawing/2014/main" id="{99EF0FAF-0B65-A1E0-CFA1-3F1CC812A0A8}"/>
              </a:ext>
            </a:extLst>
          </p:cNvPr>
          <p:cNvSpPr/>
          <p:nvPr/>
        </p:nvSpPr>
        <p:spPr>
          <a:xfrm>
            <a:off x="1991389" y="1246853"/>
            <a:ext cx="914400" cy="5086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Segoe UI" panose="020B0502040204020203" pitchFamily="34" charset="0"/>
                <a:cs typeface="Segoe UI" panose="020B0502040204020203" pitchFamily="34" charset="0"/>
              </a:rPr>
              <a:t>Cyber Security</a:t>
            </a:r>
          </a:p>
        </p:txBody>
      </p:sp>
      <p:sp>
        <p:nvSpPr>
          <p:cNvPr id="18" name="Rectangle 17">
            <a:extLst>
              <a:ext uri="{FF2B5EF4-FFF2-40B4-BE49-F238E27FC236}">
                <a16:creationId xmlns:a16="http://schemas.microsoft.com/office/drawing/2014/main" id="{9CF7C0CF-9612-808B-DB8E-CE0ECBC449E4}"/>
              </a:ext>
            </a:extLst>
          </p:cNvPr>
          <p:cNvSpPr/>
          <p:nvPr/>
        </p:nvSpPr>
        <p:spPr>
          <a:xfrm>
            <a:off x="3135465" y="1246853"/>
            <a:ext cx="914400" cy="5086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Segoe UI" panose="020B0502040204020203" pitchFamily="34" charset="0"/>
                <a:cs typeface="Segoe UI" panose="020B0502040204020203" pitchFamily="34" charset="0"/>
              </a:rPr>
              <a:t>Digital CF</a:t>
            </a:r>
          </a:p>
        </p:txBody>
      </p:sp>
      <p:sp>
        <p:nvSpPr>
          <p:cNvPr id="19" name="Rectangle 18">
            <a:extLst>
              <a:ext uri="{FF2B5EF4-FFF2-40B4-BE49-F238E27FC236}">
                <a16:creationId xmlns:a16="http://schemas.microsoft.com/office/drawing/2014/main" id="{A856EA5A-EF3C-0032-C80C-8607F15B9119}"/>
              </a:ext>
            </a:extLst>
          </p:cNvPr>
          <p:cNvSpPr/>
          <p:nvPr/>
        </p:nvSpPr>
        <p:spPr>
          <a:xfrm>
            <a:off x="4201717" y="1246853"/>
            <a:ext cx="914400" cy="5086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Segoe UI" panose="020B0502040204020203" pitchFamily="34" charset="0"/>
                <a:cs typeface="Segoe UI" panose="020B0502040204020203" pitchFamily="34" charset="0"/>
              </a:rPr>
              <a:t>Digital Data</a:t>
            </a:r>
          </a:p>
        </p:txBody>
      </p:sp>
      <p:sp>
        <p:nvSpPr>
          <p:cNvPr id="20" name="Rectangle 19">
            <a:extLst>
              <a:ext uri="{FF2B5EF4-FFF2-40B4-BE49-F238E27FC236}">
                <a16:creationId xmlns:a16="http://schemas.microsoft.com/office/drawing/2014/main" id="{9D667603-2B14-8028-1265-82FA75BD6472}"/>
              </a:ext>
            </a:extLst>
          </p:cNvPr>
          <p:cNvSpPr/>
          <p:nvPr/>
        </p:nvSpPr>
        <p:spPr>
          <a:xfrm>
            <a:off x="5287425" y="1246853"/>
            <a:ext cx="914400" cy="5086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Segoe UI" panose="020B0502040204020203" pitchFamily="34" charset="0"/>
                <a:cs typeface="Segoe UI" panose="020B0502040204020203" pitchFamily="34" charset="0"/>
              </a:rPr>
              <a:t>Digital GBUs</a:t>
            </a:r>
          </a:p>
        </p:txBody>
      </p:sp>
      <p:sp>
        <p:nvSpPr>
          <p:cNvPr id="21" name="Rectangle 20">
            <a:extLst>
              <a:ext uri="{FF2B5EF4-FFF2-40B4-BE49-F238E27FC236}">
                <a16:creationId xmlns:a16="http://schemas.microsoft.com/office/drawing/2014/main" id="{07BF0853-D90E-9CFC-EF96-D9A7AA1DBBD2}"/>
              </a:ext>
            </a:extLst>
          </p:cNvPr>
          <p:cNvSpPr/>
          <p:nvPr/>
        </p:nvSpPr>
        <p:spPr>
          <a:xfrm>
            <a:off x="6373133" y="1246853"/>
            <a:ext cx="914400" cy="5086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Segoe UI" panose="020B0502040204020203" pitchFamily="34" charset="0"/>
                <a:cs typeface="Segoe UI" panose="020B0502040204020203" pitchFamily="34" charset="0"/>
              </a:rPr>
              <a:t>Digital M&amp;S</a:t>
            </a:r>
          </a:p>
        </p:txBody>
      </p:sp>
      <p:sp>
        <p:nvSpPr>
          <p:cNvPr id="22" name="Rectangle 21">
            <a:extLst>
              <a:ext uri="{FF2B5EF4-FFF2-40B4-BE49-F238E27FC236}">
                <a16:creationId xmlns:a16="http://schemas.microsoft.com/office/drawing/2014/main" id="{C23DA2CF-021B-2599-3FDB-4DDA3732A245}"/>
              </a:ext>
            </a:extLst>
          </p:cNvPr>
          <p:cNvSpPr/>
          <p:nvPr/>
        </p:nvSpPr>
        <p:spPr>
          <a:xfrm>
            <a:off x="7458841" y="1246853"/>
            <a:ext cx="1035434" cy="5086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Segoe UI" panose="020B0502040204020203" pitchFamily="34" charset="0"/>
                <a:cs typeface="Segoe UI" panose="020B0502040204020203" pitchFamily="34" charset="0"/>
              </a:rPr>
              <a:t>Digital Products</a:t>
            </a:r>
          </a:p>
        </p:txBody>
      </p:sp>
      <p:sp>
        <p:nvSpPr>
          <p:cNvPr id="23" name="Rectangle 22">
            <a:extLst>
              <a:ext uri="{FF2B5EF4-FFF2-40B4-BE49-F238E27FC236}">
                <a16:creationId xmlns:a16="http://schemas.microsoft.com/office/drawing/2014/main" id="{EDEB7100-10D0-A6C6-3418-80924D410320}"/>
              </a:ext>
            </a:extLst>
          </p:cNvPr>
          <p:cNvSpPr/>
          <p:nvPr/>
        </p:nvSpPr>
        <p:spPr>
          <a:xfrm>
            <a:off x="8665583" y="1246853"/>
            <a:ext cx="914400" cy="5086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Segoe UI" panose="020B0502040204020203" pitchFamily="34" charset="0"/>
                <a:cs typeface="Segoe UI" panose="020B0502040204020203" pitchFamily="34" charset="0"/>
              </a:rPr>
              <a:t>Digital R&amp;D</a:t>
            </a:r>
          </a:p>
        </p:txBody>
      </p:sp>
      <p:sp>
        <p:nvSpPr>
          <p:cNvPr id="24" name="Rectangle 23">
            <a:extLst>
              <a:ext uri="{FF2B5EF4-FFF2-40B4-BE49-F238E27FC236}">
                <a16:creationId xmlns:a16="http://schemas.microsoft.com/office/drawing/2014/main" id="{5CBA0FB5-BEC8-DD1D-DBBE-D872D235CF64}"/>
              </a:ext>
            </a:extLst>
          </p:cNvPr>
          <p:cNvSpPr/>
          <p:nvPr/>
        </p:nvSpPr>
        <p:spPr>
          <a:xfrm>
            <a:off x="9751291" y="1246853"/>
            <a:ext cx="914400" cy="5086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Segoe UI" panose="020B0502040204020203" pitchFamily="34" charset="0"/>
                <a:cs typeface="Segoe UI" panose="020B0502040204020203" pitchFamily="34" charset="0"/>
              </a:rPr>
              <a:t>Digital Tech</a:t>
            </a:r>
          </a:p>
        </p:txBody>
      </p:sp>
      <p:sp>
        <p:nvSpPr>
          <p:cNvPr id="25" name="Rectangle 24">
            <a:extLst>
              <a:ext uri="{FF2B5EF4-FFF2-40B4-BE49-F238E27FC236}">
                <a16:creationId xmlns:a16="http://schemas.microsoft.com/office/drawing/2014/main" id="{55C5C067-9911-14F4-83B8-7991DB6399FE}"/>
              </a:ext>
            </a:extLst>
          </p:cNvPr>
          <p:cNvSpPr/>
          <p:nvPr/>
        </p:nvSpPr>
        <p:spPr>
          <a:xfrm>
            <a:off x="10836996" y="1246853"/>
            <a:ext cx="914400" cy="5086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Segoe UI" panose="020B0502040204020203" pitchFamily="34" charset="0"/>
                <a:cs typeface="Segoe UI" panose="020B0502040204020203" pitchFamily="34" charset="0"/>
              </a:rPr>
              <a:t>ERP iShift</a:t>
            </a:r>
          </a:p>
        </p:txBody>
      </p:sp>
      <p:sp>
        <p:nvSpPr>
          <p:cNvPr id="26" name="TextBox 25">
            <a:extLst>
              <a:ext uri="{FF2B5EF4-FFF2-40B4-BE49-F238E27FC236}">
                <a16:creationId xmlns:a16="http://schemas.microsoft.com/office/drawing/2014/main" id="{FC13A2C2-AA50-FC9B-92C2-05E9DBE4B571}"/>
              </a:ext>
            </a:extLst>
          </p:cNvPr>
          <p:cNvSpPr txBox="1"/>
          <p:nvPr/>
        </p:nvSpPr>
        <p:spPr>
          <a:xfrm>
            <a:off x="1966508" y="1667441"/>
            <a:ext cx="914400" cy="261610"/>
          </a:xfrm>
          <a:prstGeom prst="rect">
            <a:avLst/>
          </a:prstGeom>
          <a:noFill/>
        </p:spPr>
        <p:txBody>
          <a:bodyPr wrap="square">
            <a:spAutoFit/>
          </a:bodyPr>
          <a:lstStyle>
            <a:defPPr>
              <a:defRPr lang="en-BR"/>
            </a:defPPr>
            <a:lvl1pPr marL="285750" indent="-285750">
              <a:spcAft>
                <a:spcPts val="1800"/>
              </a:spcAft>
              <a:buFont typeface="Arial" panose="020B0604020202020204" pitchFamily="34" charset="0"/>
              <a:buChar char="•"/>
              <a:defRPr sz="1400">
                <a:solidFill>
                  <a:schemeClr val="tx1">
                    <a:lumMod val="75000"/>
                    <a:lumOff val="25000"/>
                  </a:schemeClr>
                </a:solidFill>
                <a:latin typeface="Segoe UI Light" panose="020B0502040204020203" pitchFamily="34" charset="0"/>
                <a:cs typeface="Segoe UI Light" panose="020B0502040204020203" pitchFamily="34" charset="0"/>
              </a:defRPr>
            </a:lvl1pPr>
          </a:lstStyle>
          <a:p>
            <a:pPr marL="0" indent="0" algn="ctr">
              <a:spcAft>
                <a:spcPts val="1200"/>
              </a:spcAft>
              <a:buNone/>
            </a:pPr>
            <a:r>
              <a:rPr lang="en-US" sz="1100" noProof="0">
                <a:latin typeface="Segoe UI" panose="020B0502040204020203" pitchFamily="34" charset="0"/>
                <a:cs typeface="Segoe UI" panose="020B0502040204020203" pitchFamily="34" charset="0"/>
              </a:rPr>
              <a:t>Liaison(s)</a:t>
            </a:r>
          </a:p>
        </p:txBody>
      </p:sp>
      <p:sp>
        <p:nvSpPr>
          <p:cNvPr id="27" name="TextBox 26">
            <a:extLst>
              <a:ext uri="{FF2B5EF4-FFF2-40B4-BE49-F238E27FC236}">
                <a16:creationId xmlns:a16="http://schemas.microsoft.com/office/drawing/2014/main" id="{FE1C94B0-F079-AB07-1878-0B6B16B3F97D}"/>
              </a:ext>
            </a:extLst>
          </p:cNvPr>
          <p:cNvSpPr txBox="1"/>
          <p:nvPr/>
        </p:nvSpPr>
        <p:spPr>
          <a:xfrm>
            <a:off x="3083292" y="1662401"/>
            <a:ext cx="991087" cy="261610"/>
          </a:xfrm>
          <a:prstGeom prst="rect">
            <a:avLst/>
          </a:prstGeom>
          <a:noFill/>
        </p:spPr>
        <p:txBody>
          <a:bodyPr wrap="square">
            <a:spAutoFit/>
          </a:bodyPr>
          <a:lstStyle>
            <a:defPPr>
              <a:defRPr lang="en-BR"/>
            </a:defPPr>
            <a:lvl1pPr marL="285750" indent="-285750">
              <a:spcAft>
                <a:spcPts val="1800"/>
              </a:spcAft>
              <a:buFont typeface="Arial" panose="020B0604020202020204" pitchFamily="34" charset="0"/>
              <a:buChar char="•"/>
              <a:defRPr sz="1400">
                <a:solidFill>
                  <a:schemeClr val="tx1">
                    <a:lumMod val="75000"/>
                    <a:lumOff val="25000"/>
                  </a:schemeClr>
                </a:solidFill>
                <a:latin typeface="Segoe UI Light" panose="020B0502040204020203" pitchFamily="34" charset="0"/>
                <a:cs typeface="Segoe UI Light" panose="020B0502040204020203" pitchFamily="34" charset="0"/>
              </a:defRPr>
            </a:lvl1pPr>
          </a:lstStyle>
          <a:p>
            <a:pPr marL="0" indent="0" algn="ctr">
              <a:spcAft>
                <a:spcPts val="1200"/>
              </a:spcAft>
              <a:buNone/>
            </a:pPr>
            <a:r>
              <a:rPr lang="en-US" sz="1100" noProof="0">
                <a:latin typeface="Segoe UI" panose="020B0502040204020203" pitchFamily="34" charset="0"/>
                <a:cs typeface="Segoe UI" panose="020B0502040204020203" pitchFamily="34" charset="0"/>
              </a:rPr>
              <a:t>Liaison(s)</a:t>
            </a:r>
          </a:p>
        </p:txBody>
      </p:sp>
      <p:sp>
        <p:nvSpPr>
          <p:cNvPr id="28" name="TextBox 27">
            <a:extLst>
              <a:ext uri="{FF2B5EF4-FFF2-40B4-BE49-F238E27FC236}">
                <a16:creationId xmlns:a16="http://schemas.microsoft.com/office/drawing/2014/main" id="{68E18536-A457-B057-B334-35742D66DED8}"/>
              </a:ext>
            </a:extLst>
          </p:cNvPr>
          <p:cNvSpPr txBox="1"/>
          <p:nvPr/>
        </p:nvSpPr>
        <p:spPr>
          <a:xfrm>
            <a:off x="4187630" y="1662401"/>
            <a:ext cx="936094" cy="261610"/>
          </a:xfrm>
          <a:prstGeom prst="rect">
            <a:avLst/>
          </a:prstGeom>
          <a:noFill/>
        </p:spPr>
        <p:txBody>
          <a:bodyPr wrap="square">
            <a:spAutoFit/>
          </a:bodyPr>
          <a:lstStyle>
            <a:defPPr>
              <a:defRPr lang="en-BR"/>
            </a:defPPr>
            <a:lvl1pPr marL="285750" indent="-285750">
              <a:spcAft>
                <a:spcPts val="1800"/>
              </a:spcAft>
              <a:buFont typeface="Arial" panose="020B0604020202020204" pitchFamily="34" charset="0"/>
              <a:buChar char="•"/>
              <a:defRPr sz="1400">
                <a:solidFill>
                  <a:schemeClr val="tx1">
                    <a:lumMod val="75000"/>
                    <a:lumOff val="25000"/>
                  </a:schemeClr>
                </a:solidFill>
                <a:latin typeface="Segoe UI Light" panose="020B0502040204020203" pitchFamily="34" charset="0"/>
                <a:cs typeface="Segoe UI Light" panose="020B0502040204020203" pitchFamily="34" charset="0"/>
              </a:defRPr>
            </a:lvl1pPr>
          </a:lstStyle>
          <a:p>
            <a:pPr marL="0" indent="0" algn="ctr">
              <a:spcAft>
                <a:spcPts val="1200"/>
              </a:spcAft>
              <a:buNone/>
            </a:pPr>
            <a:r>
              <a:rPr lang="en-US" sz="1100" noProof="0">
                <a:latin typeface="Segoe UI" panose="020B0502040204020203" pitchFamily="34" charset="0"/>
                <a:cs typeface="Segoe UI" panose="020B0502040204020203" pitchFamily="34" charset="0"/>
              </a:rPr>
              <a:t>Liaison(s)</a:t>
            </a:r>
          </a:p>
        </p:txBody>
      </p:sp>
      <p:sp>
        <p:nvSpPr>
          <p:cNvPr id="29" name="TextBox 28">
            <a:extLst>
              <a:ext uri="{FF2B5EF4-FFF2-40B4-BE49-F238E27FC236}">
                <a16:creationId xmlns:a16="http://schemas.microsoft.com/office/drawing/2014/main" id="{E7959C89-F0BA-E62A-953B-2736E24D611B}"/>
              </a:ext>
            </a:extLst>
          </p:cNvPr>
          <p:cNvSpPr txBox="1"/>
          <p:nvPr/>
        </p:nvSpPr>
        <p:spPr>
          <a:xfrm>
            <a:off x="5281340" y="1658290"/>
            <a:ext cx="914400" cy="261610"/>
          </a:xfrm>
          <a:prstGeom prst="rect">
            <a:avLst/>
          </a:prstGeom>
          <a:noFill/>
        </p:spPr>
        <p:txBody>
          <a:bodyPr wrap="square">
            <a:spAutoFit/>
          </a:bodyPr>
          <a:lstStyle>
            <a:defPPr>
              <a:defRPr lang="en-BR"/>
            </a:defPPr>
            <a:lvl1pPr marL="285750" indent="-285750">
              <a:spcAft>
                <a:spcPts val="1800"/>
              </a:spcAft>
              <a:buFont typeface="Arial" panose="020B0604020202020204" pitchFamily="34" charset="0"/>
              <a:buChar char="•"/>
              <a:defRPr sz="1400">
                <a:solidFill>
                  <a:schemeClr val="tx1">
                    <a:lumMod val="75000"/>
                    <a:lumOff val="25000"/>
                  </a:schemeClr>
                </a:solidFill>
                <a:latin typeface="Segoe UI Light" panose="020B0502040204020203" pitchFamily="34" charset="0"/>
                <a:cs typeface="Segoe UI Light" panose="020B0502040204020203" pitchFamily="34" charset="0"/>
              </a:defRPr>
            </a:lvl1pPr>
          </a:lstStyle>
          <a:p>
            <a:pPr marL="0" indent="0" algn="ctr">
              <a:spcAft>
                <a:spcPts val="1200"/>
              </a:spcAft>
              <a:buNone/>
            </a:pPr>
            <a:r>
              <a:rPr lang="en-US" sz="1100" noProof="0">
                <a:latin typeface="Segoe UI" panose="020B0502040204020203" pitchFamily="34" charset="0"/>
                <a:cs typeface="Segoe UI" panose="020B0502040204020203" pitchFamily="34" charset="0"/>
              </a:rPr>
              <a:t>Liaison(s)</a:t>
            </a:r>
          </a:p>
        </p:txBody>
      </p:sp>
      <p:sp>
        <p:nvSpPr>
          <p:cNvPr id="30" name="TextBox 29">
            <a:extLst>
              <a:ext uri="{FF2B5EF4-FFF2-40B4-BE49-F238E27FC236}">
                <a16:creationId xmlns:a16="http://schemas.microsoft.com/office/drawing/2014/main" id="{8856EB6E-5BCB-BAEE-62D0-B13FAE9A9253}"/>
              </a:ext>
            </a:extLst>
          </p:cNvPr>
          <p:cNvSpPr txBox="1"/>
          <p:nvPr/>
        </p:nvSpPr>
        <p:spPr>
          <a:xfrm>
            <a:off x="6391564" y="1669054"/>
            <a:ext cx="914400" cy="261610"/>
          </a:xfrm>
          <a:prstGeom prst="rect">
            <a:avLst/>
          </a:prstGeom>
          <a:noFill/>
        </p:spPr>
        <p:txBody>
          <a:bodyPr wrap="square">
            <a:spAutoFit/>
          </a:bodyPr>
          <a:lstStyle>
            <a:defPPr>
              <a:defRPr lang="en-BR"/>
            </a:defPPr>
            <a:lvl1pPr marL="285750" indent="-285750">
              <a:spcAft>
                <a:spcPts val="1800"/>
              </a:spcAft>
              <a:buFont typeface="Arial" panose="020B0604020202020204" pitchFamily="34" charset="0"/>
              <a:buChar char="•"/>
              <a:defRPr sz="1400">
                <a:solidFill>
                  <a:schemeClr val="tx1">
                    <a:lumMod val="75000"/>
                    <a:lumOff val="25000"/>
                  </a:schemeClr>
                </a:solidFill>
                <a:latin typeface="Segoe UI Light" panose="020B0502040204020203" pitchFamily="34" charset="0"/>
                <a:cs typeface="Segoe UI Light" panose="020B0502040204020203" pitchFamily="34" charset="0"/>
              </a:defRPr>
            </a:lvl1pPr>
          </a:lstStyle>
          <a:p>
            <a:pPr marL="0" indent="0" algn="ctr">
              <a:spcAft>
                <a:spcPts val="1200"/>
              </a:spcAft>
              <a:buNone/>
            </a:pPr>
            <a:r>
              <a:rPr lang="en-US" sz="1100" noProof="0">
                <a:latin typeface="Segoe UI" panose="020B0502040204020203" pitchFamily="34" charset="0"/>
                <a:cs typeface="Segoe UI" panose="020B0502040204020203" pitchFamily="34" charset="0"/>
              </a:rPr>
              <a:t>Liaison(s)</a:t>
            </a:r>
          </a:p>
        </p:txBody>
      </p:sp>
      <p:sp>
        <p:nvSpPr>
          <p:cNvPr id="31" name="TextBox 30">
            <a:extLst>
              <a:ext uri="{FF2B5EF4-FFF2-40B4-BE49-F238E27FC236}">
                <a16:creationId xmlns:a16="http://schemas.microsoft.com/office/drawing/2014/main" id="{C9515834-2856-4412-D30E-5BB75FDCB7B3}"/>
              </a:ext>
            </a:extLst>
          </p:cNvPr>
          <p:cNvSpPr txBox="1"/>
          <p:nvPr/>
        </p:nvSpPr>
        <p:spPr>
          <a:xfrm>
            <a:off x="7517169" y="1667441"/>
            <a:ext cx="914400" cy="261610"/>
          </a:xfrm>
          <a:prstGeom prst="rect">
            <a:avLst/>
          </a:prstGeom>
          <a:noFill/>
        </p:spPr>
        <p:txBody>
          <a:bodyPr wrap="square">
            <a:spAutoFit/>
          </a:bodyPr>
          <a:lstStyle>
            <a:defPPr>
              <a:defRPr lang="en-BR"/>
            </a:defPPr>
            <a:lvl1pPr marL="285750" indent="-285750">
              <a:spcAft>
                <a:spcPts val="1800"/>
              </a:spcAft>
              <a:buFont typeface="Arial" panose="020B0604020202020204" pitchFamily="34" charset="0"/>
              <a:buChar char="•"/>
              <a:defRPr sz="1400">
                <a:solidFill>
                  <a:schemeClr val="tx1">
                    <a:lumMod val="75000"/>
                    <a:lumOff val="25000"/>
                  </a:schemeClr>
                </a:solidFill>
                <a:latin typeface="Segoe UI Light" panose="020B0502040204020203" pitchFamily="34" charset="0"/>
                <a:cs typeface="Segoe UI Light" panose="020B0502040204020203" pitchFamily="34" charset="0"/>
              </a:defRPr>
            </a:lvl1pPr>
          </a:lstStyle>
          <a:p>
            <a:pPr marL="0" indent="0" algn="ctr">
              <a:spcAft>
                <a:spcPts val="1200"/>
              </a:spcAft>
              <a:buNone/>
            </a:pPr>
            <a:r>
              <a:rPr lang="en-US" sz="1100" noProof="0">
                <a:latin typeface="Segoe UI" panose="020B0502040204020203" pitchFamily="34" charset="0"/>
                <a:cs typeface="Segoe UI" panose="020B0502040204020203" pitchFamily="34" charset="0"/>
              </a:rPr>
              <a:t>Liaison(s)</a:t>
            </a:r>
          </a:p>
        </p:txBody>
      </p:sp>
      <p:sp>
        <p:nvSpPr>
          <p:cNvPr id="32" name="TextBox 31">
            <a:extLst>
              <a:ext uri="{FF2B5EF4-FFF2-40B4-BE49-F238E27FC236}">
                <a16:creationId xmlns:a16="http://schemas.microsoft.com/office/drawing/2014/main" id="{21619623-2CC4-3B1E-33E8-9D570EBCA9BD}"/>
              </a:ext>
            </a:extLst>
          </p:cNvPr>
          <p:cNvSpPr txBox="1"/>
          <p:nvPr/>
        </p:nvSpPr>
        <p:spPr>
          <a:xfrm>
            <a:off x="8691191" y="1667441"/>
            <a:ext cx="914400" cy="261610"/>
          </a:xfrm>
          <a:prstGeom prst="rect">
            <a:avLst/>
          </a:prstGeom>
          <a:noFill/>
        </p:spPr>
        <p:txBody>
          <a:bodyPr wrap="square">
            <a:spAutoFit/>
          </a:bodyPr>
          <a:lstStyle>
            <a:defPPr>
              <a:defRPr lang="en-BR"/>
            </a:defPPr>
            <a:lvl1pPr marL="285750" indent="-285750">
              <a:spcAft>
                <a:spcPts val="1800"/>
              </a:spcAft>
              <a:buFont typeface="Arial" panose="020B0604020202020204" pitchFamily="34" charset="0"/>
              <a:buChar char="•"/>
              <a:defRPr sz="1400">
                <a:solidFill>
                  <a:schemeClr val="tx1">
                    <a:lumMod val="75000"/>
                    <a:lumOff val="25000"/>
                  </a:schemeClr>
                </a:solidFill>
                <a:latin typeface="Segoe UI Light" panose="020B0502040204020203" pitchFamily="34" charset="0"/>
                <a:cs typeface="Segoe UI Light" panose="020B0502040204020203" pitchFamily="34" charset="0"/>
              </a:defRPr>
            </a:lvl1pPr>
          </a:lstStyle>
          <a:p>
            <a:pPr marL="0" indent="0" algn="ctr">
              <a:spcAft>
                <a:spcPts val="1200"/>
              </a:spcAft>
              <a:buNone/>
            </a:pPr>
            <a:r>
              <a:rPr lang="en-US" sz="1100" noProof="0">
                <a:latin typeface="Segoe UI" panose="020B0502040204020203" pitchFamily="34" charset="0"/>
                <a:cs typeface="Segoe UI" panose="020B0502040204020203" pitchFamily="34" charset="0"/>
              </a:rPr>
              <a:t>Liaison(s)</a:t>
            </a:r>
          </a:p>
        </p:txBody>
      </p:sp>
      <p:sp>
        <p:nvSpPr>
          <p:cNvPr id="33" name="TextBox 32">
            <a:extLst>
              <a:ext uri="{FF2B5EF4-FFF2-40B4-BE49-F238E27FC236}">
                <a16:creationId xmlns:a16="http://schemas.microsoft.com/office/drawing/2014/main" id="{AD06799E-ECEC-8E76-CB83-42BA18501303}"/>
              </a:ext>
            </a:extLst>
          </p:cNvPr>
          <p:cNvSpPr txBox="1"/>
          <p:nvPr/>
        </p:nvSpPr>
        <p:spPr>
          <a:xfrm>
            <a:off x="9809262" y="1667441"/>
            <a:ext cx="914400" cy="261610"/>
          </a:xfrm>
          <a:prstGeom prst="rect">
            <a:avLst/>
          </a:prstGeom>
          <a:noFill/>
        </p:spPr>
        <p:txBody>
          <a:bodyPr wrap="square">
            <a:spAutoFit/>
          </a:bodyPr>
          <a:lstStyle>
            <a:defPPr>
              <a:defRPr lang="en-BR"/>
            </a:defPPr>
            <a:lvl1pPr marL="285750" indent="-285750">
              <a:spcAft>
                <a:spcPts val="1800"/>
              </a:spcAft>
              <a:buFont typeface="Arial" panose="020B0604020202020204" pitchFamily="34" charset="0"/>
              <a:buChar char="•"/>
              <a:defRPr sz="1400">
                <a:solidFill>
                  <a:schemeClr val="tx1">
                    <a:lumMod val="75000"/>
                    <a:lumOff val="25000"/>
                  </a:schemeClr>
                </a:solidFill>
                <a:latin typeface="Segoe UI Light" panose="020B0502040204020203" pitchFamily="34" charset="0"/>
                <a:cs typeface="Segoe UI Light" panose="020B0502040204020203" pitchFamily="34" charset="0"/>
              </a:defRPr>
            </a:lvl1pPr>
          </a:lstStyle>
          <a:p>
            <a:pPr marL="0" indent="0" algn="ctr">
              <a:spcAft>
                <a:spcPts val="1200"/>
              </a:spcAft>
              <a:buNone/>
            </a:pPr>
            <a:r>
              <a:rPr lang="en-US" sz="1100" noProof="0">
                <a:latin typeface="Segoe UI" panose="020B0502040204020203" pitchFamily="34" charset="0"/>
                <a:cs typeface="Segoe UI" panose="020B0502040204020203" pitchFamily="34" charset="0"/>
              </a:rPr>
              <a:t>Liaison(s)</a:t>
            </a:r>
          </a:p>
        </p:txBody>
      </p:sp>
      <p:sp>
        <p:nvSpPr>
          <p:cNvPr id="34" name="TextBox 33">
            <a:extLst>
              <a:ext uri="{FF2B5EF4-FFF2-40B4-BE49-F238E27FC236}">
                <a16:creationId xmlns:a16="http://schemas.microsoft.com/office/drawing/2014/main" id="{3C021906-5B92-A63C-A91D-DEF6339AFDF2}"/>
              </a:ext>
            </a:extLst>
          </p:cNvPr>
          <p:cNvSpPr txBox="1"/>
          <p:nvPr/>
        </p:nvSpPr>
        <p:spPr>
          <a:xfrm>
            <a:off x="10829387" y="1667441"/>
            <a:ext cx="937546" cy="261610"/>
          </a:xfrm>
          <a:prstGeom prst="rect">
            <a:avLst/>
          </a:prstGeom>
          <a:noFill/>
        </p:spPr>
        <p:txBody>
          <a:bodyPr wrap="square">
            <a:spAutoFit/>
          </a:bodyPr>
          <a:lstStyle>
            <a:defPPr>
              <a:defRPr lang="en-BR"/>
            </a:defPPr>
            <a:lvl1pPr marL="285750" indent="-285750">
              <a:spcAft>
                <a:spcPts val="1800"/>
              </a:spcAft>
              <a:buFont typeface="Arial" panose="020B0604020202020204" pitchFamily="34" charset="0"/>
              <a:buChar char="•"/>
              <a:defRPr sz="1400">
                <a:solidFill>
                  <a:schemeClr val="tx1">
                    <a:lumMod val="75000"/>
                    <a:lumOff val="25000"/>
                  </a:schemeClr>
                </a:solidFill>
                <a:latin typeface="Segoe UI Light" panose="020B0502040204020203" pitchFamily="34" charset="0"/>
                <a:cs typeface="Segoe UI Light" panose="020B0502040204020203" pitchFamily="34" charset="0"/>
              </a:defRPr>
            </a:lvl1pPr>
          </a:lstStyle>
          <a:p>
            <a:pPr marL="0" indent="0" algn="ctr">
              <a:spcAft>
                <a:spcPts val="1200"/>
              </a:spcAft>
              <a:buNone/>
            </a:pPr>
            <a:r>
              <a:rPr lang="en-US" sz="1100" noProof="0">
                <a:latin typeface="Segoe UI" panose="020B0502040204020203" pitchFamily="34" charset="0"/>
                <a:cs typeface="Segoe UI" panose="020B0502040204020203" pitchFamily="34" charset="0"/>
              </a:rPr>
              <a:t>Liaison(s)</a:t>
            </a:r>
          </a:p>
        </p:txBody>
      </p:sp>
      <p:sp>
        <p:nvSpPr>
          <p:cNvPr id="35" name="TextBox 34">
            <a:extLst>
              <a:ext uri="{FF2B5EF4-FFF2-40B4-BE49-F238E27FC236}">
                <a16:creationId xmlns:a16="http://schemas.microsoft.com/office/drawing/2014/main" id="{66F5957D-F98D-391D-61B0-34A078239B0E}"/>
              </a:ext>
            </a:extLst>
          </p:cNvPr>
          <p:cNvSpPr txBox="1"/>
          <p:nvPr/>
        </p:nvSpPr>
        <p:spPr>
          <a:xfrm>
            <a:off x="469148" y="1667441"/>
            <a:ext cx="663963" cy="430887"/>
          </a:xfrm>
          <a:prstGeom prst="rect">
            <a:avLst/>
          </a:prstGeom>
          <a:noFill/>
        </p:spPr>
        <p:txBody>
          <a:bodyPr wrap="none" rtlCol="0">
            <a:spAutoFit/>
          </a:bodyPr>
          <a:lstStyle/>
          <a:p>
            <a:pPr algn="ctr"/>
            <a:r>
              <a:rPr lang="en-US" sz="1100" b="1">
                <a:latin typeface="Segoe UI" panose="020B0502040204020203" pitchFamily="34" charset="0"/>
                <a:cs typeface="Segoe UI" panose="020B0502040204020203" pitchFamily="34" charset="0"/>
              </a:rPr>
              <a:t>Digital </a:t>
            </a:r>
            <a:br>
              <a:rPr lang="en-US" sz="1100" b="1">
                <a:latin typeface="Segoe UI" panose="020B0502040204020203" pitchFamily="34" charset="0"/>
                <a:cs typeface="Segoe UI" panose="020B0502040204020203" pitchFamily="34" charset="0"/>
              </a:rPr>
            </a:br>
            <a:r>
              <a:rPr lang="en-US" sz="1100" b="1">
                <a:latin typeface="Segoe UI" panose="020B0502040204020203" pitchFamily="34" charset="0"/>
                <a:cs typeface="Segoe UI" panose="020B0502040204020203" pitchFamily="34" charset="0"/>
              </a:rPr>
              <a:t>Units</a:t>
            </a:r>
          </a:p>
        </p:txBody>
      </p:sp>
      <p:sp>
        <p:nvSpPr>
          <p:cNvPr id="36" name="TextBox 35">
            <a:extLst>
              <a:ext uri="{FF2B5EF4-FFF2-40B4-BE49-F238E27FC236}">
                <a16:creationId xmlns:a16="http://schemas.microsoft.com/office/drawing/2014/main" id="{EB80EF50-6DA4-EFF8-E8C7-D803AA7DA38E}"/>
              </a:ext>
            </a:extLst>
          </p:cNvPr>
          <p:cNvSpPr txBox="1"/>
          <p:nvPr/>
        </p:nvSpPr>
        <p:spPr>
          <a:xfrm>
            <a:off x="1895126" y="2250523"/>
            <a:ext cx="9848661" cy="584775"/>
          </a:xfrm>
          <a:prstGeom prst="rect">
            <a:avLst/>
          </a:prstGeom>
          <a:noFill/>
        </p:spPr>
        <p:txBody>
          <a:bodyPr wrap="square">
            <a:spAutoFit/>
          </a:bodyPr>
          <a:lstStyle>
            <a:defPPr>
              <a:defRPr lang="en-BR"/>
            </a:defPPr>
            <a:lvl1pPr marL="285750" indent="-285750">
              <a:spcAft>
                <a:spcPts val="1800"/>
              </a:spcAft>
              <a:buFont typeface="Arial" panose="020B0604020202020204" pitchFamily="34" charset="0"/>
              <a:buChar char="•"/>
              <a:defRPr sz="1400">
                <a:solidFill>
                  <a:schemeClr val="tx1">
                    <a:lumMod val="75000"/>
                    <a:lumOff val="25000"/>
                  </a:schemeClr>
                </a:solidFill>
                <a:latin typeface="Segoe UI Light" panose="020B0502040204020203" pitchFamily="34" charset="0"/>
                <a:cs typeface="Segoe UI Light" panose="020B0502040204020203" pitchFamily="34" charset="0"/>
              </a:defRPr>
            </a:lvl1pPr>
          </a:lstStyle>
          <a:p>
            <a:pPr marL="0" indent="0">
              <a:spcAft>
                <a:spcPts val="1200"/>
              </a:spcAft>
              <a:buNone/>
            </a:pPr>
            <a:r>
              <a:rPr lang="en-US" sz="1600" noProof="0">
                <a:latin typeface="Segoe UI" panose="020B0502040204020203" pitchFamily="34" charset="0"/>
                <a:cs typeface="Segoe UI" panose="020B0502040204020203" pitchFamily="34" charset="0"/>
              </a:rPr>
              <a:t>Confirmation if their apps/assets can be decommissioned, migrated, or must remain on prem (First Level Assessment)</a:t>
            </a:r>
          </a:p>
        </p:txBody>
      </p:sp>
      <p:sp>
        <p:nvSpPr>
          <p:cNvPr id="37" name="TextBox 36">
            <a:extLst>
              <a:ext uri="{FF2B5EF4-FFF2-40B4-BE49-F238E27FC236}">
                <a16:creationId xmlns:a16="http://schemas.microsoft.com/office/drawing/2014/main" id="{A8D028EA-EFFC-2781-634C-39C9AFAFC3A6}"/>
              </a:ext>
            </a:extLst>
          </p:cNvPr>
          <p:cNvSpPr txBox="1"/>
          <p:nvPr/>
        </p:nvSpPr>
        <p:spPr>
          <a:xfrm>
            <a:off x="1895126" y="3257395"/>
            <a:ext cx="9848661" cy="338554"/>
          </a:xfrm>
          <a:prstGeom prst="rect">
            <a:avLst/>
          </a:prstGeom>
          <a:noFill/>
        </p:spPr>
        <p:txBody>
          <a:bodyPr wrap="square">
            <a:spAutoFit/>
          </a:bodyPr>
          <a:lstStyle>
            <a:defPPr>
              <a:defRPr lang="en-US"/>
            </a:defPPr>
            <a:lvl1pPr indent="0">
              <a:spcAft>
                <a:spcPts val="1200"/>
              </a:spcAft>
              <a:buFont typeface="Arial" panose="020B0604020202020204" pitchFamily="34" charset="0"/>
              <a:buNone/>
              <a:defRPr sz="1600" b="1">
                <a:solidFill>
                  <a:schemeClr val="tx1">
                    <a:lumMod val="75000"/>
                    <a:lumOff val="25000"/>
                  </a:schemeClr>
                </a:solidFill>
                <a:latin typeface="+mj-lt"/>
                <a:cs typeface="Segoe UI Light" panose="020B0502040204020203" pitchFamily="34" charset="0"/>
              </a:defRPr>
            </a:lvl1pPr>
          </a:lstStyle>
          <a:p>
            <a:r>
              <a:rPr lang="en-US" b="0">
                <a:latin typeface="Segoe UI" panose="020B0502040204020203" pitchFamily="34" charset="0"/>
                <a:cs typeface="Segoe UI" panose="020B0502040204020203" pitchFamily="34" charset="0"/>
              </a:rPr>
              <a:t>Timely responses: 2 weeks to respond</a:t>
            </a:r>
          </a:p>
        </p:txBody>
      </p:sp>
      <p:sp>
        <p:nvSpPr>
          <p:cNvPr id="38" name="TextBox 37">
            <a:extLst>
              <a:ext uri="{FF2B5EF4-FFF2-40B4-BE49-F238E27FC236}">
                <a16:creationId xmlns:a16="http://schemas.microsoft.com/office/drawing/2014/main" id="{B0339F71-B902-12F5-499E-5666CC3CD1B5}"/>
              </a:ext>
            </a:extLst>
          </p:cNvPr>
          <p:cNvSpPr txBox="1"/>
          <p:nvPr/>
        </p:nvSpPr>
        <p:spPr>
          <a:xfrm>
            <a:off x="1895126" y="4141449"/>
            <a:ext cx="10230198" cy="338554"/>
          </a:xfrm>
          <a:prstGeom prst="rect">
            <a:avLst/>
          </a:prstGeom>
          <a:noFill/>
        </p:spPr>
        <p:txBody>
          <a:bodyPr wrap="square">
            <a:spAutoFit/>
          </a:bodyPr>
          <a:lstStyle>
            <a:defPPr>
              <a:defRPr lang="en-US"/>
            </a:defPPr>
            <a:lvl1pPr indent="0">
              <a:spcAft>
                <a:spcPts val="1200"/>
              </a:spcAft>
              <a:buFont typeface="Arial" panose="020B0604020202020204" pitchFamily="34" charset="0"/>
              <a:buNone/>
              <a:defRPr sz="1600" b="1">
                <a:solidFill>
                  <a:schemeClr val="tx1">
                    <a:lumMod val="75000"/>
                    <a:lumOff val="25000"/>
                  </a:schemeClr>
                </a:solidFill>
                <a:latin typeface="+mj-lt"/>
                <a:cs typeface="Segoe UI Light" panose="020B0502040204020203" pitchFamily="34" charset="0"/>
              </a:defRPr>
            </a:lvl1pPr>
          </a:lstStyle>
          <a:p>
            <a:r>
              <a:rPr lang="en-US" b="0">
                <a:latin typeface="Segoe UI" panose="020B0502040204020203" pitchFamily="34" charset="0"/>
                <a:cs typeface="Segoe UI" panose="020B0502040204020203" pitchFamily="34" charset="0"/>
              </a:rPr>
              <a:t>Weekly standing meetings per DU, drop-in sessions (for general questions / concerns)</a:t>
            </a:r>
          </a:p>
        </p:txBody>
      </p:sp>
      <p:sp>
        <p:nvSpPr>
          <p:cNvPr id="39" name="TextBox 38">
            <a:extLst>
              <a:ext uri="{FF2B5EF4-FFF2-40B4-BE49-F238E27FC236}">
                <a16:creationId xmlns:a16="http://schemas.microsoft.com/office/drawing/2014/main" id="{9D38E9E8-E74E-C8EF-3295-FD488CB454F2}"/>
              </a:ext>
            </a:extLst>
          </p:cNvPr>
          <p:cNvSpPr txBox="1"/>
          <p:nvPr/>
        </p:nvSpPr>
        <p:spPr>
          <a:xfrm>
            <a:off x="1895125" y="5050828"/>
            <a:ext cx="8621811" cy="338554"/>
          </a:xfrm>
          <a:prstGeom prst="rect">
            <a:avLst/>
          </a:prstGeom>
          <a:noFill/>
        </p:spPr>
        <p:txBody>
          <a:bodyPr wrap="square">
            <a:spAutoFit/>
          </a:bodyPr>
          <a:lstStyle>
            <a:defPPr>
              <a:defRPr lang="en-US"/>
            </a:defPPr>
            <a:lvl1pPr indent="0">
              <a:spcAft>
                <a:spcPts val="1200"/>
              </a:spcAft>
              <a:buFont typeface="Arial" panose="020B0604020202020204" pitchFamily="34" charset="0"/>
              <a:buNone/>
              <a:defRPr sz="1600" b="1">
                <a:solidFill>
                  <a:schemeClr val="tx1">
                    <a:lumMod val="75000"/>
                    <a:lumOff val="25000"/>
                  </a:schemeClr>
                </a:solidFill>
                <a:latin typeface="+mj-lt"/>
                <a:cs typeface="Segoe UI Light" panose="020B0502040204020203" pitchFamily="34" charset="0"/>
              </a:defRPr>
            </a:lvl1pPr>
          </a:lstStyle>
          <a:p>
            <a:r>
              <a:rPr lang="en-US" b="0">
                <a:latin typeface="Segoe UI" panose="020B0502040204020203" pitchFamily="34" charset="0"/>
                <a:cs typeface="Segoe UI" panose="020B0502040204020203" pitchFamily="34" charset="0"/>
              </a:rPr>
              <a:t>Through the weekly DU meetings, through the Liaisons </a:t>
            </a:r>
          </a:p>
        </p:txBody>
      </p:sp>
      <p:sp>
        <p:nvSpPr>
          <p:cNvPr id="40" name="TextBox 39">
            <a:extLst>
              <a:ext uri="{FF2B5EF4-FFF2-40B4-BE49-F238E27FC236}">
                <a16:creationId xmlns:a16="http://schemas.microsoft.com/office/drawing/2014/main" id="{D17BB5C2-C07C-E8CA-E6EC-7C0B86CBFDF4}"/>
              </a:ext>
            </a:extLst>
          </p:cNvPr>
          <p:cNvSpPr txBox="1"/>
          <p:nvPr/>
        </p:nvSpPr>
        <p:spPr>
          <a:xfrm>
            <a:off x="1895125" y="5978513"/>
            <a:ext cx="8621811" cy="338554"/>
          </a:xfrm>
          <a:prstGeom prst="rect">
            <a:avLst/>
          </a:prstGeom>
          <a:noFill/>
        </p:spPr>
        <p:txBody>
          <a:bodyPr wrap="square">
            <a:spAutoFit/>
          </a:bodyPr>
          <a:lstStyle>
            <a:defPPr>
              <a:defRPr lang="en-US"/>
            </a:defPPr>
            <a:lvl1pPr indent="0">
              <a:spcAft>
                <a:spcPts val="1200"/>
              </a:spcAft>
              <a:buFont typeface="Arial" panose="020B0604020202020204" pitchFamily="34" charset="0"/>
              <a:buNone/>
              <a:defRPr sz="1600" b="1">
                <a:solidFill>
                  <a:schemeClr val="tx1">
                    <a:lumMod val="75000"/>
                    <a:lumOff val="25000"/>
                  </a:schemeClr>
                </a:solidFill>
                <a:latin typeface="+mj-lt"/>
                <a:cs typeface="Segoe UI Light" panose="020B0502040204020203" pitchFamily="34" charset="0"/>
              </a:defRPr>
            </a:lvl1pPr>
          </a:lstStyle>
          <a:p>
            <a:r>
              <a:rPr lang="en-US" b="0">
                <a:latin typeface="Segoe UI" panose="020B0502040204020203" pitchFamily="34" charset="0"/>
                <a:cs typeface="Segoe UI" panose="020B0502040204020203" pitchFamily="34" charset="0"/>
              </a:rPr>
              <a:t>Through leadership</a:t>
            </a:r>
          </a:p>
        </p:txBody>
      </p:sp>
      <p:sp>
        <p:nvSpPr>
          <p:cNvPr id="41" name="TextBox 40">
            <a:extLst>
              <a:ext uri="{FF2B5EF4-FFF2-40B4-BE49-F238E27FC236}">
                <a16:creationId xmlns:a16="http://schemas.microsoft.com/office/drawing/2014/main" id="{017FD0BD-813A-8601-F38F-29C789FA096B}"/>
              </a:ext>
            </a:extLst>
          </p:cNvPr>
          <p:cNvSpPr txBox="1"/>
          <p:nvPr/>
        </p:nvSpPr>
        <p:spPr>
          <a:xfrm>
            <a:off x="337157" y="2190614"/>
            <a:ext cx="1386991" cy="430887"/>
          </a:xfrm>
          <a:prstGeom prst="rect">
            <a:avLst/>
          </a:prstGeom>
          <a:noFill/>
        </p:spPr>
        <p:txBody>
          <a:bodyPr wrap="square" rtlCol="0">
            <a:spAutoFit/>
          </a:bodyPr>
          <a:lstStyle/>
          <a:p>
            <a:r>
              <a:rPr lang="en-US" sz="1100">
                <a:solidFill>
                  <a:schemeClr val="bg1"/>
                </a:solidFill>
                <a:latin typeface="Segoe UI" panose="020B0502040204020203" pitchFamily="34" charset="0"/>
                <a:cs typeface="Segoe UI" panose="020B0502040204020203" pitchFamily="34" charset="0"/>
              </a:rPr>
              <a:t>What we need from them: </a:t>
            </a:r>
          </a:p>
        </p:txBody>
      </p:sp>
      <p:sp>
        <p:nvSpPr>
          <p:cNvPr id="42" name="TextBox 41">
            <a:extLst>
              <a:ext uri="{FF2B5EF4-FFF2-40B4-BE49-F238E27FC236}">
                <a16:creationId xmlns:a16="http://schemas.microsoft.com/office/drawing/2014/main" id="{368B0B99-7BDD-9712-BECB-91BF2304E638}"/>
              </a:ext>
            </a:extLst>
          </p:cNvPr>
          <p:cNvSpPr txBox="1"/>
          <p:nvPr/>
        </p:nvSpPr>
        <p:spPr>
          <a:xfrm>
            <a:off x="337157" y="3094382"/>
            <a:ext cx="1035289" cy="600164"/>
          </a:xfrm>
          <a:prstGeom prst="rect">
            <a:avLst/>
          </a:prstGeom>
          <a:noFill/>
        </p:spPr>
        <p:txBody>
          <a:bodyPr wrap="square" rtlCol="0">
            <a:spAutoFit/>
          </a:bodyPr>
          <a:lstStyle/>
          <a:p>
            <a:r>
              <a:rPr lang="en-US" sz="1100">
                <a:solidFill>
                  <a:schemeClr val="bg1"/>
                </a:solidFill>
                <a:latin typeface="Segoe UI" panose="020B0502040204020203" pitchFamily="34" charset="0"/>
                <a:cs typeface="Segoe UI" panose="020B0502040204020203" pitchFamily="34" charset="0"/>
              </a:rPr>
              <a:t>What is expected of them: </a:t>
            </a:r>
          </a:p>
        </p:txBody>
      </p:sp>
      <p:sp>
        <p:nvSpPr>
          <p:cNvPr id="43" name="TextBox 42">
            <a:extLst>
              <a:ext uri="{FF2B5EF4-FFF2-40B4-BE49-F238E27FC236}">
                <a16:creationId xmlns:a16="http://schemas.microsoft.com/office/drawing/2014/main" id="{AA4C4C58-FEF6-BBA9-7B25-8B01EEB6D9C9}"/>
              </a:ext>
            </a:extLst>
          </p:cNvPr>
          <p:cNvSpPr txBox="1"/>
          <p:nvPr/>
        </p:nvSpPr>
        <p:spPr>
          <a:xfrm>
            <a:off x="337157" y="3986384"/>
            <a:ext cx="1384795" cy="600164"/>
          </a:xfrm>
          <a:prstGeom prst="rect">
            <a:avLst/>
          </a:prstGeom>
          <a:noFill/>
        </p:spPr>
        <p:txBody>
          <a:bodyPr wrap="square" rtlCol="0">
            <a:spAutoFit/>
          </a:bodyPr>
          <a:lstStyle/>
          <a:p>
            <a:r>
              <a:rPr lang="en-US" sz="1100">
                <a:solidFill>
                  <a:schemeClr val="bg1"/>
                </a:solidFill>
                <a:latin typeface="Segoe UI" panose="020B0502040204020203" pitchFamily="34" charset="0"/>
                <a:cs typeface="Segoe UI" panose="020B0502040204020203" pitchFamily="34" charset="0"/>
              </a:rPr>
              <a:t>How we support and engage with them:</a:t>
            </a:r>
          </a:p>
        </p:txBody>
      </p:sp>
      <p:sp>
        <p:nvSpPr>
          <p:cNvPr id="44" name="TextBox 43">
            <a:extLst>
              <a:ext uri="{FF2B5EF4-FFF2-40B4-BE49-F238E27FC236}">
                <a16:creationId xmlns:a16="http://schemas.microsoft.com/office/drawing/2014/main" id="{86CC5898-E654-1D07-709A-9B4CB0A61152}"/>
              </a:ext>
            </a:extLst>
          </p:cNvPr>
          <p:cNvSpPr txBox="1"/>
          <p:nvPr/>
        </p:nvSpPr>
        <p:spPr>
          <a:xfrm>
            <a:off x="337157" y="4848150"/>
            <a:ext cx="1035289" cy="600164"/>
          </a:xfrm>
          <a:prstGeom prst="rect">
            <a:avLst/>
          </a:prstGeom>
          <a:noFill/>
        </p:spPr>
        <p:txBody>
          <a:bodyPr wrap="square" rtlCol="0">
            <a:spAutoFit/>
          </a:bodyPr>
          <a:lstStyle/>
          <a:p>
            <a:r>
              <a:rPr lang="en-US" sz="1100">
                <a:solidFill>
                  <a:schemeClr val="bg1"/>
                </a:solidFill>
                <a:latin typeface="Segoe UI" panose="020B0502040204020203" pitchFamily="34" charset="0"/>
                <a:cs typeface="Segoe UI" panose="020B0502040204020203" pitchFamily="34" charset="0"/>
              </a:rPr>
              <a:t>How do we escalate: (first level)</a:t>
            </a:r>
          </a:p>
        </p:txBody>
      </p:sp>
      <p:grpSp>
        <p:nvGrpSpPr>
          <p:cNvPr id="69" name="Group 134">
            <a:extLst>
              <a:ext uri="{FF2B5EF4-FFF2-40B4-BE49-F238E27FC236}">
                <a16:creationId xmlns:a16="http://schemas.microsoft.com/office/drawing/2014/main" id="{2E5653BF-773D-20CD-BB19-1B9BFFE88AB7}"/>
              </a:ext>
            </a:extLst>
          </p:cNvPr>
          <p:cNvGrpSpPr/>
          <p:nvPr>
            <p:custDataLst>
              <p:tags r:id="rId7"/>
            </p:custDataLst>
          </p:nvPr>
        </p:nvGrpSpPr>
        <p:grpSpPr bwMode="auto">
          <a:xfrm>
            <a:off x="9158353" y="426898"/>
            <a:ext cx="894476" cy="481687"/>
            <a:chOff x="7792324" y="1498600"/>
            <a:chExt cx="894476" cy="481687"/>
          </a:xfrm>
        </p:grpSpPr>
        <p:sp>
          <p:nvSpPr>
            <p:cNvPr id="70" name="TextBox 69">
              <a:extLst>
                <a:ext uri="{FF2B5EF4-FFF2-40B4-BE49-F238E27FC236}">
                  <a16:creationId xmlns:a16="http://schemas.microsoft.com/office/drawing/2014/main" id="{E924C42E-4CCD-C27B-4823-FDC6B48BA807}"/>
                </a:ext>
              </a:extLst>
            </p:cNvPr>
            <p:cNvSpPr txBox="1"/>
            <p:nvPr/>
          </p:nvSpPr>
          <p:spPr bwMode="auto">
            <a:xfrm>
              <a:off x="7792324" y="1524000"/>
              <a:ext cx="894476" cy="430887"/>
            </a:xfrm>
            <a:prstGeom prst="rect">
              <a:avLst/>
            </a:prstGeom>
            <a:noFill/>
          </p:spPr>
          <p:txBody>
            <a:bodyPr vert="horz" wrap="square" lIns="0" tIns="0" rIns="0" bIns="0" rtlCol="0" anchor="ctr" anchorCtr="1">
              <a:spAutoFit/>
            </a:bodyPr>
            <a:lstStyle/>
            <a:p>
              <a:pPr algn="ctr"/>
              <a:r>
                <a:rPr lang="en-US" sz="1400" b="1">
                  <a:solidFill>
                    <a:srgbClr val="000000"/>
                  </a:solidFill>
                  <a:latin typeface="Arial"/>
                </a:rPr>
                <a:t>Illustrative</a:t>
              </a:r>
            </a:p>
            <a:p>
              <a:r>
                <a:rPr lang="en-US" sz="1400" b="1">
                  <a:solidFill>
                    <a:srgbClr val="000000"/>
                  </a:solidFill>
                  <a:latin typeface="Arial"/>
                </a:rPr>
                <a:t>Contents</a:t>
              </a:r>
            </a:p>
          </p:txBody>
        </p:sp>
        <p:cxnSp>
          <p:nvCxnSpPr>
            <p:cNvPr id="71" name="Straight Connector 70">
              <a:extLst>
                <a:ext uri="{FF2B5EF4-FFF2-40B4-BE49-F238E27FC236}">
                  <a16:creationId xmlns:a16="http://schemas.microsoft.com/office/drawing/2014/main" id="{16766ED1-4F41-FCCD-E628-FE8B9B876074}"/>
                </a:ext>
              </a:extLst>
            </p:cNvPr>
            <p:cNvCxnSpPr/>
            <p:nvPr/>
          </p:nvCxnSpPr>
          <p:spPr bwMode="auto">
            <a:xfrm>
              <a:off x="7792324" y="1498600"/>
              <a:ext cx="894476"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40C1F3D-EA5A-653C-253F-EC2FE7A01FDE}"/>
                </a:ext>
              </a:extLst>
            </p:cNvPr>
            <p:cNvCxnSpPr/>
            <p:nvPr/>
          </p:nvCxnSpPr>
          <p:spPr bwMode="auto">
            <a:xfrm>
              <a:off x="7792324" y="1980287"/>
              <a:ext cx="894476"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003964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F8DF64-A515-4692-EFFA-DF84447BE4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2731E5-6B0B-3ED9-B4E9-B5384145C7F0}"/>
              </a:ext>
            </a:extLst>
          </p:cNvPr>
          <p:cNvSpPr>
            <a:spLocks noGrp="1"/>
          </p:cNvSpPr>
          <p:nvPr>
            <p:ph type="title"/>
          </p:nvPr>
        </p:nvSpPr>
        <p:spPr/>
        <p:txBody>
          <a:bodyPr/>
          <a:lstStyle/>
          <a:p>
            <a:r>
              <a:rPr lang="en-US"/>
              <a:t>Risk and Issues</a:t>
            </a:r>
            <a:endParaRPr lang="en-BR"/>
          </a:p>
        </p:txBody>
      </p:sp>
      <p:sp>
        <p:nvSpPr>
          <p:cNvPr id="3" name="Footer Placeholder 2">
            <a:extLst>
              <a:ext uri="{FF2B5EF4-FFF2-40B4-BE49-F238E27FC236}">
                <a16:creationId xmlns:a16="http://schemas.microsoft.com/office/drawing/2014/main" id="{4677BB86-EC67-64AE-F5BA-0C52B6B86209}"/>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8C1286CB-9295-D0CA-5D01-C5385B8FD607}"/>
              </a:ext>
            </a:extLst>
          </p:cNvPr>
          <p:cNvSpPr>
            <a:spLocks noGrp="1"/>
          </p:cNvSpPr>
          <p:nvPr>
            <p:ph type="sldNum" sz="quarter" idx="12"/>
          </p:nvPr>
        </p:nvSpPr>
        <p:spPr/>
        <p:txBody>
          <a:bodyPr/>
          <a:lstStyle/>
          <a:p>
            <a:fld id="{A8DDC45B-7265-3747-B738-ED29642119D9}" type="slidenum">
              <a:rPr lang="en-BR" smtClean="0"/>
              <a:pPr/>
              <a:t>48</a:t>
            </a:fld>
            <a:endParaRPr lang="en-BR"/>
          </a:p>
        </p:txBody>
      </p:sp>
      <p:sp>
        <p:nvSpPr>
          <p:cNvPr id="5" name="Text Placeholder 4">
            <a:extLst>
              <a:ext uri="{FF2B5EF4-FFF2-40B4-BE49-F238E27FC236}">
                <a16:creationId xmlns:a16="http://schemas.microsoft.com/office/drawing/2014/main" id="{9F9AF08D-9E93-4A11-491B-6CC4617C79D2}"/>
              </a:ext>
            </a:extLst>
          </p:cNvPr>
          <p:cNvSpPr>
            <a:spLocks noGrp="1"/>
          </p:cNvSpPr>
          <p:nvPr>
            <p:ph type="body" sz="quarter" idx="13"/>
          </p:nvPr>
        </p:nvSpPr>
        <p:spPr/>
        <p:txBody>
          <a:bodyPr>
            <a:noAutofit/>
          </a:bodyPr>
          <a:lstStyle/>
          <a:p>
            <a:pPr>
              <a:spcBef>
                <a:spcPts val="0"/>
              </a:spcBef>
              <a:spcAft>
                <a:spcPts val="1200"/>
              </a:spcAft>
            </a:pPr>
            <a:r>
              <a:rPr lang="en-US" sz="1600"/>
              <a:t>Summarize key takeaways here.</a:t>
            </a:r>
          </a:p>
        </p:txBody>
      </p:sp>
      <p:graphicFrame>
        <p:nvGraphicFramePr>
          <p:cNvPr id="7" name="Table 6">
            <a:extLst>
              <a:ext uri="{FF2B5EF4-FFF2-40B4-BE49-F238E27FC236}">
                <a16:creationId xmlns:a16="http://schemas.microsoft.com/office/drawing/2014/main" id="{1B83F0AD-3F46-9BFE-4E3F-A96BE8491CEF}"/>
              </a:ext>
            </a:extLst>
          </p:cNvPr>
          <p:cNvGraphicFramePr>
            <a:graphicFrameLocks noGrp="1"/>
          </p:cNvGraphicFramePr>
          <p:nvPr>
            <p:extLst>
              <p:ext uri="{D42A27DB-BD31-4B8C-83A1-F6EECF244321}">
                <p14:modId xmlns:p14="http://schemas.microsoft.com/office/powerpoint/2010/main" val="429554177"/>
              </p:ext>
            </p:extLst>
          </p:nvPr>
        </p:nvGraphicFramePr>
        <p:xfrm>
          <a:off x="338138" y="1418824"/>
          <a:ext cx="11518898" cy="3557625"/>
        </p:xfrm>
        <a:graphic>
          <a:graphicData uri="http://schemas.openxmlformats.org/drawingml/2006/table">
            <a:tbl>
              <a:tblPr>
                <a:tableStyleId>{3B4B98B0-60AC-42C2-AFA5-B58CD77FA1E5}</a:tableStyleId>
              </a:tblPr>
              <a:tblGrid>
                <a:gridCol w="3376136">
                  <a:extLst>
                    <a:ext uri="{9D8B030D-6E8A-4147-A177-3AD203B41FA5}">
                      <a16:colId xmlns:a16="http://schemas.microsoft.com/office/drawing/2014/main" val="101485380"/>
                    </a:ext>
                  </a:extLst>
                </a:gridCol>
                <a:gridCol w="1105699">
                  <a:extLst>
                    <a:ext uri="{9D8B030D-6E8A-4147-A177-3AD203B41FA5}">
                      <a16:colId xmlns:a16="http://schemas.microsoft.com/office/drawing/2014/main" val="1787990877"/>
                    </a:ext>
                  </a:extLst>
                </a:gridCol>
                <a:gridCol w="2279225">
                  <a:extLst>
                    <a:ext uri="{9D8B030D-6E8A-4147-A177-3AD203B41FA5}">
                      <a16:colId xmlns:a16="http://schemas.microsoft.com/office/drawing/2014/main" val="3678030434"/>
                    </a:ext>
                  </a:extLst>
                </a:gridCol>
                <a:gridCol w="1156341">
                  <a:extLst>
                    <a:ext uri="{9D8B030D-6E8A-4147-A177-3AD203B41FA5}">
                      <a16:colId xmlns:a16="http://schemas.microsoft.com/office/drawing/2014/main" val="3381768556"/>
                    </a:ext>
                  </a:extLst>
                </a:gridCol>
                <a:gridCol w="1159075">
                  <a:extLst>
                    <a:ext uri="{9D8B030D-6E8A-4147-A177-3AD203B41FA5}">
                      <a16:colId xmlns:a16="http://schemas.microsoft.com/office/drawing/2014/main" val="4092412098"/>
                    </a:ext>
                  </a:extLst>
                </a:gridCol>
                <a:gridCol w="1221211">
                  <a:extLst>
                    <a:ext uri="{9D8B030D-6E8A-4147-A177-3AD203B41FA5}">
                      <a16:colId xmlns:a16="http://schemas.microsoft.com/office/drawing/2014/main" val="2256311793"/>
                    </a:ext>
                  </a:extLst>
                </a:gridCol>
                <a:gridCol w="1221211">
                  <a:extLst>
                    <a:ext uri="{9D8B030D-6E8A-4147-A177-3AD203B41FA5}">
                      <a16:colId xmlns:a16="http://schemas.microsoft.com/office/drawing/2014/main" val="26606326"/>
                    </a:ext>
                  </a:extLst>
                </a:gridCol>
              </a:tblGrid>
              <a:tr h="362761">
                <a:tc>
                  <a:txBody>
                    <a:bodyPr/>
                    <a:lstStyle/>
                    <a:p>
                      <a:pPr fontAlgn="base"/>
                      <a:r>
                        <a:rPr lang="en-US" sz="1200" b="1">
                          <a:solidFill>
                            <a:schemeClr val="bg1"/>
                          </a:solidFill>
                          <a:effectLst/>
                          <a:latin typeface="Segoe UI" panose="020B0502040204020203" pitchFamily="34" charset="0"/>
                          <a:ea typeface="Verdana" panose="020B0604030504040204" pitchFamily="34" charset="0"/>
                          <a:cs typeface="Segoe UI" panose="020B0502040204020203" pitchFamily="34" charset="0"/>
                        </a:rPr>
                        <a:t>Title and Description</a:t>
                      </a:r>
                    </a:p>
                  </a:txBody>
                  <a:tcPr marL="36716" marR="36716" marT="18358" marB="18358" anchor="ctr">
                    <a:lnB w="6350" cap="flat" cmpd="sng" algn="ctr">
                      <a:solidFill>
                        <a:schemeClr val="bg2">
                          <a:lumMod val="75000"/>
                        </a:schemeClr>
                      </a:solidFill>
                      <a:prstDash val="solid"/>
                      <a:round/>
                      <a:headEnd type="none" w="med" len="med"/>
                      <a:tailEnd type="none" w="med" len="med"/>
                    </a:lnB>
                    <a:solidFill>
                      <a:srgbClr val="B11E27"/>
                    </a:solidFill>
                  </a:tcPr>
                </a:tc>
                <a:tc>
                  <a:txBody>
                    <a:bodyPr/>
                    <a:lstStyle/>
                    <a:p>
                      <a:pPr fontAlgn="base"/>
                      <a:r>
                        <a:rPr lang="en-US" sz="1200" b="1">
                          <a:solidFill>
                            <a:schemeClr val="bg1"/>
                          </a:solidFill>
                          <a:effectLst/>
                          <a:latin typeface="Segoe UI" panose="020B0502040204020203" pitchFamily="34" charset="0"/>
                          <a:ea typeface="Verdana" panose="020B0604030504040204" pitchFamily="34" charset="0"/>
                          <a:cs typeface="Segoe UI" panose="020B0502040204020203" pitchFamily="34" charset="0"/>
                        </a:rPr>
                        <a:t>Type</a:t>
                      </a:r>
                    </a:p>
                  </a:txBody>
                  <a:tcPr marL="36716" marR="36716" marT="18358" marB="18358" anchor="ctr">
                    <a:lnB w="6350" cap="flat" cmpd="sng" algn="ctr">
                      <a:solidFill>
                        <a:schemeClr val="bg2">
                          <a:lumMod val="75000"/>
                        </a:schemeClr>
                      </a:solidFill>
                      <a:prstDash val="solid"/>
                      <a:round/>
                      <a:headEnd type="none" w="med" len="med"/>
                      <a:tailEnd type="none" w="med" len="med"/>
                    </a:lnB>
                    <a:solidFill>
                      <a:srgbClr val="B11E27"/>
                    </a:solidFill>
                  </a:tcPr>
                </a:tc>
                <a:tc>
                  <a:txBody>
                    <a:bodyPr/>
                    <a:lstStyle/>
                    <a:p>
                      <a:pPr fontAlgn="base"/>
                      <a:r>
                        <a:rPr lang="en-US" sz="1200" b="1">
                          <a:solidFill>
                            <a:schemeClr val="bg1"/>
                          </a:solidFill>
                          <a:effectLst/>
                          <a:latin typeface="Segoe UI" panose="020B0502040204020203" pitchFamily="34" charset="0"/>
                          <a:ea typeface="Verdana" panose="020B0604030504040204" pitchFamily="34" charset="0"/>
                          <a:cs typeface="Segoe UI" panose="020B0502040204020203" pitchFamily="34" charset="0"/>
                        </a:rPr>
                        <a:t>Mitigation Approach</a:t>
                      </a:r>
                    </a:p>
                  </a:txBody>
                  <a:tcPr marL="36716" marR="36716" marT="18358" marB="18358" anchor="ctr">
                    <a:lnB w="6350" cap="flat" cmpd="sng" algn="ctr">
                      <a:solidFill>
                        <a:schemeClr val="bg2">
                          <a:lumMod val="75000"/>
                        </a:schemeClr>
                      </a:solidFill>
                      <a:prstDash val="solid"/>
                      <a:round/>
                      <a:headEnd type="none" w="med" len="med"/>
                      <a:tailEnd type="none" w="med" len="med"/>
                    </a:lnB>
                    <a:solidFill>
                      <a:srgbClr val="B11E27"/>
                    </a:solidFill>
                  </a:tcPr>
                </a:tc>
                <a:tc>
                  <a:txBody>
                    <a:bodyPr/>
                    <a:lstStyle/>
                    <a:p>
                      <a:pPr fontAlgn="base"/>
                      <a:r>
                        <a:rPr lang="en-US" sz="1200" b="1">
                          <a:solidFill>
                            <a:schemeClr val="bg1"/>
                          </a:solidFill>
                          <a:effectLst/>
                          <a:latin typeface="Segoe UI" panose="020B0502040204020203" pitchFamily="34" charset="0"/>
                          <a:ea typeface="Verdana" panose="020B0604030504040204" pitchFamily="34" charset="0"/>
                          <a:cs typeface="Segoe UI" panose="020B0502040204020203" pitchFamily="34" charset="0"/>
                        </a:rPr>
                        <a:t>Need by</a:t>
                      </a:r>
                    </a:p>
                  </a:txBody>
                  <a:tcPr marL="36716" marR="36716" marT="18358" marB="18358" anchor="ctr">
                    <a:lnB w="6350" cap="flat" cmpd="sng" algn="ctr">
                      <a:solidFill>
                        <a:schemeClr val="bg2">
                          <a:lumMod val="75000"/>
                        </a:schemeClr>
                      </a:solidFill>
                      <a:prstDash val="solid"/>
                      <a:round/>
                      <a:headEnd type="none" w="med" len="med"/>
                      <a:tailEnd type="none" w="med" len="med"/>
                    </a:lnB>
                    <a:solidFill>
                      <a:srgbClr val="B11E27"/>
                    </a:solidFill>
                  </a:tcPr>
                </a:tc>
                <a:tc>
                  <a:txBody>
                    <a:bodyPr/>
                    <a:lstStyle/>
                    <a:p>
                      <a:pPr fontAlgn="base"/>
                      <a:r>
                        <a:rPr lang="en-US" sz="1200" b="1">
                          <a:solidFill>
                            <a:schemeClr val="bg1"/>
                          </a:solidFill>
                          <a:effectLst/>
                          <a:latin typeface="Segoe UI" panose="020B0502040204020203" pitchFamily="34" charset="0"/>
                          <a:ea typeface="Verdana" panose="020B0604030504040204" pitchFamily="34" charset="0"/>
                          <a:cs typeface="Segoe UI" panose="020B0502040204020203" pitchFamily="34" charset="0"/>
                        </a:rPr>
                        <a:t>Area</a:t>
                      </a:r>
                    </a:p>
                  </a:txBody>
                  <a:tcPr marL="36716" marR="36716" marT="18358" marB="18358" anchor="ctr">
                    <a:lnB w="6350" cap="flat" cmpd="sng" algn="ctr">
                      <a:solidFill>
                        <a:schemeClr val="bg2">
                          <a:lumMod val="75000"/>
                        </a:schemeClr>
                      </a:solidFill>
                      <a:prstDash val="solid"/>
                      <a:round/>
                      <a:headEnd type="none" w="med" len="med"/>
                      <a:tailEnd type="none" w="med" len="med"/>
                    </a:lnB>
                    <a:solidFill>
                      <a:srgbClr val="B11E27"/>
                    </a:solidFill>
                  </a:tcPr>
                </a:tc>
                <a:tc>
                  <a:txBody>
                    <a:bodyPr/>
                    <a:lstStyle/>
                    <a:p>
                      <a:pPr fontAlgn="base"/>
                      <a:r>
                        <a:rPr lang="en-US" sz="1200" b="1">
                          <a:solidFill>
                            <a:schemeClr val="bg1"/>
                          </a:solidFill>
                          <a:effectLst/>
                          <a:latin typeface="Segoe UI" panose="020B0502040204020203" pitchFamily="34" charset="0"/>
                          <a:ea typeface="Verdana" panose="020B0604030504040204" pitchFamily="34" charset="0"/>
                          <a:cs typeface="Segoe UI" panose="020B0502040204020203" pitchFamily="34" charset="0"/>
                        </a:rPr>
                        <a:t>Status</a:t>
                      </a:r>
                    </a:p>
                  </a:txBody>
                  <a:tcPr marL="36716" marR="36716" marT="18358" marB="18358" anchor="ctr">
                    <a:lnB w="6350" cap="flat" cmpd="sng" algn="ctr">
                      <a:solidFill>
                        <a:schemeClr val="bg2">
                          <a:lumMod val="75000"/>
                        </a:schemeClr>
                      </a:solidFill>
                      <a:prstDash val="solid"/>
                      <a:round/>
                      <a:headEnd type="none" w="med" len="med"/>
                      <a:tailEnd type="none" w="med" len="med"/>
                    </a:lnB>
                    <a:solidFill>
                      <a:srgbClr val="B11E27"/>
                    </a:solidFill>
                  </a:tcPr>
                </a:tc>
                <a:tc>
                  <a:txBody>
                    <a:bodyPr/>
                    <a:lstStyle/>
                    <a:p>
                      <a:pPr fontAlgn="base"/>
                      <a:r>
                        <a:rPr lang="en-US" sz="1200" b="1">
                          <a:solidFill>
                            <a:schemeClr val="bg1"/>
                          </a:solidFill>
                          <a:effectLst/>
                          <a:latin typeface="Segoe UI" panose="020B0502040204020203" pitchFamily="34" charset="0"/>
                          <a:ea typeface="Verdana" panose="020B0604030504040204" pitchFamily="34" charset="0"/>
                          <a:cs typeface="Segoe UI" panose="020B0502040204020203" pitchFamily="34" charset="0"/>
                        </a:rPr>
                        <a:t>Owner</a:t>
                      </a:r>
                    </a:p>
                  </a:txBody>
                  <a:tcPr marL="36716" marR="36716" marT="18358" marB="18358" anchor="ctr">
                    <a:lnB w="6350" cap="flat" cmpd="sng" algn="ctr">
                      <a:solidFill>
                        <a:schemeClr val="bg2">
                          <a:lumMod val="75000"/>
                        </a:schemeClr>
                      </a:solidFill>
                      <a:prstDash val="solid"/>
                      <a:round/>
                      <a:headEnd type="none" w="med" len="med"/>
                      <a:tailEnd type="none" w="med" len="med"/>
                    </a:lnB>
                    <a:solidFill>
                      <a:srgbClr val="B11E27"/>
                    </a:solidFill>
                  </a:tcPr>
                </a:tc>
                <a:extLst>
                  <a:ext uri="{0D108BD9-81ED-4DB2-BD59-A6C34878D82A}">
                    <a16:rowId xmlns:a16="http://schemas.microsoft.com/office/drawing/2014/main" val="1765707951"/>
                  </a:ext>
                </a:extLst>
              </a:tr>
              <a:tr h="430469">
                <a:tc>
                  <a:txBody>
                    <a:bodyPr/>
                    <a:lstStyle/>
                    <a:p>
                      <a:pPr fontAlgn="base"/>
                      <a:r>
                        <a:rPr lang="en-US" sz="1000" b="1">
                          <a:effectLst/>
                          <a:latin typeface="Segoe UI" panose="020B0502040204020203" pitchFamily="34" charset="0"/>
                          <a:cs typeface="Segoe UI" panose="020B0502040204020203" pitchFamily="34" charset="0"/>
                        </a:rPr>
                        <a:t>Title </a:t>
                      </a:r>
                    </a:p>
                    <a:p>
                      <a:pPr fontAlgn="base"/>
                      <a:r>
                        <a:rPr lang="en-US" sz="1000" b="0">
                          <a:effectLst/>
                          <a:latin typeface="Segoe UI" panose="020B0502040204020203" pitchFamily="34" charset="0"/>
                          <a:cs typeface="Segoe UI" panose="020B0502040204020203" pitchFamily="34" charset="0"/>
                        </a:rPr>
                        <a:t>Description</a:t>
                      </a:r>
                      <a:endParaRPr lang="en-US" sz="1000" b="1">
                        <a:effectLst/>
                        <a:latin typeface="Segoe UI" panose="020B0502040204020203" pitchFamily="34" charset="0"/>
                        <a:ea typeface="Verdana" panose="020B0604030504040204" pitchFamily="34" charset="0"/>
                        <a:cs typeface="Segoe UI" panose="020B0502040204020203" pitchFamily="34" charset="0"/>
                      </a:endParaRP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fontAlgn="base"/>
                      <a:r>
                        <a:rPr lang="en-US" sz="1000">
                          <a:effectLst/>
                          <a:latin typeface="Segoe UI" panose="020B0502040204020203" pitchFamily="34" charset="0"/>
                          <a:ea typeface="Verdana" panose="020B0604030504040204" pitchFamily="34" charset="0"/>
                          <a:cs typeface="Segoe UI" panose="020B0502040204020203" pitchFamily="34" charset="0"/>
                        </a:rPr>
                        <a:t>Risk</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fontAlgn="base"/>
                      <a:r>
                        <a:rPr lang="en-US" sz="1000">
                          <a:latin typeface="Segoe UI" panose="020B0502040204020203" pitchFamily="34" charset="0"/>
                          <a:cs typeface="Segoe UI" panose="020B0502040204020203" pitchFamily="34" charset="0"/>
                        </a:rPr>
                        <a:t>Lorem ipsum dolor sit </a:t>
                      </a:r>
                      <a:r>
                        <a:rPr lang="en-US" sz="1000" err="1">
                          <a:latin typeface="Segoe UI" panose="020B0502040204020203" pitchFamily="34" charset="0"/>
                          <a:cs typeface="Segoe UI" panose="020B0502040204020203" pitchFamily="34" charset="0"/>
                        </a:rPr>
                        <a:t>amet</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consectetur</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adipiscing</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elit</a:t>
                      </a:r>
                      <a:r>
                        <a:rPr lang="en-US" sz="1000">
                          <a:latin typeface="Segoe UI" panose="020B0502040204020203" pitchFamily="34" charset="0"/>
                          <a:cs typeface="Segoe UI" panose="020B0502040204020203" pitchFamily="34" charset="0"/>
                        </a:rPr>
                        <a:t>, sed do </a:t>
                      </a:r>
                      <a:r>
                        <a:rPr lang="en-US" sz="1000" err="1">
                          <a:latin typeface="Segoe UI" panose="020B0502040204020203" pitchFamily="34" charset="0"/>
                          <a:cs typeface="Segoe UI" panose="020B0502040204020203" pitchFamily="34" charset="0"/>
                        </a:rPr>
                        <a:t>eiusmod</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tempor</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incididunt</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ut</a:t>
                      </a:r>
                      <a:r>
                        <a:rPr lang="en-US" sz="1000">
                          <a:latin typeface="Segoe UI" panose="020B0502040204020203" pitchFamily="34" charset="0"/>
                          <a:cs typeface="Segoe UI" panose="020B0502040204020203" pitchFamily="34" charset="0"/>
                        </a:rPr>
                        <a:t> labore et dolore magna </a:t>
                      </a:r>
                      <a:r>
                        <a:rPr lang="en-US" sz="1000" err="1">
                          <a:latin typeface="Segoe UI" panose="020B0502040204020203" pitchFamily="34" charset="0"/>
                          <a:cs typeface="Segoe UI" panose="020B0502040204020203" pitchFamily="34" charset="0"/>
                        </a:rPr>
                        <a:t>aliqua</a:t>
                      </a:r>
                      <a:r>
                        <a:rPr lang="en-US" sz="1000">
                          <a:latin typeface="Segoe UI" panose="020B0502040204020203" pitchFamily="34" charset="0"/>
                          <a:cs typeface="Segoe UI" panose="020B0502040204020203" pitchFamily="34" charset="0"/>
                        </a:rPr>
                        <a:t>. Quis ipsum </a:t>
                      </a:r>
                      <a:r>
                        <a:rPr lang="en-US" sz="1000" err="1">
                          <a:latin typeface="Segoe UI" panose="020B0502040204020203" pitchFamily="34" charset="0"/>
                          <a:cs typeface="Segoe UI" panose="020B0502040204020203" pitchFamily="34" charset="0"/>
                        </a:rPr>
                        <a:t>suspendisse</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ultrices</a:t>
                      </a:r>
                      <a:r>
                        <a:rPr lang="en-US" sz="1000">
                          <a:latin typeface="Segoe UI" panose="020B0502040204020203" pitchFamily="34" charset="0"/>
                          <a:cs typeface="Segoe UI" panose="020B0502040204020203" pitchFamily="34" charset="0"/>
                        </a:rPr>
                        <a:t> gravida</a:t>
                      </a:r>
                      <a:endParaRPr lang="en-US" sz="1000">
                        <a:effectLst/>
                        <a:latin typeface="Segoe UI" panose="020B0502040204020203" pitchFamily="34" charset="0"/>
                        <a:ea typeface="Verdana" panose="020B0604030504040204" pitchFamily="34" charset="0"/>
                        <a:cs typeface="Segoe UI" panose="020B0502040204020203" pitchFamily="34" charset="0"/>
                      </a:endParaRP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fontAlgn="base"/>
                      <a:r>
                        <a:rPr lang="en-US" sz="1000">
                          <a:effectLst/>
                          <a:latin typeface="Segoe UI" panose="020B0502040204020203" pitchFamily="34" charset="0"/>
                          <a:ea typeface="Verdana" panose="020B0604030504040204" pitchFamily="34" charset="0"/>
                          <a:cs typeface="Segoe UI" panose="020B0502040204020203" pitchFamily="34" charset="0"/>
                        </a:rPr>
                        <a:t>MM/DD/YYY</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marL="0" marR="0" lvl="0" indent="0" algn="l" defTabSz="914354" rtl="0" eaLnBrk="1" fontAlgn="base" latinLnBrk="0" hangingPunct="1">
                        <a:lnSpc>
                          <a:spcPct val="100000"/>
                        </a:lnSpc>
                        <a:spcBef>
                          <a:spcPts val="0"/>
                        </a:spcBef>
                        <a:spcAft>
                          <a:spcPts val="0"/>
                        </a:spcAft>
                        <a:buClrTx/>
                        <a:buSzTx/>
                        <a:buFontTx/>
                        <a:buNone/>
                        <a:tabLst/>
                        <a:defRPr/>
                      </a:pPr>
                      <a:r>
                        <a:rPr lang="en-US" sz="1000">
                          <a:effectLst/>
                          <a:latin typeface="Segoe UI" panose="020B0502040204020203" pitchFamily="34" charset="0"/>
                          <a:ea typeface="Verdana" panose="020B0604030504040204" pitchFamily="34" charset="0"/>
                          <a:cs typeface="Segoe UI" panose="020B0502040204020203" pitchFamily="34" charset="0"/>
                        </a:rPr>
                        <a:t>General </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marL="0" marR="0" lvl="0" indent="0" algn="l" defTabSz="914354" rtl="0" eaLnBrk="1" fontAlgn="base" latinLnBrk="0" hangingPunct="1">
                        <a:lnSpc>
                          <a:spcPct val="100000"/>
                        </a:lnSpc>
                        <a:spcBef>
                          <a:spcPts val="0"/>
                        </a:spcBef>
                        <a:spcAft>
                          <a:spcPts val="0"/>
                        </a:spcAft>
                        <a:buClrTx/>
                        <a:buSzTx/>
                        <a:buFontTx/>
                        <a:buNone/>
                        <a:tabLst/>
                        <a:defRPr/>
                      </a:pPr>
                      <a:r>
                        <a:rPr lang="en-US" sz="1000">
                          <a:effectLst/>
                          <a:latin typeface="Segoe UI" panose="020B0502040204020203" pitchFamily="34" charset="0"/>
                          <a:ea typeface="Verdana" panose="020B0604030504040204" pitchFamily="34" charset="0"/>
                          <a:cs typeface="Segoe UI" panose="020B0502040204020203" pitchFamily="34" charset="0"/>
                        </a:rPr>
                        <a:t>Not Started</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marL="0" marR="0" lvl="0" indent="0" algn="l" defTabSz="914354" rtl="0" eaLnBrk="1" fontAlgn="base" latinLnBrk="0" hangingPunct="1">
                        <a:lnSpc>
                          <a:spcPct val="100000"/>
                        </a:lnSpc>
                        <a:spcBef>
                          <a:spcPts val="0"/>
                        </a:spcBef>
                        <a:spcAft>
                          <a:spcPts val="0"/>
                        </a:spcAft>
                        <a:buClrTx/>
                        <a:buSzTx/>
                        <a:buFontTx/>
                        <a:buNone/>
                        <a:tabLst/>
                        <a:defRPr/>
                      </a:pPr>
                      <a:r>
                        <a:rPr lang="en-US" sz="1000">
                          <a:effectLst/>
                          <a:latin typeface="Segoe UI" panose="020B0502040204020203" pitchFamily="34" charset="0"/>
                          <a:ea typeface="Verdana" panose="020B0604030504040204" pitchFamily="34" charset="0"/>
                          <a:cs typeface="Segoe UI" panose="020B0502040204020203" pitchFamily="34" charset="0"/>
                        </a:rPr>
                        <a:t>Person’s Name</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539672266"/>
                  </a:ext>
                </a:extLst>
              </a:tr>
              <a:tr h="529897">
                <a:tc>
                  <a:txBody>
                    <a:bodyPr/>
                    <a:lstStyle/>
                    <a:p>
                      <a:pPr fontAlgn="base"/>
                      <a:r>
                        <a:rPr lang="en-US" sz="1000" b="1">
                          <a:effectLst/>
                          <a:latin typeface="Segoe UI" panose="020B0502040204020203" pitchFamily="34" charset="0"/>
                          <a:cs typeface="Segoe UI" panose="020B0502040204020203" pitchFamily="34" charset="0"/>
                        </a:rPr>
                        <a:t>Title </a:t>
                      </a:r>
                    </a:p>
                    <a:p>
                      <a:pPr fontAlgn="base"/>
                      <a:r>
                        <a:rPr lang="en-US" sz="1000" b="0">
                          <a:effectLst/>
                          <a:latin typeface="Segoe UI" panose="020B0502040204020203" pitchFamily="34" charset="0"/>
                          <a:cs typeface="Segoe UI" panose="020B0502040204020203" pitchFamily="34" charset="0"/>
                        </a:rPr>
                        <a:t>Description</a:t>
                      </a:r>
                      <a:endParaRPr lang="en-US" sz="1000" b="1">
                        <a:effectLst/>
                        <a:latin typeface="Segoe UI" panose="020B0502040204020203" pitchFamily="34" charset="0"/>
                        <a:ea typeface="Verdana" panose="020B0604030504040204" pitchFamily="34" charset="0"/>
                        <a:cs typeface="Segoe UI" panose="020B0502040204020203" pitchFamily="34" charset="0"/>
                      </a:endParaRP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fontAlgn="base"/>
                      <a:r>
                        <a:rPr lang="en-US" sz="1000">
                          <a:effectLst/>
                          <a:latin typeface="Segoe UI" panose="020B0502040204020203" pitchFamily="34" charset="0"/>
                          <a:ea typeface="Verdana" panose="020B0604030504040204" pitchFamily="34" charset="0"/>
                          <a:cs typeface="Segoe UI" panose="020B0502040204020203" pitchFamily="34" charset="0"/>
                        </a:rPr>
                        <a:t>Risk</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fontAlgn="base"/>
                      <a:r>
                        <a:rPr lang="en-US" sz="1000">
                          <a:latin typeface="Segoe UI" panose="020B0502040204020203" pitchFamily="34" charset="0"/>
                          <a:cs typeface="Segoe UI" panose="020B0502040204020203" pitchFamily="34" charset="0"/>
                        </a:rPr>
                        <a:t>Lorem ipsum dolor sit </a:t>
                      </a:r>
                      <a:r>
                        <a:rPr lang="en-US" sz="1000" err="1">
                          <a:latin typeface="Segoe UI" panose="020B0502040204020203" pitchFamily="34" charset="0"/>
                          <a:cs typeface="Segoe UI" panose="020B0502040204020203" pitchFamily="34" charset="0"/>
                        </a:rPr>
                        <a:t>amet</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consectetur</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adipiscing</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elit</a:t>
                      </a:r>
                      <a:r>
                        <a:rPr lang="en-US" sz="1000">
                          <a:latin typeface="Segoe UI" panose="020B0502040204020203" pitchFamily="34" charset="0"/>
                          <a:cs typeface="Segoe UI" panose="020B0502040204020203" pitchFamily="34" charset="0"/>
                        </a:rPr>
                        <a:t>, sed do </a:t>
                      </a:r>
                      <a:r>
                        <a:rPr lang="en-US" sz="1000" err="1">
                          <a:latin typeface="Segoe UI" panose="020B0502040204020203" pitchFamily="34" charset="0"/>
                          <a:cs typeface="Segoe UI" panose="020B0502040204020203" pitchFamily="34" charset="0"/>
                        </a:rPr>
                        <a:t>eiusmod</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tempor</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incididunt</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ut</a:t>
                      </a:r>
                      <a:r>
                        <a:rPr lang="en-US" sz="1000">
                          <a:latin typeface="Segoe UI" panose="020B0502040204020203" pitchFamily="34" charset="0"/>
                          <a:cs typeface="Segoe UI" panose="020B0502040204020203" pitchFamily="34" charset="0"/>
                        </a:rPr>
                        <a:t> labore et dolore magna </a:t>
                      </a:r>
                      <a:r>
                        <a:rPr lang="en-US" sz="1000" err="1">
                          <a:latin typeface="Segoe UI" panose="020B0502040204020203" pitchFamily="34" charset="0"/>
                          <a:cs typeface="Segoe UI" panose="020B0502040204020203" pitchFamily="34" charset="0"/>
                        </a:rPr>
                        <a:t>aliqua</a:t>
                      </a:r>
                      <a:r>
                        <a:rPr lang="en-US" sz="1000">
                          <a:latin typeface="Segoe UI" panose="020B0502040204020203" pitchFamily="34" charset="0"/>
                          <a:cs typeface="Segoe UI" panose="020B0502040204020203" pitchFamily="34" charset="0"/>
                        </a:rPr>
                        <a:t>. Quis ipsum </a:t>
                      </a:r>
                      <a:r>
                        <a:rPr lang="en-US" sz="1000" err="1">
                          <a:latin typeface="Segoe UI" panose="020B0502040204020203" pitchFamily="34" charset="0"/>
                          <a:cs typeface="Segoe UI" panose="020B0502040204020203" pitchFamily="34" charset="0"/>
                        </a:rPr>
                        <a:t>suspendisse</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ultrices</a:t>
                      </a:r>
                      <a:r>
                        <a:rPr lang="en-US" sz="1000">
                          <a:latin typeface="Segoe UI" panose="020B0502040204020203" pitchFamily="34" charset="0"/>
                          <a:cs typeface="Segoe UI" panose="020B0502040204020203" pitchFamily="34" charset="0"/>
                        </a:rPr>
                        <a:t> gravida</a:t>
                      </a:r>
                      <a:endParaRPr lang="en-US" sz="1000">
                        <a:effectLst/>
                        <a:latin typeface="Segoe UI" panose="020B0502040204020203" pitchFamily="34" charset="0"/>
                        <a:ea typeface="Verdana" panose="020B0604030504040204" pitchFamily="34" charset="0"/>
                        <a:cs typeface="Segoe UI" panose="020B0502040204020203" pitchFamily="34" charset="0"/>
                      </a:endParaRP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fontAlgn="base"/>
                      <a:r>
                        <a:rPr lang="en-US" sz="1000">
                          <a:effectLst/>
                          <a:latin typeface="Segoe UI" panose="020B0502040204020203" pitchFamily="34" charset="0"/>
                          <a:ea typeface="Verdana" panose="020B0604030504040204" pitchFamily="34" charset="0"/>
                          <a:cs typeface="Segoe UI" panose="020B0502040204020203" pitchFamily="34" charset="0"/>
                        </a:rPr>
                        <a:t>MM/DD/YYY</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marL="0" marR="0" lvl="0" indent="0" algn="l" defTabSz="914354" rtl="0" eaLnBrk="1" fontAlgn="base" latinLnBrk="0" hangingPunct="1">
                        <a:lnSpc>
                          <a:spcPct val="100000"/>
                        </a:lnSpc>
                        <a:spcBef>
                          <a:spcPts val="0"/>
                        </a:spcBef>
                        <a:spcAft>
                          <a:spcPts val="0"/>
                        </a:spcAft>
                        <a:buClrTx/>
                        <a:buSzTx/>
                        <a:buFontTx/>
                        <a:buNone/>
                        <a:tabLst/>
                        <a:defRPr/>
                      </a:pPr>
                      <a:r>
                        <a:rPr lang="en-US" sz="1000">
                          <a:effectLst/>
                          <a:latin typeface="Segoe UI" panose="020B0502040204020203" pitchFamily="34" charset="0"/>
                          <a:ea typeface="Verdana" panose="020B0604030504040204" pitchFamily="34" charset="0"/>
                          <a:cs typeface="Segoe UI" panose="020B0502040204020203" pitchFamily="34" charset="0"/>
                        </a:rPr>
                        <a:t>General </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marL="0" marR="0" lvl="0" indent="0" algn="l" defTabSz="914354" rtl="0" eaLnBrk="1" fontAlgn="base" latinLnBrk="0" hangingPunct="1">
                        <a:lnSpc>
                          <a:spcPct val="100000"/>
                        </a:lnSpc>
                        <a:spcBef>
                          <a:spcPts val="0"/>
                        </a:spcBef>
                        <a:spcAft>
                          <a:spcPts val="0"/>
                        </a:spcAft>
                        <a:buClrTx/>
                        <a:buSzTx/>
                        <a:buFontTx/>
                        <a:buNone/>
                        <a:tabLst/>
                        <a:defRPr/>
                      </a:pPr>
                      <a:r>
                        <a:rPr lang="en-US" sz="1000">
                          <a:effectLst/>
                          <a:latin typeface="Segoe UI" panose="020B0502040204020203" pitchFamily="34" charset="0"/>
                          <a:ea typeface="Verdana" panose="020B0604030504040204" pitchFamily="34" charset="0"/>
                          <a:cs typeface="Segoe UI" panose="020B0502040204020203" pitchFamily="34" charset="0"/>
                        </a:rPr>
                        <a:t>Not Started</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marL="0" marR="0" lvl="0" indent="0" algn="l" defTabSz="914354" rtl="0" eaLnBrk="1" fontAlgn="base" latinLnBrk="0" hangingPunct="1">
                        <a:lnSpc>
                          <a:spcPct val="100000"/>
                        </a:lnSpc>
                        <a:spcBef>
                          <a:spcPts val="0"/>
                        </a:spcBef>
                        <a:spcAft>
                          <a:spcPts val="0"/>
                        </a:spcAft>
                        <a:buClrTx/>
                        <a:buSzTx/>
                        <a:buFontTx/>
                        <a:buNone/>
                        <a:tabLst/>
                        <a:defRPr/>
                      </a:pPr>
                      <a:r>
                        <a:rPr lang="en-US" sz="1000">
                          <a:effectLst/>
                          <a:latin typeface="Segoe UI" panose="020B0502040204020203" pitchFamily="34" charset="0"/>
                          <a:ea typeface="Verdana" panose="020B0604030504040204" pitchFamily="34" charset="0"/>
                          <a:cs typeface="Segoe UI" panose="020B0502040204020203" pitchFamily="34" charset="0"/>
                        </a:rPr>
                        <a:t>Person’s Name</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2797677373"/>
                  </a:ext>
                </a:extLst>
              </a:tr>
              <a:tr h="529897">
                <a:tc>
                  <a:txBody>
                    <a:bodyPr/>
                    <a:lstStyle/>
                    <a:p>
                      <a:pPr fontAlgn="base"/>
                      <a:r>
                        <a:rPr lang="en-US" sz="1000" b="1">
                          <a:effectLst/>
                          <a:latin typeface="Segoe UI" panose="020B0502040204020203" pitchFamily="34" charset="0"/>
                          <a:cs typeface="Segoe UI" panose="020B0502040204020203" pitchFamily="34" charset="0"/>
                        </a:rPr>
                        <a:t>Title </a:t>
                      </a:r>
                    </a:p>
                    <a:p>
                      <a:pPr fontAlgn="base"/>
                      <a:r>
                        <a:rPr lang="en-US" sz="1000" b="0">
                          <a:effectLst/>
                          <a:latin typeface="Segoe UI" panose="020B0502040204020203" pitchFamily="34" charset="0"/>
                          <a:cs typeface="Segoe UI" panose="020B0502040204020203" pitchFamily="34" charset="0"/>
                        </a:rPr>
                        <a:t>Description</a:t>
                      </a:r>
                      <a:endParaRPr lang="en-US" sz="1000" b="1">
                        <a:effectLst/>
                        <a:latin typeface="Segoe UI" panose="020B0502040204020203" pitchFamily="34" charset="0"/>
                        <a:ea typeface="Verdana" panose="020B0604030504040204" pitchFamily="34" charset="0"/>
                        <a:cs typeface="Segoe UI" panose="020B0502040204020203" pitchFamily="34" charset="0"/>
                      </a:endParaRP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fontAlgn="base"/>
                      <a:r>
                        <a:rPr lang="en-US" sz="1000">
                          <a:effectLst/>
                          <a:latin typeface="Segoe UI" panose="020B0502040204020203" pitchFamily="34" charset="0"/>
                          <a:ea typeface="Verdana" panose="020B0604030504040204" pitchFamily="34" charset="0"/>
                          <a:cs typeface="Segoe UI" panose="020B0502040204020203" pitchFamily="34" charset="0"/>
                        </a:rPr>
                        <a:t>Issue</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fontAlgn="base"/>
                      <a:r>
                        <a:rPr lang="en-US" sz="1000">
                          <a:latin typeface="Segoe UI" panose="020B0502040204020203" pitchFamily="34" charset="0"/>
                          <a:cs typeface="Segoe UI" panose="020B0502040204020203" pitchFamily="34" charset="0"/>
                        </a:rPr>
                        <a:t>Lorem ipsum dolor sit </a:t>
                      </a:r>
                      <a:r>
                        <a:rPr lang="en-US" sz="1000" err="1">
                          <a:latin typeface="Segoe UI" panose="020B0502040204020203" pitchFamily="34" charset="0"/>
                          <a:cs typeface="Segoe UI" panose="020B0502040204020203" pitchFamily="34" charset="0"/>
                        </a:rPr>
                        <a:t>amet</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consectetur</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adipiscing</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elit</a:t>
                      </a:r>
                      <a:r>
                        <a:rPr lang="en-US" sz="1000">
                          <a:latin typeface="Segoe UI" panose="020B0502040204020203" pitchFamily="34" charset="0"/>
                          <a:cs typeface="Segoe UI" panose="020B0502040204020203" pitchFamily="34" charset="0"/>
                        </a:rPr>
                        <a:t>, sed do </a:t>
                      </a:r>
                      <a:r>
                        <a:rPr lang="en-US" sz="1000" err="1">
                          <a:latin typeface="Segoe UI" panose="020B0502040204020203" pitchFamily="34" charset="0"/>
                          <a:cs typeface="Segoe UI" panose="020B0502040204020203" pitchFamily="34" charset="0"/>
                        </a:rPr>
                        <a:t>eiusmod</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tempor</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incididunt</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ut</a:t>
                      </a:r>
                      <a:r>
                        <a:rPr lang="en-US" sz="1000">
                          <a:latin typeface="Segoe UI" panose="020B0502040204020203" pitchFamily="34" charset="0"/>
                          <a:cs typeface="Segoe UI" panose="020B0502040204020203" pitchFamily="34" charset="0"/>
                        </a:rPr>
                        <a:t> labore et dolore magna </a:t>
                      </a:r>
                      <a:r>
                        <a:rPr lang="en-US" sz="1000" err="1">
                          <a:latin typeface="Segoe UI" panose="020B0502040204020203" pitchFamily="34" charset="0"/>
                          <a:cs typeface="Segoe UI" panose="020B0502040204020203" pitchFamily="34" charset="0"/>
                        </a:rPr>
                        <a:t>aliqua</a:t>
                      </a:r>
                      <a:r>
                        <a:rPr lang="en-US" sz="1000">
                          <a:latin typeface="Segoe UI" panose="020B0502040204020203" pitchFamily="34" charset="0"/>
                          <a:cs typeface="Segoe UI" panose="020B0502040204020203" pitchFamily="34" charset="0"/>
                        </a:rPr>
                        <a:t>. Quis ipsum </a:t>
                      </a:r>
                      <a:r>
                        <a:rPr lang="en-US" sz="1000" err="1">
                          <a:latin typeface="Segoe UI" panose="020B0502040204020203" pitchFamily="34" charset="0"/>
                          <a:cs typeface="Segoe UI" panose="020B0502040204020203" pitchFamily="34" charset="0"/>
                        </a:rPr>
                        <a:t>suspendisse</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ultrices</a:t>
                      </a:r>
                      <a:r>
                        <a:rPr lang="en-US" sz="1000">
                          <a:latin typeface="Segoe UI" panose="020B0502040204020203" pitchFamily="34" charset="0"/>
                          <a:cs typeface="Segoe UI" panose="020B0502040204020203" pitchFamily="34" charset="0"/>
                        </a:rPr>
                        <a:t> gravida</a:t>
                      </a:r>
                      <a:endParaRPr lang="en-US" sz="1000">
                        <a:effectLst/>
                        <a:latin typeface="Segoe UI" panose="020B0502040204020203" pitchFamily="34" charset="0"/>
                        <a:ea typeface="Verdana" panose="020B0604030504040204" pitchFamily="34" charset="0"/>
                        <a:cs typeface="Segoe UI" panose="020B0502040204020203" pitchFamily="34" charset="0"/>
                      </a:endParaRP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fontAlgn="base"/>
                      <a:r>
                        <a:rPr lang="en-US" sz="1000">
                          <a:effectLst/>
                          <a:latin typeface="Segoe UI" panose="020B0502040204020203" pitchFamily="34" charset="0"/>
                          <a:ea typeface="Verdana" panose="020B0604030504040204" pitchFamily="34" charset="0"/>
                          <a:cs typeface="Segoe UI" panose="020B0502040204020203" pitchFamily="34" charset="0"/>
                        </a:rPr>
                        <a:t>MM/DD/YYY</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marL="0" marR="0" lvl="0" indent="0" algn="l" defTabSz="914354" rtl="0" eaLnBrk="1" fontAlgn="base" latinLnBrk="0" hangingPunct="1">
                        <a:lnSpc>
                          <a:spcPct val="100000"/>
                        </a:lnSpc>
                        <a:spcBef>
                          <a:spcPts val="0"/>
                        </a:spcBef>
                        <a:spcAft>
                          <a:spcPts val="0"/>
                        </a:spcAft>
                        <a:buClrTx/>
                        <a:buSzTx/>
                        <a:buFontTx/>
                        <a:buNone/>
                        <a:tabLst/>
                        <a:defRPr/>
                      </a:pPr>
                      <a:r>
                        <a:rPr lang="en-US" sz="1000">
                          <a:effectLst/>
                          <a:latin typeface="Segoe UI" panose="020B0502040204020203" pitchFamily="34" charset="0"/>
                          <a:ea typeface="Verdana" panose="020B0604030504040204" pitchFamily="34" charset="0"/>
                          <a:cs typeface="Segoe UI" panose="020B0502040204020203" pitchFamily="34" charset="0"/>
                        </a:rPr>
                        <a:t>General </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marL="0" marR="0" lvl="0" indent="0" algn="l" defTabSz="914354" rtl="0" eaLnBrk="1" fontAlgn="base" latinLnBrk="0" hangingPunct="1">
                        <a:lnSpc>
                          <a:spcPct val="100000"/>
                        </a:lnSpc>
                        <a:spcBef>
                          <a:spcPts val="0"/>
                        </a:spcBef>
                        <a:spcAft>
                          <a:spcPts val="0"/>
                        </a:spcAft>
                        <a:buClrTx/>
                        <a:buSzTx/>
                        <a:buFontTx/>
                        <a:buNone/>
                        <a:tabLst/>
                        <a:defRPr/>
                      </a:pPr>
                      <a:r>
                        <a:rPr lang="en-US" sz="1000">
                          <a:effectLst/>
                          <a:latin typeface="Segoe UI" panose="020B0502040204020203" pitchFamily="34" charset="0"/>
                          <a:ea typeface="Verdana" panose="020B0604030504040204" pitchFamily="34" charset="0"/>
                          <a:cs typeface="Segoe UI" panose="020B0502040204020203" pitchFamily="34" charset="0"/>
                        </a:rPr>
                        <a:t>Not Started</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marL="0" marR="0" lvl="0" indent="0" algn="l" defTabSz="914354" rtl="0" eaLnBrk="1" fontAlgn="base" latinLnBrk="0" hangingPunct="1">
                        <a:lnSpc>
                          <a:spcPct val="100000"/>
                        </a:lnSpc>
                        <a:spcBef>
                          <a:spcPts val="0"/>
                        </a:spcBef>
                        <a:spcAft>
                          <a:spcPts val="0"/>
                        </a:spcAft>
                        <a:buClrTx/>
                        <a:buSzTx/>
                        <a:buFontTx/>
                        <a:buNone/>
                        <a:tabLst/>
                        <a:defRPr/>
                      </a:pPr>
                      <a:r>
                        <a:rPr lang="en-US" sz="1000">
                          <a:effectLst/>
                          <a:latin typeface="Segoe UI" panose="020B0502040204020203" pitchFamily="34" charset="0"/>
                          <a:ea typeface="Verdana" panose="020B0604030504040204" pitchFamily="34" charset="0"/>
                          <a:cs typeface="Segoe UI" panose="020B0502040204020203" pitchFamily="34" charset="0"/>
                        </a:rPr>
                        <a:t>Person’s Name</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2011211439"/>
                  </a:ext>
                </a:extLst>
              </a:tr>
              <a:tr h="529897">
                <a:tc>
                  <a:txBody>
                    <a:bodyPr/>
                    <a:lstStyle/>
                    <a:p>
                      <a:pPr fontAlgn="base"/>
                      <a:r>
                        <a:rPr lang="en-US" sz="1000" b="1">
                          <a:effectLst/>
                          <a:latin typeface="Segoe UI" panose="020B0502040204020203" pitchFamily="34" charset="0"/>
                          <a:cs typeface="Segoe UI" panose="020B0502040204020203" pitchFamily="34" charset="0"/>
                        </a:rPr>
                        <a:t>Title </a:t>
                      </a:r>
                    </a:p>
                    <a:p>
                      <a:pPr fontAlgn="base"/>
                      <a:r>
                        <a:rPr lang="en-US" sz="1000" b="0">
                          <a:effectLst/>
                          <a:latin typeface="Segoe UI" panose="020B0502040204020203" pitchFamily="34" charset="0"/>
                          <a:cs typeface="Segoe UI" panose="020B0502040204020203" pitchFamily="34" charset="0"/>
                        </a:rPr>
                        <a:t>Description</a:t>
                      </a:r>
                      <a:endParaRPr lang="en-US" sz="1000" b="1">
                        <a:effectLst/>
                        <a:latin typeface="Segoe UI" panose="020B0502040204020203" pitchFamily="34" charset="0"/>
                        <a:ea typeface="Verdana" panose="020B0604030504040204" pitchFamily="34" charset="0"/>
                        <a:cs typeface="Segoe UI" panose="020B0502040204020203" pitchFamily="34" charset="0"/>
                      </a:endParaRP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fontAlgn="base"/>
                      <a:r>
                        <a:rPr lang="en-US" sz="1000">
                          <a:effectLst/>
                          <a:latin typeface="Segoe UI" panose="020B0502040204020203" pitchFamily="34" charset="0"/>
                          <a:ea typeface="Verdana" panose="020B0604030504040204" pitchFamily="34" charset="0"/>
                          <a:cs typeface="Segoe UI" panose="020B0502040204020203" pitchFamily="34" charset="0"/>
                        </a:rPr>
                        <a:t>Issue</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fontAlgn="base"/>
                      <a:r>
                        <a:rPr lang="en-US" sz="1000">
                          <a:latin typeface="Segoe UI" panose="020B0502040204020203" pitchFamily="34" charset="0"/>
                          <a:cs typeface="Segoe UI" panose="020B0502040204020203" pitchFamily="34" charset="0"/>
                        </a:rPr>
                        <a:t>Lorem ipsum dolor sit </a:t>
                      </a:r>
                      <a:r>
                        <a:rPr lang="en-US" sz="1000" err="1">
                          <a:latin typeface="Segoe UI" panose="020B0502040204020203" pitchFamily="34" charset="0"/>
                          <a:cs typeface="Segoe UI" panose="020B0502040204020203" pitchFamily="34" charset="0"/>
                        </a:rPr>
                        <a:t>amet</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consectetur</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adipiscing</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elit</a:t>
                      </a:r>
                      <a:r>
                        <a:rPr lang="en-US" sz="1000">
                          <a:latin typeface="Segoe UI" panose="020B0502040204020203" pitchFamily="34" charset="0"/>
                          <a:cs typeface="Segoe UI" panose="020B0502040204020203" pitchFamily="34" charset="0"/>
                        </a:rPr>
                        <a:t>, sed do </a:t>
                      </a:r>
                      <a:r>
                        <a:rPr lang="en-US" sz="1000" err="1">
                          <a:latin typeface="Segoe UI" panose="020B0502040204020203" pitchFamily="34" charset="0"/>
                          <a:cs typeface="Segoe UI" panose="020B0502040204020203" pitchFamily="34" charset="0"/>
                        </a:rPr>
                        <a:t>eiusmod</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tempor</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incididunt</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ut</a:t>
                      </a:r>
                      <a:r>
                        <a:rPr lang="en-US" sz="1000">
                          <a:latin typeface="Segoe UI" panose="020B0502040204020203" pitchFamily="34" charset="0"/>
                          <a:cs typeface="Segoe UI" panose="020B0502040204020203" pitchFamily="34" charset="0"/>
                        </a:rPr>
                        <a:t> labore et dolore magna </a:t>
                      </a:r>
                      <a:r>
                        <a:rPr lang="en-US" sz="1000" err="1">
                          <a:latin typeface="Segoe UI" panose="020B0502040204020203" pitchFamily="34" charset="0"/>
                          <a:cs typeface="Segoe UI" panose="020B0502040204020203" pitchFamily="34" charset="0"/>
                        </a:rPr>
                        <a:t>aliqua</a:t>
                      </a:r>
                      <a:r>
                        <a:rPr lang="en-US" sz="1000">
                          <a:latin typeface="Segoe UI" panose="020B0502040204020203" pitchFamily="34" charset="0"/>
                          <a:cs typeface="Segoe UI" panose="020B0502040204020203" pitchFamily="34" charset="0"/>
                        </a:rPr>
                        <a:t>. Quis ipsum </a:t>
                      </a:r>
                      <a:r>
                        <a:rPr lang="en-US" sz="1000" err="1">
                          <a:latin typeface="Segoe UI" panose="020B0502040204020203" pitchFamily="34" charset="0"/>
                          <a:cs typeface="Segoe UI" panose="020B0502040204020203" pitchFamily="34" charset="0"/>
                        </a:rPr>
                        <a:t>suspendisse</a:t>
                      </a:r>
                      <a:r>
                        <a:rPr lang="en-US" sz="1000">
                          <a:latin typeface="Segoe UI" panose="020B0502040204020203" pitchFamily="34" charset="0"/>
                          <a:cs typeface="Segoe UI" panose="020B0502040204020203" pitchFamily="34" charset="0"/>
                        </a:rPr>
                        <a:t> </a:t>
                      </a:r>
                      <a:r>
                        <a:rPr lang="en-US" sz="1000" err="1">
                          <a:latin typeface="Segoe UI" panose="020B0502040204020203" pitchFamily="34" charset="0"/>
                          <a:cs typeface="Segoe UI" panose="020B0502040204020203" pitchFamily="34" charset="0"/>
                        </a:rPr>
                        <a:t>ultrices</a:t>
                      </a:r>
                      <a:r>
                        <a:rPr lang="en-US" sz="1000">
                          <a:latin typeface="Segoe UI" panose="020B0502040204020203" pitchFamily="34" charset="0"/>
                          <a:cs typeface="Segoe UI" panose="020B0502040204020203" pitchFamily="34" charset="0"/>
                        </a:rPr>
                        <a:t> gravida</a:t>
                      </a:r>
                      <a:endParaRPr lang="en-US" sz="1000">
                        <a:effectLst/>
                        <a:latin typeface="Segoe UI" panose="020B0502040204020203" pitchFamily="34" charset="0"/>
                        <a:ea typeface="Verdana" panose="020B0604030504040204" pitchFamily="34" charset="0"/>
                        <a:cs typeface="Segoe UI" panose="020B0502040204020203" pitchFamily="34" charset="0"/>
                      </a:endParaRP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fontAlgn="base"/>
                      <a:r>
                        <a:rPr lang="en-US" sz="1000">
                          <a:effectLst/>
                          <a:latin typeface="Segoe UI" panose="020B0502040204020203" pitchFamily="34" charset="0"/>
                          <a:ea typeface="Verdana" panose="020B0604030504040204" pitchFamily="34" charset="0"/>
                          <a:cs typeface="Segoe UI" panose="020B0502040204020203" pitchFamily="34" charset="0"/>
                        </a:rPr>
                        <a:t>MM/DD/YYY</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marL="0" marR="0" lvl="0" indent="0" algn="l" defTabSz="914354" rtl="0" eaLnBrk="1" fontAlgn="base" latinLnBrk="0" hangingPunct="1">
                        <a:lnSpc>
                          <a:spcPct val="100000"/>
                        </a:lnSpc>
                        <a:spcBef>
                          <a:spcPts val="0"/>
                        </a:spcBef>
                        <a:spcAft>
                          <a:spcPts val="0"/>
                        </a:spcAft>
                        <a:buClrTx/>
                        <a:buSzTx/>
                        <a:buFontTx/>
                        <a:buNone/>
                        <a:tabLst/>
                        <a:defRPr/>
                      </a:pPr>
                      <a:r>
                        <a:rPr lang="en-US" sz="1000">
                          <a:effectLst/>
                          <a:latin typeface="Segoe UI" panose="020B0502040204020203" pitchFamily="34" charset="0"/>
                          <a:ea typeface="Verdana" panose="020B0604030504040204" pitchFamily="34" charset="0"/>
                          <a:cs typeface="Segoe UI" panose="020B0502040204020203" pitchFamily="34" charset="0"/>
                        </a:rPr>
                        <a:t>General </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marL="0" marR="0" lvl="0" indent="0" algn="l" defTabSz="914354" rtl="0" eaLnBrk="1" fontAlgn="base" latinLnBrk="0" hangingPunct="1">
                        <a:lnSpc>
                          <a:spcPct val="100000"/>
                        </a:lnSpc>
                        <a:spcBef>
                          <a:spcPts val="0"/>
                        </a:spcBef>
                        <a:spcAft>
                          <a:spcPts val="0"/>
                        </a:spcAft>
                        <a:buClrTx/>
                        <a:buSzTx/>
                        <a:buFontTx/>
                        <a:buNone/>
                        <a:tabLst/>
                        <a:defRPr/>
                      </a:pPr>
                      <a:r>
                        <a:rPr lang="en-US" sz="1000">
                          <a:effectLst/>
                          <a:latin typeface="Segoe UI" panose="020B0502040204020203" pitchFamily="34" charset="0"/>
                          <a:ea typeface="Verdana" panose="020B0604030504040204" pitchFamily="34" charset="0"/>
                          <a:cs typeface="Segoe UI" panose="020B0502040204020203" pitchFamily="34" charset="0"/>
                        </a:rPr>
                        <a:t>Not Started</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marL="0" marR="0" lvl="0" indent="0" algn="l" defTabSz="914354" rtl="0" eaLnBrk="1" fontAlgn="base" latinLnBrk="0" hangingPunct="1">
                        <a:lnSpc>
                          <a:spcPct val="100000"/>
                        </a:lnSpc>
                        <a:spcBef>
                          <a:spcPts val="0"/>
                        </a:spcBef>
                        <a:spcAft>
                          <a:spcPts val="0"/>
                        </a:spcAft>
                        <a:buClrTx/>
                        <a:buSzTx/>
                        <a:buFontTx/>
                        <a:buNone/>
                        <a:tabLst/>
                        <a:defRPr/>
                      </a:pPr>
                      <a:r>
                        <a:rPr lang="en-US" sz="1000">
                          <a:effectLst/>
                          <a:latin typeface="Segoe UI" panose="020B0502040204020203" pitchFamily="34" charset="0"/>
                          <a:ea typeface="Verdana" panose="020B0604030504040204" pitchFamily="34" charset="0"/>
                          <a:cs typeface="Segoe UI" panose="020B0502040204020203" pitchFamily="34" charset="0"/>
                        </a:rPr>
                        <a:t>Person’s Name</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3778110880"/>
                  </a:ext>
                </a:extLst>
              </a:tr>
            </a:tbl>
          </a:graphicData>
        </a:graphic>
      </p:graphicFrame>
    </p:spTree>
    <p:extLst>
      <p:ext uri="{BB962C8B-B14F-4D97-AF65-F5344CB8AC3E}">
        <p14:creationId xmlns:p14="http://schemas.microsoft.com/office/powerpoint/2010/main" val="11280718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33211-6121-A909-182E-0DDE0ECD680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5B752D1-8462-B350-8A0F-AA2444F541AC}"/>
              </a:ext>
            </a:extLst>
          </p:cNvPr>
          <p:cNvSpPr>
            <a:spLocks noGrp="1"/>
          </p:cNvSpPr>
          <p:nvPr>
            <p:ph type="title"/>
          </p:nvPr>
        </p:nvSpPr>
        <p:spPr/>
        <p:txBody>
          <a:bodyPr/>
          <a:lstStyle/>
          <a:p>
            <a:r>
              <a:rPr lang="en-US"/>
              <a:t>Decisions and Approvals</a:t>
            </a:r>
            <a:endParaRPr lang="en-BR"/>
          </a:p>
        </p:txBody>
      </p:sp>
      <p:sp>
        <p:nvSpPr>
          <p:cNvPr id="3" name="Footer Placeholder 2">
            <a:extLst>
              <a:ext uri="{FF2B5EF4-FFF2-40B4-BE49-F238E27FC236}">
                <a16:creationId xmlns:a16="http://schemas.microsoft.com/office/drawing/2014/main" id="{5EDDEBD4-5750-6B94-0922-D769BAA6F5C7}"/>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BC5874D6-E97C-A1CB-67D9-B4E2B3CB26BE}"/>
              </a:ext>
            </a:extLst>
          </p:cNvPr>
          <p:cNvSpPr>
            <a:spLocks noGrp="1"/>
          </p:cNvSpPr>
          <p:nvPr>
            <p:ph type="sldNum" sz="quarter" idx="12"/>
          </p:nvPr>
        </p:nvSpPr>
        <p:spPr/>
        <p:txBody>
          <a:bodyPr/>
          <a:lstStyle/>
          <a:p>
            <a:fld id="{A8DDC45B-7265-3747-B738-ED29642119D9}" type="slidenum">
              <a:rPr lang="en-BR" smtClean="0"/>
              <a:pPr/>
              <a:t>49</a:t>
            </a:fld>
            <a:endParaRPr lang="en-BR"/>
          </a:p>
        </p:txBody>
      </p:sp>
      <p:sp>
        <p:nvSpPr>
          <p:cNvPr id="5" name="Text Placeholder 4">
            <a:extLst>
              <a:ext uri="{FF2B5EF4-FFF2-40B4-BE49-F238E27FC236}">
                <a16:creationId xmlns:a16="http://schemas.microsoft.com/office/drawing/2014/main" id="{E694D4E6-DF2F-39A3-B74A-20B4FB27EF41}"/>
              </a:ext>
            </a:extLst>
          </p:cNvPr>
          <p:cNvSpPr>
            <a:spLocks noGrp="1"/>
          </p:cNvSpPr>
          <p:nvPr>
            <p:ph type="body" sz="quarter" idx="13"/>
          </p:nvPr>
        </p:nvSpPr>
        <p:spPr/>
        <p:txBody>
          <a:bodyPr>
            <a:noAutofit/>
          </a:bodyPr>
          <a:lstStyle/>
          <a:p>
            <a:pPr>
              <a:spcBef>
                <a:spcPts val="0"/>
              </a:spcBef>
              <a:spcAft>
                <a:spcPts val="1200"/>
              </a:spcAft>
            </a:pPr>
            <a:r>
              <a:rPr lang="en-US" sz="1600"/>
              <a:t>Summarize key takeaways here.</a:t>
            </a:r>
          </a:p>
        </p:txBody>
      </p:sp>
      <p:graphicFrame>
        <p:nvGraphicFramePr>
          <p:cNvPr id="7" name="Table 6">
            <a:extLst>
              <a:ext uri="{FF2B5EF4-FFF2-40B4-BE49-F238E27FC236}">
                <a16:creationId xmlns:a16="http://schemas.microsoft.com/office/drawing/2014/main" id="{2B3851F1-5995-5B99-FD82-346846A1B5DD}"/>
              </a:ext>
            </a:extLst>
          </p:cNvPr>
          <p:cNvGraphicFramePr>
            <a:graphicFrameLocks noGrp="1"/>
          </p:cNvGraphicFramePr>
          <p:nvPr>
            <p:extLst>
              <p:ext uri="{D42A27DB-BD31-4B8C-83A1-F6EECF244321}">
                <p14:modId xmlns:p14="http://schemas.microsoft.com/office/powerpoint/2010/main" val="2721135926"/>
              </p:ext>
            </p:extLst>
          </p:nvPr>
        </p:nvGraphicFramePr>
        <p:xfrm>
          <a:off x="334962" y="1572928"/>
          <a:ext cx="11522075" cy="2382921"/>
        </p:xfrm>
        <a:graphic>
          <a:graphicData uri="http://schemas.openxmlformats.org/drawingml/2006/table">
            <a:tbl>
              <a:tblPr>
                <a:tableStyleId>{3B4B98B0-60AC-42C2-AFA5-B58CD77FA1E5}</a:tableStyleId>
              </a:tblPr>
              <a:tblGrid>
                <a:gridCol w="6003100">
                  <a:extLst>
                    <a:ext uri="{9D8B030D-6E8A-4147-A177-3AD203B41FA5}">
                      <a16:colId xmlns:a16="http://schemas.microsoft.com/office/drawing/2014/main" val="101485380"/>
                    </a:ext>
                  </a:extLst>
                </a:gridCol>
                <a:gridCol w="3172524">
                  <a:extLst>
                    <a:ext uri="{9D8B030D-6E8A-4147-A177-3AD203B41FA5}">
                      <a16:colId xmlns:a16="http://schemas.microsoft.com/office/drawing/2014/main" val="3381768556"/>
                    </a:ext>
                  </a:extLst>
                </a:gridCol>
                <a:gridCol w="2346451">
                  <a:extLst>
                    <a:ext uri="{9D8B030D-6E8A-4147-A177-3AD203B41FA5}">
                      <a16:colId xmlns:a16="http://schemas.microsoft.com/office/drawing/2014/main" val="4092412098"/>
                    </a:ext>
                  </a:extLst>
                </a:gridCol>
              </a:tblGrid>
              <a:tr h="362761">
                <a:tc>
                  <a:txBody>
                    <a:bodyPr/>
                    <a:lstStyle/>
                    <a:p>
                      <a:pPr fontAlgn="base"/>
                      <a:r>
                        <a:rPr lang="en-US" sz="1200" b="1">
                          <a:solidFill>
                            <a:schemeClr val="bg1"/>
                          </a:solidFill>
                          <a:effectLst/>
                          <a:latin typeface="Segoe UI" panose="020B0502040204020203" pitchFamily="34" charset="0"/>
                          <a:ea typeface="Verdana" panose="020B0604030504040204" pitchFamily="34" charset="0"/>
                          <a:cs typeface="Segoe UI" panose="020B0502040204020203" pitchFamily="34" charset="0"/>
                        </a:rPr>
                        <a:t>Title and Description</a:t>
                      </a:r>
                    </a:p>
                  </a:txBody>
                  <a:tcPr marL="36716" marR="36716" marT="18358" marB="18358" anchor="ctr">
                    <a:lnB w="6350" cap="flat" cmpd="sng" algn="ctr">
                      <a:solidFill>
                        <a:schemeClr val="bg2">
                          <a:lumMod val="75000"/>
                        </a:schemeClr>
                      </a:solidFill>
                      <a:prstDash val="solid"/>
                      <a:round/>
                      <a:headEnd type="none" w="med" len="med"/>
                      <a:tailEnd type="none" w="med" len="med"/>
                    </a:lnB>
                    <a:solidFill>
                      <a:srgbClr val="B11E27"/>
                    </a:solidFill>
                  </a:tcPr>
                </a:tc>
                <a:tc>
                  <a:txBody>
                    <a:bodyPr/>
                    <a:lstStyle/>
                    <a:p>
                      <a:pPr fontAlgn="base"/>
                      <a:r>
                        <a:rPr lang="en-US" sz="1200" b="1">
                          <a:solidFill>
                            <a:schemeClr val="bg1"/>
                          </a:solidFill>
                          <a:effectLst/>
                          <a:latin typeface="Segoe UI" panose="020B0502040204020203" pitchFamily="34" charset="0"/>
                          <a:ea typeface="Verdana" panose="020B0604030504040204" pitchFamily="34" charset="0"/>
                          <a:cs typeface="Segoe UI" panose="020B0502040204020203" pitchFamily="34" charset="0"/>
                        </a:rPr>
                        <a:t>Need by</a:t>
                      </a:r>
                    </a:p>
                  </a:txBody>
                  <a:tcPr marL="36716" marR="36716" marT="18358" marB="18358" anchor="ctr">
                    <a:lnB w="6350" cap="flat" cmpd="sng" algn="ctr">
                      <a:solidFill>
                        <a:schemeClr val="bg2">
                          <a:lumMod val="75000"/>
                        </a:schemeClr>
                      </a:solidFill>
                      <a:prstDash val="solid"/>
                      <a:round/>
                      <a:headEnd type="none" w="med" len="med"/>
                      <a:tailEnd type="none" w="med" len="med"/>
                    </a:lnB>
                    <a:solidFill>
                      <a:srgbClr val="B11E27"/>
                    </a:solidFill>
                  </a:tcPr>
                </a:tc>
                <a:tc>
                  <a:txBody>
                    <a:bodyPr/>
                    <a:lstStyle/>
                    <a:p>
                      <a:pPr fontAlgn="base"/>
                      <a:r>
                        <a:rPr lang="en-US" sz="1200" b="1">
                          <a:solidFill>
                            <a:schemeClr val="bg1"/>
                          </a:solidFill>
                          <a:effectLst/>
                          <a:latin typeface="Segoe UI" panose="020B0502040204020203" pitchFamily="34" charset="0"/>
                          <a:ea typeface="Verdana" panose="020B0604030504040204" pitchFamily="34" charset="0"/>
                          <a:cs typeface="Segoe UI" panose="020B0502040204020203" pitchFamily="34" charset="0"/>
                        </a:rPr>
                        <a:t>Area</a:t>
                      </a:r>
                    </a:p>
                  </a:txBody>
                  <a:tcPr marL="36716" marR="36716" marT="18358" marB="18358" anchor="ctr">
                    <a:lnB w="6350" cap="flat" cmpd="sng" algn="ctr">
                      <a:solidFill>
                        <a:schemeClr val="bg2">
                          <a:lumMod val="75000"/>
                        </a:schemeClr>
                      </a:solidFill>
                      <a:prstDash val="solid"/>
                      <a:round/>
                      <a:headEnd type="none" w="med" len="med"/>
                      <a:tailEnd type="none" w="med" len="med"/>
                    </a:lnB>
                    <a:solidFill>
                      <a:srgbClr val="B11E27"/>
                    </a:solidFill>
                  </a:tcPr>
                </a:tc>
                <a:extLst>
                  <a:ext uri="{0D108BD9-81ED-4DB2-BD59-A6C34878D82A}">
                    <a16:rowId xmlns:a16="http://schemas.microsoft.com/office/drawing/2014/main" val="1765707951"/>
                  </a:ext>
                </a:extLst>
              </a:tr>
              <a:tr h="430469">
                <a:tc>
                  <a:txBody>
                    <a:bodyPr/>
                    <a:lstStyle/>
                    <a:p>
                      <a:pPr fontAlgn="base"/>
                      <a:r>
                        <a:rPr lang="en-US" sz="1000" b="1">
                          <a:effectLst/>
                          <a:latin typeface="Segoe UI" panose="020B0502040204020203" pitchFamily="34" charset="0"/>
                          <a:cs typeface="Segoe UI" panose="020B0502040204020203" pitchFamily="34" charset="0"/>
                        </a:rPr>
                        <a:t>Title </a:t>
                      </a:r>
                    </a:p>
                    <a:p>
                      <a:pPr fontAlgn="base"/>
                      <a:r>
                        <a:rPr lang="en-US" sz="1000" b="0">
                          <a:effectLst/>
                          <a:latin typeface="Segoe UI" panose="020B0502040204020203" pitchFamily="34" charset="0"/>
                          <a:cs typeface="Segoe UI" panose="020B0502040204020203" pitchFamily="34" charset="0"/>
                        </a:rPr>
                        <a:t>Description</a:t>
                      </a:r>
                      <a:endParaRPr lang="en-US" sz="1000" b="1">
                        <a:effectLst/>
                        <a:latin typeface="Segoe UI" panose="020B0502040204020203" pitchFamily="34" charset="0"/>
                        <a:ea typeface="Verdana" panose="020B0604030504040204" pitchFamily="34" charset="0"/>
                        <a:cs typeface="Segoe UI" panose="020B0502040204020203" pitchFamily="34" charset="0"/>
                      </a:endParaRP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fontAlgn="base"/>
                      <a:r>
                        <a:rPr lang="en-US" sz="1000">
                          <a:effectLst/>
                          <a:latin typeface="Segoe UI" panose="020B0502040204020203" pitchFamily="34" charset="0"/>
                          <a:ea typeface="Verdana" panose="020B0604030504040204" pitchFamily="34" charset="0"/>
                          <a:cs typeface="Segoe UI" panose="020B0502040204020203" pitchFamily="34" charset="0"/>
                        </a:rPr>
                        <a:t>MM/DD/YYY</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marL="0" marR="0" lvl="0" indent="0" algn="l" defTabSz="914354" rtl="0" eaLnBrk="1" fontAlgn="base" latinLnBrk="0" hangingPunct="1">
                        <a:lnSpc>
                          <a:spcPct val="100000"/>
                        </a:lnSpc>
                        <a:spcBef>
                          <a:spcPts val="0"/>
                        </a:spcBef>
                        <a:spcAft>
                          <a:spcPts val="0"/>
                        </a:spcAft>
                        <a:buClrTx/>
                        <a:buSzTx/>
                        <a:buFontTx/>
                        <a:buNone/>
                        <a:tabLst/>
                        <a:defRPr/>
                      </a:pPr>
                      <a:r>
                        <a:rPr lang="en-US" sz="1000">
                          <a:effectLst/>
                          <a:latin typeface="Segoe UI" panose="020B0502040204020203" pitchFamily="34" charset="0"/>
                          <a:ea typeface="Verdana" panose="020B0604030504040204" pitchFamily="34" charset="0"/>
                          <a:cs typeface="Segoe UI" panose="020B0502040204020203" pitchFamily="34" charset="0"/>
                        </a:rPr>
                        <a:t>General </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539672266"/>
                  </a:ext>
                </a:extLst>
              </a:tr>
              <a:tr h="529897">
                <a:tc>
                  <a:txBody>
                    <a:bodyPr/>
                    <a:lstStyle/>
                    <a:p>
                      <a:pPr fontAlgn="base"/>
                      <a:r>
                        <a:rPr lang="en-US" sz="1000" b="1">
                          <a:effectLst/>
                          <a:latin typeface="Segoe UI" panose="020B0502040204020203" pitchFamily="34" charset="0"/>
                          <a:cs typeface="Segoe UI" panose="020B0502040204020203" pitchFamily="34" charset="0"/>
                        </a:rPr>
                        <a:t>Title </a:t>
                      </a:r>
                    </a:p>
                    <a:p>
                      <a:pPr fontAlgn="base"/>
                      <a:r>
                        <a:rPr lang="en-US" sz="1000" b="0">
                          <a:effectLst/>
                          <a:latin typeface="Segoe UI" panose="020B0502040204020203" pitchFamily="34" charset="0"/>
                          <a:cs typeface="Segoe UI" panose="020B0502040204020203" pitchFamily="34" charset="0"/>
                        </a:rPr>
                        <a:t>Description</a:t>
                      </a:r>
                      <a:endParaRPr lang="en-US" sz="1000" b="1">
                        <a:effectLst/>
                        <a:latin typeface="Segoe UI" panose="020B0502040204020203" pitchFamily="34" charset="0"/>
                        <a:ea typeface="Verdana" panose="020B0604030504040204" pitchFamily="34" charset="0"/>
                        <a:cs typeface="Segoe UI" panose="020B0502040204020203" pitchFamily="34" charset="0"/>
                      </a:endParaRP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fontAlgn="base"/>
                      <a:r>
                        <a:rPr lang="en-US" sz="1000">
                          <a:effectLst/>
                          <a:latin typeface="Segoe UI" panose="020B0502040204020203" pitchFamily="34" charset="0"/>
                          <a:ea typeface="Verdana" panose="020B0604030504040204" pitchFamily="34" charset="0"/>
                          <a:cs typeface="Segoe UI" panose="020B0502040204020203" pitchFamily="34" charset="0"/>
                        </a:rPr>
                        <a:t>MM/DD/YYY</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marL="0" marR="0" lvl="0" indent="0" algn="l" defTabSz="914354" rtl="0" eaLnBrk="1" fontAlgn="base" latinLnBrk="0" hangingPunct="1">
                        <a:lnSpc>
                          <a:spcPct val="100000"/>
                        </a:lnSpc>
                        <a:spcBef>
                          <a:spcPts val="0"/>
                        </a:spcBef>
                        <a:spcAft>
                          <a:spcPts val="0"/>
                        </a:spcAft>
                        <a:buClrTx/>
                        <a:buSzTx/>
                        <a:buFontTx/>
                        <a:buNone/>
                        <a:tabLst/>
                        <a:defRPr/>
                      </a:pPr>
                      <a:r>
                        <a:rPr lang="en-US" sz="1000">
                          <a:effectLst/>
                          <a:latin typeface="Segoe UI" panose="020B0502040204020203" pitchFamily="34" charset="0"/>
                          <a:ea typeface="Verdana" panose="020B0604030504040204" pitchFamily="34" charset="0"/>
                          <a:cs typeface="Segoe UI" panose="020B0502040204020203" pitchFamily="34" charset="0"/>
                        </a:rPr>
                        <a:t>General </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2797677373"/>
                  </a:ext>
                </a:extLst>
              </a:tr>
              <a:tr h="529897">
                <a:tc>
                  <a:txBody>
                    <a:bodyPr/>
                    <a:lstStyle/>
                    <a:p>
                      <a:pPr fontAlgn="base"/>
                      <a:r>
                        <a:rPr lang="en-US" sz="1000" b="1">
                          <a:effectLst/>
                          <a:latin typeface="Segoe UI" panose="020B0502040204020203" pitchFamily="34" charset="0"/>
                          <a:cs typeface="Segoe UI" panose="020B0502040204020203" pitchFamily="34" charset="0"/>
                        </a:rPr>
                        <a:t>Title </a:t>
                      </a:r>
                    </a:p>
                    <a:p>
                      <a:pPr fontAlgn="base"/>
                      <a:r>
                        <a:rPr lang="en-US" sz="1000" b="0">
                          <a:effectLst/>
                          <a:latin typeface="Segoe UI" panose="020B0502040204020203" pitchFamily="34" charset="0"/>
                          <a:cs typeface="Segoe UI" panose="020B0502040204020203" pitchFamily="34" charset="0"/>
                        </a:rPr>
                        <a:t>Description</a:t>
                      </a:r>
                      <a:endParaRPr lang="en-US" sz="1000" b="1">
                        <a:effectLst/>
                        <a:latin typeface="Segoe UI" panose="020B0502040204020203" pitchFamily="34" charset="0"/>
                        <a:ea typeface="Verdana" panose="020B0604030504040204" pitchFamily="34" charset="0"/>
                        <a:cs typeface="Segoe UI" panose="020B0502040204020203" pitchFamily="34" charset="0"/>
                      </a:endParaRP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fontAlgn="base"/>
                      <a:r>
                        <a:rPr lang="en-US" sz="1000">
                          <a:effectLst/>
                          <a:latin typeface="Segoe UI" panose="020B0502040204020203" pitchFamily="34" charset="0"/>
                          <a:ea typeface="Verdana" panose="020B0604030504040204" pitchFamily="34" charset="0"/>
                          <a:cs typeface="Segoe UI" panose="020B0502040204020203" pitchFamily="34" charset="0"/>
                        </a:rPr>
                        <a:t>MM/DD/YYY</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marL="0" marR="0" lvl="0" indent="0" algn="l" defTabSz="914354" rtl="0" eaLnBrk="1" fontAlgn="base" latinLnBrk="0" hangingPunct="1">
                        <a:lnSpc>
                          <a:spcPct val="100000"/>
                        </a:lnSpc>
                        <a:spcBef>
                          <a:spcPts val="0"/>
                        </a:spcBef>
                        <a:spcAft>
                          <a:spcPts val="0"/>
                        </a:spcAft>
                        <a:buClrTx/>
                        <a:buSzTx/>
                        <a:buFontTx/>
                        <a:buNone/>
                        <a:tabLst/>
                        <a:defRPr/>
                      </a:pPr>
                      <a:r>
                        <a:rPr lang="en-US" sz="1000">
                          <a:effectLst/>
                          <a:latin typeface="Segoe UI" panose="020B0502040204020203" pitchFamily="34" charset="0"/>
                          <a:ea typeface="Verdana" panose="020B0604030504040204" pitchFamily="34" charset="0"/>
                          <a:cs typeface="Segoe UI" panose="020B0502040204020203" pitchFamily="34" charset="0"/>
                        </a:rPr>
                        <a:t>General </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2011211439"/>
                  </a:ext>
                </a:extLst>
              </a:tr>
              <a:tr h="529897">
                <a:tc>
                  <a:txBody>
                    <a:bodyPr/>
                    <a:lstStyle/>
                    <a:p>
                      <a:pPr fontAlgn="base"/>
                      <a:r>
                        <a:rPr lang="en-US" sz="1000" b="1">
                          <a:effectLst/>
                          <a:latin typeface="Segoe UI" panose="020B0502040204020203" pitchFamily="34" charset="0"/>
                          <a:cs typeface="Segoe UI" panose="020B0502040204020203" pitchFamily="34" charset="0"/>
                        </a:rPr>
                        <a:t>Title </a:t>
                      </a:r>
                    </a:p>
                    <a:p>
                      <a:pPr fontAlgn="base"/>
                      <a:r>
                        <a:rPr lang="en-US" sz="1000" b="0">
                          <a:effectLst/>
                          <a:latin typeface="Segoe UI" panose="020B0502040204020203" pitchFamily="34" charset="0"/>
                          <a:cs typeface="Segoe UI" panose="020B0502040204020203" pitchFamily="34" charset="0"/>
                        </a:rPr>
                        <a:t>Description</a:t>
                      </a:r>
                      <a:endParaRPr lang="en-US" sz="1000" b="1">
                        <a:effectLst/>
                        <a:latin typeface="Segoe UI" panose="020B0502040204020203" pitchFamily="34" charset="0"/>
                        <a:ea typeface="Verdana" panose="020B0604030504040204" pitchFamily="34" charset="0"/>
                        <a:cs typeface="Segoe UI" panose="020B0502040204020203" pitchFamily="34" charset="0"/>
                      </a:endParaRP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fontAlgn="base"/>
                      <a:r>
                        <a:rPr lang="en-US" sz="1000">
                          <a:effectLst/>
                          <a:latin typeface="Segoe UI" panose="020B0502040204020203" pitchFamily="34" charset="0"/>
                          <a:ea typeface="Verdana" panose="020B0604030504040204" pitchFamily="34" charset="0"/>
                          <a:cs typeface="Segoe UI" panose="020B0502040204020203" pitchFamily="34" charset="0"/>
                        </a:rPr>
                        <a:t>MM/DD/YYY</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tc>
                  <a:txBody>
                    <a:bodyPr/>
                    <a:lstStyle/>
                    <a:p>
                      <a:pPr marL="0" marR="0" lvl="0" indent="0" algn="l" defTabSz="914354" rtl="0" eaLnBrk="1" fontAlgn="base" latinLnBrk="0" hangingPunct="1">
                        <a:lnSpc>
                          <a:spcPct val="100000"/>
                        </a:lnSpc>
                        <a:spcBef>
                          <a:spcPts val="0"/>
                        </a:spcBef>
                        <a:spcAft>
                          <a:spcPts val="0"/>
                        </a:spcAft>
                        <a:buClrTx/>
                        <a:buSzTx/>
                        <a:buFontTx/>
                        <a:buNone/>
                        <a:tabLst/>
                        <a:defRPr/>
                      </a:pPr>
                      <a:r>
                        <a:rPr lang="en-US" sz="1000">
                          <a:effectLst/>
                          <a:latin typeface="Segoe UI" panose="020B0502040204020203" pitchFamily="34" charset="0"/>
                          <a:ea typeface="Verdana" panose="020B0604030504040204" pitchFamily="34" charset="0"/>
                          <a:cs typeface="Segoe UI" panose="020B0502040204020203" pitchFamily="34" charset="0"/>
                        </a:rPr>
                        <a:t>General </a:t>
                      </a:r>
                    </a:p>
                  </a:txBody>
                  <a:tcPr marL="36716" marR="36716" marT="18358" marB="18358"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3778110880"/>
                  </a:ext>
                </a:extLst>
              </a:tr>
            </a:tbl>
          </a:graphicData>
        </a:graphic>
      </p:graphicFrame>
    </p:spTree>
    <p:extLst>
      <p:ext uri="{BB962C8B-B14F-4D97-AF65-F5344CB8AC3E}">
        <p14:creationId xmlns:p14="http://schemas.microsoft.com/office/powerpoint/2010/main" val="24349475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C12314-9FE1-243E-8AD6-673F577EBDA2}"/>
              </a:ext>
            </a:extLst>
          </p:cNvPr>
          <p:cNvSpPr>
            <a:spLocks noGrp="1"/>
          </p:cNvSpPr>
          <p:nvPr>
            <p:ph type="title"/>
          </p:nvPr>
        </p:nvSpPr>
        <p:spPr/>
        <p:txBody>
          <a:bodyPr/>
          <a:lstStyle/>
          <a:p>
            <a:r>
              <a:rPr lang="en-BR"/>
              <a:t>Text Displays</a:t>
            </a:r>
          </a:p>
        </p:txBody>
      </p:sp>
      <p:sp>
        <p:nvSpPr>
          <p:cNvPr id="3" name="Footer Placeholder 2">
            <a:extLst>
              <a:ext uri="{FF2B5EF4-FFF2-40B4-BE49-F238E27FC236}">
                <a16:creationId xmlns:a16="http://schemas.microsoft.com/office/drawing/2014/main" id="{CCE9D9EE-0E3A-D2D7-3E6F-CE6C22F4F6CA}"/>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A235D1F5-A427-B323-DAF7-E6B5969FA2EC}"/>
              </a:ext>
            </a:extLst>
          </p:cNvPr>
          <p:cNvSpPr>
            <a:spLocks noGrp="1"/>
          </p:cNvSpPr>
          <p:nvPr>
            <p:ph type="sldNum" sz="quarter" idx="12"/>
          </p:nvPr>
        </p:nvSpPr>
        <p:spPr/>
        <p:txBody>
          <a:bodyPr/>
          <a:lstStyle/>
          <a:p>
            <a:fld id="{A8DDC45B-7265-3747-B738-ED29642119D9}" type="slidenum">
              <a:rPr lang="en-BR" smtClean="0"/>
              <a:pPr/>
              <a:t>5</a:t>
            </a:fld>
            <a:endParaRPr lang="en-BR"/>
          </a:p>
        </p:txBody>
      </p:sp>
      <p:sp>
        <p:nvSpPr>
          <p:cNvPr id="5" name="Text Placeholder 4">
            <a:extLst>
              <a:ext uri="{FF2B5EF4-FFF2-40B4-BE49-F238E27FC236}">
                <a16:creationId xmlns:a16="http://schemas.microsoft.com/office/drawing/2014/main" id="{45AAB98E-8BF4-4D4D-6312-B7C98DCD9368}"/>
              </a:ext>
            </a:extLst>
          </p:cNvPr>
          <p:cNvSpPr>
            <a:spLocks noGrp="1"/>
          </p:cNvSpPr>
          <p:nvPr>
            <p:ph type="body" sz="quarter" idx="13"/>
          </p:nvPr>
        </p:nvSpPr>
        <p:spPr/>
        <p:txBody>
          <a:bodyPr/>
          <a:lstStyle/>
          <a:p>
            <a:r>
              <a:rPr lang="en-BR"/>
              <a:t>From Issue to Outcome</a:t>
            </a:r>
          </a:p>
        </p:txBody>
      </p:sp>
      <p:sp>
        <p:nvSpPr>
          <p:cNvPr id="13" name="Content Placeholder 7">
            <a:extLst>
              <a:ext uri="{FF2B5EF4-FFF2-40B4-BE49-F238E27FC236}">
                <a16:creationId xmlns:a16="http://schemas.microsoft.com/office/drawing/2014/main" id="{04A2D7DD-C7EC-A822-F840-0A1D7FB3BC48}"/>
              </a:ext>
            </a:extLst>
          </p:cNvPr>
          <p:cNvSpPr txBox="1">
            <a:spLocks/>
          </p:cNvSpPr>
          <p:nvPr/>
        </p:nvSpPr>
        <p:spPr bwMode="auto">
          <a:xfrm>
            <a:off x="344580" y="3914740"/>
            <a:ext cx="1646257"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fontAlgn="base">
              <a:spcBef>
                <a:spcPct val="20000"/>
              </a:spcBef>
              <a:spcAft>
                <a:spcPct val="0"/>
              </a:spcAft>
              <a:buClr>
                <a:schemeClr val="tx1"/>
              </a:buClr>
              <a:defRPr/>
            </a:pPr>
            <a:r>
              <a:rPr lang="en-US" sz="1200" kern="0">
                <a:solidFill>
                  <a:schemeClr val="tx1">
                    <a:lumMod val="65000"/>
                    <a:lumOff val="35000"/>
                  </a:schemeClr>
                </a:solidFill>
                <a:latin typeface="Segoe UI" panose="020B0502040204020203" pitchFamily="34" charset="0"/>
                <a:cs typeface="Segoe UI" panose="020B0502040204020203" pitchFamily="34" charset="0"/>
              </a:rPr>
              <a:t>Lorem ipsum dolor si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me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nsectetu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dipiscing</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lit</a:t>
            </a:r>
            <a:r>
              <a:rPr lang="en-US" sz="1200" kern="0">
                <a:solidFill>
                  <a:schemeClr val="tx1">
                    <a:lumMod val="65000"/>
                    <a:lumOff val="35000"/>
                  </a:schemeClr>
                </a:solidFill>
                <a:latin typeface="Segoe UI" panose="020B0502040204020203" pitchFamily="34" charset="0"/>
                <a:cs typeface="Segoe UI" panose="020B0502040204020203" pitchFamily="34" charset="0"/>
              </a:rPr>
              <a:t>, sed do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iusmod</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tempo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incididun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t</a:t>
            </a:r>
            <a:r>
              <a:rPr lang="en-US" sz="1200" kern="0">
                <a:solidFill>
                  <a:schemeClr val="tx1">
                    <a:lumMod val="65000"/>
                    <a:lumOff val="35000"/>
                  </a:schemeClr>
                </a:solidFill>
                <a:latin typeface="Segoe UI" panose="020B0502040204020203" pitchFamily="34" charset="0"/>
                <a:cs typeface="Segoe UI" panose="020B0502040204020203" pitchFamily="34" charset="0"/>
              </a:rPr>
              <a:t> labore et dolore magn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liqu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Quis</a:t>
            </a:r>
            <a:r>
              <a:rPr lang="en-US" sz="1200" kern="0">
                <a:solidFill>
                  <a:schemeClr val="tx1">
                    <a:lumMod val="65000"/>
                    <a:lumOff val="35000"/>
                  </a:schemeClr>
                </a:solidFill>
                <a:latin typeface="Segoe UI" panose="020B0502040204020203" pitchFamily="34" charset="0"/>
                <a:cs typeface="Segoe UI" panose="020B0502040204020203" pitchFamily="34" charset="0"/>
              </a:rPr>
              <a:t> ipsum </a:t>
            </a:r>
            <a:r>
              <a:rPr lang="en-US" sz="1200" kern="0" err="1">
                <a:solidFill>
                  <a:schemeClr val="tx1">
                    <a:lumMod val="65000"/>
                    <a:lumOff val="35000"/>
                  </a:schemeClr>
                </a:solidFill>
                <a:latin typeface="Segoe UI" panose="020B0502040204020203" pitchFamily="34" charset="0"/>
                <a:cs typeface="Segoe UI" panose="020B0502040204020203" pitchFamily="34" charset="0"/>
              </a:rPr>
              <a:t>suspendisse</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ltrices</a:t>
            </a:r>
            <a:r>
              <a:rPr lang="en-US" sz="1200" kern="0">
                <a:solidFill>
                  <a:schemeClr val="tx1">
                    <a:lumMod val="65000"/>
                    <a:lumOff val="35000"/>
                  </a:schemeClr>
                </a:solidFill>
                <a:latin typeface="Segoe UI" panose="020B0502040204020203" pitchFamily="34" charset="0"/>
                <a:cs typeface="Segoe UI" panose="020B0502040204020203" pitchFamily="34" charset="0"/>
              </a:rPr>
              <a:t> gravid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Risu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mmodo</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viverr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maecena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ccumsan</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lacus</a:t>
            </a:r>
            <a:r>
              <a:rPr lang="en-US" sz="1200" kern="0">
                <a:solidFill>
                  <a:schemeClr val="tx1">
                    <a:lumMod val="65000"/>
                    <a:lumOff val="35000"/>
                  </a:schemeClr>
                </a:solidFill>
                <a:latin typeface="Segoe UI" panose="020B0502040204020203" pitchFamily="34" charset="0"/>
                <a:cs typeface="Segoe UI" panose="020B0502040204020203" pitchFamily="34" charset="0"/>
              </a:rPr>
              <a:t> vel </a:t>
            </a:r>
            <a:r>
              <a:rPr lang="en-US" sz="1200" kern="0" err="1">
                <a:solidFill>
                  <a:schemeClr val="tx1">
                    <a:lumMod val="65000"/>
                    <a:lumOff val="35000"/>
                  </a:schemeClr>
                </a:solidFill>
                <a:latin typeface="Segoe UI" panose="020B0502040204020203" pitchFamily="34" charset="0"/>
                <a:cs typeface="Segoe UI" panose="020B0502040204020203" pitchFamily="34" charset="0"/>
              </a:rPr>
              <a:t>facilisi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p>
          <a:p>
            <a:pPr marL="176213" indent="-176213" fontAlgn="base">
              <a:spcBef>
                <a:spcPct val="20000"/>
              </a:spcBef>
              <a:spcAft>
                <a:spcPct val="0"/>
              </a:spcAft>
              <a:buClr>
                <a:schemeClr val="tx1"/>
              </a:buClr>
              <a:buFontTx/>
              <a:buChar char="•"/>
              <a:defRPr/>
            </a:pPr>
            <a:endParaRPr lang="en-US" sz="1200" kern="0">
              <a:solidFill>
                <a:schemeClr val="tx1">
                  <a:lumMod val="65000"/>
                  <a:lumOff val="35000"/>
                </a:schemeClr>
              </a:solidFill>
              <a:latin typeface="Segoe UI" panose="020B0502040204020203" pitchFamily="34" charset="0"/>
              <a:cs typeface="Segoe UI" panose="020B0502040204020203" pitchFamily="34" charset="0"/>
            </a:endParaRPr>
          </a:p>
        </p:txBody>
      </p:sp>
      <p:grpSp>
        <p:nvGrpSpPr>
          <p:cNvPr id="18" name="Group 17">
            <a:extLst>
              <a:ext uri="{FF2B5EF4-FFF2-40B4-BE49-F238E27FC236}">
                <a16:creationId xmlns:a16="http://schemas.microsoft.com/office/drawing/2014/main" id="{8B97C4C3-176B-AB4A-C2C4-53209FFDB568}"/>
              </a:ext>
            </a:extLst>
          </p:cNvPr>
          <p:cNvGrpSpPr/>
          <p:nvPr/>
        </p:nvGrpSpPr>
        <p:grpSpPr>
          <a:xfrm>
            <a:off x="2086388" y="3922252"/>
            <a:ext cx="8030456" cy="2567448"/>
            <a:chOff x="2086388" y="3490452"/>
            <a:chExt cx="8030456" cy="2605548"/>
          </a:xfrm>
        </p:grpSpPr>
        <p:cxnSp>
          <p:nvCxnSpPr>
            <p:cNvPr id="19" name="Straight Connector 18">
              <a:extLst>
                <a:ext uri="{FF2B5EF4-FFF2-40B4-BE49-F238E27FC236}">
                  <a16:creationId xmlns:a16="http://schemas.microsoft.com/office/drawing/2014/main" id="{F34AA9E4-8EA9-AF17-CFCA-5082BD487A2A}"/>
                </a:ext>
              </a:extLst>
            </p:cNvPr>
            <p:cNvCxnSpPr/>
            <p:nvPr/>
          </p:nvCxnSpPr>
          <p:spPr>
            <a:xfrm>
              <a:off x="2086388" y="3490452"/>
              <a:ext cx="0" cy="2605548"/>
            </a:xfrm>
            <a:prstGeom prst="line">
              <a:avLst/>
            </a:prstGeom>
            <a:ln w="19050">
              <a:solidFill>
                <a:schemeClr val="tx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2EA9AC2-49E1-E8C4-004B-2161D206536F}"/>
                </a:ext>
              </a:extLst>
            </p:cNvPr>
            <p:cNvCxnSpPr/>
            <p:nvPr/>
          </p:nvCxnSpPr>
          <p:spPr>
            <a:xfrm>
              <a:off x="4094002" y="3490452"/>
              <a:ext cx="0" cy="2605548"/>
            </a:xfrm>
            <a:prstGeom prst="line">
              <a:avLst/>
            </a:prstGeom>
            <a:ln w="19050">
              <a:solidFill>
                <a:schemeClr val="tx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CA269B2-7669-8950-9941-3E77C4EDFF56}"/>
                </a:ext>
              </a:extLst>
            </p:cNvPr>
            <p:cNvCxnSpPr/>
            <p:nvPr/>
          </p:nvCxnSpPr>
          <p:spPr>
            <a:xfrm>
              <a:off x="6101616" y="3490452"/>
              <a:ext cx="0" cy="2605548"/>
            </a:xfrm>
            <a:prstGeom prst="line">
              <a:avLst/>
            </a:prstGeom>
            <a:ln w="19050">
              <a:solidFill>
                <a:schemeClr val="tx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6C71020-2677-95F2-5E03-6E0E74B65F7D}"/>
                </a:ext>
              </a:extLst>
            </p:cNvPr>
            <p:cNvCxnSpPr/>
            <p:nvPr/>
          </p:nvCxnSpPr>
          <p:spPr>
            <a:xfrm>
              <a:off x="8109230" y="3490452"/>
              <a:ext cx="0" cy="2605548"/>
            </a:xfrm>
            <a:prstGeom prst="line">
              <a:avLst/>
            </a:prstGeom>
            <a:ln w="19050">
              <a:solidFill>
                <a:schemeClr val="tx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749EA68-F30D-1433-4C67-CD08971C650D}"/>
                </a:ext>
              </a:extLst>
            </p:cNvPr>
            <p:cNvCxnSpPr/>
            <p:nvPr/>
          </p:nvCxnSpPr>
          <p:spPr>
            <a:xfrm>
              <a:off x="10116844" y="3490452"/>
              <a:ext cx="0" cy="2605548"/>
            </a:xfrm>
            <a:prstGeom prst="line">
              <a:avLst/>
            </a:prstGeom>
            <a:ln w="19050">
              <a:solidFill>
                <a:schemeClr val="tx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5" name="Content Placeholder 7">
            <a:extLst>
              <a:ext uri="{FF2B5EF4-FFF2-40B4-BE49-F238E27FC236}">
                <a16:creationId xmlns:a16="http://schemas.microsoft.com/office/drawing/2014/main" id="{B5DCE779-F9A7-1B15-B45F-F6BFB3E14E32}"/>
              </a:ext>
            </a:extLst>
          </p:cNvPr>
          <p:cNvSpPr txBox="1">
            <a:spLocks/>
          </p:cNvSpPr>
          <p:nvPr/>
        </p:nvSpPr>
        <p:spPr bwMode="auto">
          <a:xfrm>
            <a:off x="2267067" y="3914740"/>
            <a:ext cx="1646258"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fontAlgn="base">
              <a:spcBef>
                <a:spcPct val="20000"/>
              </a:spcBef>
              <a:spcAft>
                <a:spcPct val="0"/>
              </a:spcAft>
              <a:buClr>
                <a:schemeClr val="tx1"/>
              </a:buClr>
              <a:defRPr/>
            </a:pPr>
            <a:r>
              <a:rPr lang="en-US" sz="1200" kern="0">
                <a:solidFill>
                  <a:schemeClr val="tx1">
                    <a:lumMod val="65000"/>
                    <a:lumOff val="35000"/>
                  </a:schemeClr>
                </a:solidFill>
                <a:latin typeface="Segoe UI" panose="020B0502040204020203" pitchFamily="34" charset="0"/>
                <a:cs typeface="Segoe UI" panose="020B0502040204020203" pitchFamily="34" charset="0"/>
              </a:rPr>
              <a:t>Lorem ipsum dolor si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me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nsectetu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dipiscing</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lit</a:t>
            </a:r>
            <a:r>
              <a:rPr lang="en-US" sz="1200" kern="0">
                <a:solidFill>
                  <a:schemeClr val="tx1">
                    <a:lumMod val="65000"/>
                    <a:lumOff val="35000"/>
                  </a:schemeClr>
                </a:solidFill>
                <a:latin typeface="Segoe UI" panose="020B0502040204020203" pitchFamily="34" charset="0"/>
                <a:cs typeface="Segoe UI" panose="020B0502040204020203" pitchFamily="34" charset="0"/>
              </a:rPr>
              <a:t>, sed do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iusmod</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tempo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incididun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t</a:t>
            </a:r>
            <a:r>
              <a:rPr lang="en-US" sz="1200" kern="0">
                <a:solidFill>
                  <a:schemeClr val="tx1">
                    <a:lumMod val="65000"/>
                    <a:lumOff val="35000"/>
                  </a:schemeClr>
                </a:solidFill>
                <a:latin typeface="Segoe UI" panose="020B0502040204020203" pitchFamily="34" charset="0"/>
                <a:cs typeface="Segoe UI" panose="020B0502040204020203" pitchFamily="34" charset="0"/>
              </a:rPr>
              <a:t> labore et dolore magn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liqu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Quis</a:t>
            </a:r>
            <a:r>
              <a:rPr lang="en-US" sz="1200" kern="0">
                <a:solidFill>
                  <a:schemeClr val="tx1">
                    <a:lumMod val="65000"/>
                    <a:lumOff val="35000"/>
                  </a:schemeClr>
                </a:solidFill>
                <a:latin typeface="Segoe UI" panose="020B0502040204020203" pitchFamily="34" charset="0"/>
                <a:cs typeface="Segoe UI" panose="020B0502040204020203" pitchFamily="34" charset="0"/>
              </a:rPr>
              <a:t> ipsum </a:t>
            </a:r>
            <a:r>
              <a:rPr lang="en-US" sz="1200" kern="0" err="1">
                <a:solidFill>
                  <a:schemeClr val="tx1">
                    <a:lumMod val="65000"/>
                    <a:lumOff val="35000"/>
                  </a:schemeClr>
                </a:solidFill>
                <a:latin typeface="Segoe UI" panose="020B0502040204020203" pitchFamily="34" charset="0"/>
                <a:cs typeface="Segoe UI" panose="020B0502040204020203" pitchFamily="34" charset="0"/>
              </a:rPr>
              <a:t>suspendisse</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ltrices</a:t>
            </a:r>
            <a:r>
              <a:rPr lang="en-US" sz="1200" kern="0">
                <a:solidFill>
                  <a:schemeClr val="tx1">
                    <a:lumMod val="65000"/>
                    <a:lumOff val="35000"/>
                  </a:schemeClr>
                </a:solidFill>
                <a:latin typeface="Segoe UI" panose="020B0502040204020203" pitchFamily="34" charset="0"/>
                <a:cs typeface="Segoe UI" panose="020B0502040204020203" pitchFamily="34" charset="0"/>
              </a:rPr>
              <a:t> gravid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Risu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mmodo</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viverr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maecena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ccumsan</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lacus</a:t>
            </a:r>
            <a:r>
              <a:rPr lang="en-US" sz="1200" kern="0">
                <a:solidFill>
                  <a:schemeClr val="tx1">
                    <a:lumMod val="65000"/>
                    <a:lumOff val="35000"/>
                  </a:schemeClr>
                </a:solidFill>
                <a:latin typeface="Segoe UI" panose="020B0502040204020203" pitchFamily="34" charset="0"/>
                <a:cs typeface="Segoe UI" panose="020B0502040204020203" pitchFamily="34" charset="0"/>
              </a:rPr>
              <a:t> vel </a:t>
            </a:r>
            <a:r>
              <a:rPr lang="en-US" sz="1200" kern="0" err="1">
                <a:solidFill>
                  <a:schemeClr val="tx1">
                    <a:lumMod val="65000"/>
                    <a:lumOff val="35000"/>
                  </a:schemeClr>
                </a:solidFill>
                <a:latin typeface="Segoe UI" panose="020B0502040204020203" pitchFamily="34" charset="0"/>
                <a:cs typeface="Segoe UI" panose="020B0502040204020203" pitchFamily="34" charset="0"/>
              </a:rPr>
              <a:t>facilisi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p>
          <a:p>
            <a:pPr marL="176213" indent="-176213" fontAlgn="base">
              <a:spcBef>
                <a:spcPct val="20000"/>
              </a:spcBef>
              <a:spcAft>
                <a:spcPct val="0"/>
              </a:spcAft>
              <a:buClr>
                <a:schemeClr val="tx1"/>
              </a:buClr>
              <a:buFontTx/>
              <a:buChar char="•"/>
              <a:defRPr/>
            </a:pPr>
            <a:endParaRPr lang="en-US" sz="1200"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26" name="Content Placeholder 7">
            <a:extLst>
              <a:ext uri="{FF2B5EF4-FFF2-40B4-BE49-F238E27FC236}">
                <a16:creationId xmlns:a16="http://schemas.microsoft.com/office/drawing/2014/main" id="{F1D26096-CD24-8AF6-6C3F-19AF19FC6841}"/>
              </a:ext>
            </a:extLst>
          </p:cNvPr>
          <p:cNvSpPr txBox="1">
            <a:spLocks/>
          </p:cNvSpPr>
          <p:nvPr/>
        </p:nvSpPr>
        <p:spPr bwMode="auto">
          <a:xfrm>
            <a:off x="4274680" y="3914740"/>
            <a:ext cx="1646258"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fontAlgn="base">
              <a:spcBef>
                <a:spcPct val="20000"/>
              </a:spcBef>
              <a:spcAft>
                <a:spcPct val="0"/>
              </a:spcAft>
              <a:buClr>
                <a:schemeClr val="tx1"/>
              </a:buClr>
              <a:defRPr/>
            </a:pPr>
            <a:r>
              <a:rPr lang="en-US" sz="1200" kern="0">
                <a:solidFill>
                  <a:schemeClr val="tx1">
                    <a:lumMod val="65000"/>
                    <a:lumOff val="35000"/>
                  </a:schemeClr>
                </a:solidFill>
                <a:latin typeface="Segoe UI" panose="020B0502040204020203" pitchFamily="34" charset="0"/>
                <a:cs typeface="Segoe UI" panose="020B0502040204020203" pitchFamily="34" charset="0"/>
              </a:rPr>
              <a:t>Lorem ipsum dolor si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me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nsectetu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dipiscing</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lit</a:t>
            </a:r>
            <a:r>
              <a:rPr lang="en-US" sz="1200" kern="0">
                <a:solidFill>
                  <a:schemeClr val="tx1">
                    <a:lumMod val="65000"/>
                    <a:lumOff val="35000"/>
                  </a:schemeClr>
                </a:solidFill>
                <a:latin typeface="Segoe UI" panose="020B0502040204020203" pitchFamily="34" charset="0"/>
                <a:cs typeface="Segoe UI" panose="020B0502040204020203" pitchFamily="34" charset="0"/>
              </a:rPr>
              <a:t>, sed do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iusmod</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tempo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incididun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t</a:t>
            </a:r>
            <a:r>
              <a:rPr lang="en-US" sz="1200" kern="0">
                <a:solidFill>
                  <a:schemeClr val="tx1">
                    <a:lumMod val="65000"/>
                    <a:lumOff val="35000"/>
                  </a:schemeClr>
                </a:solidFill>
                <a:latin typeface="Segoe UI" panose="020B0502040204020203" pitchFamily="34" charset="0"/>
                <a:cs typeface="Segoe UI" panose="020B0502040204020203" pitchFamily="34" charset="0"/>
              </a:rPr>
              <a:t> labore et dolore magn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liqu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Quis</a:t>
            </a:r>
            <a:r>
              <a:rPr lang="en-US" sz="1200" kern="0">
                <a:solidFill>
                  <a:schemeClr val="tx1">
                    <a:lumMod val="65000"/>
                    <a:lumOff val="35000"/>
                  </a:schemeClr>
                </a:solidFill>
                <a:latin typeface="Segoe UI" panose="020B0502040204020203" pitchFamily="34" charset="0"/>
                <a:cs typeface="Segoe UI" panose="020B0502040204020203" pitchFamily="34" charset="0"/>
              </a:rPr>
              <a:t> ipsum </a:t>
            </a:r>
            <a:r>
              <a:rPr lang="en-US" sz="1200" kern="0" err="1">
                <a:solidFill>
                  <a:schemeClr val="tx1">
                    <a:lumMod val="65000"/>
                    <a:lumOff val="35000"/>
                  </a:schemeClr>
                </a:solidFill>
                <a:latin typeface="Segoe UI" panose="020B0502040204020203" pitchFamily="34" charset="0"/>
                <a:cs typeface="Segoe UI" panose="020B0502040204020203" pitchFamily="34" charset="0"/>
              </a:rPr>
              <a:t>suspendisse</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ltrices</a:t>
            </a:r>
            <a:r>
              <a:rPr lang="en-US" sz="1200" kern="0">
                <a:solidFill>
                  <a:schemeClr val="tx1">
                    <a:lumMod val="65000"/>
                    <a:lumOff val="35000"/>
                  </a:schemeClr>
                </a:solidFill>
                <a:latin typeface="Segoe UI" panose="020B0502040204020203" pitchFamily="34" charset="0"/>
                <a:cs typeface="Segoe UI" panose="020B0502040204020203" pitchFamily="34" charset="0"/>
              </a:rPr>
              <a:t> gravid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Risu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mmodo</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viverr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maecena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ccumsan</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lacus</a:t>
            </a:r>
            <a:r>
              <a:rPr lang="en-US" sz="1200" kern="0">
                <a:solidFill>
                  <a:schemeClr val="tx1">
                    <a:lumMod val="65000"/>
                    <a:lumOff val="35000"/>
                  </a:schemeClr>
                </a:solidFill>
                <a:latin typeface="Segoe UI" panose="020B0502040204020203" pitchFamily="34" charset="0"/>
                <a:cs typeface="Segoe UI" panose="020B0502040204020203" pitchFamily="34" charset="0"/>
              </a:rPr>
              <a:t> vel </a:t>
            </a:r>
            <a:r>
              <a:rPr lang="en-US" sz="1200" kern="0" err="1">
                <a:solidFill>
                  <a:schemeClr val="tx1">
                    <a:lumMod val="65000"/>
                    <a:lumOff val="35000"/>
                  </a:schemeClr>
                </a:solidFill>
                <a:latin typeface="Segoe UI" panose="020B0502040204020203" pitchFamily="34" charset="0"/>
                <a:cs typeface="Segoe UI" panose="020B0502040204020203" pitchFamily="34" charset="0"/>
              </a:rPr>
              <a:t>facilisi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p>
          <a:p>
            <a:pPr marL="176213" indent="-176213" fontAlgn="base">
              <a:spcBef>
                <a:spcPct val="20000"/>
              </a:spcBef>
              <a:spcAft>
                <a:spcPct val="0"/>
              </a:spcAft>
              <a:buClr>
                <a:schemeClr val="tx1"/>
              </a:buClr>
              <a:buFontTx/>
              <a:buChar char="•"/>
              <a:defRPr/>
            </a:pPr>
            <a:endParaRPr lang="en-US" sz="1200"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27" name="Content Placeholder 7">
            <a:extLst>
              <a:ext uri="{FF2B5EF4-FFF2-40B4-BE49-F238E27FC236}">
                <a16:creationId xmlns:a16="http://schemas.microsoft.com/office/drawing/2014/main" id="{2A75EE46-03CC-D25A-3CFC-191AAD1C0B00}"/>
              </a:ext>
            </a:extLst>
          </p:cNvPr>
          <p:cNvSpPr txBox="1">
            <a:spLocks/>
          </p:cNvSpPr>
          <p:nvPr/>
        </p:nvSpPr>
        <p:spPr bwMode="auto">
          <a:xfrm>
            <a:off x="6282294" y="3914740"/>
            <a:ext cx="1646258"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fontAlgn="base">
              <a:spcBef>
                <a:spcPct val="20000"/>
              </a:spcBef>
              <a:spcAft>
                <a:spcPct val="0"/>
              </a:spcAft>
              <a:buClr>
                <a:schemeClr val="tx1"/>
              </a:buClr>
              <a:defRPr/>
            </a:pPr>
            <a:r>
              <a:rPr lang="en-US" sz="1200" kern="0">
                <a:solidFill>
                  <a:schemeClr val="tx1">
                    <a:lumMod val="65000"/>
                    <a:lumOff val="35000"/>
                  </a:schemeClr>
                </a:solidFill>
                <a:latin typeface="Segoe UI" panose="020B0502040204020203" pitchFamily="34" charset="0"/>
                <a:cs typeface="Segoe UI" panose="020B0502040204020203" pitchFamily="34" charset="0"/>
              </a:rPr>
              <a:t>Lorem ipsum dolor si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me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nsectetu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dipiscing</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lit</a:t>
            </a:r>
            <a:r>
              <a:rPr lang="en-US" sz="1200" kern="0">
                <a:solidFill>
                  <a:schemeClr val="tx1">
                    <a:lumMod val="65000"/>
                    <a:lumOff val="35000"/>
                  </a:schemeClr>
                </a:solidFill>
                <a:latin typeface="Segoe UI" panose="020B0502040204020203" pitchFamily="34" charset="0"/>
                <a:cs typeface="Segoe UI" panose="020B0502040204020203" pitchFamily="34" charset="0"/>
              </a:rPr>
              <a:t>, sed do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iusmod</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tempo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incididun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t</a:t>
            </a:r>
            <a:r>
              <a:rPr lang="en-US" sz="1200" kern="0">
                <a:solidFill>
                  <a:schemeClr val="tx1">
                    <a:lumMod val="65000"/>
                    <a:lumOff val="35000"/>
                  </a:schemeClr>
                </a:solidFill>
                <a:latin typeface="Segoe UI" panose="020B0502040204020203" pitchFamily="34" charset="0"/>
                <a:cs typeface="Segoe UI" panose="020B0502040204020203" pitchFamily="34" charset="0"/>
              </a:rPr>
              <a:t> labore et dolore magn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liqu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Quis</a:t>
            </a:r>
            <a:r>
              <a:rPr lang="en-US" sz="1200" kern="0">
                <a:solidFill>
                  <a:schemeClr val="tx1">
                    <a:lumMod val="65000"/>
                    <a:lumOff val="35000"/>
                  </a:schemeClr>
                </a:solidFill>
                <a:latin typeface="Segoe UI" panose="020B0502040204020203" pitchFamily="34" charset="0"/>
                <a:cs typeface="Segoe UI" panose="020B0502040204020203" pitchFamily="34" charset="0"/>
              </a:rPr>
              <a:t> ipsum </a:t>
            </a:r>
            <a:r>
              <a:rPr lang="en-US" sz="1200" kern="0" err="1">
                <a:solidFill>
                  <a:schemeClr val="tx1">
                    <a:lumMod val="65000"/>
                    <a:lumOff val="35000"/>
                  </a:schemeClr>
                </a:solidFill>
                <a:latin typeface="Segoe UI" panose="020B0502040204020203" pitchFamily="34" charset="0"/>
                <a:cs typeface="Segoe UI" panose="020B0502040204020203" pitchFamily="34" charset="0"/>
              </a:rPr>
              <a:t>suspendisse</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ltrices</a:t>
            </a:r>
            <a:r>
              <a:rPr lang="en-US" sz="1200" kern="0">
                <a:solidFill>
                  <a:schemeClr val="tx1">
                    <a:lumMod val="65000"/>
                    <a:lumOff val="35000"/>
                  </a:schemeClr>
                </a:solidFill>
                <a:latin typeface="Segoe UI" panose="020B0502040204020203" pitchFamily="34" charset="0"/>
                <a:cs typeface="Segoe UI" panose="020B0502040204020203" pitchFamily="34" charset="0"/>
              </a:rPr>
              <a:t> gravid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Risu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mmodo</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viverr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maecena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ccumsan</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lacus</a:t>
            </a:r>
            <a:r>
              <a:rPr lang="en-US" sz="1200" kern="0">
                <a:solidFill>
                  <a:schemeClr val="tx1">
                    <a:lumMod val="65000"/>
                    <a:lumOff val="35000"/>
                  </a:schemeClr>
                </a:solidFill>
                <a:latin typeface="Segoe UI" panose="020B0502040204020203" pitchFamily="34" charset="0"/>
                <a:cs typeface="Segoe UI" panose="020B0502040204020203" pitchFamily="34" charset="0"/>
              </a:rPr>
              <a:t> vel </a:t>
            </a:r>
            <a:r>
              <a:rPr lang="en-US" sz="1200" kern="0" err="1">
                <a:solidFill>
                  <a:schemeClr val="tx1">
                    <a:lumMod val="65000"/>
                    <a:lumOff val="35000"/>
                  </a:schemeClr>
                </a:solidFill>
                <a:latin typeface="Segoe UI" panose="020B0502040204020203" pitchFamily="34" charset="0"/>
                <a:cs typeface="Segoe UI" panose="020B0502040204020203" pitchFamily="34" charset="0"/>
              </a:rPr>
              <a:t>facilisi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p>
          <a:p>
            <a:pPr marL="176213" indent="-176213" fontAlgn="base">
              <a:spcBef>
                <a:spcPct val="20000"/>
              </a:spcBef>
              <a:spcAft>
                <a:spcPct val="0"/>
              </a:spcAft>
              <a:buClr>
                <a:schemeClr val="tx1"/>
              </a:buClr>
              <a:buFontTx/>
              <a:buChar char="•"/>
              <a:defRPr/>
            </a:pPr>
            <a:endParaRPr lang="en-US" sz="1200"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28" name="Content Placeholder 7">
            <a:extLst>
              <a:ext uri="{FF2B5EF4-FFF2-40B4-BE49-F238E27FC236}">
                <a16:creationId xmlns:a16="http://schemas.microsoft.com/office/drawing/2014/main" id="{4B1D6958-4C5E-B3DF-3F86-D3820782C622}"/>
              </a:ext>
            </a:extLst>
          </p:cNvPr>
          <p:cNvSpPr txBox="1">
            <a:spLocks/>
          </p:cNvSpPr>
          <p:nvPr/>
        </p:nvSpPr>
        <p:spPr bwMode="auto">
          <a:xfrm>
            <a:off x="8289100" y="3914740"/>
            <a:ext cx="1646258"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fontAlgn="base">
              <a:spcBef>
                <a:spcPct val="20000"/>
              </a:spcBef>
              <a:spcAft>
                <a:spcPct val="0"/>
              </a:spcAft>
              <a:buClr>
                <a:schemeClr val="tx1"/>
              </a:buClr>
              <a:defRPr/>
            </a:pPr>
            <a:r>
              <a:rPr lang="en-US" sz="1200" kern="0">
                <a:solidFill>
                  <a:schemeClr val="tx1">
                    <a:lumMod val="65000"/>
                    <a:lumOff val="35000"/>
                  </a:schemeClr>
                </a:solidFill>
                <a:latin typeface="Segoe UI" panose="020B0502040204020203" pitchFamily="34" charset="0"/>
                <a:cs typeface="Segoe UI" panose="020B0502040204020203" pitchFamily="34" charset="0"/>
              </a:rPr>
              <a:t>Lorem ipsum dolor si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me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nsectetu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dipiscing</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lit</a:t>
            </a:r>
            <a:r>
              <a:rPr lang="en-US" sz="1200" kern="0">
                <a:solidFill>
                  <a:schemeClr val="tx1">
                    <a:lumMod val="65000"/>
                    <a:lumOff val="35000"/>
                  </a:schemeClr>
                </a:solidFill>
                <a:latin typeface="Segoe UI" panose="020B0502040204020203" pitchFamily="34" charset="0"/>
                <a:cs typeface="Segoe UI" panose="020B0502040204020203" pitchFamily="34" charset="0"/>
              </a:rPr>
              <a:t>, sed do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iusmod</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tempo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incididun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t</a:t>
            </a:r>
            <a:r>
              <a:rPr lang="en-US" sz="1200" kern="0">
                <a:solidFill>
                  <a:schemeClr val="tx1">
                    <a:lumMod val="65000"/>
                    <a:lumOff val="35000"/>
                  </a:schemeClr>
                </a:solidFill>
                <a:latin typeface="Segoe UI" panose="020B0502040204020203" pitchFamily="34" charset="0"/>
                <a:cs typeface="Segoe UI" panose="020B0502040204020203" pitchFamily="34" charset="0"/>
              </a:rPr>
              <a:t> labore et dolore magn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liqu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Quis</a:t>
            </a:r>
            <a:r>
              <a:rPr lang="en-US" sz="1200" kern="0">
                <a:solidFill>
                  <a:schemeClr val="tx1">
                    <a:lumMod val="65000"/>
                    <a:lumOff val="35000"/>
                  </a:schemeClr>
                </a:solidFill>
                <a:latin typeface="Segoe UI" panose="020B0502040204020203" pitchFamily="34" charset="0"/>
                <a:cs typeface="Segoe UI" panose="020B0502040204020203" pitchFamily="34" charset="0"/>
              </a:rPr>
              <a:t> ipsum </a:t>
            </a:r>
            <a:r>
              <a:rPr lang="en-US" sz="1200" kern="0" err="1">
                <a:solidFill>
                  <a:schemeClr val="tx1">
                    <a:lumMod val="65000"/>
                    <a:lumOff val="35000"/>
                  </a:schemeClr>
                </a:solidFill>
                <a:latin typeface="Segoe UI" panose="020B0502040204020203" pitchFamily="34" charset="0"/>
                <a:cs typeface="Segoe UI" panose="020B0502040204020203" pitchFamily="34" charset="0"/>
              </a:rPr>
              <a:t>suspendisse</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ltrices</a:t>
            </a:r>
            <a:r>
              <a:rPr lang="en-US" sz="1200" kern="0">
                <a:solidFill>
                  <a:schemeClr val="tx1">
                    <a:lumMod val="65000"/>
                    <a:lumOff val="35000"/>
                  </a:schemeClr>
                </a:solidFill>
                <a:latin typeface="Segoe UI" panose="020B0502040204020203" pitchFamily="34" charset="0"/>
                <a:cs typeface="Segoe UI" panose="020B0502040204020203" pitchFamily="34" charset="0"/>
              </a:rPr>
              <a:t> gravid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Risu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mmodo</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viverr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maecena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ccumsan</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lacus</a:t>
            </a:r>
            <a:r>
              <a:rPr lang="en-US" sz="1200" kern="0">
                <a:solidFill>
                  <a:schemeClr val="tx1">
                    <a:lumMod val="65000"/>
                    <a:lumOff val="35000"/>
                  </a:schemeClr>
                </a:solidFill>
                <a:latin typeface="Segoe UI" panose="020B0502040204020203" pitchFamily="34" charset="0"/>
                <a:cs typeface="Segoe UI" panose="020B0502040204020203" pitchFamily="34" charset="0"/>
              </a:rPr>
              <a:t> vel </a:t>
            </a:r>
            <a:r>
              <a:rPr lang="en-US" sz="1200" kern="0" err="1">
                <a:solidFill>
                  <a:schemeClr val="tx1">
                    <a:lumMod val="65000"/>
                    <a:lumOff val="35000"/>
                  </a:schemeClr>
                </a:solidFill>
                <a:latin typeface="Segoe UI" panose="020B0502040204020203" pitchFamily="34" charset="0"/>
                <a:cs typeface="Segoe UI" panose="020B0502040204020203" pitchFamily="34" charset="0"/>
              </a:rPr>
              <a:t>facilisi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p>
          <a:p>
            <a:pPr marL="176213" indent="-176213" fontAlgn="base">
              <a:spcBef>
                <a:spcPct val="20000"/>
              </a:spcBef>
              <a:spcAft>
                <a:spcPct val="0"/>
              </a:spcAft>
              <a:buClr>
                <a:schemeClr val="tx1"/>
              </a:buClr>
              <a:buFontTx/>
              <a:buChar char="•"/>
              <a:defRPr/>
            </a:pPr>
            <a:endParaRPr lang="en-US" sz="1200"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29" name="Content Placeholder 7">
            <a:extLst>
              <a:ext uri="{FF2B5EF4-FFF2-40B4-BE49-F238E27FC236}">
                <a16:creationId xmlns:a16="http://schemas.microsoft.com/office/drawing/2014/main" id="{938E64AE-4F68-AE22-5B03-581C71101E14}"/>
              </a:ext>
            </a:extLst>
          </p:cNvPr>
          <p:cNvSpPr txBox="1">
            <a:spLocks/>
          </p:cNvSpPr>
          <p:nvPr/>
        </p:nvSpPr>
        <p:spPr bwMode="auto">
          <a:xfrm>
            <a:off x="10296716" y="3914740"/>
            <a:ext cx="1646258" cy="2557462"/>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fontAlgn="base">
              <a:spcBef>
                <a:spcPct val="20000"/>
              </a:spcBef>
              <a:spcAft>
                <a:spcPct val="0"/>
              </a:spcAft>
              <a:buClr>
                <a:schemeClr val="tx1"/>
              </a:buClr>
              <a:defRPr/>
            </a:pPr>
            <a:r>
              <a:rPr lang="en-US" sz="1200" kern="0">
                <a:solidFill>
                  <a:schemeClr val="tx1">
                    <a:lumMod val="65000"/>
                    <a:lumOff val="35000"/>
                  </a:schemeClr>
                </a:solidFill>
                <a:latin typeface="Segoe UI" panose="020B0502040204020203" pitchFamily="34" charset="0"/>
                <a:cs typeface="Segoe UI" panose="020B0502040204020203" pitchFamily="34" charset="0"/>
              </a:rPr>
              <a:t>Lorem ipsum dolor si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me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nsectetu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dipiscing</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lit</a:t>
            </a:r>
            <a:r>
              <a:rPr lang="en-US" sz="1200" kern="0">
                <a:solidFill>
                  <a:schemeClr val="tx1">
                    <a:lumMod val="65000"/>
                    <a:lumOff val="35000"/>
                  </a:schemeClr>
                </a:solidFill>
                <a:latin typeface="Segoe UI" panose="020B0502040204020203" pitchFamily="34" charset="0"/>
                <a:cs typeface="Segoe UI" panose="020B0502040204020203" pitchFamily="34" charset="0"/>
              </a:rPr>
              <a:t>, sed do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iusmod</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tempo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incididun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t</a:t>
            </a:r>
            <a:r>
              <a:rPr lang="en-US" sz="1200" kern="0">
                <a:solidFill>
                  <a:schemeClr val="tx1">
                    <a:lumMod val="65000"/>
                    <a:lumOff val="35000"/>
                  </a:schemeClr>
                </a:solidFill>
                <a:latin typeface="Segoe UI" panose="020B0502040204020203" pitchFamily="34" charset="0"/>
                <a:cs typeface="Segoe UI" panose="020B0502040204020203" pitchFamily="34" charset="0"/>
              </a:rPr>
              <a:t> labore et dolore magn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liqu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Quis</a:t>
            </a:r>
            <a:r>
              <a:rPr lang="en-US" sz="1200" kern="0">
                <a:solidFill>
                  <a:schemeClr val="tx1">
                    <a:lumMod val="65000"/>
                    <a:lumOff val="35000"/>
                  </a:schemeClr>
                </a:solidFill>
                <a:latin typeface="Segoe UI" panose="020B0502040204020203" pitchFamily="34" charset="0"/>
                <a:cs typeface="Segoe UI" panose="020B0502040204020203" pitchFamily="34" charset="0"/>
              </a:rPr>
              <a:t> ipsum </a:t>
            </a:r>
            <a:r>
              <a:rPr lang="en-US" sz="1200" kern="0" err="1">
                <a:solidFill>
                  <a:schemeClr val="tx1">
                    <a:lumMod val="65000"/>
                    <a:lumOff val="35000"/>
                  </a:schemeClr>
                </a:solidFill>
                <a:latin typeface="Segoe UI" panose="020B0502040204020203" pitchFamily="34" charset="0"/>
                <a:cs typeface="Segoe UI" panose="020B0502040204020203" pitchFamily="34" charset="0"/>
              </a:rPr>
              <a:t>suspendisse</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ltrices</a:t>
            </a:r>
            <a:r>
              <a:rPr lang="en-US" sz="1200" kern="0">
                <a:solidFill>
                  <a:schemeClr val="tx1">
                    <a:lumMod val="65000"/>
                    <a:lumOff val="35000"/>
                  </a:schemeClr>
                </a:solidFill>
                <a:latin typeface="Segoe UI" panose="020B0502040204020203" pitchFamily="34" charset="0"/>
                <a:cs typeface="Segoe UI" panose="020B0502040204020203" pitchFamily="34" charset="0"/>
              </a:rPr>
              <a:t> gravid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Risu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mmodo</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viverr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maecena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ccumsan</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lacus</a:t>
            </a:r>
            <a:r>
              <a:rPr lang="en-US" sz="1200" kern="0">
                <a:solidFill>
                  <a:schemeClr val="tx1">
                    <a:lumMod val="65000"/>
                    <a:lumOff val="35000"/>
                  </a:schemeClr>
                </a:solidFill>
                <a:latin typeface="Segoe UI" panose="020B0502040204020203" pitchFamily="34" charset="0"/>
                <a:cs typeface="Segoe UI" panose="020B0502040204020203" pitchFamily="34" charset="0"/>
              </a:rPr>
              <a:t> vel </a:t>
            </a:r>
            <a:r>
              <a:rPr lang="en-US" sz="1200" kern="0" err="1">
                <a:solidFill>
                  <a:schemeClr val="tx1">
                    <a:lumMod val="65000"/>
                    <a:lumOff val="35000"/>
                  </a:schemeClr>
                </a:solidFill>
                <a:latin typeface="Segoe UI" panose="020B0502040204020203" pitchFamily="34" charset="0"/>
                <a:cs typeface="Segoe UI" panose="020B0502040204020203" pitchFamily="34" charset="0"/>
              </a:rPr>
              <a:t>facilisi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p>
          <a:p>
            <a:pPr marL="176213" indent="-176213" fontAlgn="base">
              <a:spcBef>
                <a:spcPct val="20000"/>
              </a:spcBef>
              <a:spcAft>
                <a:spcPct val="0"/>
              </a:spcAft>
              <a:buClr>
                <a:schemeClr val="tx1"/>
              </a:buClr>
              <a:buFontTx/>
              <a:buChar char="•"/>
              <a:defRPr/>
            </a:pPr>
            <a:endParaRPr lang="en-US" sz="1200"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30" name="TextBox 29">
            <a:extLst>
              <a:ext uri="{FF2B5EF4-FFF2-40B4-BE49-F238E27FC236}">
                <a16:creationId xmlns:a16="http://schemas.microsoft.com/office/drawing/2014/main" id="{653AC053-4CCC-8165-3789-29A1C9C7D2E8}"/>
              </a:ext>
            </a:extLst>
          </p:cNvPr>
          <p:cNvSpPr txBox="1"/>
          <p:nvPr/>
        </p:nvSpPr>
        <p:spPr>
          <a:xfrm>
            <a:off x="334961" y="1418824"/>
            <a:ext cx="11518371" cy="830997"/>
          </a:xfrm>
          <a:prstGeom prst="rect">
            <a:avLst/>
          </a:prstGeom>
          <a:noFill/>
        </p:spPr>
        <p:txBody>
          <a:bodyPr wrap="square">
            <a:spAutoFit/>
          </a:bodyPr>
          <a:lstStyle/>
          <a:p>
            <a:r>
              <a:rPr lang="en-US" sz="1600">
                <a:latin typeface="Segoe UI" panose="020B0502040204020203" pitchFamily="34" charset="0"/>
                <a:cs typeface="Segoe UI" panose="020B0502040204020203" pitchFamily="34" charset="0"/>
              </a:rPr>
              <a:t>Lorem ipsum dolor sit </a:t>
            </a:r>
            <a:r>
              <a:rPr lang="en-US" sz="1600" err="1">
                <a:latin typeface="Segoe UI" panose="020B0502040204020203" pitchFamily="34" charset="0"/>
                <a:cs typeface="Segoe UI" panose="020B0502040204020203" pitchFamily="34" charset="0"/>
              </a:rPr>
              <a:t>amet</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consectetur</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adipiscing</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elit</a:t>
            </a:r>
            <a:r>
              <a:rPr lang="en-US" sz="1600">
                <a:latin typeface="Segoe UI" panose="020B0502040204020203" pitchFamily="34" charset="0"/>
                <a:cs typeface="Segoe UI" panose="020B0502040204020203" pitchFamily="34" charset="0"/>
              </a:rPr>
              <a:t>, sed do </a:t>
            </a:r>
            <a:r>
              <a:rPr lang="en-US" sz="1600" err="1">
                <a:latin typeface="Segoe UI" panose="020B0502040204020203" pitchFamily="34" charset="0"/>
                <a:cs typeface="Segoe UI" panose="020B0502040204020203" pitchFamily="34" charset="0"/>
              </a:rPr>
              <a:t>eiusmod</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tempor</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incididunt</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ut</a:t>
            </a:r>
            <a:r>
              <a:rPr lang="en-US" sz="1600">
                <a:latin typeface="Segoe UI" panose="020B0502040204020203" pitchFamily="34" charset="0"/>
                <a:cs typeface="Segoe UI" panose="020B0502040204020203" pitchFamily="34" charset="0"/>
              </a:rPr>
              <a:t> labore et dolore magna </a:t>
            </a:r>
            <a:r>
              <a:rPr lang="en-US" sz="1600" err="1">
                <a:latin typeface="Segoe UI" panose="020B0502040204020203" pitchFamily="34" charset="0"/>
                <a:cs typeface="Segoe UI" panose="020B0502040204020203" pitchFamily="34" charset="0"/>
              </a:rPr>
              <a:t>aliqua</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Quis</a:t>
            </a:r>
            <a:r>
              <a:rPr lang="en-US" sz="1600">
                <a:latin typeface="Segoe UI" panose="020B0502040204020203" pitchFamily="34" charset="0"/>
                <a:cs typeface="Segoe UI" panose="020B0502040204020203" pitchFamily="34" charset="0"/>
              </a:rPr>
              <a:t> ipsum </a:t>
            </a:r>
            <a:r>
              <a:rPr lang="en-US" sz="1600" err="1">
                <a:latin typeface="Segoe UI" panose="020B0502040204020203" pitchFamily="34" charset="0"/>
                <a:cs typeface="Segoe UI" panose="020B0502040204020203" pitchFamily="34" charset="0"/>
              </a:rPr>
              <a:t>suspendisse</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ultrices</a:t>
            </a:r>
            <a:r>
              <a:rPr lang="en-US" sz="1600">
                <a:latin typeface="Segoe UI" panose="020B0502040204020203" pitchFamily="34" charset="0"/>
                <a:cs typeface="Segoe UI" panose="020B0502040204020203" pitchFamily="34" charset="0"/>
              </a:rPr>
              <a:t> gravida. </a:t>
            </a:r>
            <a:r>
              <a:rPr lang="en-US" sz="1600" err="1">
                <a:latin typeface="Segoe UI" panose="020B0502040204020203" pitchFamily="34" charset="0"/>
                <a:cs typeface="Segoe UI" panose="020B0502040204020203" pitchFamily="34" charset="0"/>
              </a:rPr>
              <a:t>Risus</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commodo</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viverra</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maecenas</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accumsan</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lacus</a:t>
            </a:r>
            <a:r>
              <a:rPr lang="en-US" sz="1600">
                <a:latin typeface="Segoe UI" panose="020B0502040204020203" pitchFamily="34" charset="0"/>
                <a:cs typeface="Segoe UI" panose="020B0502040204020203" pitchFamily="34" charset="0"/>
              </a:rPr>
              <a:t> vel </a:t>
            </a:r>
            <a:r>
              <a:rPr lang="en-US" sz="1600" err="1">
                <a:latin typeface="Segoe UI" panose="020B0502040204020203" pitchFamily="34" charset="0"/>
                <a:cs typeface="Segoe UI" panose="020B0502040204020203" pitchFamily="34" charset="0"/>
              </a:rPr>
              <a:t>facilisis</a:t>
            </a:r>
            <a:r>
              <a:rPr lang="en-US" sz="1600">
                <a:latin typeface="Segoe UI" panose="020B0502040204020203" pitchFamily="34" charset="0"/>
                <a:cs typeface="Segoe UI" panose="020B0502040204020203" pitchFamily="34" charset="0"/>
              </a:rPr>
              <a:t>. Lorem ipsum dolor sit </a:t>
            </a:r>
            <a:r>
              <a:rPr lang="en-US" sz="1600" err="1">
                <a:latin typeface="Segoe UI" panose="020B0502040204020203" pitchFamily="34" charset="0"/>
                <a:cs typeface="Segoe UI" panose="020B0502040204020203" pitchFamily="34" charset="0"/>
              </a:rPr>
              <a:t>amet</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consectetur</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adipiscing</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elit</a:t>
            </a:r>
            <a:r>
              <a:rPr lang="en-US" sz="1600">
                <a:latin typeface="Segoe UI" panose="020B0502040204020203" pitchFamily="34" charset="0"/>
                <a:cs typeface="Segoe UI" panose="020B0502040204020203" pitchFamily="34" charset="0"/>
              </a:rPr>
              <a:t>, sed do </a:t>
            </a:r>
            <a:r>
              <a:rPr lang="en-US" sz="1600" err="1">
                <a:latin typeface="Segoe UI" panose="020B0502040204020203" pitchFamily="34" charset="0"/>
                <a:cs typeface="Segoe UI" panose="020B0502040204020203" pitchFamily="34" charset="0"/>
              </a:rPr>
              <a:t>eiusmod</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tempor</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incididunt</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ut</a:t>
            </a:r>
            <a:r>
              <a:rPr lang="en-US" sz="1600">
                <a:latin typeface="Segoe UI" panose="020B0502040204020203" pitchFamily="34" charset="0"/>
                <a:cs typeface="Segoe UI" panose="020B0502040204020203" pitchFamily="34" charset="0"/>
              </a:rPr>
              <a:t> labore et dolore magna </a:t>
            </a:r>
            <a:r>
              <a:rPr lang="en-US" sz="1600" err="1">
                <a:latin typeface="Segoe UI" panose="020B0502040204020203" pitchFamily="34" charset="0"/>
                <a:cs typeface="Segoe UI" panose="020B0502040204020203" pitchFamily="34" charset="0"/>
              </a:rPr>
              <a:t>aliqua</a:t>
            </a:r>
            <a:r>
              <a:rPr lang="en-US" sz="1600">
                <a:latin typeface="Segoe UI" panose="020B0502040204020203" pitchFamily="34" charset="0"/>
                <a:cs typeface="Segoe UI" panose="020B0502040204020203" pitchFamily="34" charset="0"/>
              </a:rPr>
              <a:t>.</a:t>
            </a:r>
          </a:p>
        </p:txBody>
      </p:sp>
      <p:sp>
        <p:nvSpPr>
          <p:cNvPr id="31" name="Chevron 30">
            <a:extLst>
              <a:ext uri="{FF2B5EF4-FFF2-40B4-BE49-F238E27FC236}">
                <a16:creationId xmlns:a16="http://schemas.microsoft.com/office/drawing/2014/main" id="{8545D64B-6693-6F60-1CD2-E11A1FDED258}"/>
              </a:ext>
            </a:extLst>
          </p:cNvPr>
          <p:cNvSpPr/>
          <p:nvPr/>
        </p:nvSpPr>
        <p:spPr bwMode="auto">
          <a:xfrm>
            <a:off x="10120827" y="2462635"/>
            <a:ext cx="1734622" cy="1214436"/>
          </a:xfrm>
          <a:prstGeom prst="chevron">
            <a:avLst>
              <a:gd name="adj" fmla="val 20913"/>
            </a:avLst>
          </a:prstGeom>
          <a:solidFill>
            <a:schemeClr val="tx2">
              <a:lumMod val="60000"/>
              <a:lumOff val="40000"/>
            </a:schemeClr>
          </a:solidFill>
          <a:ln w="6350">
            <a:noFill/>
            <a:miter lim="800000"/>
            <a:headEnd/>
            <a:tailEnd/>
          </a:ln>
          <a:effectLst/>
        </p:spPr>
        <p:txBody>
          <a:bodyPr wrap="square" lIns="108000" tIns="108000" rIns="108000" bIns="108000" anchor="ctr" anchorCtr="0"/>
          <a:lstStyle/>
          <a:p>
            <a:pPr algn="ctr" eaLnBrk="0" hangingPunct="0"/>
            <a:r>
              <a:rPr lang="en-US" sz="1200" cap="all">
                <a:solidFill>
                  <a:schemeClr val="bg1"/>
                </a:solidFill>
                <a:latin typeface="Segoe UI" panose="020B0502040204020203" pitchFamily="34" charset="0"/>
                <a:cs typeface="Segoe UI" panose="020B0502040204020203" pitchFamily="34" charset="0"/>
              </a:rPr>
              <a:t>To Outcome</a:t>
            </a:r>
          </a:p>
        </p:txBody>
      </p:sp>
      <p:sp>
        <p:nvSpPr>
          <p:cNvPr id="33" name="Chevron 32">
            <a:extLst>
              <a:ext uri="{FF2B5EF4-FFF2-40B4-BE49-F238E27FC236}">
                <a16:creationId xmlns:a16="http://schemas.microsoft.com/office/drawing/2014/main" id="{56FECC39-AC5B-14F6-127D-0AE5B66D87B6}"/>
              </a:ext>
            </a:extLst>
          </p:cNvPr>
          <p:cNvSpPr/>
          <p:nvPr/>
        </p:nvSpPr>
        <p:spPr bwMode="auto">
          <a:xfrm>
            <a:off x="344581" y="2462634"/>
            <a:ext cx="1741808" cy="1214436"/>
          </a:xfrm>
          <a:prstGeom prst="chevron">
            <a:avLst>
              <a:gd name="adj" fmla="val 20913"/>
            </a:avLst>
          </a:prstGeom>
          <a:solidFill>
            <a:schemeClr val="tx2">
              <a:lumMod val="60000"/>
              <a:lumOff val="40000"/>
            </a:schemeClr>
          </a:solidFill>
          <a:ln w="6350">
            <a:noFill/>
            <a:miter lim="800000"/>
            <a:headEnd/>
            <a:tailEnd/>
          </a:ln>
          <a:effectLst/>
        </p:spPr>
        <p:txBody>
          <a:bodyPr wrap="square" lIns="108000" tIns="108000" rIns="108000" bIns="108000" anchor="ctr" anchorCtr="0"/>
          <a:lstStyle/>
          <a:p>
            <a:pPr algn="ctr" eaLnBrk="0" hangingPunct="0"/>
            <a:r>
              <a:rPr lang="en-US" sz="1200" cap="all">
                <a:solidFill>
                  <a:schemeClr val="bg1"/>
                </a:solidFill>
                <a:latin typeface="Segoe UI" panose="020B0502040204020203" pitchFamily="34" charset="0"/>
                <a:cs typeface="Segoe UI" panose="020B0502040204020203" pitchFamily="34" charset="0"/>
              </a:rPr>
              <a:t>From Issue</a:t>
            </a:r>
          </a:p>
        </p:txBody>
      </p:sp>
      <p:sp>
        <p:nvSpPr>
          <p:cNvPr id="32" name="Chevron 31">
            <a:extLst>
              <a:ext uri="{FF2B5EF4-FFF2-40B4-BE49-F238E27FC236}">
                <a16:creationId xmlns:a16="http://schemas.microsoft.com/office/drawing/2014/main" id="{E55AAA81-3181-B6B6-EDC5-412E36F21607}"/>
              </a:ext>
            </a:extLst>
          </p:cNvPr>
          <p:cNvSpPr/>
          <p:nvPr/>
        </p:nvSpPr>
        <p:spPr bwMode="auto">
          <a:xfrm>
            <a:off x="1944538" y="2468416"/>
            <a:ext cx="8305877" cy="1214436"/>
          </a:xfrm>
          <a:prstGeom prst="chevron">
            <a:avLst>
              <a:gd name="adj" fmla="val 20913"/>
            </a:avLst>
          </a:prstGeom>
          <a:pattFill prst="dkUpDiag">
            <a:fgClr>
              <a:schemeClr val="tx2">
                <a:lumMod val="40000"/>
                <a:lumOff val="60000"/>
              </a:schemeClr>
            </a:fgClr>
            <a:bgClr>
              <a:schemeClr val="bg1"/>
            </a:bgClr>
          </a:pattFill>
          <a:ln w="6350">
            <a:noFill/>
            <a:miter lim="800000"/>
            <a:headEnd/>
            <a:tailEnd/>
          </a:ln>
          <a:effectLst/>
        </p:spPr>
        <p:txBody>
          <a:bodyPr wrap="square" lIns="108000" tIns="108000" rIns="108000" bIns="108000" anchor="ctr" anchorCtr="0"/>
          <a:lstStyle/>
          <a:p>
            <a:pPr algn="ctr" eaLnBrk="0" hangingPunct="0"/>
            <a:endParaRPr lang="en-ZA" sz="1200" cap="all" err="1">
              <a:solidFill>
                <a:schemeClr val="bg1"/>
              </a:solidFill>
              <a:latin typeface="Segoe UI" panose="020B0502040204020203" pitchFamily="34" charset="0"/>
              <a:cs typeface="Segoe UI" panose="020B0502040204020203" pitchFamily="34" charset="0"/>
            </a:endParaRPr>
          </a:p>
        </p:txBody>
      </p:sp>
      <p:sp>
        <p:nvSpPr>
          <p:cNvPr id="34" name="Rectangle 33">
            <a:extLst>
              <a:ext uri="{FF2B5EF4-FFF2-40B4-BE49-F238E27FC236}">
                <a16:creationId xmlns:a16="http://schemas.microsoft.com/office/drawing/2014/main" id="{6A5D10F2-A7D4-7071-498A-B0CEF4D52E18}"/>
              </a:ext>
            </a:extLst>
          </p:cNvPr>
          <p:cNvSpPr/>
          <p:nvPr/>
        </p:nvSpPr>
        <p:spPr bwMode="auto">
          <a:xfrm>
            <a:off x="2302837" y="2540832"/>
            <a:ext cx="7408083" cy="240066"/>
          </a:xfrm>
          <a:prstGeom prst="rect">
            <a:avLst/>
          </a:prstGeom>
          <a:solidFill>
            <a:srgbClr val="9DA2A2">
              <a:alpha val="50196"/>
            </a:srgbClr>
          </a:solidFill>
        </p:spPr>
        <p:txBody>
          <a:bodyPr wrap="none">
            <a:spAutoFit/>
          </a:bodyPr>
          <a:lstStyle/>
          <a:p>
            <a:pPr algn="ctr" eaLnBrk="0" hangingPunct="0">
              <a:lnSpc>
                <a:spcPct val="80000"/>
              </a:lnSpc>
            </a:pPr>
            <a:r>
              <a:rPr lang="en-US" sz="1200" b="1" cap="all">
                <a:solidFill>
                  <a:schemeClr val="tx1">
                    <a:lumMod val="65000"/>
                    <a:lumOff val="35000"/>
                  </a:schemeClr>
                </a:solidFill>
                <a:latin typeface="Segoe UI" panose="020B0502040204020203" pitchFamily="34" charset="0"/>
                <a:cs typeface="Segoe UI" panose="020B0502040204020203" pitchFamily="34" charset="0"/>
              </a:rPr>
              <a:t>Value and Benefits</a:t>
            </a:r>
          </a:p>
        </p:txBody>
      </p:sp>
      <p:grpSp>
        <p:nvGrpSpPr>
          <p:cNvPr id="35" name="Group 34">
            <a:extLst>
              <a:ext uri="{FF2B5EF4-FFF2-40B4-BE49-F238E27FC236}">
                <a16:creationId xmlns:a16="http://schemas.microsoft.com/office/drawing/2014/main" id="{11143F79-98E6-CD5F-6A49-C16C7C945FCE}"/>
              </a:ext>
            </a:extLst>
          </p:cNvPr>
          <p:cNvGrpSpPr/>
          <p:nvPr/>
        </p:nvGrpSpPr>
        <p:grpSpPr>
          <a:xfrm>
            <a:off x="2302501" y="2826890"/>
            <a:ext cx="7624123" cy="710502"/>
            <a:chOff x="3068770" y="2127969"/>
            <a:chExt cx="6099968" cy="710502"/>
          </a:xfrm>
          <a:solidFill>
            <a:srgbClr val="C00000"/>
          </a:solidFill>
        </p:grpSpPr>
        <p:sp>
          <p:nvSpPr>
            <p:cNvPr id="36" name="Chevron 35">
              <a:extLst>
                <a:ext uri="{FF2B5EF4-FFF2-40B4-BE49-F238E27FC236}">
                  <a16:creationId xmlns:a16="http://schemas.microsoft.com/office/drawing/2014/main" id="{292207DB-45DF-16A0-BE6D-F19BEB0DB290}"/>
                </a:ext>
              </a:extLst>
            </p:cNvPr>
            <p:cNvSpPr/>
            <p:nvPr/>
          </p:nvSpPr>
          <p:spPr bwMode="auto">
            <a:xfrm>
              <a:off x="3068770" y="2129944"/>
              <a:ext cx="1557278" cy="708527"/>
            </a:xfrm>
            <a:prstGeom prst="chevron">
              <a:avLst>
                <a:gd name="adj" fmla="val 20913"/>
              </a:avLst>
            </a:prstGeom>
            <a:grp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lnSpc>
                  <a:spcPct val="85000"/>
                </a:lnSpc>
                <a:spcBef>
                  <a:spcPts val="100"/>
                </a:spcBef>
                <a:spcAft>
                  <a:spcPts val="300"/>
                </a:spcAft>
              </a:pPr>
              <a:r>
                <a:rPr lang="en-US" sz="1200" b="1" cap="all">
                  <a:solidFill>
                    <a:schemeClr val="bg1"/>
                  </a:solidFill>
                  <a:latin typeface="Segoe UI" panose="020B0502040204020203" pitchFamily="34" charset="0"/>
                  <a:cs typeface="Segoe UI" panose="020B0502040204020203" pitchFamily="34" charset="0"/>
                </a:rPr>
                <a:t>PLACEHOLDER</a:t>
              </a:r>
            </a:p>
          </p:txBody>
        </p:sp>
        <p:sp>
          <p:nvSpPr>
            <p:cNvPr id="37" name="Chevron 36">
              <a:extLst>
                <a:ext uri="{FF2B5EF4-FFF2-40B4-BE49-F238E27FC236}">
                  <a16:creationId xmlns:a16="http://schemas.microsoft.com/office/drawing/2014/main" id="{1F47FCDA-C1D9-73FE-2DE7-682E8924632F}"/>
                </a:ext>
              </a:extLst>
            </p:cNvPr>
            <p:cNvSpPr/>
            <p:nvPr/>
          </p:nvSpPr>
          <p:spPr bwMode="auto">
            <a:xfrm>
              <a:off x="4598096" y="2129944"/>
              <a:ext cx="1557278" cy="708527"/>
            </a:xfrm>
            <a:prstGeom prst="chevron">
              <a:avLst>
                <a:gd name="adj" fmla="val 20913"/>
              </a:avLst>
            </a:prstGeom>
            <a:grp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lnSpc>
                  <a:spcPct val="85000"/>
                </a:lnSpc>
                <a:spcBef>
                  <a:spcPts val="100"/>
                </a:spcBef>
                <a:spcAft>
                  <a:spcPts val="300"/>
                </a:spcAft>
              </a:pPr>
              <a:r>
                <a:rPr lang="en-US" sz="1200" b="1" cap="all">
                  <a:solidFill>
                    <a:schemeClr val="bg1"/>
                  </a:solidFill>
                  <a:latin typeface="Segoe UI" panose="020B0502040204020203" pitchFamily="34" charset="0"/>
                  <a:cs typeface="Segoe UI" panose="020B0502040204020203" pitchFamily="34" charset="0"/>
                </a:rPr>
                <a:t>PLACEHOLDER</a:t>
              </a:r>
            </a:p>
          </p:txBody>
        </p:sp>
        <p:sp>
          <p:nvSpPr>
            <p:cNvPr id="38" name="Chevron 37">
              <a:extLst>
                <a:ext uri="{FF2B5EF4-FFF2-40B4-BE49-F238E27FC236}">
                  <a16:creationId xmlns:a16="http://schemas.microsoft.com/office/drawing/2014/main" id="{A1C5B458-1D07-B02B-EA74-86274B939C19}"/>
                </a:ext>
              </a:extLst>
            </p:cNvPr>
            <p:cNvSpPr/>
            <p:nvPr/>
          </p:nvSpPr>
          <p:spPr bwMode="auto">
            <a:xfrm>
              <a:off x="6110902" y="2129944"/>
              <a:ext cx="1557278" cy="708527"/>
            </a:xfrm>
            <a:prstGeom prst="chevron">
              <a:avLst>
                <a:gd name="adj" fmla="val 20913"/>
              </a:avLst>
            </a:prstGeom>
            <a:grp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lnSpc>
                  <a:spcPct val="85000"/>
                </a:lnSpc>
                <a:spcBef>
                  <a:spcPts val="100"/>
                </a:spcBef>
                <a:spcAft>
                  <a:spcPts val="300"/>
                </a:spcAft>
              </a:pPr>
              <a:r>
                <a:rPr lang="en-US" sz="1200" b="1" cap="all">
                  <a:solidFill>
                    <a:schemeClr val="bg1"/>
                  </a:solidFill>
                  <a:latin typeface="Segoe UI" panose="020B0502040204020203" pitchFamily="34" charset="0"/>
                  <a:cs typeface="Segoe UI" panose="020B0502040204020203" pitchFamily="34" charset="0"/>
                </a:rPr>
                <a:t>PLACEHOLDER</a:t>
              </a:r>
            </a:p>
          </p:txBody>
        </p:sp>
        <p:sp>
          <p:nvSpPr>
            <p:cNvPr id="39" name="Chevron 38">
              <a:extLst>
                <a:ext uri="{FF2B5EF4-FFF2-40B4-BE49-F238E27FC236}">
                  <a16:creationId xmlns:a16="http://schemas.microsoft.com/office/drawing/2014/main" id="{596FB9A5-66AC-30E2-0D40-4659AC54C22D}"/>
                </a:ext>
              </a:extLst>
            </p:cNvPr>
            <p:cNvSpPr/>
            <p:nvPr/>
          </p:nvSpPr>
          <p:spPr bwMode="auto">
            <a:xfrm>
              <a:off x="7611460" y="2127969"/>
              <a:ext cx="1557278" cy="708527"/>
            </a:xfrm>
            <a:prstGeom prst="chevron">
              <a:avLst>
                <a:gd name="adj" fmla="val 20913"/>
              </a:avLst>
            </a:prstGeom>
            <a:grp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eaLnBrk="0" hangingPunct="0">
                <a:lnSpc>
                  <a:spcPct val="85000"/>
                </a:lnSpc>
                <a:spcBef>
                  <a:spcPts val="100"/>
                </a:spcBef>
                <a:spcAft>
                  <a:spcPts val="300"/>
                </a:spcAft>
              </a:pPr>
              <a:r>
                <a:rPr lang="en-US" sz="1200" b="1" cap="all">
                  <a:solidFill>
                    <a:schemeClr val="bg1"/>
                  </a:solidFill>
                  <a:latin typeface="Segoe UI" panose="020B0502040204020203" pitchFamily="34" charset="0"/>
                  <a:cs typeface="Segoe UI" panose="020B0502040204020203" pitchFamily="34" charset="0"/>
                </a:rPr>
                <a:t>PLACEHOLDER</a:t>
              </a:r>
            </a:p>
          </p:txBody>
        </p:sp>
      </p:grpSp>
    </p:spTree>
    <p:extLst>
      <p:ext uri="{BB962C8B-B14F-4D97-AF65-F5344CB8AC3E}">
        <p14:creationId xmlns:p14="http://schemas.microsoft.com/office/powerpoint/2010/main" val="154324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6D9E2B-CB2C-58AB-2D85-938A80B287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BC1102B-E764-7C95-E22E-A8EE1399FCF5}"/>
              </a:ext>
            </a:extLst>
          </p:cNvPr>
          <p:cNvSpPr>
            <a:spLocks noGrp="1"/>
          </p:cNvSpPr>
          <p:nvPr>
            <p:ph type="title"/>
          </p:nvPr>
        </p:nvSpPr>
        <p:spPr/>
        <p:txBody>
          <a:bodyPr/>
          <a:lstStyle/>
          <a:p>
            <a:r>
              <a:rPr lang="en-US"/>
              <a:t>Summary and Next Steps</a:t>
            </a:r>
            <a:endParaRPr lang="en-BR"/>
          </a:p>
        </p:txBody>
      </p:sp>
      <p:sp>
        <p:nvSpPr>
          <p:cNvPr id="3" name="Footer Placeholder 2">
            <a:extLst>
              <a:ext uri="{FF2B5EF4-FFF2-40B4-BE49-F238E27FC236}">
                <a16:creationId xmlns:a16="http://schemas.microsoft.com/office/drawing/2014/main" id="{385A2413-7981-7FB0-6651-92086E1A30E2}"/>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39A8422B-DE9B-A0F9-7CED-42601D598D70}"/>
              </a:ext>
            </a:extLst>
          </p:cNvPr>
          <p:cNvSpPr>
            <a:spLocks noGrp="1"/>
          </p:cNvSpPr>
          <p:nvPr>
            <p:ph type="sldNum" sz="quarter" idx="12"/>
          </p:nvPr>
        </p:nvSpPr>
        <p:spPr/>
        <p:txBody>
          <a:bodyPr/>
          <a:lstStyle/>
          <a:p>
            <a:fld id="{A8DDC45B-7265-3747-B738-ED29642119D9}" type="slidenum">
              <a:rPr lang="en-BR" smtClean="0"/>
              <a:pPr/>
              <a:t>50</a:t>
            </a:fld>
            <a:endParaRPr lang="en-BR"/>
          </a:p>
        </p:txBody>
      </p:sp>
      <p:sp>
        <p:nvSpPr>
          <p:cNvPr id="5" name="Text Placeholder 4">
            <a:extLst>
              <a:ext uri="{FF2B5EF4-FFF2-40B4-BE49-F238E27FC236}">
                <a16:creationId xmlns:a16="http://schemas.microsoft.com/office/drawing/2014/main" id="{612698C1-4DC5-4946-5B70-E09C809D104E}"/>
              </a:ext>
            </a:extLst>
          </p:cNvPr>
          <p:cNvSpPr>
            <a:spLocks noGrp="1"/>
          </p:cNvSpPr>
          <p:nvPr>
            <p:ph type="body" sz="quarter" idx="13"/>
          </p:nvPr>
        </p:nvSpPr>
        <p:spPr/>
        <p:txBody>
          <a:bodyPr/>
          <a:lstStyle/>
          <a:p>
            <a:r>
              <a:rPr lang="en-US"/>
              <a:t>Look ahead and align on next steps.</a:t>
            </a:r>
            <a:endParaRPr lang="en-BR"/>
          </a:p>
        </p:txBody>
      </p:sp>
      <p:sp>
        <p:nvSpPr>
          <p:cNvPr id="7" name="TextBox 6">
            <a:extLst>
              <a:ext uri="{FF2B5EF4-FFF2-40B4-BE49-F238E27FC236}">
                <a16:creationId xmlns:a16="http://schemas.microsoft.com/office/drawing/2014/main" id="{2FE7BF10-C2E5-22D4-89C5-FE51F774C1FE}"/>
              </a:ext>
            </a:extLst>
          </p:cNvPr>
          <p:cNvSpPr txBox="1"/>
          <p:nvPr/>
        </p:nvSpPr>
        <p:spPr>
          <a:xfrm>
            <a:off x="334961" y="1418824"/>
            <a:ext cx="11518371" cy="338554"/>
          </a:xfrm>
          <a:prstGeom prst="rect">
            <a:avLst/>
          </a:prstGeom>
          <a:noFill/>
        </p:spPr>
        <p:txBody>
          <a:bodyPr wrap="square">
            <a:spAutoFit/>
          </a:bodyPr>
          <a:lstStyle/>
          <a:p>
            <a:r>
              <a:rPr lang="en-US" sz="1600">
                <a:latin typeface="Segoe UI" panose="020B0502040204020203" pitchFamily="34" charset="0"/>
                <a:cs typeface="Segoe UI" panose="020B0502040204020203" pitchFamily="34" charset="0"/>
              </a:rPr>
              <a:t>Content is not expected but one should summary and confirm next steps.</a:t>
            </a:r>
          </a:p>
        </p:txBody>
      </p:sp>
    </p:spTree>
    <p:extLst>
      <p:ext uri="{BB962C8B-B14F-4D97-AF65-F5344CB8AC3E}">
        <p14:creationId xmlns:p14="http://schemas.microsoft.com/office/powerpoint/2010/main" val="21492186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474B71-215D-A444-6342-8576FE78512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4D66654-9C29-41D1-AA42-80C1B32CFC63}"/>
              </a:ext>
            </a:extLst>
          </p:cNvPr>
          <p:cNvSpPr>
            <a:spLocks noGrp="1"/>
          </p:cNvSpPr>
          <p:nvPr>
            <p:ph type="title"/>
          </p:nvPr>
        </p:nvSpPr>
        <p:spPr/>
        <p:txBody>
          <a:bodyPr/>
          <a:lstStyle/>
          <a:p>
            <a:r>
              <a:rPr lang="pt-BR"/>
              <a:t>07</a:t>
            </a:r>
            <a:r>
              <a:rPr lang="en-BR"/>
              <a:t> |</a:t>
            </a:r>
            <a:r>
              <a:rPr lang="pt-BR"/>
              <a:t> Kick off Meeting</a:t>
            </a:r>
            <a:endParaRPr lang="en-BR"/>
          </a:p>
        </p:txBody>
      </p:sp>
      <p:sp>
        <p:nvSpPr>
          <p:cNvPr id="3" name="Footer Placeholder 2">
            <a:extLst>
              <a:ext uri="{FF2B5EF4-FFF2-40B4-BE49-F238E27FC236}">
                <a16:creationId xmlns:a16="http://schemas.microsoft.com/office/drawing/2014/main" id="{98A905ED-E847-8A8C-CF59-1E95D198B26F}"/>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4DECF55B-E785-BC9A-2BB5-10EF05663495}"/>
              </a:ext>
            </a:extLst>
          </p:cNvPr>
          <p:cNvSpPr>
            <a:spLocks noGrp="1"/>
          </p:cNvSpPr>
          <p:nvPr>
            <p:ph type="sldNum" sz="quarter" idx="12"/>
          </p:nvPr>
        </p:nvSpPr>
        <p:spPr/>
        <p:txBody>
          <a:bodyPr/>
          <a:lstStyle/>
          <a:p>
            <a:fld id="{A8DDC45B-7265-3747-B738-ED29642119D9}" type="slidenum">
              <a:rPr lang="en-BR" smtClean="0"/>
              <a:pPr/>
              <a:t>51</a:t>
            </a:fld>
            <a:endParaRPr lang="en-BR"/>
          </a:p>
        </p:txBody>
      </p:sp>
      <p:sp>
        <p:nvSpPr>
          <p:cNvPr id="9" name="TextBox 8">
            <a:hlinkClick r:id="rId2" action="ppaction://hlinksldjump"/>
            <a:extLst>
              <a:ext uri="{FF2B5EF4-FFF2-40B4-BE49-F238E27FC236}">
                <a16:creationId xmlns:a16="http://schemas.microsoft.com/office/drawing/2014/main" id="{88624F3B-6964-9C41-B91F-B0855301B293}"/>
              </a:ext>
            </a:extLst>
          </p:cNvPr>
          <p:cNvSpPr txBox="1"/>
          <p:nvPr/>
        </p:nvSpPr>
        <p:spPr>
          <a:xfrm>
            <a:off x="391754" y="780820"/>
            <a:ext cx="543739" cy="246221"/>
          </a:xfrm>
          <a:prstGeom prst="rect">
            <a:avLst/>
          </a:prstGeom>
          <a:noFill/>
        </p:spPr>
        <p:txBody>
          <a:bodyPr wrap="none" rtlCol="0">
            <a:spAutoFit/>
          </a:bodyPr>
          <a:lstStyle/>
          <a:p>
            <a:r>
              <a:rPr lang="en-BR" sz="1000">
                <a:solidFill>
                  <a:schemeClr val="accent3">
                    <a:lumMod val="60000"/>
                    <a:lumOff val="40000"/>
                  </a:schemeClr>
                </a:solidFill>
                <a:latin typeface="Segoe UI" panose="020B0502040204020203" pitchFamily="34" charset="0"/>
                <a:cs typeface="Segoe UI" panose="020B0502040204020203" pitchFamily="34" charset="0"/>
              </a:rPr>
              <a:t>INDEX</a:t>
            </a:r>
          </a:p>
        </p:txBody>
      </p:sp>
      <p:pic>
        <p:nvPicPr>
          <p:cNvPr id="10" name="Graphic 9" descr="Home with solid fill">
            <a:hlinkClick r:id="rId2" action="ppaction://hlinksldjump"/>
            <a:extLst>
              <a:ext uri="{FF2B5EF4-FFF2-40B4-BE49-F238E27FC236}">
                <a16:creationId xmlns:a16="http://schemas.microsoft.com/office/drawing/2014/main" id="{6D2380B4-E772-90B1-8515-2D3356E42C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1754" y="317458"/>
            <a:ext cx="543739" cy="543739"/>
          </a:xfrm>
          <a:prstGeom prst="rect">
            <a:avLst/>
          </a:prstGeom>
        </p:spPr>
      </p:pic>
    </p:spTree>
    <p:extLst>
      <p:ext uri="{BB962C8B-B14F-4D97-AF65-F5344CB8AC3E}">
        <p14:creationId xmlns:p14="http://schemas.microsoft.com/office/powerpoint/2010/main" val="22117915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B7D1D6-0F33-9857-F4FE-9FFA56036410}"/>
              </a:ext>
            </a:extLst>
          </p:cNvPr>
          <p:cNvSpPr>
            <a:spLocks noGrp="1"/>
          </p:cNvSpPr>
          <p:nvPr>
            <p:ph type="title"/>
          </p:nvPr>
        </p:nvSpPr>
        <p:spPr/>
        <p:txBody>
          <a:bodyPr/>
          <a:lstStyle/>
          <a:p>
            <a:endParaRPr lang="en-US"/>
          </a:p>
        </p:txBody>
      </p:sp>
      <p:sp>
        <p:nvSpPr>
          <p:cNvPr id="3" name="Footer Placeholder 2">
            <a:extLst>
              <a:ext uri="{FF2B5EF4-FFF2-40B4-BE49-F238E27FC236}">
                <a16:creationId xmlns:a16="http://schemas.microsoft.com/office/drawing/2014/main" id="{298083F7-4584-A58B-90EB-8503F21DDFDF}"/>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CAD4430E-06AD-E095-42E7-44FB0CE7F1B8}"/>
              </a:ext>
            </a:extLst>
          </p:cNvPr>
          <p:cNvSpPr>
            <a:spLocks noGrp="1"/>
          </p:cNvSpPr>
          <p:nvPr>
            <p:ph type="sldNum" sz="quarter" idx="12"/>
          </p:nvPr>
        </p:nvSpPr>
        <p:spPr/>
        <p:txBody>
          <a:bodyPr/>
          <a:lstStyle/>
          <a:p>
            <a:fld id="{A8DDC45B-7265-3747-B738-ED29642119D9}" type="slidenum">
              <a:rPr lang="en-BR" smtClean="0"/>
              <a:pPr/>
              <a:t>52</a:t>
            </a:fld>
            <a:endParaRPr lang="en-BR"/>
          </a:p>
        </p:txBody>
      </p:sp>
      <p:sp>
        <p:nvSpPr>
          <p:cNvPr id="5" name="Text Placeholder 4">
            <a:extLst>
              <a:ext uri="{FF2B5EF4-FFF2-40B4-BE49-F238E27FC236}">
                <a16:creationId xmlns:a16="http://schemas.microsoft.com/office/drawing/2014/main" id="{D7CF21F1-92C5-7F9E-9FC0-34057EB2547C}"/>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8012514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0604E-B2EF-ECC8-12D9-84F5CA917796}"/>
              </a:ext>
            </a:extLst>
          </p:cNvPr>
          <p:cNvSpPr>
            <a:spLocks noGrp="1"/>
          </p:cNvSpPr>
          <p:nvPr>
            <p:ph type="title"/>
          </p:nvPr>
        </p:nvSpPr>
        <p:spPr/>
        <p:txBody>
          <a:bodyPr/>
          <a:lstStyle/>
          <a:p>
            <a:r>
              <a:rPr lang="en-BR"/>
              <a:t>0</a:t>
            </a:r>
            <a:r>
              <a:rPr lang="pt-BR"/>
              <a:t>8</a:t>
            </a:r>
            <a:r>
              <a:rPr lang="en-BR"/>
              <a:t> | Dashboard Slides</a:t>
            </a:r>
          </a:p>
        </p:txBody>
      </p:sp>
      <p:sp>
        <p:nvSpPr>
          <p:cNvPr id="3" name="Footer Placeholder 2">
            <a:extLst>
              <a:ext uri="{FF2B5EF4-FFF2-40B4-BE49-F238E27FC236}">
                <a16:creationId xmlns:a16="http://schemas.microsoft.com/office/drawing/2014/main" id="{68095314-A106-3EFD-E0E0-EA81158FBF86}"/>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753501AF-249E-1B2A-81C8-A3D2D74D556C}"/>
              </a:ext>
            </a:extLst>
          </p:cNvPr>
          <p:cNvSpPr>
            <a:spLocks noGrp="1"/>
          </p:cNvSpPr>
          <p:nvPr>
            <p:ph type="sldNum" sz="quarter" idx="12"/>
          </p:nvPr>
        </p:nvSpPr>
        <p:spPr/>
        <p:txBody>
          <a:bodyPr/>
          <a:lstStyle/>
          <a:p>
            <a:fld id="{A8DDC45B-7265-3747-B738-ED29642119D9}" type="slidenum">
              <a:rPr lang="en-BR" smtClean="0"/>
              <a:pPr/>
              <a:t>53</a:t>
            </a:fld>
            <a:endParaRPr lang="en-BR"/>
          </a:p>
        </p:txBody>
      </p:sp>
      <p:sp>
        <p:nvSpPr>
          <p:cNvPr id="8" name="TextBox 7">
            <a:hlinkClick r:id="rId2" action="ppaction://hlinksldjump"/>
            <a:extLst>
              <a:ext uri="{FF2B5EF4-FFF2-40B4-BE49-F238E27FC236}">
                <a16:creationId xmlns:a16="http://schemas.microsoft.com/office/drawing/2014/main" id="{8133381C-EDBE-1187-C12A-1F9498269427}"/>
              </a:ext>
            </a:extLst>
          </p:cNvPr>
          <p:cNvSpPr txBox="1"/>
          <p:nvPr/>
        </p:nvSpPr>
        <p:spPr>
          <a:xfrm>
            <a:off x="391754" y="780820"/>
            <a:ext cx="543739" cy="246221"/>
          </a:xfrm>
          <a:prstGeom prst="rect">
            <a:avLst/>
          </a:prstGeom>
          <a:noFill/>
        </p:spPr>
        <p:txBody>
          <a:bodyPr wrap="none" rtlCol="0">
            <a:spAutoFit/>
          </a:bodyPr>
          <a:lstStyle/>
          <a:p>
            <a:r>
              <a:rPr lang="en-BR" sz="1000">
                <a:solidFill>
                  <a:schemeClr val="accent3">
                    <a:lumMod val="60000"/>
                    <a:lumOff val="40000"/>
                  </a:schemeClr>
                </a:solidFill>
                <a:latin typeface="Segoe UI" panose="020B0502040204020203" pitchFamily="34" charset="0"/>
                <a:cs typeface="Segoe UI" panose="020B0502040204020203" pitchFamily="34" charset="0"/>
              </a:rPr>
              <a:t>INDEX</a:t>
            </a:r>
          </a:p>
        </p:txBody>
      </p:sp>
      <p:pic>
        <p:nvPicPr>
          <p:cNvPr id="9" name="Graphic 8" descr="Home with solid fill">
            <a:hlinkClick r:id="rId2" action="ppaction://hlinksldjump"/>
            <a:extLst>
              <a:ext uri="{FF2B5EF4-FFF2-40B4-BE49-F238E27FC236}">
                <a16:creationId xmlns:a16="http://schemas.microsoft.com/office/drawing/2014/main" id="{E6CA2D74-A6E0-9E66-2EB3-66D1CC90FBB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1754" y="317458"/>
            <a:ext cx="543739" cy="543739"/>
          </a:xfrm>
          <a:prstGeom prst="rect">
            <a:avLst/>
          </a:prstGeom>
        </p:spPr>
      </p:pic>
    </p:spTree>
    <p:extLst>
      <p:ext uri="{BB962C8B-B14F-4D97-AF65-F5344CB8AC3E}">
        <p14:creationId xmlns:p14="http://schemas.microsoft.com/office/powerpoint/2010/main" val="172114362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57">
            <a:extLst>
              <a:ext uri="{FF2B5EF4-FFF2-40B4-BE49-F238E27FC236}">
                <a16:creationId xmlns:a16="http://schemas.microsoft.com/office/drawing/2014/main" id="{062AD23A-E83D-F072-6917-4996C3E73C17}"/>
              </a:ext>
              <a:ext uri="{C183D7F6-B498-43B3-948B-1728B52AA6E4}">
                <adec:decorative xmlns:adec="http://schemas.microsoft.com/office/drawing/2017/decorative" val="1"/>
              </a:ext>
            </a:extLst>
          </p:cNvPr>
          <p:cNvSpPr/>
          <p:nvPr/>
        </p:nvSpPr>
        <p:spPr>
          <a:xfrm>
            <a:off x="5313228" y="4063222"/>
            <a:ext cx="6101297" cy="711023"/>
          </a:xfrm>
          <a:prstGeom prst="roundRect">
            <a:avLst>
              <a:gd name="adj" fmla="val 50000"/>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5" name="Rectangle: Rounded Corners 58">
            <a:extLst>
              <a:ext uri="{FF2B5EF4-FFF2-40B4-BE49-F238E27FC236}">
                <a16:creationId xmlns:a16="http://schemas.microsoft.com/office/drawing/2014/main" id="{FC6F90E7-CFFA-424C-170D-124E999CC18A}"/>
              </a:ext>
              <a:ext uri="{C183D7F6-B498-43B3-948B-1728B52AA6E4}">
                <adec:decorative xmlns:adec="http://schemas.microsoft.com/office/drawing/2017/decorative" val="1"/>
              </a:ext>
            </a:extLst>
          </p:cNvPr>
          <p:cNvSpPr/>
          <p:nvPr/>
        </p:nvSpPr>
        <p:spPr>
          <a:xfrm>
            <a:off x="5313228" y="5251216"/>
            <a:ext cx="6101297" cy="711023"/>
          </a:xfrm>
          <a:prstGeom prst="roundRect">
            <a:avLst>
              <a:gd name="adj" fmla="val 50000"/>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6" name="Rectangle: Rounded Corners 56">
            <a:extLst>
              <a:ext uri="{FF2B5EF4-FFF2-40B4-BE49-F238E27FC236}">
                <a16:creationId xmlns:a16="http://schemas.microsoft.com/office/drawing/2014/main" id="{1B114EFA-02F7-2970-761B-3A3B6E946648}"/>
              </a:ext>
              <a:ext uri="{C183D7F6-B498-43B3-948B-1728B52AA6E4}">
                <adec:decorative xmlns:adec="http://schemas.microsoft.com/office/drawing/2017/decorative" val="1"/>
              </a:ext>
            </a:extLst>
          </p:cNvPr>
          <p:cNvSpPr/>
          <p:nvPr/>
        </p:nvSpPr>
        <p:spPr>
          <a:xfrm>
            <a:off x="5313228" y="2875227"/>
            <a:ext cx="6101297" cy="71102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7" name="Rectangle: Rounded Corners 55">
            <a:extLst>
              <a:ext uri="{FF2B5EF4-FFF2-40B4-BE49-F238E27FC236}">
                <a16:creationId xmlns:a16="http://schemas.microsoft.com/office/drawing/2014/main" id="{DFCBB7E2-52FE-9BF0-29E7-2030CA254BB3}"/>
              </a:ext>
              <a:ext uri="{C183D7F6-B498-43B3-948B-1728B52AA6E4}">
                <adec:decorative xmlns:adec="http://schemas.microsoft.com/office/drawing/2017/decorative" val="1"/>
              </a:ext>
            </a:extLst>
          </p:cNvPr>
          <p:cNvSpPr/>
          <p:nvPr/>
        </p:nvSpPr>
        <p:spPr>
          <a:xfrm>
            <a:off x="5313228" y="1687232"/>
            <a:ext cx="6101297" cy="711023"/>
          </a:xfrm>
          <a:prstGeom prst="roundRect">
            <a:avLst>
              <a:gd name="adj" fmla="val 50000"/>
            </a:avLst>
          </a:prstGeom>
          <a:solidFill>
            <a:srgbClr val="D62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16" name="Rectangle 15">
            <a:extLst>
              <a:ext uri="{FF2B5EF4-FFF2-40B4-BE49-F238E27FC236}">
                <a16:creationId xmlns:a16="http://schemas.microsoft.com/office/drawing/2014/main" id="{33957FC1-DE9F-9A6E-6341-1EDBF5616597}"/>
              </a:ext>
              <a:ext uri="{C183D7F6-B498-43B3-948B-1728B52AA6E4}">
                <adec:decorative xmlns:adec="http://schemas.microsoft.com/office/drawing/2017/decorative" val="1"/>
              </a:ext>
            </a:extLst>
          </p:cNvPr>
          <p:cNvSpPr/>
          <p:nvPr/>
        </p:nvSpPr>
        <p:spPr>
          <a:xfrm rot="16200000" flipH="1">
            <a:off x="3581923" y="3421307"/>
            <a:ext cx="4275009" cy="806859"/>
          </a:xfrm>
          <a:prstGeom prst="rect">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19" name="TextBox 47">
            <a:extLst>
              <a:ext uri="{FF2B5EF4-FFF2-40B4-BE49-F238E27FC236}">
                <a16:creationId xmlns:a16="http://schemas.microsoft.com/office/drawing/2014/main" id="{D16934C3-5DF2-B190-3BB2-9152A6E90279}"/>
              </a:ext>
            </a:extLst>
          </p:cNvPr>
          <p:cNvSpPr txBox="1"/>
          <p:nvPr/>
        </p:nvSpPr>
        <p:spPr>
          <a:xfrm>
            <a:off x="6344083" y="1841646"/>
            <a:ext cx="3989558" cy="400110"/>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00">
                <a:solidFill>
                  <a:schemeClr val="bg1"/>
                </a:solidFill>
                <a:latin typeface="Segoe UI" panose="020B0502040204020203" pitchFamily="34" charset="0"/>
                <a:cs typeface="Segoe UI" panose="020B0502040204020203" pitchFamily="34" charset="0"/>
              </a:rPr>
              <a:t>Lorem ipsum dolor sit </a:t>
            </a:r>
            <a:r>
              <a:rPr lang="en-US" sz="1300" err="1">
                <a:solidFill>
                  <a:schemeClr val="bg1"/>
                </a:solidFill>
                <a:latin typeface="Segoe UI" panose="020B0502040204020203" pitchFamily="34" charset="0"/>
                <a:cs typeface="Segoe UI" panose="020B0502040204020203" pitchFamily="34" charset="0"/>
              </a:rPr>
              <a:t>amet</a:t>
            </a:r>
            <a:r>
              <a:rPr lang="en-US" sz="1300">
                <a:solidFill>
                  <a:schemeClr val="bg1"/>
                </a:solidFill>
                <a:latin typeface="Segoe UI" panose="020B0502040204020203" pitchFamily="34" charset="0"/>
                <a:cs typeface="Segoe UI" panose="020B0502040204020203" pitchFamily="34" charset="0"/>
              </a:rPr>
              <a:t>, </a:t>
            </a:r>
            <a:r>
              <a:rPr lang="en-US" sz="1300" err="1">
                <a:solidFill>
                  <a:schemeClr val="bg1"/>
                </a:solidFill>
                <a:latin typeface="Segoe UI" panose="020B0502040204020203" pitchFamily="34" charset="0"/>
                <a:cs typeface="Segoe UI" panose="020B0502040204020203" pitchFamily="34" charset="0"/>
              </a:rPr>
              <a:t>consectetur</a:t>
            </a:r>
            <a:r>
              <a:rPr lang="en-US" sz="1300">
                <a:solidFill>
                  <a:schemeClr val="bg1"/>
                </a:solidFill>
                <a:latin typeface="Segoe UI" panose="020B0502040204020203" pitchFamily="34" charset="0"/>
                <a:cs typeface="Segoe UI" panose="020B0502040204020203" pitchFamily="34" charset="0"/>
              </a:rPr>
              <a:t> </a:t>
            </a:r>
            <a:r>
              <a:rPr lang="en-US" sz="1300" err="1">
                <a:solidFill>
                  <a:schemeClr val="bg1"/>
                </a:solidFill>
                <a:latin typeface="Segoe UI" panose="020B0502040204020203" pitchFamily="34" charset="0"/>
                <a:cs typeface="Segoe UI" panose="020B0502040204020203" pitchFamily="34" charset="0"/>
              </a:rPr>
              <a:t>adipiscing</a:t>
            </a:r>
            <a:r>
              <a:rPr lang="en-US" sz="1300">
                <a:solidFill>
                  <a:schemeClr val="bg1"/>
                </a:solidFill>
                <a:latin typeface="Segoe UI" panose="020B0502040204020203" pitchFamily="34" charset="0"/>
                <a:cs typeface="Segoe UI" panose="020B0502040204020203" pitchFamily="34" charset="0"/>
              </a:rPr>
              <a:t> </a:t>
            </a:r>
            <a:r>
              <a:rPr lang="en-US" sz="1300" err="1">
                <a:solidFill>
                  <a:schemeClr val="bg1"/>
                </a:solidFill>
                <a:latin typeface="Segoe UI" panose="020B0502040204020203" pitchFamily="34" charset="0"/>
                <a:cs typeface="Segoe UI" panose="020B0502040204020203" pitchFamily="34" charset="0"/>
              </a:rPr>
              <a:t>elit</a:t>
            </a:r>
            <a:r>
              <a:rPr lang="en-US" sz="1300">
                <a:solidFill>
                  <a:schemeClr val="bg1"/>
                </a:solidFill>
                <a:latin typeface="Segoe UI" panose="020B0502040204020203" pitchFamily="34" charset="0"/>
                <a:cs typeface="Segoe UI" panose="020B0502040204020203" pitchFamily="34" charset="0"/>
              </a:rPr>
              <a:t>. </a:t>
            </a:r>
            <a:r>
              <a:rPr lang="en-US" sz="1300" err="1">
                <a:solidFill>
                  <a:schemeClr val="bg1"/>
                </a:solidFill>
                <a:latin typeface="Segoe UI" panose="020B0502040204020203" pitchFamily="34" charset="0"/>
                <a:cs typeface="Segoe UI" panose="020B0502040204020203" pitchFamily="34" charset="0"/>
              </a:rPr>
              <a:t>Pellentesque</a:t>
            </a:r>
            <a:r>
              <a:rPr lang="en-US" sz="1300">
                <a:solidFill>
                  <a:schemeClr val="bg1"/>
                </a:solidFill>
                <a:latin typeface="Segoe UI" panose="020B0502040204020203" pitchFamily="34" charset="0"/>
                <a:cs typeface="Segoe UI" panose="020B0502040204020203" pitchFamily="34" charset="0"/>
              </a:rPr>
              <a:t> sit </a:t>
            </a:r>
            <a:r>
              <a:rPr lang="en-US" sz="1300" err="1">
                <a:solidFill>
                  <a:schemeClr val="bg1"/>
                </a:solidFill>
                <a:latin typeface="Segoe UI" panose="020B0502040204020203" pitchFamily="34" charset="0"/>
                <a:cs typeface="Segoe UI" panose="020B0502040204020203" pitchFamily="34" charset="0"/>
              </a:rPr>
              <a:t>amet</a:t>
            </a:r>
            <a:r>
              <a:rPr lang="en-US" sz="1300">
                <a:solidFill>
                  <a:schemeClr val="bg1"/>
                </a:solidFill>
                <a:latin typeface="Segoe UI" panose="020B0502040204020203" pitchFamily="34" charset="0"/>
                <a:cs typeface="Segoe UI" panose="020B0502040204020203" pitchFamily="34" charset="0"/>
              </a:rPr>
              <a:t> </a:t>
            </a:r>
            <a:r>
              <a:rPr lang="en-US" sz="1300" err="1">
                <a:solidFill>
                  <a:schemeClr val="bg1"/>
                </a:solidFill>
                <a:latin typeface="Segoe UI" panose="020B0502040204020203" pitchFamily="34" charset="0"/>
                <a:cs typeface="Segoe UI" panose="020B0502040204020203" pitchFamily="34" charset="0"/>
              </a:rPr>
              <a:t>feugiat</a:t>
            </a:r>
            <a:r>
              <a:rPr lang="en-US" sz="1300">
                <a:solidFill>
                  <a:schemeClr val="bg1"/>
                </a:solidFill>
                <a:latin typeface="Segoe UI" panose="020B0502040204020203" pitchFamily="34" charset="0"/>
                <a:cs typeface="Segoe UI" panose="020B0502040204020203" pitchFamily="34" charset="0"/>
              </a:rPr>
              <a:t> mi. </a:t>
            </a:r>
          </a:p>
        </p:txBody>
      </p:sp>
      <p:sp>
        <p:nvSpPr>
          <p:cNvPr id="20" name="Oval 19">
            <a:extLst>
              <a:ext uri="{FF2B5EF4-FFF2-40B4-BE49-F238E27FC236}">
                <a16:creationId xmlns:a16="http://schemas.microsoft.com/office/drawing/2014/main" id="{60024629-64FC-08AD-6B72-2E0F5ED2BB6D}"/>
              </a:ext>
              <a:ext uri="{C183D7F6-B498-43B3-948B-1728B52AA6E4}">
                <adec:decorative xmlns:adec="http://schemas.microsoft.com/office/drawing/2017/decorative" val="1"/>
              </a:ext>
            </a:extLst>
          </p:cNvPr>
          <p:cNvSpPr/>
          <p:nvPr/>
        </p:nvSpPr>
        <p:spPr>
          <a:xfrm>
            <a:off x="10745090" y="1755645"/>
            <a:ext cx="572112" cy="572112"/>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21" name="TextBox 47">
            <a:extLst>
              <a:ext uri="{FF2B5EF4-FFF2-40B4-BE49-F238E27FC236}">
                <a16:creationId xmlns:a16="http://schemas.microsoft.com/office/drawing/2014/main" id="{9B0C9289-51AF-484E-A1C0-06D73F3E7797}"/>
              </a:ext>
            </a:extLst>
          </p:cNvPr>
          <p:cNvSpPr txBox="1"/>
          <p:nvPr/>
        </p:nvSpPr>
        <p:spPr>
          <a:xfrm>
            <a:off x="6344083" y="3031727"/>
            <a:ext cx="3989558" cy="400110"/>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00">
                <a:solidFill>
                  <a:schemeClr val="bg1"/>
                </a:solidFill>
                <a:latin typeface="Segoe UI" panose="020B0502040204020203" pitchFamily="34" charset="0"/>
                <a:cs typeface="Segoe UI" panose="020B0502040204020203" pitchFamily="34" charset="0"/>
              </a:rPr>
              <a:t>Lorem ipsum dolor sit </a:t>
            </a:r>
            <a:r>
              <a:rPr lang="en-US" sz="1300" err="1">
                <a:solidFill>
                  <a:schemeClr val="bg1"/>
                </a:solidFill>
                <a:latin typeface="Segoe UI" panose="020B0502040204020203" pitchFamily="34" charset="0"/>
                <a:cs typeface="Segoe UI" panose="020B0502040204020203" pitchFamily="34" charset="0"/>
              </a:rPr>
              <a:t>amet</a:t>
            </a:r>
            <a:r>
              <a:rPr lang="en-US" sz="1300">
                <a:solidFill>
                  <a:schemeClr val="bg1"/>
                </a:solidFill>
                <a:latin typeface="Segoe UI" panose="020B0502040204020203" pitchFamily="34" charset="0"/>
                <a:cs typeface="Segoe UI" panose="020B0502040204020203" pitchFamily="34" charset="0"/>
              </a:rPr>
              <a:t>, </a:t>
            </a:r>
            <a:r>
              <a:rPr lang="en-US" sz="1300" err="1">
                <a:solidFill>
                  <a:schemeClr val="bg1"/>
                </a:solidFill>
                <a:latin typeface="Segoe UI" panose="020B0502040204020203" pitchFamily="34" charset="0"/>
                <a:cs typeface="Segoe UI" panose="020B0502040204020203" pitchFamily="34" charset="0"/>
              </a:rPr>
              <a:t>consectetur</a:t>
            </a:r>
            <a:r>
              <a:rPr lang="en-US" sz="1300">
                <a:solidFill>
                  <a:schemeClr val="bg1"/>
                </a:solidFill>
                <a:latin typeface="Segoe UI" panose="020B0502040204020203" pitchFamily="34" charset="0"/>
                <a:cs typeface="Segoe UI" panose="020B0502040204020203" pitchFamily="34" charset="0"/>
              </a:rPr>
              <a:t> </a:t>
            </a:r>
            <a:r>
              <a:rPr lang="en-US" sz="1300" err="1">
                <a:solidFill>
                  <a:schemeClr val="bg1"/>
                </a:solidFill>
                <a:latin typeface="Segoe UI" panose="020B0502040204020203" pitchFamily="34" charset="0"/>
                <a:cs typeface="Segoe UI" panose="020B0502040204020203" pitchFamily="34" charset="0"/>
              </a:rPr>
              <a:t>adipiscing</a:t>
            </a:r>
            <a:r>
              <a:rPr lang="en-US" sz="1300">
                <a:solidFill>
                  <a:schemeClr val="bg1"/>
                </a:solidFill>
                <a:latin typeface="Segoe UI" panose="020B0502040204020203" pitchFamily="34" charset="0"/>
                <a:cs typeface="Segoe UI" panose="020B0502040204020203" pitchFamily="34" charset="0"/>
              </a:rPr>
              <a:t> </a:t>
            </a:r>
            <a:r>
              <a:rPr lang="en-US" sz="1300" err="1">
                <a:solidFill>
                  <a:schemeClr val="bg1"/>
                </a:solidFill>
                <a:latin typeface="Segoe UI" panose="020B0502040204020203" pitchFamily="34" charset="0"/>
                <a:cs typeface="Segoe UI" panose="020B0502040204020203" pitchFamily="34" charset="0"/>
              </a:rPr>
              <a:t>elit</a:t>
            </a:r>
            <a:r>
              <a:rPr lang="en-US" sz="1300">
                <a:solidFill>
                  <a:schemeClr val="bg1"/>
                </a:solidFill>
                <a:latin typeface="Segoe UI" panose="020B0502040204020203" pitchFamily="34" charset="0"/>
                <a:cs typeface="Segoe UI" panose="020B0502040204020203" pitchFamily="34" charset="0"/>
              </a:rPr>
              <a:t>. </a:t>
            </a:r>
            <a:r>
              <a:rPr lang="en-US" sz="1300" err="1">
                <a:solidFill>
                  <a:schemeClr val="bg1"/>
                </a:solidFill>
                <a:latin typeface="Segoe UI" panose="020B0502040204020203" pitchFamily="34" charset="0"/>
                <a:cs typeface="Segoe UI" panose="020B0502040204020203" pitchFamily="34" charset="0"/>
              </a:rPr>
              <a:t>Pellentesque</a:t>
            </a:r>
            <a:r>
              <a:rPr lang="en-US" sz="1300">
                <a:solidFill>
                  <a:schemeClr val="bg1"/>
                </a:solidFill>
                <a:latin typeface="Segoe UI" panose="020B0502040204020203" pitchFamily="34" charset="0"/>
                <a:cs typeface="Segoe UI" panose="020B0502040204020203" pitchFamily="34" charset="0"/>
              </a:rPr>
              <a:t> sit </a:t>
            </a:r>
            <a:r>
              <a:rPr lang="en-US" sz="1300" err="1">
                <a:solidFill>
                  <a:schemeClr val="bg1"/>
                </a:solidFill>
                <a:latin typeface="Segoe UI" panose="020B0502040204020203" pitchFamily="34" charset="0"/>
                <a:cs typeface="Segoe UI" panose="020B0502040204020203" pitchFamily="34" charset="0"/>
              </a:rPr>
              <a:t>amet</a:t>
            </a:r>
            <a:r>
              <a:rPr lang="en-US" sz="1300">
                <a:solidFill>
                  <a:schemeClr val="bg1"/>
                </a:solidFill>
                <a:latin typeface="Segoe UI" panose="020B0502040204020203" pitchFamily="34" charset="0"/>
                <a:cs typeface="Segoe UI" panose="020B0502040204020203" pitchFamily="34" charset="0"/>
              </a:rPr>
              <a:t> </a:t>
            </a:r>
            <a:r>
              <a:rPr lang="en-US" sz="1300" err="1">
                <a:solidFill>
                  <a:schemeClr val="bg1"/>
                </a:solidFill>
                <a:latin typeface="Segoe UI" panose="020B0502040204020203" pitchFamily="34" charset="0"/>
                <a:cs typeface="Segoe UI" panose="020B0502040204020203" pitchFamily="34" charset="0"/>
              </a:rPr>
              <a:t>feugiat</a:t>
            </a:r>
            <a:r>
              <a:rPr lang="en-US" sz="1300">
                <a:solidFill>
                  <a:schemeClr val="bg1"/>
                </a:solidFill>
                <a:latin typeface="Segoe UI" panose="020B0502040204020203" pitchFamily="34" charset="0"/>
                <a:cs typeface="Segoe UI" panose="020B0502040204020203" pitchFamily="34" charset="0"/>
              </a:rPr>
              <a:t> mi. </a:t>
            </a:r>
          </a:p>
        </p:txBody>
      </p:sp>
      <p:sp>
        <p:nvSpPr>
          <p:cNvPr id="22" name="Oval 21">
            <a:extLst>
              <a:ext uri="{FF2B5EF4-FFF2-40B4-BE49-F238E27FC236}">
                <a16:creationId xmlns:a16="http://schemas.microsoft.com/office/drawing/2014/main" id="{0D6758E1-743F-3BFF-1A06-14DEE59EED7C}"/>
              </a:ext>
              <a:ext uri="{C183D7F6-B498-43B3-948B-1728B52AA6E4}">
                <adec:decorative xmlns:adec="http://schemas.microsoft.com/office/drawing/2017/decorative" val="1"/>
              </a:ext>
            </a:extLst>
          </p:cNvPr>
          <p:cNvSpPr/>
          <p:nvPr/>
        </p:nvSpPr>
        <p:spPr>
          <a:xfrm>
            <a:off x="10745090" y="2945726"/>
            <a:ext cx="572112" cy="572112"/>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23" name="TextBox 47">
            <a:extLst>
              <a:ext uri="{FF2B5EF4-FFF2-40B4-BE49-F238E27FC236}">
                <a16:creationId xmlns:a16="http://schemas.microsoft.com/office/drawing/2014/main" id="{449B4C37-062B-97FE-7F22-BC5775037547}"/>
              </a:ext>
            </a:extLst>
          </p:cNvPr>
          <p:cNvSpPr txBox="1"/>
          <p:nvPr/>
        </p:nvSpPr>
        <p:spPr>
          <a:xfrm>
            <a:off x="6344083" y="4221787"/>
            <a:ext cx="3989558" cy="400110"/>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00">
                <a:solidFill>
                  <a:schemeClr val="bg1"/>
                </a:solidFill>
                <a:latin typeface="Segoe UI" panose="020B0502040204020203" pitchFamily="34" charset="0"/>
                <a:cs typeface="Segoe UI" panose="020B0502040204020203" pitchFamily="34" charset="0"/>
              </a:rPr>
              <a:t>Lorem ipsum dolor sit </a:t>
            </a:r>
            <a:r>
              <a:rPr lang="en-US" sz="1300" err="1">
                <a:solidFill>
                  <a:schemeClr val="bg1"/>
                </a:solidFill>
                <a:latin typeface="Segoe UI" panose="020B0502040204020203" pitchFamily="34" charset="0"/>
                <a:cs typeface="Segoe UI" panose="020B0502040204020203" pitchFamily="34" charset="0"/>
              </a:rPr>
              <a:t>amet</a:t>
            </a:r>
            <a:r>
              <a:rPr lang="en-US" sz="1300">
                <a:solidFill>
                  <a:schemeClr val="bg1"/>
                </a:solidFill>
                <a:latin typeface="Segoe UI" panose="020B0502040204020203" pitchFamily="34" charset="0"/>
                <a:cs typeface="Segoe UI" panose="020B0502040204020203" pitchFamily="34" charset="0"/>
              </a:rPr>
              <a:t>, </a:t>
            </a:r>
            <a:r>
              <a:rPr lang="en-US" sz="1300" err="1">
                <a:solidFill>
                  <a:schemeClr val="bg1"/>
                </a:solidFill>
                <a:latin typeface="Segoe UI" panose="020B0502040204020203" pitchFamily="34" charset="0"/>
                <a:cs typeface="Segoe UI" panose="020B0502040204020203" pitchFamily="34" charset="0"/>
              </a:rPr>
              <a:t>consectetur</a:t>
            </a:r>
            <a:r>
              <a:rPr lang="en-US" sz="1300">
                <a:solidFill>
                  <a:schemeClr val="bg1"/>
                </a:solidFill>
                <a:latin typeface="Segoe UI" panose="020B0502040204020203" pitchFamily="34" charset="0"/>
                <a:cs typeface="Segoe UI" panose="020B0502040204020203" pitchFamily="34" charset="0"/>
              </a:rPr>
              <a:t> </a:t>
            </a:r>
            <a:r>
              <a:rPr lang="en-US" sz="1300" err="1">
                <a:solidFill>
                  <a:schemeClr val="bg1"/>
                </a:solidFill>
                <a:latin typeface="Segoe UI" panose="020B0502040204020203" pitchFamily="34" charset="0"/>
                <a:cs typeface="Segoe UI" panose="020B0502040204020203" pitchFamily="34" charset="0"/>
              </a:rPr>
              <a:t>adipiscing</a:t>
            </a:r>
            <a:r>
              <a:rPr lang="en-US" sz="1300">
                <a:solidFill>
                  <a:schemeClr val="bg1"/>
                </a:solidFill>
                <a:latin typeface="Segoe UI" panose="020B0502040204020203" pitchFamily="34" charset="0"/>
                <a:cs typeface="Segoe UI" panose="020B0502040204020203" pitchFamily="34" charset="0"/>
              </a:rPr>
              <a:t> </a:t>
            </a:r>
            <a:r>
              <a:rPr lang="en-US" sz="1300" err="1">
                <a:solidFill>
                  <a:schemeClr val="bg1"/>
                </a:solidFill>
                <a:latin typeface="Segoe UI" panose="020B0502040204020203" pitchFamily="34" charset="0"/>
                <a:cs typeface="Segoe UI" panose="020B0502040204020203" pitchFamily="34" charset="0"/>
              </a:rPr>
              <a:t>elit</a:t>
            </a:r>
            <a:r>
              <a:rPr lang="en-US" sz="1300">
                <a:solidFill>
                  <a:schemeClr val="bg1"/>
                </a:solidFill>
                <a:latin typeface="Segoe UI" panose="020B0502040204020203" pitchFamily="34" charset="0"/>
                <a:cs typeface="Segoe UI" panose="020B0502040204020203" pitchFamily="34" charset="0"/>
              </a:rPr>
              <a:t>. </a:t>
            </a:r>
            <a:r>
              <a:rPr lang="en-US" sz="1300" err="1">
                <a:solidFill>
                  <a:schemeClr val="bg1"/>
                </a:solidFill>
                <a:latin typeface="Segoe UI" panose="020B0502040204020203" pitchFamily="34" charset="0"/>
                <a:cs typeface="Segoe UI" panose="020B0502040204020203" pitchFamily="34" charset="0"/>
              </a:rPr>
              <a:t>Pellentesque</a:t>
            </a:r>
            <a:r>
              <a:rPr lang="en-US" sz="1300">
                <a:solidFill>
                  <a:schemeClr val="bg1"/>
                </a:solidFill>
                <a:latin typeface="Segoe UI" panose="020B0502040204020203" pitchFamily="34" charset="0"/>
                <a:cs typeface="Segoe UI" panose="020B0502040204020203" pitchFamily="34" charset="0"/>
              </a:rPr>
              <a:t> sit </a:t>
            </a:r>
            <a:r>
              <a:rPr lang="en-US" sz="1300" err="1">
                <a:solidFill>
                  <a:schemeClr val="bg1"/>
                </a:solidFill>
                <a:latin typeface="Segoe UI" panose="020B0502040204020203" pitchFamily="34" charset="0"/>
                <a:cs typeface="Segoe UI" panose="020B0502040204020203" pitchFamily="34" charset="0"/>
              </a:rPr>
              <a:t>amet</a:t>
            </a:r>
            <a:r>
              <a:rPr lang="en-US" sz="1300">
                <a:solidFill>
                  <a:schemeClr val="bg1"/>
                </a:solidFill>
                <a:latin typeface="Segoe UI" panose="020B0502040204020203" pitchFamily="34" charset="0"/>
                <a:cs typeface="Segoe UI" panose="020B0502040204020203" pitchFamily="34" charset="0"/>
              </a:rPr>
              <a:t> </a:t>
            </a:r>
            <a:r>
              <a:rPr lang="en-US" sz="1300" err="1">
                <a:solidFill>
                  <a:schemeClr val="bg1"/>
                </a:solidFill>
                <a:latin typeface="Segoe UI" panose="020B0502040204020203" pitchFamily="34" charset="0"/>
                <a:cs typeface="Segoe UI" panose="020B0502040204020203" pitchFamily="34" charset="0"/>
              </a:rPr>
              <a:t>feugiat</a:t>
            </a:r>
            <a:r>
              <a:rPr lang="en-US" sz="1300">
                <a:solidFill>
                  <a:schemeClr val="bg1"/>
                </a:solidFill>
                <a:latin typeface="Segoe UI" panose="020B0502040204020203" pitchFamily="34" charset="0"/>
                <a:cs typeface="Segoe UI" panose="020B0502040204020203" pitchFamily="34" charset="0"/>
              </a:rPr>
              <a:t> mi. </a:t>
            </a:r>
          </a:p>
        </p:txBody>
      </p:sp>
      <p:sp>
        <p:nvSpPr>
          <p:cNvPr id="24" name="Oval 23">
            <a:extLst>
              <a:ext uri="{FF2B5EF4-FFF2-40B4-BE49-F238E27FC236}">
                <a16:creationId xmlns:a16="http://schemas.microsoft.com/office/drawing/2014/main" id="{0E83F3FA-7CFD-602D-3C5A-F81C1EA5A306}"/>
              </a:ext>
              <a:ext uri="{C183D7F6-B498-43B3-948B-1728B52AA6E4}">
                <adec:decorative xmlns:adec="http://schemas.microsoft.com/office/drawing/2017/decorative" val="1"/>
              </a:ext>
            </a:extLst>
          </p:cNvPr>
          <p:cNvSpPr/>
          <p:nvPr/>
        </p:nvSpPr>
        <p:spPr>
          <a:xfrm>
            <a:off x="10745090" y="4135786"/>
            <a:ext cx="572112" cy="572112"/>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25" name="TextBox 47">
            <a:extLst>
              <a:ext uri="{FF2B5EF4-FFF2-40B4-BE49-F238E27FC236}">
                <a16:creationId xmlns:a16="http://schemas.microsoft.com/office/drawing/2014/main" id="{AFF68428-14A4-987D-6F9F-6D22B2368473}"/>
              </a:ext>
            </a:extLst>
          </p:cNvPr>
          <p:cNvSpPr txBox="1"/>
          <p:nvPr/>
        </p:nvSpPr>
        <p:spPr>
          <a:xfrm>
            <a:off x="6344083" y="5409353"/>
            <a:ext cx="3989558" cy="400110"/>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00">
                <a:solidFill>
                  <a:schemeClr val="bg1"/>
                </a:solidFill>
                <a:latin typeface="Segoe UI" panose="020B0502040204020203" pitchFamily="34" charset="0"/>
                <a:cs typeface="Segoe UI" panose="020B0502040204020203" pitchFamily="34" charset="0"/>
              </a:rPr>
              <a:t>Lorem ipsum dolor sit </a:t>
            </a:r>
            <a:r>
              <a:rPr lang="en-US" sz="1300" err="1">
                <a:solidFill>
                  <a:schemeClr val="bg1"/>
                </a:solidFill>
                <a:latin typeface="Segoe UI" panose="020B0502040204020203" pitchFamily="34" charset="0"/>
                <a:cs typeface="Segoe UI" panose="020B0502040204020203" pitchFamily="34" charset="0"/>
              </a:rPr>
              <a:t>amet</a:t>
            </a:r>
            <a:r>
              <a:rPr lang="en-US" sz="1300">
                <a:solidFill>
                  <a:schemeClr val="bg1"/>
                </a:solidFill>
                <a:latin typeface="Segoe UI" panose="020B0502040204020203" pitchFamily="34" charset="0"/>
                <a:cs typeface="Segoe UI" panose="020B0502040204020203" pitchFamily="34" charset="0"/>
              </a:rPr>
              <a:t>, </a:t>
            </a:r>
            <a:r>
              <a:rPr lang="en-US" sz="1300" err="1">
                <a:solidFill>
                  <a:schemeClr val="bg1"/>
                </a:solidFill>
                <a:latin typeface="Segoe UI" panose="020B0502040204020203" pitchFamily="34" charset="0"/>
                <a:cs typeface="Segoe UI" panose="020B0502040204020203" pitchFamily="34" charset="0"/>
              </a:rPr>
              <a:t>consectetur</a:t>
            </a:r>
            <a:r>
              <a:rPr lang="en-US" sz="1300">
                <a:solidFill>
                  <a:schemeClr val="bg1"/>
                </a:solidFill>
                <a:latin typeface="Segoe UI" panose="020B0502040204020203" pitchFamily="34" charset="0"/>
                <a:cs typeface="Segoe UI" panose="020B0502040204020203" pitchFamily="34" charset="0"/>
              </a:rPr>
              <a:t> </a:t>
            </a:r>
            <a:r>
              <a:rPr lang="en-US" sz="1300" err="1">
                <a:solidFill>
                  <a:schemeClr val="bg1"/>
                </a:solidFill>
                <a:latin typeface="Segoe UI" panose="020B0502040204020203" pitchFamily="34" charset="0"/>
                <a:cs typeface="Segoe UI" panose="020B0502040204020203" pitchFamily="34" charset="0"/>
              </a:rPr>
              <a:t>adipiscing</a:t>
            </a:r>
            <a:r>
              <a:rPr lang="en-US" sz="1300">
                <a:solidFill>
                  <a:schemeClr val="bg1"/>
                </a:solidFill>
                <a:latin typeface="Segoe UI" panose="020B0502040204020203" pitchFamily="34" charset="0"/>
                <a:cs typeface="Segoe UI" panose="020B0502040204020203" pitchFamily="34" charset="0"/>
              </a:rPr>
              <a:t> </a:t>
            </a:r>
            <a:r>
              <a:rPr lang="en-US" sz="1300" err="1">
                <a:solidFill>
                  <a:schemeClr val="bg1"/>
                </a:solidFill>
                <a:latin typeface="Segoe UI" panose="020B0502040204020203" pitchFamily="34" charset="0"/>
                <a:cs typeface="Segoe UI" panose="020B0502040204020203" pitchFamily="34" charset="0"/>
              </a:rPr>
              <a:t>elit</a:t>
            </a:r>
            <a:r>
              <a:rPr lang="en-US" sz="1300">
                <a:solidFill>
                  <a:schemeClr val="bg1"/>
                </a:solidFill>
                <a:latin typeface="Segoe UI" panose="020B0502040204020203" pitchFamily="34" charset="0"/>
                <a:cs typeface="Segoe UI" panose="020B0502040204020203" pitchFamily="34" charset="0"/>
              </a:rPr>
              <a:t>. </a:t>
            </a:r>
            <a:r>
              <a:rPr lang="en-US" sz="1300" err="1">
                <a:solidFill>
                  <a:schemeClr val="bg1"/>
                </a:solidFill>
                <a:latin typeface="Segoe UI" panose="020B0502040204020203" pitchFamily="34" charset="0"/>
                <a:cs typeface="Segoe UI" panose="020B0502040204020203" pitchFamily="34" charset="0"/>
              </a:rPr>
              <a:t>Pellentesque</a:t>
            </a:r>
            <a:r>
              <a:rPr lang="en-US" sz="1300">
                <a:solidFill>
                  <a:schemeClr val="bg1"/>
                </a:solidFill>
                <a:latin typeface="Segoe UI" panose="020B0502040204020203" pitchFamily="34" charset="0"/>
                <a:cs typeface="Segoe UI" panose="020B0502040204020203" pitchFamily="34" charset="0"/>
              </a:rPr>
              <a:t> sit </a:t>
            </a:r>
            <a:r>
              <a:rPr lang="en-US" sz="1300" err="1">
                <a:solidFill>
                  <a:schemeClr val="bg1"/>
                </a:solidFill>
                <a:latin typeface="Segoe UI" panose="020B0502040204020203" pitchFamily="34" charset="0"/>
                <a:cs typeface="Segoe UI" panose="020B0502040204020203" pitchFamily="34" charset="0"/>
              </a:rPr>
              <a:t>amet</a:t>
            </a:r>
            <a:r>
              <a:rPr lang="en-US" sz="1300">
                <a:solidFill>
                  <a:schemeClr val="bg1"/>
                </a:solidFill>
                <a:latin typeface="Segoe UI" panose="020B0502040204020203" pitchFamily="34" charset="0"/>
                <a:cs typeface="Segoe UI" panose="020B0502040204020203" pitchFamily="34" charset="0"/>
              </a:rPr>
              <a:t> </a:t>
            </a:r>
            <a:r>
              <a:rPr lang="en-US" sz="1300" err="1">
                <a:solidFill>
                  <a:schemeClr val="bg1"/>
                </a:solidFill>
                <a:latin typeface="Segoe UI" panose="020B0502040204020203" pitchFamily="34" charset="0"/>
                <a:cs typeface="Segoe UI" panose="020B0502040204020203" pitchFamily="34" charset="0"/>
              </a:rPr>
              <a:t>feugiat</a:t>
            </a:r>
            <a:r>
              <a:rPr lang="en-US" sz="1300">
                <a:solidFill>
                  <a:schemeClr val="bg1"/>
                </a:solidFill>
                <a:latin typeface="Segoe UI" panose="020B0502040204020203" pitchFamily="34" charset="0"/>
                <a:cs typeface="Segoe UI" panose="020B0502040204020203" pitchFamily="34" charset="0"/>
              </a:rPr>
              <a:t> mi. </a:t>
            </a:r>
          </a:p>
        </p:txBody>
      </p:sp>
      <p:sp>
        <p:nvSpPr>
          <p:cNvPr id="26" name="Oval 25">
            <a:extLst>
              <a:ext uri="{FF2B5EF4-FFF2-40B4-BE49-F238E27FC236}">
                <a16:creationId xmlns:a16="http://schemas.microsoft.com/office/drawing/2014/main" id="{5059D42D-E397-5511-A0FC-EE62BAC918EE}"/>
              </a:ext>
              <a:ext uri="{C183D7F6-B498-43B3-948B-1728B52AA6E4}">
                <adec:decorative xmlns:adec="http://schemas.microsoft.com/office/drawing/2017/decorative" val="1"/>
              </a:ext>
            </a:extLst>
          </p:cNvPr>
          <p:cNvSpPr/>
          <p:nvPr/>
        </p:nvSpPr>
        <p:spPr>
          <a:xfrm>
            <a:off x="10745090" y="5323352"/>
            <a:ext cx="572112" cy="572112"/>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27" name="Freeform 3073" descr="This is an icon of a trophy.">
            <a:extLst>
              <a:ext uri="{FF2B5EF4-FFF2-40B4-BE49-F238E27FC236}">
                <a16:creationId xmlns:a16="http://schemas.microsoft.com/office/drawing/2014/main" id="{13D6C9AC-18E1-3C15-4BE3-9CD05583C68B}"/>
              </a:ext>
            </a:extLst>
          </p:cNvPr>
          <p:cNvSpPr>
            <a:spLocks noEditPoints="1"/>
          </p:cNvSpPr>
          <p:nvPr/>
        </p:nvSpPr>
        <p:spPr bwMode="auto">
          <a:xfrm>
            <a:off x="10888271" y="1898826"/>
            <a:ext cx="285750" cy="285750"/>
          </a:xfrm>
          <a:custGeom>
            <a:avLst/>
            <a:gdLst>
              <a:gd name="T0" fmla="*/ 620 w 720"/>
              <a:gd name="T1" fmla="*/ 289 h 719"/>
              <a:gd name="T2" fmla="*/ 600 w 720"/>
              <a:gd name="T3" fmla="*/ 278 h 719"/>
              <a:gd name="T4" fmla="*/ 636 w 720"/>
              <a:gd name="T5" fmla="*/ 145 h 719"/>
              <a:gd name="T6" fmla="*/ 695 w 720"/>
              <a:gd name="T7" fmla="*/ 114 h 719"/>
              <a:gd name="T8" fmla="*/ 680 w 720"/>
              <a:gd name="T9" fmla="*/ 209 h 719"/>
              <a:gd name="T10" fmla="*/ 645 w 720"/>
              <a:gd name="T11" fmla="*/ 270 h 719"/>
              <a:gd name="T12" fmla="*/ 425 w 720"/>
              <a:gd name="T13" fmla="*/ 278 h 719"/>
              <a:gd name="T14" fmla="*/ 416 w 720"/>
              <a:gd name="T15" fmla="*/ 280 h 719"/>
              <a:gd name="T16" fmla="*/ 298 w 720"/>
              <a:gd name="T17" fmla="*/ 282 h 719"/>
              <a:gd name="T18" fmla="*/ 261 w 720"/>
              <a:gd name="T19" fmla="*/ 160 h 719"/>
              <a:gd name="T20" fmla="*/ 332 w 720"/>
              <a:gd name="T21" fmla="*/ 150 h 719"/>
              <a:gd name="T22" fmla="*/ 364 w 720"/>
              <a:gd name="T23" fmla="*/ 101 h 719"/>
              <a:gd name="T24" fmla="*/ 462 w 720"/>
              <a:gd name="T25" fmla="*/ 158 h 719"/>
              <a:gd name="T26" fmla="*/ 49 w 720"/>
              <a:gd name="T27" fmla="*/ 236 h 719"/>
              <a:gd name="T28" fmla="*/ 29 w 720"/>
              <a:gd name="T29" fmla="*/ 170 h 719"/>
              <a:gd name="T30" fmla="*/ 24 w 720"/>
              <a:gd name="T31" fmla="*/ 72 h 719"/>
              <a:gd name="T32" fmla="*/ 90 w 720"/>
              <a:gd name="T33" fmla="*/ 177 h 719"/>
              <a:gd name="T34" fmla="*/ 129 w 720"/>
              <a:gd name="T35" fmla="*/ 298 h 719"/>
              <a:gd name="T36" fmla="*/ 91 w 720"/>
              <a:gd name="T37" fmla="*/ 284 h 719"/>
              <a:gd name="T38" fmla="*/ 719 w 720"/>
              <a:gd name="T39" fmla="*/ 69 h 719"/>
              <a:gd name="T40" fmla="*/ 712 w 720"/>
              <a:gd name="T41" fmla="*/ 50 h 719"/>
              <a:gd name="T42" fmla="*/ 644 w 720"/>
              <a:gd name="T43" fmla="*/ 21 h 719"/>
              <a:gd name="T44" fmla="*/ 632 w 720"/>
              <a:gd name="T45" fmla="*/ 0 h 719"/>
              <a:gd name="T46" fmla="*/ 77 w 720"/>
              <a:gd name="T47" fmla="*/ 13 h 719"/>
              <a:gd name="T48" fmla="*/ 12 w 720"/>
              <a:gd name="T49" fmla="*/ 48 h 719"/>
              <a:gd name="T50" fmla="*/ 0 w 720"/>
              <a:gd name="T51" fmla="*/ 66 h 719"/>
              <a:gd name="T52" fmla="*/ 6 w 720"/>
              <a:gd name="T53" fmla="*/ 177 h 719"/>
              <a:gd name="T54" fmla="*/ 29 w 720"/>
              <a:gd name="T55" fmla="*/ 250 h 719"/>
              <a:gd name="T56" fmla="*/ 73 w 720"/>
              <a:gd name="T57" fmla="*/ 302 h 719"/>
              <a:gd name="T58" fmla="*/ 130 w 720"/>
              <a:gd name="T59" fmla="*/ 322 h 719"/>
              <a:gd name="T60" fmla="*/ 195 w 720"/>
              <a:gd name="T61" fmla="*/ 379 h 719"/>
              <a:gd name="T62" fmla="*/ 288 w 720"/>
              <a:gd name="T63" fmla="*/ 441 h 719"/>
              <a:gd name="T64" fmla="*/ 312 w 720"/>
              <a:gd name="T65" fmla="*/ 476 h 719"/>
              <a:gd name="T66" fmla="*/ 316 w 720"/>
              <a:gd name="T67" fmla="*/ 529 h 719"/>
              <a:gd name="T68" fmla="*/ 299 w 720"/>
              <a:gd name="T69" fmla="*/ 596 h 719"/>
              <a:gd name="T70" fmla="*/ 262 w 720"/>
              <a:gd name="T71" fmla="*/ 628 h 719"/>
              <a:gd name="T72" fmla="*/ 204 w 720"/>
              <a:gd name="T73" fmla="*/ 635 h 719"/>
              <a:gd name="T74" fmla="*/ 192 w 720"/>
              <a:gd name="T75" fmla="*/ 707 h 719"/>
              <a:gd name="T76" fmla="*/ 515 w 720"/>
              <a:gd name="T77" fmla="*/ 719 h 719"/>
              <a:gd name="T78" fmla="*/ 527 w 720"/>
              <a:gd name="T79" fmla="*/ 647 h 719"/>
              <a:gd name="T80" fmla="*/ 501 w 720"/>
              <a:gd name="T81" fmla="*/ 635 h 719"/>
              <a:gd name="T82" fmla="*/ 445 w 720"/>
              <a:gd name="T83" fmla="*/ 618 h 719"/>
              <a:gd name="T84" fmla="*/ 412 w 720"/>
              <a:gd name="T85" fmla="*/ 577 h 719"/>
              <a:gd name="T86" fmla="*/ 401 w 720"/>
              <a:gd name="T87" fmla="*/ 511 h 719"/>
              <a:gd name="T88" fmla="*/ 410 w 720"/>
              <a:gd name="T89" fmla="*/ 470 h 719"/>
              <a:gd name="T90" fmla="*/ 443 w 720"/>
              <a:gd name="T91" fmla="*/ 431 h 719"/>
              <a:gd name="T92" fmla="*/ 537 w 720"/>
              <a:gd name="T93" fmla="*/ 367 h 719"/>
              <a:gd name="T94" fmla="*/ 601 w 720"/>
              <a:gd name="T95" fmla="*/ 321 h 719"/>
              <a:gd name="T96" fmla="*/ 653 w 720"/>
              <a:gd name="T97" fmla="*/ 295 h 719"/>
              <a:gd name="T98" fmla="*/ 696 w 720"/>
              <a:gd name="T99" fmla="*/ 233 h 719"/>
              <a:gd name="T100" fmla="*/ 718 w 720"/>
              <a:gd name="T101" fmla="*/ 141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0" h="719">
                <a:moveTo>
                  <a:pt x="645" y="270"/>
                </a:moveTo>
                <a:lnTo>
                  <a:pt x="640" y="276"/>
                </a:lnTo>
                <a:lnTo>
                  <a:pt x="633" y="280"/>
                </a:lnTo>
                <a:lnTo>
                  <a:pt x="627" y="284"/>
                </a:lnTo>
                <a:lnTo>
                  <a:pt x="620" y="289"/>
                </a:lnTo>
                <a:lnTo>
                  <a:pt x="614" y="291"/>
                </a:lnTo>
                <a:lnTo>
                  <a:pt x="606" y="295"/>
                </a:lnTo>
                <a:lnTo>
                  <a:pt x="599" y="296"/>
                </a:lnTo>
                <a:lnTo>
                  <a:pt x="590" y="298"/>
                </a:lnTo>
                <a:lnTo>
                  <a:pt x="600" y="278"/>
                </a:lnTo>
                <a:lnTo>
                  <a:pt x="609" y="257"/>
                </a:lnTo>
                <a:lnTo>
                  <a:pt x="618" y="233"/>
                </a:lnTo>
                <a:lnTo>
                  <a:pt x="625" y="207"/>
                </a:lnTo>
                <a:lnTo>
                  <a:pt x="631" y="177"/>
                </a:lnTo>
                <a:lnTo>
                  <a:pt x="636" y="145"/>
                </a:lnTo>
                <a:lnTo>
                  <a:pt x="639" y="110"/>
                </a:lnTo>
                <a:lnTo>
                  <a:pt x="643" y="72"/>
                </a:lnTo>
                <a:lnTo>
                  <a:pt x="695" y="72"/>
                </a:lnTo>
                <a:lnTo>
                  <a:pt x="695" y="90"/>
                </a:lnTo>
                <a:lnTo>
                  <a:pt x="695" y="114"/>
                </a:lnTo>
                <a:lnTo>
                  <a:pt x="694" y="140"/>
                </a:lnTo>
                <a:lnTo>
                  <a:pt x="690" y="167"/>
                </a:lnTo>
                <a:lnTo>
                  <a:pt x="687" y="182"/>
                </a:lnTo>
                <a:lnTo>
                  <a:pt x="684" y="196"/>
                </a:lnTo>
                <a:lnTo>
                  <a:pt x="680" y="209"/>
                </a:lnTo>
                <a:lnTo>
                  <a:pt x="675" y="223"/>
                </a:lnTo>
                <a:lnTo>
                  <a:pt x="669" y="236"/>
                </a:lnTo>
                <a:lnTo>
                  <a:pt x="662" y="248"/>
                </a:lnTo>
                <a:lnTo>
                  <a:pt x="655" y="259"/>
                </a:lnTo>
                <a:lnTo>
                  <a:pt x="645" y="270"/>
                </a:lnTo>
                <a:lnTo>
                  <a:pt x="645" y="270"/>
                </a:lnTo>
                <a:close/>
                <a:moveTo>
                  <a:pt x="460" y="160"/>
                </a:moveTo>
                <a:lnTo>
                  <a:pt x="402" y="205"/>
                </a:lnTo>
                <a:lnTo>
                  <a:pt x="425" y="273"/>
                </a:lnTo>
                <a:lnTo>
                  <a:pt x="425" y="278"/>
                </a:lnTo>
                <a:lnTo>
                  <a:pt x="424" y="280"/>
                </a:lnTo>
                <a:lnTo>
                  <a:pt x="421" y="282"/>
                </a:lnTo>
                <a:lnTo>
                  <a:pt x="420" y="282"/>
                </a:lnTo>
                <a:lnTo>
                  <a:pt x="418" y="282"/>
                </a:lnTo>
                <a:lnTo>
                  <a:pt x="416" y="280"/>
                </a:lnTo>
                <a:lnTo>
                  <a:pt x="360" y="235"/>
                </a:lnTo>
                <a:lnTo>
                  <a:pt x="304" y="280"/>
                </a:lnTo>
                <a:lnTo>
                  <a:pt x="303" y="282"/>
                </a:lnTo>
                <a:lnTo>
                  <a:pt x="300" y="282"/>
                </a:lnTo>
                <a:lnTo>
                  <a:pt x="298" y="282"/>
                </a:lnTo>
                <a:lnTo>
                  <a:pt x="297" y="280"/>
                </a:lnTo>
                <a:lnTo>
                  <a:pt x="294" y="278"/>
                </a:lnTo>
                <a:lnTo>
                  <a:pt x="294" y="273"/>
                </a:lnTo>
                <a:lnTo>
                  <a:pt x="317" y="205"/>
                </a:lnTo>
                <a:lnTo>
                  <a:pt x="261" y="160"/>
                </a:lnTo>
                <a:lnTo>
                  <a:pt x="259" y="158"/>
                </a:lnTo>
                <a:lnTo>
                  <a:pt x="259" y="154"/>
                </a:lnTo>
                <a:lnTo>
                  <a:pt x="261" y="151"/>
                </a:lnTo>
                <a:lnTo>
                  <a:pt x="264" y="150"/>
                </a:lnTo>
                <a:lnTo>
                  <a:pt x="332" y="150"/>
                </a:lnTo>
                <a:lnTo>
                  <a:pt x="354" y="101"/>
                </a:lnTo>
                <a:lnTo>
                  <a:pt x="356" y="97"/>
                </a:lnTo>
                <a:lnTo>
                  <a:pt x="358" y="97"/>
                </a:lnTo>
                <a:lnTo>
                  <a:pt x="362" y="97"/>
                </a:lnTo>
                <a:lnTo>
                  <a:pt x="364" y="101"/>
                </a:lnTo>
                <a:lnTo>
                  <a:pt x="388" y="150"/>
                </a:lnTo>
                <a:lnTo>
                  <a:pt x="456" y="150"/>
                </a:lnTo>
                <a:lnTo>
                  <a:pt x="460" y="151"/>
                </a:lnTo>
                <a:lnTo>
                  <a:pt x="462" y="154"/>
                </a:lnTo>
                <a:lnTo>
                  <a:pt x="462" y="158"/>
                </a:lnTo>
                <a:lnTo>
                  <a:pt x="460" y="160"/>
                </a:lnTo>
                <a:close/>
                <a:moveTo>
                  <a:pt x="72" y="270"/>
                </a:moveTo>
                <a:lnTo>
                  <a:pt x="63" y="260"/>
                </a:lnTo>
                <a:lnTo>
                  <a:pt x="55" y="248"/>
                </a:lnTo>
                <a:lnTo>
                  <a:pt x="49" y="236"/>
                </a:lnTo>
                <a:lnTo>
                  <a:pt x="43" y="225"/>
                </a:lnTo>
                <a:lnTo>
                  <a:pt x="38" y="211"/>
                </a:lnTo>
                <a:lnTo>
                  <a:pt x="35" y="198"/>
                </a:lnTo>
                <a:lnTo>
                  <a:pt x="31" y="184"/>
                </a:lnTo>
                <a:lnTo>
                  <a:pt x="29" y="170"/>
                </a:lnTo>
                <a:lnTo>
                  <a:pt x="27" y="142"/>
                </a:lnTo>
                <a:lnTo>
                  <a:pt x="24" y="116"/>
                </a:lnTo>
                <a:lnTo>
                  <a:pt x="24" y="92"/>
                </a:lnTo>
                <a:lnTo>
                  <a:pt x="24" y="72"/>
                </a:lnTo>
                <a:lnTo>
                  <a:pt x="24" y="72"/>
                </a:lnTo>
                <a:lnTo>
                  <a:pt x="24" y="72"/>
                </a:lnTo>
                <a:lnTo>
                  <a:pt x="78" y="72"/>
                </a:lnTo>
                <a:lnTo>
                  <a:pt x="80" y="110"/>
                </a:lnTo>
                <a:lnTo>
                  <a:pt x="85" y="145"/>
                </a:lnTo>
                <a:lnTo>
                  <a:pt x="90" y="177"/>
                </a:lnTo>
                <a:lnTo>
                  <a:pt x="96" y="207"/>
                </a:lnTo>
                <a:lnTo>
                  <a:pt x="103" y="233"/>
                </a:lnTo>
                <a:lnTo>
                  <a:pt x="111" y="257"/>
                </a:lnTo>
                <a:lnTo>
                  <a:pt x="119" y="278"/>
                </a:lnTo>
                <a:lnTo>
                  <a:pt x="129" y="298"/>
                </a:lnTo>
                <a:lnTo>
                  <a:pt x="121" y="296"/>
                </a:lnTo>
                <a:lnTo>
                  <a:pt x="112" y="295"/>
                </a:lnTo>
                <a:lnTo>
                  <a:pt x="105" y="291"/>
                </a:lnTo>
                <a:lnTo>
                  <a:pt x="98" y="289"/>
                </a:lnTo>
                <a:lnTo>
                  <a:pt x="91" y="284"/>
                </a:lnTo>
                <a:lnTo>
                  <a:pt x="84" y="280"/>
                </a:lnTo>
                <a:lnTo>
                  <a:pt x="78" y="276"/>
                </a:lnTo>
                <a:lnTo>
                  <a:pt x="72" y="270"/>
                </a:lnTo>
                <a:lnTo>
                  <a:pt x="72" y="270"/>
                </a:lnTo>
                <a:close/>
                <a:moveTo>
                  <a:pt x="719" y="69"/>
                </a:moveTo>
                <a:lnTo>
                  <a:pt x="719" y="64"/>
                </a:lnTo>
                <a:lnTo>
                  <a:pt x="719" y="60"/>
                </a:lnTo>
                <a:lnTo>
                  <a:pt x="719" y="56"/>
                </a:lnTo>
                <a:lnTo>
                  <a:pt x="715" y="52"/>
                </a:lnTo>
                <a:lnTo>
                  <a:pt x="712" y="50"/>
                </a:lnTo>
                <a:lnTo>
                  <a:pt x="707" y="48"/>
                </a:lnTo>
                <a:lnTo>
                  <a:pt x="643" y="48"/>
                </a:lnTo>
                <a:lnTo>
                  <a:pt x="644" y="39"/>
                </a:lnTo>
                <a:lnTo>
                  <a:pt x="644" y="31"/>
                </a:lnTo>
                <a:lnTo>
                  <a:pt x="644" y="21"/>
                </a:lnTo>
                <a:lnTo>
                  <a:pt x="644" y="13"/>
                </a:lnTo>
                <a:lnTo>
                  <a:pt x="643" y="8"/>
                </a:lnTo>
                <a:lnTo>
                  <a:pt x="640" y="3"/>
                </a:lnTo>
                <a:lnTo>
                  <a:pt x="637" y="1"/>
                </a:lnTo>
                <a:lnTo>
                  <a:pt x="632" y="0"/>
                </a:lnTo>
                <a:lnTo>
                  <a:pt x="88" y="0"/>
                </a:lnTo>
                <a:lnTo>
                  <a:pt x="84" y="1"/>
                </a:lnTo>
                <a:lnTo>
                  <a:pt x="80" y="3"/>
                </a:lnTo>
                <a:lnTo>
                  <a:pt x="78" y="8"/>
                </a:lnTo>
                <a:lnTo>
                  <a:pt x="77" y="13"/>
                </a:lnTo>
                <a:lnTo>
                  <a:pt x="77" y="21"/>
                </a:lnTo>
                <a:lnTo>
                  <a:pt x="77" y="31"/>
                </a:lnTo>
                <a:lnTo>
                  <a:pt x="77" y="39"/>
                </a:lnTo>
                <a:lnTo>
                  <a:pt x="77" y="48"/>
                </a:lnTo>
                <a:lnTo>
                  <a:pt x="12" y="48"/>
                </a:lnTo>
                <a:lnTo>
                  <a:pt x="8" y="50"/>
                </a:lnTo>
                <a:lnTo>
                  <a:pt x="4" y="52"/>
                </a:lnTo>
                <a:lnTo>
                  <a:pt x="2" y="56"/>
                </a:lnTo>
                <a:lnTo>
                  <a:pt x="0" y="60"/>
                </a:lnTo>
                <a:lnTo>
                  <a:pt x="0" y="66"/>
                </a:lnTo>
                <a:lnTo>
                  <a:pt x="0" y="72"/>
                </a:lnTo>
                <a:lnTo>
                  <a:pt x="0" y="94"/>
                </a:lnTo>
                <a:lnTo>
                  <a:pt x="0" y="119"/>
                </a:lnTo>
                <a:lnTo>
                  <a:pt x="3" y="147"/>
                </a:lnTo>
                <a:lnTo>
                  <a:pt x="6" y="177"/>
                </a:lnTo>
                <a:lnTo>
                  <a:pt x="9" y="192"/>
                </a:lnTo>
                <a:lnTo>
                  <a:pt x="12" y="207"/>
                </a:lnTo>
                <a:lnTo>
                  <a:pt x="17" y="222"/>
                </a:lnTo>
                <a:lnTo>
                  <a:pt x="22" y="236"/>
                </a:lnTo>
                <a:lnTo>
                  <a:pt x="29" y="250"/>
                </a:lnTo>
                <a:lnTo>
                  <a:pt x="36" y="263"/>
                </a:lnTo>
                <a:lnTo>
                  <a:pt x="44" y="276"/>
                </a:lnTo>
                <a:lnTo>
                  <a:pt x="55" y="286"/>
                </a:lnTo>
                <a:lnTo>
                  <a:pt x="63" y="295"/>
                </a:lnTo>
                <a:lnTo>
                  <a:pt x="73" y="302"/>
                </a:lnTo>
                <a:lnTo>
                  <a:pt x="84" y="308"/>
                </a:lnTo>
                <a:lnTo>
                  <a:pt x="94" y="314"/>
                </a:lnTo>
                <a:lnTo>
                  <a:pt x="106" y="317"/>
                </a:lnTo>
                <a:lnTo>
                  <a:pt x="118" y="321"/>
                </a:lnTo>
                <a:lnTo>
                  <a:pt x="130" y="322"/>
                </a:lnTo>
                <a:lnTo>
                  <a:pt x="143" y="323"/>
                </a:lnTo>
                <a:lnTo>
                  <a:pt x="156" y="340"/>
                </a:lnTo>
                <a:lnTo>
                  <a:pt x="169" y="355"/>
                </a:lnTo>
                <a:lnTo>
                  <a:pt x="182" y="368"/>
                </a:lnTo>
                <a:lnTo>
                  <a:pt x="195" y="379"/>
                </a:lnTo>
                <a:lnTo>
                  <a:pt x="222" y="398"/>
                </a:lnTo>
                <a:lnTo>
                  <a:pt x="248" y="414"/>
                </a:lnTo>
                <a:lnTo>
                  <a:pt x="262" y="423"/>
                </a:lnTo>
                <a:lnTo>
                  <a:pt x="276" y="433"/>
                </a:lnTo>
                <a:lnTo>
                  <a:pt x="288" y="441"/>
                </a:lnTo>
                <a:lnTo>
                  <a:pt x="298" y="452"/>
                </a:lnTo>
                <a:lnTo>
                  <a:pt x="303" y="456"/>
                </a:lnTo>
                <a:lnTo>
                  <a:pt x="306" y="462"/>
                </a:lnTo>
                <a:lnTo>
                  <a:pt x="310" y="470"/>
                </a:lnTo>
                <a:lnTo>
                  <a:pt x="312" y="476"/>
                </a:lnTo>
                <a:lnTo>
                  <a:pt x="314" y="484"/>
                </a:lnTo>
                <a:lnTo>
                  <a:pt x="316" y="492"/>
                </a:lnTo>
                <a:lnTo>
                  <a:pt x="317" y="500"/>
                </a:lnTo>
                <a:lnTo>
                  <a:pt x="317" y="510"/>
                </a:lnTo>
                <a:lnTo>
                  <a:pt x="316" y="529"/>
                </a:lnTo>
                <a:lnTo>
                  <a:pt x="314" y="546"/>
                </a:lnTo>
                <a:lnTo>
                  <a:pt x="312" y="561"/>
                </a:lnTo>
                <a:lnTo>
                  <a:pt x="308" y="574"/>
                </a:lnTo>
                <a:lnTo>
                  <a:pt x="305" y="586"/>
                </a:lnTo>
                <a:lnTo>
                  <a:pt x="299" y="596"/>
                </a:lnTo>
                <a:lnTo>
                  <a:pt x="293" y="605"/>
                </a:lnTo>
                <a:lnTo>
                  <a:pt x="287" y="612"/>
                </a:lnTo>
                <a:lnTo>
                  <a:pt x="279" y="618"/>
                </a:lnTo>
                <a:lnTo>
                  <a:pt x="270" y="623"/>
                </a:lnTo>
                <a:lnTo>
                  <a:pt x="262" y="628"/>
                </a:lnTo>
                <a:lnTo>
                  <a:pt x="251" y="630"/>
                </a:lnTo>
                <a:lnTo>
                  <a:pt x="241" y="633"/>
                </a:lnTo>
                <a:lnTo>
                  <a:pt x="230" y="634"/>
                </a:lnTo>
                <a:lnTo>
                  <a:pt x="217" y="635"/>
                </a:lnTo>
                <a:lnTo>
                  <a:pt x="204" y="635"/>
                </a:lnTo>
                <a:lnTo>
                  <a:pt x="199" y="636"/>
                </a:lnTo>
                <a:lnTo>
                  <a:pt x="195" y="638"/>
                </a:lnTo>
                <a:lnTo>
                  <a:pt x="193" y="642"/>
                </a:lnTo>
                <a:lnTo>
                  <a:pt x="192" y="647"/>
                </a:lnTo>
                <a:lnTo>
                  <a:pt x="192" y="707"/>
                </a:lnTo>
                <a:lnTo>
                  <a:pt x="193" y="711"/>
                </a:lnTo>
                <a:lnTo>
                  <a:pt x="195" y="716"/>
                </a:lnTo>
                <a:lnTo>
                  <a:pt x="199" y="718"/>
                </a:lnTo>
                <a:lnTo>
                  <a:pt x="204" y="719"/>
                </a:lnTo>
                <a:lnTo>
                  <a:pt x="515" y="719"/>
                </a:lnTo>
                <a:lnTo>
                  <a:pt x="520" y="718"/>
                </a:lnTo>
                <a:lnTo>
                  <a:pt x="524" y="716"/>
                </a:lnTo>
                <a:lnTo>
                  <a:pt x="526" y="711"/>
                </a:lnTo>
                <a:lnTo>
                  <a:pt x="527" y="707"/>
                </a:lnTo>
                <a:lnTo>
                  <a:pt x="527" y="647"/>
                </a:lnTo>
                <a:lnTo>
                  <a:pt x="526" y="642"/>
                </a:lnTo>
                <a:lnTo>
                  <a:pt x="524" y="638"/>
                </a:lnTo>
                <a:lnTo>
                  <a:pt x="520" y="636"/>
                </a:lnTo>
                <a:lnTo>
                  <a:pt x="515" y="635"/>
                </a:lnTo>
                <a:lnTo>
                  <a:pt x="501" y="635"/>
                </a:lnTo>
                <a:lnTo>
                  <a:pt x="488" y="634"/>
                </a:lnTo>
                <a:lnTo>
                  <a:pt x="476" y="631"/>
                </a:lnTo>
                <a:lnTo>
                  <a:pt x="464" y="628"/>
                </a:lnTo>
                <a:lnTo>
                  <a:pt x="455" y="623"/>
                </a:lnTo>
                <a:lnTo>
                  <a:pt x="445" y="618"/>
                </a:lnTo>
                <a:lnTo>
                  <a:pt x="437" y="612"/>
                </a:lnTo>
                <a:lnTo>
                  <a:pt x="429" y="605"/>
                </a:lnTo>
                <a:lnTo>
                  <a:pt x="423" y="597"/>
                </a:lnTo>
                <a:lnTo>
                  <a:pt x="417" y="587"/>
                </a:lnTo>
                <a:lnTo>
                  <a:pt x="412" y="577"/>
                </a:lnTo>
                <a:lnTo>
                  <a:pt x="408" y="566"/>
                </a:lnTo>
                <a:lnTo>
                  <a:pt x="405" y="554"/>
                </a:lnTo>
                <a:lnTo>
                  <a:pt x="402" y="541"/>
                </a:lnTo>
                <a:lnTo>
                  <a:pt x="401" y="525"/>
                </a:lnTo>
                <a:lnTo>
                  <a:pt x="401" y="511"/>
                </a:lnTo>
                <a:lnTo>
                  <a:pt x="401" y="500"/>
                </a:lnTo>
                <a:lnTo>
                  <a:pt x="402" y="492"/>
                </a:lnTo>
                <a:lnTo>
                  <a:pt x="404" y="484"/>
                </a:lnTo>
                <a:lnTo>
                  <a:pt x="406" y="476"/>
                </a:lnTo>
                <a:lnTo>
                  <a:pt x="410" y="470"/>
                </a:lnTo>
                <a:lnTo>
                  <a:pt x="412" y="462"/>
                </a:lnTo>
                <a:lnTo>
                  <a:pt x="417" y="456"/>
                </a:lnTo>
                <a:lnTo>
                  <a:pt x="420" y="451"/>
                </a:lnTo>
                <a:lnTo>
                  <a:pt x="431" y="441"/>
                </a:lnTo>
                <a:lnTo>
                  <a:pt x="443" y="431"/>
                </a:lnTo>
                <a:lnTo>
                  <a:pt x="456" y="423"/>
                </a:lnTo>
                <a:lnTo>
                  <a:pt x="471" y="414"/>
                </a:lnTo>
                <a:lnTo>
                  <a:pt x="498" y="398"/>
                </a:lnTo>
                <a:lnTo>
                  <a:pt x="524" y="379"/>
                </a:lnTo>
                <a:lnTo>
                  <a:pt x="537" y="367"/>
                </a:lnTo>
                <a:lnTo>
                  <a:pt x="550" y="354"/>
                </a:lnTo>
                <a:lnTo>
                  <a:pt x="563" y="340"/>
                </a:lnTo>
                <a:lnTo>
                  <a:pt x="575" y="323"/>
                </a:lnTo>
                <a:lnTo>
                  <a:pt x="588" y="322"/>
                </a:lnTo>
                <a:lnTo>
                  <a:pt x="601" y="321"/>
                </a:lnTo>
                <a:lnTo>
                  <a:pt x="612" y="317"/>
                </a:lnTo>
                <a:lnTo>
                  <a:pt x="624" y="314"/>
                </a:lnTo>
                <a:lnTo>
                  <a:pt x="634" y="308"/>
                </a:lnTo>
                <a:lnTo>
                  <a:pt x="644" y="302"/>
                </a:lnTo>
                <a:lnTo>
                  <a:pt x="653" y="295"/>
                </a:lnTo>
                <a:lnTo>
                  <a:pt x="663" y="286"/>
                </a:lnTo>
                <a:lnTo>
                  <a:pt x="672" y="274"/>
                </a:lnTo>
                <a:lnTo>
                  <a:pt x="682" y="261"/>
                </a:lnTo>
                <a:lnTo>
                  <a:pt x="690" y="248"/>
                </a:lnTo>
                <a:lnTo>
                  <a:pt x="696" y="233"/>
                </a:lnTo>
                <a:lnTo>
                  <a:pt x="702" y="219"/>
                </a:lnTo>
                <a:lnTo>
                  <a:pt x="707" y="203"/>
                </a:lnTo>
                <a:lnTo>
                  <a:pt x="711" y="188"/>
                </a:lnTo>
                <a:lnTo>
                  <a:pt x="713" y="171"/>
                </a:lnTo>
                <a:lnTo>
                  <a:pt x="718" y="141"/>
                </a:lnTo>
                <a:lnTo>
                  <a:pt x="719" y="113"/>
                </a:lnTo>
                <a:lnTo>
                  <a:pt x="720" y="88"/>
                </a:lnTo>
                <a:lnTo>
                  <a:pt x="719" y="69"/>
                </a:lnTo>
                <a:close/>
              </a:path>
            </a:pathLst>
          </a:custGeom>
          <a:solidFill>
            <a:srgbClr val="CE295E"/>
          </a:solidFill>
          <a:ln>
            <a:noFill/>
          </a:ln>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28" name="Freeform 724" descr="This is an icon of a chart. ">
            <a:extLst>
              <a:ext uri="{FF2B5EF4-FFF2-40B4-BE49-F238E27FC236}">
                <a16:creationId xmlns:a16="http://schemas.microsoft.com/office/drawing/2014/main" id="{C8CA95D9-4125-DE8E-53E3-8C35EDA720EE}"/>
              </a:ext>
            </a:extLst>
          </p:cNvPr>
          <p:cNvSpPr>
            <a:spLocks/>
          </p:cNvSpPr>
          <p:nvPr/>
        </p:nvSpPr>
        <p:spPr bwMode="auto">
          <a:xfrm>
            <a:off x="10892240" y="3092876"/>
            <a:ext cx="277813" cy="277813"/>
          </a:xfrm>
          <a:custGeom>
            <a:avLst/>
            <a:gdLst>
              <a:gd name="T0" fmla="*/ 782 w 873"/>
              <a:gd name="T1" fmla="*/ 436 h 873"/>
              <a:gd name="T2" fmla="*/ 779 w 873"/>
              <a:gd name="T3" fmla="*/ 428 h 873"/>
              <a:gd name="T4" fmla="*/ 773 w 873"/>
              <a:gd name="T5" fmla="*/ 423 h 873"/>
              <a:gd name="T6" fmla="*/ 451 w 873"/>
              <a:gd name="T7" fmla="*/ 421 h 873"/>
              <a:gd name="T8" fmla="*/ 711 w 873"/>
              <a:gd name="T9" fmla="*/ 180 h 873"/>
              <a:gd name="T10" fmla="*/ 718 w 873"/>
              <a:gd name="T11" fmla="*/ 176 h 873"/>
              <a:gd name="T12" fmla="*/ 721 w 873"/>
              <a:gd name="T13" fmla="*/ 168 h 873"/>
              <a:gd name="T14" fmla="*/ 721 w 873"/>
              <a:gd name="T15" fmla="*/ 12 h 873"/>
              <a:gd name="T16" fmla="*/ 718 w 873"/>
              <a:gd name="T17" fmla="*/ 4 h 873"/>
              <a:gd name="T18" fmla="*/ 711 w 873"/>
              <a:gd name="T19" fmla="*/ 0 h 873"/>
              <a:gd name="T20" fmla="*/ 163 w 873"/>
              <a:gd name="T21" fmla="*/ 0 h 873"/>
              <a:gd name="T22" fmla="*/ 155 w 873"/>
              <a:gd name="T23" fmla="*/ 4 h 873"/>
              <a:gd name="T24" fmla="*/ 151 w 873"/>
              <a:gd name="T25" fmla="*/ 12 h 873"/>
              <a:gd name="T26" fmla="*/ 151 w 873"/>
              <a:gd name="T27" fmla="*/ 168 h 873"/>
              <a:gd name="T28" fmla="*/ 155 w 873"/>
              <a:gd name="T29" fmla="*/ 176 h 873"/>
              <a:gd name="T30" fmla="*/ 163 w 873"/>
              <a:gd name="T31" fmla="*/ 180 h 873"/>
              <a:gd name="T32" fmla="*/ 421 w 873"/>
              <a:gd name="T33" fmla="*/ 421 h 873"/>
              <a:gd name="T34" fmla="*/ 99 w 873"/>
              <a:gd name="T35" fmla="*/ 423 h 873"/>
              <a:gd name="T36" fmla="*/ 93 w 873"/>
              <a:gd name="T37" fmla="*/ 428 h 873"/>
              <a:gd name="T38" fmla="*/ 90 w 873"/>
              <a:gd name="T39" fmla="*/ 436 h 873"/>
              <a:gd name="T40" fmla="*/ 11 w 873"/>
              <a:gd name="T41" fmla="*/ 663 h 873"/>
              <a:gd name="T42" fmla="*/ 4 w 873"/>
              <a:gd name="T43" fmla="*/ 667 h 873"/>
              <a:gd name="T44" fmla="*/ 0 w 873"/>
              <a:gd name="T45" fmla="*/ 675 h 873"/>
              <a:gd name="T46" fmla="*/ 0 w 873"/>
              <a:gd name="T47" fmla="*/ 861 h 873"/>
              <a:gd name="T48" fmla="*/ 4 w 873"/>
              <a:gd name="T49" fmla="*/ 869 h 873"/>
              <a:gd name="T50" fmla="*/ 11 w 873"/>
              <a:gd name="T51" fmla="*/ 873 h 873"/>
              <a:gd name="T52" fmla="*/ 198 w 873"/>
              <a:gd name="T53" fmla="*/ 873 h 873"/>
              <a:gd name="T54" fmla="*/ 205 w 873"/>
              <a:gd name="T55" fmla="*/ 869 h 873"/>
              <a:gd name="T56" fmla="*/ 210 w 873"/>
              <a:gd name="T57" fmla="*/ 861 h 873"/>
              <a:gd name="T58" fmla="*/ 210 w 873"/>
              <a:gd name="T59" fmla="*/ 675 h 873"/>
              <a:gd name="T60" fmla="*/ 205 w 873"/>
              <a:gd name="T61" fmla="*/ 667 h 873"/>
              <a:gd name="T62" fmla="*/ 198 w 873"/>
              <a:gd name="T63" fmla="*/ 663 h 873"/>
              <a:gd name="T64" fmla="*/ 120 w 873"/>
              <a:gd name="T65" fmla="*/ 451 h 873"/>
              <a:gd name="T66" fmla="*/ 346 w 873"/>
              <a:gd name="T67" fmla="*/ 662 h 873"/>
              <a:gd name="T68" fmla="*/ 337 w 873"/>
              <a:gd name="T69" fmla="*/ 665 h 873"/>
              <a:gd name="T70" fmla="*/ 332 w 873"/>
              <a:gd name="T71" fmla="*/ 671 h 873"/>
              <a:gd name="T72" fmla="*/ 331 w 873"/>
              <a:gd name="T73" fmla="*/ 858 h 873"/>
              <a:gd name="T74" fmla="*/ 333 w 873"/>
              <a:gd name="T75" fmla="*/ 867 h 873"/>
              <a:gd name="T76" fmla="*/ 340 w 873"/>
              <a:gd name="T77" fmla="*/ 872 h 873"/>
              <a:gd name="T78" fmla="*/ 526 w 873"/>
              <a:gd name="T79" fmla="*/ 873 h 873"/>
              <a:gd name="T80" fmla="*/ 535 w 873"/>
              <a:gd name="T81" fmla="*/ 871 h 873"/>
              <a:gd name="T82" fmla="*/ 540 w 873"/>
              <a:gd name="T83" fmla="*/ 863 h 873"/>
              <a:gd name="T84" fmla="*/ 541 w 873"/>
              <a:gd name="T85" fmla="*/ 677 h 873"/>
              <a:gd name="T86" fmla="*/ 539 w 873"/>
              <a:gd name="T87" fmla="*/ 669 h 873"/>
              <a:gd name="T88" fmla="*/ 533 w 873"/>
              <a:gd name="T89" fmla="*/ 664 h 873"/>
              <a:gd name="T90" fmla="*/ 451 w 873"/>
              <a:gd name="T91" fmla="*/ 662 h 873"/>
              <a:gd name="T92" fmla="*/ 752 w 873"/>
              <a:gd name="T93" fmla="*/ 662 h 873"/>
              <a:gd name="T94" fmla="*/ 671 w 873"/>
              <a:gd name="T95" fmla="*/ 664 h 873"/>
              <a:gd name="T96" fmla="*/ 664 w 873"/>
              <a:gd name="T97" fmla="*/ 669 h 873"/>
              <a:gd name="T98" fmla="*/ 662 w 873"/>
              <a:gd name="T99" fmla="*/ 678 h 873"/>
              <a:gd name="T100" fmla="*/ 663 w 873"/>
              <a:gd name="T101" fmla="*/ 863 h 873"/>
              <a:gd name="T102" fmla="*/ 669 w 873"/>
              <a:gd name="T103" fmla="*/ 871 h 873"/>
              <a:gd name="T104" fmla="*/ 677 w 873"/>
              <a:gd name="T105" fmla="*/ 873 h 873"/>
              <a:gd name="T106" fmla="*/ 864 w 873"/>
              <a:gd name="T107" fmla="*/ 872 h 873"/>
              <a:gd name="T108" fmla="*/ 870 w 873"/>
              <a:gd name="T109" fmla="*/ 867 h 873"/>
              <a:gd name="T110" fmla="*/ 873 w 873"/>
              <a:gd name="T111" fmla="*/ 858 h 873"/>
              <a:gd name="T112" fmla="*/ 871 w 873"/>
              <a:gd name="T113" fmla="*/ 671 h 873"/>
              <a:gd name="T114" fmla="*/ 866 w 873"/>
              <a:gd name="T115" fmla="*/ 665 h 873"/>
              <a:gd name="T116" fmla="*/ 858 w 873"/>
              <a:gd name="T117" fmla="*/ 662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3" h="873">
                <a:moveTo>
                  <a:pt x="858" y="662"/>
                </a:moveTo>
                <a:lnTo>
                  <a:pt x="782" y="662"/>
                </a:lnTo>
                <a:lnTo>
                  <a:pt x="782" y="436"/>
                </a:lnTo>
                <a:lnTo>
                  <a:pt x="782" y="433"/>
                </a:lnTo>
                <a:lnTo>
                  <a:pt x="781" y="431"/>
                </a:lnTo>
                <a:lnTo>
                  <a:pt x="779" y="428"/>
                </a:lnTo>
                <a:lnTo>
                  <a:pt x="778" y="426"/>
                </a:lnTo>
                <a:lnTo>
                  <a:pt x="776" y="424"/>
                </a:lnTo>
                <a:lnTo>
                  <a:pt x="773" y="423"/>
                </a:lnTo>
                <a:lnTo>
                  <a:pt x="771" y="421"/>
                </a:lnTo>
                <a:lnTo>
                  <a:pt x="767" y="421"/>
                </a:lnTo>
                <a:lnTo>
                  <a:pt x="451" y="421"/>
                </a:lnTo>
                <a:lnTo>
                  <a:pt x="451" y="180"/>
                </a:lnTo>
                <a:lnTo>
                  <a:pt x="707" y="180"/>
                </a:lnTo>
                <a:lnTo>
                  <a:pt x="711" y="180"/>
                </a:lnTo>
                <a:lnTo>
                  <a:pt x="713" y="179"/>
                </a:lnTo>
                <a:lnTo>
                  <a:pt x="716" y="178"/>
                </a:lnTo>
                <a:lnTo>
                  <a:pt x="718" y="176"/>
                </a:lnTo>
                <a:lnTo>
                  <a:pt x="719" y="174"/>
                </a:lnTo>
                <a:lnTo>
                  <a:pt x="721" y="172"/>
                </a:lnTo>
                <a:lnTo>
                  <a:pt x="721" y="168"/>
                </a:lnTo>
                <a:lnTo>
                  <a:pt x="722" y="165"/>
                </a:lnTo>
                <a:lnTo>
                  <a:pt x="722" y="15"/>
                </a:lnTo>
                <a:lnTo>
                  <a:pt x="721" y="12"/>
                </a:lnTo>
                <a:lnTo>
                  <a:pt x="721" y="10"/>
                </a:lnTo>
                <a:lnTo>
                  <a:pt x="719" y="6"/>
                </a:lnTo>
                <a:lnTo>
                  <a:pt x="718" y="4"/>
                </a:lnTo>
                <a:lnTo>
                  <a:pt x="716" y="2"/>
                </a:lnTo>
                <a:lnTo>
                  <a:pt x="713" y="1"/>
                </a:lnTo>
                <a:lnTo>
                  <a:pt x="711" y="0"/>
                </a:lnTo>
                <a:lnTo>
                  <a:pt x="707" y="0"/>
                </a:lnTo>
                <a:lnTo>
                  <a:pt x="165" y="0"/>
                </a:lnTo>
                <a:lnTo>
                  <a:pt x="163" y="0"/>
                </a:lnTo>
                <a:lnTo>
                  <a:pt x="159" y="1"/>
                </a:lnTo>
                <a:lnTo>
                  <a:pt x="157" y="2"/>
                </a:lnTo>
                <a:lnTo>
                  <a:pt x="155" y="4"/>
                </a:lnTo>
                <a:lnTo>
                  <a:pt x="153" y="6"/>
                </a:lnTo>
                <a:lnTo>
                  <a:pt x="152" y="10"/>
                </a:lnTo>
                <a:lnTo>
                  <a:pt x="151" y="12"/>
                </a:lnTo>
                <a:lnTo>
                  <a:pt x="150" y="15"/>
                </a:lnTo>
                <a:lnTo>
                  <a:pt x="150" y="165"/>
                </a:lnTo>
                <a:lnTo>
                  <a:pt x="151" y="168"/>
                </a:lnTo>
                <a:lnTo>
                  <a:pt x="152" y="172"/>
                </a:lnTo>
                <a:lnTo>
                  <a:pt x="153" y="174"/>
                </a:lnTo>
                <a:lnTo>
                  <a:pt x="155" y="176"/>
                </a:lnTo>
                <a:lnTo>
                  <a:pt x="157" y="178"/>
                </a:lnTo>
                <a:lnTo>
                  <a:pt x="159" y="179"/>
                </a:lnTo>
                <a:lnTo>
                  <a:pt x="163" y="180"/>
                </a:lnTo>
                <a:lnTo>
                  <a:pt x="165" y="180"/>
                </a:lnTo>
                <a:lnTo>
                  <a:pt x="421" y="180"/>
                </a:lnTo>
                <a:lnTo>
                  <a:pt x="421" y="421"/>
                </a:lnTo>
                <a:lnTo>
                  <a:pt x="105" y="421"/>
                </a:lnTo>
                <a:lnTo>
                  <a:pt x="101" y="421"/>
                </a:lnTo>
                <a:lnTo>
                  <a:pt x="99" y="423"/>
                </a:lnTo>
                <a:lnTo>
                  <a:pt x="96" y="424"/>
                </a:lnTo>
                <a:lnTo>
                  <a:pt x="94" y="426"/>
                </a:lnTo>
                <a:lnTo>
                  <a:pt x="93" y="428"/>
                </a:lnTo>
                <a:lnTo>
                  <a:pt x="91" y="431"/>
                </a:lnTo>
                <a:lnTo>
                  <a:pt x="91" y="433"/>
                </a:lnTo>
                <a:lnTo>
                  <a:pt x="90" y="436"/>
                </a:lnTo>
                <a:lnTo>
                  <a:pt x="90" y="662"/>
                </a:lnTo>
                <a:lnTo>
                  <a:pt x="15" y="662"/>
                </a:lnTo>
                <a:lnTo>
                  <a:pt x="11" y="663"/>
                </a:lnTo>
                <a:lnTo>
                  <a:pt x="9" y="664"/>
                </a:lnTo>
                <a:lnTo>
                  <a:pt x="6" y="665"/>
                </a:lnTo>
                <a:lnTo>
                  <a:pt x="4" y="667"/>
                </a:lnTo>
                <a:lnTo>
                  <a:pt x="2" y="669"/>
                </a:lnTo>
                <a:lnTo>
                  <a:pt x="1" y="671"/>
                </a:lnTo>
                <a:lnTo>
                  <a:pt x="0" y="675"/>
                </a:lnTo>
                <a:lnTo>
                  <a:pt x="0" y="678"/>
                </a:lnTo>
                <a:lnTo>
                  <a:pt x="0" y="858"/>
                </a:lnTo>
                <a:lnTo>
                  <a:pt x="0" y="861"/>
                </a:lnTo>
                <a:lnTo>
                  <a:pt x="1" y="863"/>
                </a:lnTo>
                <a:lnTo>
                  <a:pt x="2" y="867"/>
                </a:lnTo>
                <a:lnTo>
                  <a:pt x="4" y="869"/>
                </a:lnTo>
                <a:lnTo>
                  <a:pt x="6" y="871"/>
                </a:lnTo>
                <a:lnTo>
                  <a:pt x="9" y="872"/>
                </a:lnTo>
                <a:lnTo>
                  <a:pt x="11" y="873"/>
                </a:lnTo>
                <a:lnTo>
                  <a:pt x="15" y="873"/>
                </a:lnTo>
                <a:lnTo>
                  <a:pt x="196" y="873"/>
                </a:lnTo>
                <a:lnTo>
                  <a:pt x="198" y="873"/>
                </a:lnTo>
                <a:lnTo>
                  <a:pt x="201" y="872"/>
                </a:lnTo>
                <a:lnTo>
                  <a:pt x="203" y="871"/>
                </a:lnTo>
                <a:lnTo>
                  <a:pt x="205" y="869"/>
                </a:lnTo>
                <a:lnTo>
                  <a:pt x="208" y="867"/>
                </a:lnTo>
                <a:lnTo>
                  <a:pt x="209" y="863"/>
                </a:lnTo>
                <a:lnTo>
                  <a:pt x="210" y="861"/>
                </a:lnTo>
                <a:lnTo>
                  <a:pt x="211" y="858"/>
                </a:lnTo>
                <a:lnTo>
                  <a:pt x="211" y="677"/>
                </a:lnTo>
                <a:lnTo>
                  <a:pt x="210" y="675"/>
                </a:lnTo>
                <a:lnTo>
                  <a:pt x="209" y="671"/>
                </a:lnTo>
                <a:lnTo>
                  <a:pt x="208" y="669"/>
                </a:lnTo>
                <a:lnTo>
                  <a:pt x="205" y="667"/>
                </a:lnTo>
                <a:lnTo>
                  <a:pt x="203" y="665"/>
                </a:lnTo>
                <a:lnTo>
                  <a:pt x="201" y="664"/>
                </a:lnTo>
                <a:lnTo>
                  <a:pt x="198" y="663"/>
                </a:lnTo>
                <a:lnTo>
                  <a:pt x="196" y="663"/>
                </a:lnTo>
                <a:lnTo>
                  <a:pt x="120" y="662"/>
                </a:lnTo>
                <a:lnTo>
                  <a:pt x="120" y="451"/>
                </a:lnTo>
                <a:lnTo>
                  <a:pt x="421" y="451"/>
                </a:lnTo>
                <a:lnTo>
                  <a:pt x="421" y="662"/>
                </a:lnTo>
                <a:lnTo>
                  <a:pt x="346" y="662"/>
                </a:lnTo>
                <a:lnTo>
                  <a:pt x="343" y="663"/>
                </a:lnTo>
                <a:lnTo>
                  <a:pt x="340" y="664"/>
                </a:lnTo>
                <a:lnTo>
                  <a:pt x="337" y="665"/>
                </a:lnTo>
                <a:lnTo>
                  <a:pt x="335" y="667"/>
                </a:lnTo>
                <a:lnTo>
                  <a:pt x="333" y="669"/>
                </a:lnTo>
                <a:lnTo>
                  <a:pt x="332" y="671"/>
                </a:lnTo>
                <a:lnTo>
                  <a:pt x="331" y="675"/>
                </a:lnTo>
                <a:lnTo>
                  <a:pt x="331" y="678"/>
                </a:lnTo>
                <a:lnTo>
                  <a:pt x="331" y="858"/>
                </a:lnTo>
                <a:lnTo>
                  <a:pt x="331" y="861"/>
                </a:lnTo>
                <a:lnTo>
                  <a:pt x="332" y="863"/>
                </a:lnTo>
                <a:lnTo>
                  <a:pt x="333" y="867"/>
                </a:lnTo>
                <a:lnTo>
                  <a:pt x="335" y="869"/>
                </a:lnTo>
                <a:lnTo>
                  <a:pt x="337" y="871"/>
                </a:lnTo>
                <a:lnTo>
                  <a:pt x="340" y="872"/>
                </a:lnTo>
                <a:lnTo>
                  <a:pt x="343" y="873"/>
                </a:lnTo>
                <a:lnTo>
                  <a:pt x="346" y="873"/>
                </a:lnTo>
                <a:lnTo>
                  <a:pt x="526" y="873"/>
                </a:lnTo>
                <a:lnTo>
                  <a:pt x="529" y="873"/>
                </a:lnTo>
                <a:lnTo>
                  <a:pt x="533" y="872"/>
                </a:lnTo>
                <a:lnTo>
                  <a:pt x="535" y="871"/>
                </a:lnTo>
                <a:lnTo>
                  <a:pt x="537" y="869"/>
                </a:lnTo>
                <a:lnTo>
                  <a:pt x="539" y="867"/>
                </a:lnTo>
                <a:lnTo>
                  <a:pt x="540" y="863"/>
                </a:lnTo>
                <a:lnTo>
                  <a:pt x="541" y="861"/>
                </a:lnTo>
                <a:lnTo>
                  <a:pt x="541" y="858"/>
                </a:lnTo>
                <a:lnTo>
                  <a:pt x="541" y="677"/>
                </a:lnTo>
                <a:lnTo>
                  <a:pt x="541" y="675"/>
                </a:lnTo>
                <a:lnTo>
                  <a:pt x="540" y="671"/>
                </a:lnTo>
                <a:lnTo>
                  <a:pt x="539" y="669"/>
                </a:lnTo>
                <a:lnTo>
                  <a:pt x="537" y="667"/>
                </a:lnTo>
                <a:lnTo>
                  <a:pt x="535" y="665"/>
                </a:lnTo>
                <a:lnTo>
                  <a:pt x="533" y="664"/>
                </a:lnTo>
                <a:lnTo>
                  <a:pt x="529" y="663"/>
                </a:lnTo>
                <a:lnTo>
                  <a:pt x="526" y="663"/>
                </a:lnTo>
                <a:lnTo>
                  <a:pt x="451" y="662"/>
                </a:lnTo>
                <a:lnTo>
                  <a:pt x="451" y="451"/>
                </a:lnTo>
                <a:lnTo>
                  <a:pt x="752" y="451"/>
                </a:lnTo>
                <a:lnTo>
                  <a:pt x="752" y="662"/>
                </a:lnTo>
                <a:lnTo>
                  <a:pt x="677" y="662"/>
                </a:lnTo>
                <a:lnTo>
                  <a:pt x="674" y="663"/>
                </a:lnTo>
                <a:lnTo>
                  <a:pt x="671" y="664"/>
                </a:lnTo>
                <a:lnTo>
                  <a:pt x="669" y="665"/>
                </a:lnTo>
                <a:lnTo>
                  <a:pt x="667" y="667"/>
                </a:lnTo>
                <a:lnTo>
                  <a:pt x="664" y="669"/>
                </a:lnTo>
                <a:lnTo>
                  <a:pt x="663" y="671"/>
                </a:lnTo>
                <a:lnTo>
                  <a:pt x="662" y="675"/>
                </a:lnTo>
                <a:lnTo>
                  <a:pt x="662" y="678"/>
                </a:lnTo>
                <a:lnTo>
                  <a:pt x="662" y="858"/>
                </a:lnTo>
                <a:lnTo>
                  <a:pt x="662" y="861"/>
                </a:lnTo>
                <a:lnTo>
                  <a:pt x="663" y="863"/>
                </a:lnTo>
                <a:lnTo>
                  <a:pt x="664" y="867"/>
                </a:lnTo>
                <a:lnTo>
                  <a:pt x="667" y="869"/>
                </a:lnTo>
                <a:lnTo>
                  <a:pt x="669" y="871"/>
                </a:lnTo>
                <a:lnTo>
                  <a:pt x="671" y="872"/>
                </a:lnTo>
                <a:lnTo>
                  <a:pt x="674" y="873"/>
                </a:lnTo>
                <a:lnTo>
                  <a:pt x="677" y="873"/>
                </a:lnTo>
                <a:lnTo>
                  <a:pt x="858" y="873"/>
                </a:lnTo>
                <a:lnTo>
                  <a:pt x="861" y="873"/>
                </a:lnTo>
                <a:lnTo>
                  <a:pt x="864" y="872"/>
                </a:lnTo>
                <a:lnTo>
                  <a:pt x="866" y="871"/>
                </a:lnTo>
                <a:lnTo>
                  <a:pt x="868" y="869"/>
                </a:lnTo>
                <a:lnTo>
                  <a:pt x="870" y="867"/>
                </a:lnTo>
                <a:lnTo>
                  <a:pt x="871" y="863"/>
                </a:lnTo>
                <a:lnTo>
                  <a:pt x="873" y="861"/>
                </a:lnTo>
                <a:lnTo>
                  <a:pt x="873" y="858"/>
                </a:lnTo>
                <a:lnTo>
                  <a:pt x="873" y="677"/>
                </a:lnTo>
                <a:lnTo>
                  <a:pt x="873" y="675"/>
                </a:lnTo>
                <a:lnTo>
                  <a:pt x="871" y="671"/>
                </a:lnTo>
                <a:lnTo>
                  <a:pt x="870" y="669"/>
                </a:lnTo>
                <a:lnTo>
                  <a:pt x="868" y="667"/>
                </a:lnTo>
                <a:lnTo>
                  <a:pt x="866" y="665"/>
                </a:lnTo>
                <a:lnTo>
                  <a:pt x="864" y="664"/>
                </a:lnTo>
                <a:lnTo>
                  <a:pt x="861" y="663"/>
                </a:lnTo>
                <a:lnTo>
                  <a:pt x="858" y="662"/>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grpSp>
        <p:nvGrpSpPr>
          <p:cNvPr id="29" name="Group 28" descr="This is an icon of a truck.">
            <a:extLst>
              <a:ext uri="{FF2B5EF4-FFF2-40B4-BE49-F238E27FC236}">
                <a16:creationId xmlns:a16="http://schemas.microsoft.com/office/drawing/2014/main" id="{439307D1-A7BD-B310-7A63-3FC56375E671}"/>
              </a:ext>
            </a:extLst>
          </p:cNvPr>
          <p:cNvGrpSpPr/>
          <p:nvPr/>
        </p:nvGrpSpPr>
        <p:grpSpPr>
          <a:xfrm>
            <a:off x="10887477" y="4297223"/>
            <a:ext cx="287338" cy="249238"/>
            <a:chOff x="2598738" y="2530475"/>
            <a:chExt cx="287338" cy="249238"/>
          </a:xfrm>
          <a:solidFill>
            <a:srgbClr val="7F7F7F"/>
          </a:solidFill>
        </p:grpSpPr>
        <p:sp>
          <p:nvSpPr>
            <p:cNvPr id="30" name="Freeform 527">
              <a:extLst>
                <a:ext uri="{FF2B5EF4-FFF2-40B4-BE49-F238E27FC236}">
                  <a16:creationId xmlns:a16="http://schemas.microsoft.com/office/drawing/2014/main" id="{6BC4FFF4-A0BF-7BEB-D3AA-01862918CEA0}"/>
                </a:ext>
              </a:extLst>
            </p:cNvPr>
            <p:cNvSpPr>
              <a:spLocks/>
            </p:cNvSpPr>
            <p:nvPr/>
          </p:nvSpPr>
          <p:spPr bwMode="auto">
            <a:xfrm>
              <a:off x="2655888" y="2625725"/>
              <a:ext cx="123825" cy="134938"/>
            </a:xfrm>
            <a:custGeom>
              <a:avLst/>
              <a:gdLst>
                <a:gd name="T0" fmla="*/ 187 w 391"/>
                <a:gd name="T1" fmla="*/ 0 h 421"/>
                <a:gd name="T2" fmla="*/ 172 w 391"/>
                <a:gd name="T3" fmla="*/ 19 h 421"/>
                <a:gd name="T4" fmla="*/ 155 w 391"/>
                <a:gd name="T5" fmla="*/ 36 h 421"/>
                <a:gd name="T6" fmla="*/ 135 w 391"/>
                <a:gd name="T7" fmla="*/ 52 h 421"/>
                <a:gd name="T8" fmla="*/ 113 w 391"/>
                <a:gd name="T9" fmla="*/ 65 h 421"/>
                <a:gd name="T10" fmla="*/ 91 w 391"/>
                <a:gd name="T11" fmla="*/ 76 h 421"/>
                <a:gd name="T12" fmla="*/ 67 w 391"/>
                <a:gd name="T13" fmla="*/ 83 h 421"/>
                <a:gd name="T14" fmla="*/ 41 w 391"/>
                <a:gd name="T15" fmla="*/ 89 h 421"/>
                <a:gd name="T16" fmla="*/ 15 w 391"/>
                <a:gd name="T17" fmla="*/ 90 h 421"/>
                <a:gd name="T18" fmla="*/ 0 w 391"/>
                <a:gd name="T19" fmla="*/ 89 h 421"/>
                <a:gd name="T20" fmla="*/ 1 w 391"/>
                <a:gd name="T21" fmla="*/ 410 h 421"/>
                <a:gd name="T22" fmla="*/ 3 w 391"/>
                <a:gd name="T23" fmla="*/ 415 h 421"/>
                <a:gd name="T24" fmla="*/ 6 w 391"/>
                <a:gd name="T25" fmla="*/ 418 h 421"/>
                <a:gd name="T26" fmla="*/ 11 w 391"/>
                <a:gd name="T27" fmla="*/ 421 h 421"/>
                <a:gd name="T28" fmla="*/ 77 w 391"/>
                <a:gd name="T29" fmla="*/ 421 h 421"/>
                <a:gd name="T30" fmla="*/ 75 w 391"/>
                <a:gd name="T31" fmla="*/ 406 h 421"/>
                <a:gd name="T32" fmla="*/ 77 w 391"/>
                <a:gd name="T33" fmla="*/ 385 h 421"/>
                <a:gd name="T34" fmla="*/ 83 w 391"/>
                <a:gd name="T35" fmla="*/ 366 h 421"/>
                <a:gd name="T36" fmla="*/ 93 w 391"/>
                <a:gd name="T37" fmla="*/ 347 h 421"/>
                <a:gd name="T38" fmla="*/ 106 w 391"/>
                <a:gd name="T39" fmla="*/ 331 h 421"/>
                <a:gd name="T40" fmla="*/ 122 w 391"/>
                <a:gd name="T41" fmla="*/ 318 h 421"/>
                <a:gd name="T42" fmla="*/ 139 w 391"/>
                <a:gd name="T43" fmla="*/ 309 h 421"/>
                <a:gd name="T44" fmla="*/ 159 w 391"/>
                <a:gd name="T45" fmla="*/ 303 h 421"/>
                <a:gd name="T46" fmla="*/ 181 w 391"/>
                <a:gd name="T47" fmla="*/ 301 h 421"/>
                <a:gd name="T48" fmla="*/ 201 w 391"/>
                <a:gd name="T49" fmla="*/ 303 h 421"/>
                <a:gd name="T50" fmla="*/ 222 w 391"/>
                <a:gd name="T51" fmla="*/ 309 h 421"/>
                <a:gd name="T52" fmla="*/ 240 w 391"/>
                <a:gd name="T53" fmla="*/ 318 h 421"/>
                <a:gd name="T54" fmla="*/ 255 w 391"/>
                <a:gd name="T55" fmla="*/ 331 h 421"/>
                <a:gd name="T56" fmla="*/ 268 w 391"/>
                <a:gd name="T57" fmla="*/ 347 h 421"/>
                <a:gd name="T58" fmla="*/ 277 w 391"/>
                <a:gd name="T59" fmla="*/ 366 h 421"/>
                <a:gd name="T60" fmla="*/ 284 w 391"/>
                <a:gd name="T61" fmla="*/ 385 h 421"/>
                <a:gd name="T62" fmla="*/ 286 w 391"/>
                <a:gd name="T63" fmla="*/ 406 h 421"/>
                <a:gd name="T64" fmla="*/ 285 w 391"/>
                <a:gd name="T65" fmla="*/ 421 h 421"/>
                <a:gd name="T66" fmla="*/ 379 w 391"/>
                <a:gd name="T67" fmla="*/ 420 h 421"/>
                <a:gd name="T68" fmla="*/ 385 w 391"/>
                <a:gd name="T69" fmla="*/ 418 h 421"/>
                <a:gd name="T70" fmla="*/ 389 w 391"/>
                <a:gd name="T71" fmla="*/ 415 h 421"/>
                <a:gd name="T72" fmla="*/ 391 w 391"/>
                <a:gd name="T73" fmla="*/ 410 h 421"/>
                <a:gd name="T74" fmla="*/ 391 w 391"/>
                <a:gd name="T75" fmla="*/ 15 h 421"/>
                <a:gd name="T76" fmla="*/ 390 w 391"/>
                <a:gd name="T77" fmla="*/ 8 h 421"/>
                <a:gd name="T78" fmla="*/ 387 w 391"/>
                <a:gd name="T79" fmla="*/ 4 h 421"/>
                <a:gd name="T80" fmla="*/ 382 w 391"/>
                <a:gd name="T81" fmla="*/ 1 h 421"/>
                <a:gd name="T82" fmla="*/ 376 w 391"/>
                <a:gd name="T83"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1" h="421">
                  <a:moveTo>
                    <a:pt x="376" y="0"/>
                  </a:moveTo>
                  <a:lnTo>
                    <a:pt x="187" y="0"/>
                  </a:lnTo>
                  <a:lnTo>
                    <a:pt x="180" y="9"/>
                  </a:lnTo>
                  <a:lnTo>
                    <a:pt x="172" y="19"/>
                  </a:lnTo>
                  <a:lnTo>
                    <a:pt x="164" y="28"/>
                  </a:lnTo>
                  <a:lnTo>
                    <a:pt x="155" y="36"/>
                  </a:lnTo>
                  <a:lnTo>
                    <a:pt x="145" y="45"/>
                  </a:lnTo>
                  <a:lnTo>
                    <a:pt x="135" y="52"/>
                  </a:lnTo>
                  <a:lnTo>
                    <a:pt x="125" y="59"/>
                  </a:lnTo>
                  <a:lnTo>
                    <a:pt x="113" y="65"/>
                  </a:lnTo>
                  <a:lnTo>
                    <a:pt x="103" y="71"/>
                  </a:lnTo>
                  <a:lnTo>
                    <a:pt x="91" y="76"/>
                  </a:lnTo>
                  <a:lnTo>
                    <a:pt x="79" y="80"/>
                  </a:lnTo>
                  <a:lnTo>
                    <a:pt x="67" y="83"/>
                  </a:lnTo>
                  <a:lnTo>
                    <a:pt x="54" y="87"/>
                  </a:lnTo>
                  <a:lnTo>
                    <a:pt x="41" y="89"/>
                  </a:lnTo>
                  <a:lnTo>
                    <a:pt x="29" y="90"/>
                  </a:lnTo>
                  <a:lnTo>
                    <a:pt x="15" y="90"/>
                  </a:lnTo>
                  <a:lnTo>
                    <a:pt x="7" y="90"/>
                  </a:lnTo>
                  <a:lnTo>
                    <a:pt x="0" y="89"/>
                  </a:lnTo>
                  <a:lnTo>
                    <a:pt x="0" y="406"/>
                  </a:lnTo>
                  <a:lnTo>
                    <a:pt x="1" y="410"/>
                  </a:lnTo>
                  <a:lnTo>
                    <a:pt x="1" y="412"/>
                  </a:lnTo>
                  <a:lnTo>
                    <a:pt x="3" y="415"/>
                  </a:lnTo>
                  <a:lnTo>
                    <a:pt x="4" y="417"/>
                  </a:lnTo>
                  <a:lnTo>
                    <a:pt x="6" y="418"/>
                  </a:lnTo>
                  <a:lnTo>
                    <a:pt x="9" y="420"/>
                  </a:lnTo>
                  <a:lnTo>
                    <a:pt x="11" y="421"/>
                  </a:lnTo>
                  <a:lnTo>
                    <a:pt x="15" y="421"/>
                  </a:lnTo>
                  <a:lnTo>
                    <a:pt x="77" y="421"/>
                  </a:lnTo>
                  <a:lnTo>
                    <a:pt x="76" y="414"/>
                  </a:lnTo>
                  <a:lnTo>
                    <a:pt x="75" y="406"/>
                  </a:lnTo>
                  <a:lnTo>
                    <a:pt x="76" y="396"/>
                  </a:lnTo>
                  <a:lnTo>
                    <a:pt x="77" y="385"/>
                  </a:lnTo>
                  <a:lnTo>
                    <a:pt x="80" y="375"/>
                  </a:lnTo>
                  <a:lnTo>
                    <a:pt x="83" y="366"/>
                  </a:lnTo>
                  <a:lnTo>
                    <a:pt x="88" y="356"/>
                  </a:lnTo>
                  <a:lnTo>
                    <a:pt x="93" y="347"/>
                  </a:lnTo>
                  <a:lnTo>
                    <a:pt x="99" y="339"/>
                  </a:lnTo>
                  <a:lnTo>
                    <a:pt x="106" y="331"/>
                  </a:lnTo>
                  <a:lnTo>
                    <a:pt x="113" y="325"/>
                  </a:lnTo>
                  <a:lnTo>
                    <a:pt x="122" y="318"/>
                  </a:lnTo>
                  <a:lnTo>
                    <a:pt x="130" y="313"/>
                  </a:lnTo>
                  <a:lnTo>
                    <a:pt x="139" y="309"/>
                  </a:lnTo>
                  <a:lnTo>
                    <a:pt x="150" y="305"/>
                  </a:lnTo>
                  <a:lnTo>
                    <a:pt x="159" y="303"/>
                  </a:lnTo>
                  <a:lnTo>
                    <a:pt x="170" y="301"/>
                  </a:lnTo>
                  <a:lnTo>
                    <a:pt x="181" y="301"/>
                  </a:lnTo>
                  <a:lnTo>
                    <a:pt x="192" y="301"/>
                  </a:lnTo>
                  <a:lnTo>
                    <a:pt x="201" y="303"/>
                  </a:lnTo>
                  <a:lnTo>
                    <a:pt x="212" y="305"/>
                  </a:lnTo>
                  <a:lnTo>
                    <a:pt x="222" y="309"/>
                  </a:lnTo>
                  <a:lnTo>
                    <a:pt x="230" y="313"/>
                  </a:lnTo>
                  <a:lnTo>
                    <a:pt x="240" y="318"/>
                  </a:lnTo>
                  <a:lnTo>
                    <a:pt x="247" y="325"/>
                  </a:lnTo>
                  <a:lnTo>
                    <a:pt x="255" y="331"/>
                  </a:lnTo>
                  <a:lnTo>
                    <a:pt x="261" y="339"/>
                  </a:lnTo>
                  <a:lnTo>
                    <a:pt x="268" y="347"/>
                  </a:lnTo>
                  <a:lnTo>
                    <a:pt x="273" y="356"/>
                  </a:lnTo>
                  <a:lnTo>
                    <a:pt x="277" y="366"/>
                  </a:lnTo>
                  <a:lnTo>
                    <a:pt x="282" y="375"/>
                  </a:lnTo>
                  <a:lnTo>
                    <a:pt x="284" y="385"/>
                  </a:lnTo>
                  <a:lnTo>
                    <a:pt x="285" y="396"/>
                  </a:lnTo>
                  <a:lnTo>
                    <a:pt x="286" y="406"/>
                  </a:lnTo>
                  <a:lnTo>
                    <a:pt x="286" y="414"/>
                  </a:lnTo>
                  <a:lnTo>
                    <a:pt x="285" y="421"/>
                  </a:lnTo>
                  <a:lnTo>
                    <a:pt x="376" y="421"/>
                  </a:lnTo>
                  <a:lnTo>
                    <a:pt x="379" y="420"/>
                  </a:lnTo>
                  <a:lnTo>
                    <a:pt x="382" y="420"/>
                  </a:lnTo>
                  <a:lnTo>
                    <a:pt x="385" y="418"/>
                  </a:lnTo>
                  <a:lnTo>
                    <a:pt x="387" y="417"/>
                  </a:lnTo>
                  <a:lnTo>
                    <a:pt x="389" y="415"/>
                  </a:lnTo>
                  <a:lnTo>
                    <a:pt x="390" y="412"/>
                  </a:lnTo>
                  <a:lnTo>
                    <a:pt x="391" y="410"/>
                  </a:lnTo>
                  <a:lnTo>
                    <a:pt x="391" y="406"/>
                  </a:lnTo>
                  <a:lnTo>
                    <a:pt x="391" y="15"/>
                  </a:lnTo>
                  <a:lnTo>
                    <a:pt x="391" y="12"/>
                  </a:lnTo>
                  <a:lnTo>
                    <a:pt x="390" y="8"/>
                  </a:lnTo>
                  <a:lnTo>
                    <a:pt x="389" y="6"/>
                  </a:lnTo>
                  <a:lnTo>
                    <a:pt x="387" y="4"/>
                  </a:lnTo>
                  <a:lnTo>
                    <a:pt x="385" y="2"/>
                  </a:lnTo>
                  <a:lnTo>
                    <a:pt x="382" y="1"/>
                  </a:lnTo>
                  <a:lnTo>
                    <a:pt x="379" y="0"/>
                  </a:lnTo>
                  <a:lnTo>
                    <a:pt x="376" y="0"/>
                  </a:lnTo>
                  <a:lnTo>
                    <a:pt x="3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31" name="Freeform 528">
              <a:extLst>
                <a:ext uri="{FF2B5EF4-FFF2-40B4-BE49-F238E27FC236}">
                  <a16:creationId xmlns:a16="http://schemas.microsoft.com/office/drawing/2014/main" id="{8532088B-4CF5-E5F4-B787-0B38BC5E920C}"/>
                </a:ext>
              </a:extLst>
            </p:cNvPr>
            <p:cNvSpPr>
              <a:spLocks/>
            </p:cNvSpPr>
            <p:nvPr/>
          </p:nvSpPr>
          <p:spPr bwMode="auto">
            <a:xfrm>
              <a:off x="2598738" y="2692400"/>
              <a:ext cx="47625" cy="9525"/>
            </a:xfrm>
            <a:custGeom>
              <a:avLst/>
              <a:gdLst>
                <a:gd name="T0" fmla="*/ 136 w 151"/>
                <a:gd name="T1" fmla="*/ 0 h 30"/>
                <a:gd name="T2" fmla="*/ 15 w 151"/>
                <a:gd name="T3" fmla="*/ 0 h 30"/>
                <a:gd name="T4" fmla="*/ 12 w 151"/>
                <a:gd name="T5" fmla="*/ 1 h 30"/>
                <a:gd name="T6" fmla="*/ 9 w 151"/>
                <a:gd name="T7" fmla="*/ 1 h 30"/>
                <a:gd name="T8" fmla="*/ 7 w 151"/>
                <a:gd name="T9" fmla="*/ 3 h 30"/>
                <a:gd name="T10" fmla="*/ 5 w 151"/>
                <a:gd name="T11" fmla="*/ 4 h 30"/>
                <a:gd name="T12" fmla="*/ 3 w 151"/>
                <a:gd name="T13" fmla="*/ 6 h 30"/>
                <a:gd name="T14" fmla="*/ 2 w 151"/>
                <a:gd name="T15" fmla="*/ 10 h 30"/>
                <a:gd name="T16" fmla="*/ 0 w 151"/>
                <a:gd name="T17" fmla="*/ 13 h 30"/>
                <a:gd name="T18" fmla="*/ 0 w 151"/>
                <a:gd name="T19" fmla="*/ 15 h 30"/>
                <a:gd name="T20" fmla="*/ 0 w 151"/>
                <a:gd name="T21" fmla="*/ 18 h 30"/>
                <a:gd name="T22" fmla="*/ 2 w 151"/>
                <a:gd name="T23" fmla="*/ 21 h 30"/>
                <a:gd name="T24" fmla="*/ 3 w 151"/>
                <a:gd name="T25" fmla="*/ 24 h 30"/>
                <a:gd name="T26" fmla="*/ 5 w 151"/>
                <a:gd name="T27" fmla="*/ 26 h 30"/>
                <a:gd name="T28" fmla="*/ 7 w 151"/>
                <a:gd name="T29" fmla="*/ 28 h 30"/>
                <a:gd name="T30" fmla="*/ 9 w 151"/>
                <a:gd name="T31" fmla="*/ 29 h 30"/>
                <a:gd name="T32" fmla="*/ 12 w 151"/>
                <a:gd name="T33" fmla="*/ 30 h 30"/>
                <a:gd name="T34" fmla="*/ 15 w 151"/>
                <a:gd name="T35" fmla="*/ 30 h 30"/>
                <a:gd name="T36" fmla="*/ 136 w 151"/>
                <a:gd name="T37" fmla="*/ 30 h 30"/>
                <a:gd name="T38" fmla="*/ 139 w 151"/>
                <a:gd name="T39" fmla="*/ 30 h 30"/>
                <a:gd name="T40" fmla="*/ 142 w 151"/>
                <a:gd name="T41" fmla="*/ 29 h 30"/>
                <a:gd name="T42" fmla="*/ 144 w 151"/>
                <a:gd name="T43" fmla="*/ 28 h 30"/>
                <a:gd name="T44" fmla="*/ 146 w 151"/>
                <a:gd name="T45" fmla="*/ 26 h 30"/>
                <a:gd name="T46" fmla="*/ 148 w 151"/>
                <a:gd name="T47" fmla="*/ 24 h 30"/>
                <a:gd name="T48" fmla="*/ 150 w 151"/>
                <a:gd name="T49" fmla="*/ 21 h 30"/>
                <a:gd name="T50" fmla="*/ 151 w 151"/>
                <a:gd name="T51" fmla="*/ 18 h 30"/>
                <a:gd name="T52" fmla="*/ 151 w 151"/>
                <a:gd name="T53" fmla="*/ 15 h 30"/>
                <a:gd name="T54" fmla="*/ 151 w 151"/>
                <a:gd name="T55" fmla="*/ 13 h 30"/>
                <a:gd name="T56" fmla="*/ 150 w 151"/>
                <a:gd name="T57" fmla="*/ 10 h 30"/>
                <a:gd name="T58" fmla="*/ 148 w 151"/>
                <a:gd name="T59" fmla="*/ 8 h 30"/>
                <a:gd name="T60" fmla="*/ 146 w 151"/>
                <a:gd name="T61" fmla="*/ 4 h 30"/>
                <a:gd name="T62" fmla="*/ 144 w 151"/>
                <a:gd name="T63" fmla="*/ 3 h 30"/>
                <a:gd name="T64" fmla="*/ 142 w 151"/>
                <a:gd name="T65" fmla="*/ 1 h 30"/>
                <a:gd name="T66" fmla="*/ 139 w 151"/>
                <a:gd name="T67" fmla="*/ 1 h 30"/>
                <a:gd name="T68" fmla="*/ 136 w 15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30">
                  <a:moveTo>
                    <a:pt x="136" y="0"/>
                  </a:moveTo>
                  <a:lnTo>
                    <a:pt x="15" y="0"/>
                  </a:lnTo>
                  <a:lnTo>
                    <a:pt x="12" y="1"/>
                  </a:lnTo>
                  <a:lnTo>
                    <a:pt x="9" y="1"/>
                  </a:lnTo>
                  <a:lnTo>
                    <a:pt x="7" y="3"/>
                  </a:lnTo>
                  <a:lnTo>
                    <a:pt x="5" y="4"/>
                  </a:lnTo>
                  <a:lnTo>
                    <a:pt x="3" y="6"/>
                  </a:lnTo>
                  <a:lnTo>
                    <a:pt x="2" y="10"/>
                  </a:lnTo>
                  <a:lnTo>
                    <a:pt x="0" y="13"/>
                  </a:lnTo>
                  <a:lnTo>
                    <a:pt x="0" y="15"/>
                  </a:lnTo>
                  <a:lnTo>
                    <a:pt x="0" y="18"/>
                  </a:lnTo>
                  <a:lnTo>
                    <a:pt x="2" y="21"/>
                  </a:lnTo>
                  <a:lnTo>
                    <a:pt x="3" y="24"/>
                  </a:lnTo>
                  <a:lnTo>
                    <a:pt x="5" y="26"/>
                  </a:lnTo>
                  <a:lnTo>
                    <a:pt x="7" y="28"/>
                  </a:lnTo>
                  <a:lnTo>
                    <a:pt x="9" y="29"/>
                  </a:lnTo>
                  <a:lnTo>
                    <a:pt x="12" y="30"/>
                  </a:lnTo>
                  <a:lnTo>
                    <a:pt x="15" y="30"/>
                  </a:lnTo>
                  <a:lnTo>
                    <a:pt x="136" y="30"/>
                  </a:lnTo>
                  <a:lnTo>
                    <a:pt x="139" y="30"/>
                  </a:lnTo>
                  <a:lnTo>
                    <a:pt x="142" y="29"/>
                  </a:lnTo>
                  <a:lnTo>
                    <a:pt x="144" y="28"/>
                  </a:lnTo>
                  <a:lnTo>
                    <a:pt x="146" y="26"/>
                  </a:lnTo>
                  <a:lnTo>
                    <a:pt x="148" y="24"/>
                  </a:lnTo>
                  <a:lnTo>
                    <a:pt x="150" y="21"/>
                  </a:lnTo>
                  <a:lnTo>
                    <a:pt x="151" y="18"/>
                  </a:lnTo>
                  <a:lnTo>
                    <a:pt x="151" y="15"/>
                  </a:lnTo>
                  <a:lnTo>
                    <a:pt x="151" y="13"/>
                  </a:lnTo>
                  <a:lnTo>
                    <a:pt x="150" y="10"/>
                  </a:lnTo>
                  <a:lnTo>
                    <a:pt x="148" y="8"/>
                  </a:lnTo>
                  <a:lnTo>
                    <a:pt x="146" y="4"/>
                  </a:lnTo>
                  <a:lnTo>
                    <a:pt x="144" y="3"/>
                  </a:lnTo>
                  <a:lnTo>
                    <a:pt x="142" y="1"/>
                  </a:lnTo>
                  <a:lnTo>
                    <a:pt x="139" y="1"/>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32" name="Freeform 529">
              <a:extLst>
                <a:ext uri="{FF2B5EF4-FFF2-40B4-BE49-F238E27FC236}">
                  <a16:creationId xmlns:a16="http://schemas.microsoft.com/office/drawing/2014/main" id="{93354EDC-CD12-D37D-8DD9-88286276B960}"/>
                </a:ext>
              </a:extLst>
            </p:cNvPr>
            <p:cNvSpPr>
              <a:spLocks/>
            </p:cNvSpPr>
            <p:nvPr/>
          </p:nvSpPr>
          <p:spPr bwMode="auto">
            <a:xfrm>
              <a:off x="2617788" y="2711450"/>
              <a:ext cx="28575" cy="11113"/>
            </a:xfrm>
            <a:custGeom>
              <a:avLst/>
              <a:gdLst>
                <a:gd name="T0" fmla="*/ 76 w 91"/>
                <a:gd name="T1" fmla="*/ 0 h 31"/>
                <a:gd name="T2" fmla="*/ 16 w 91"/>
                <a:gd name="T3" fmla="*/ 0 h 31"/>
                <a:gd name="T4" fmla="*/ 12 w 91"/>
                <a:gd name="T5" fmla="*/ 1 h 31"/>
                <a:gd name="T6" fmla="*/ 10 w 91"/>
                <a:gd name="T7" fmla="*/ 1 h 31"/>
                <a:gd name="T8" fmla="*/ 7 w 91"/>
                <a:gd name="T9" fmla="*/ 3 h 31"/>
                <a:gd name="T10" fmla="*/ 5 w 91"/>
                <a:gd name="T11" fmla="*/ 5 h 31"/>
                <a:gd name="T12" fmla="*/ 3 w 91"/>
                <a:gd name="T13" fmla="*/ 8 h 31"/>
                <a:gd name="T14" fmla="*/ 2 w 91"/>
                <a:gd name="T15" fmla="*/ 10 h 31"/>
                <a:gd name="T16" fmla="*/ 0 w 91"/>
                <a:gd name="T17" fmla="*/ 13 h 31"/>
                <a:gd name="T18" fmla="*/ 0 w 91"/>
                <a:gd name="T19" fmla="*/ 15 h 31"/>
                <a:gd name="T20" fmla="*/ 0 w 91"/>
                <a:gd name="T21" fmla="*/ 18 h 31"/>
                <a:gd name="T22" fmla="*/ 2 w 91"/>
                <a:gd name="T23" fmla="*/ 22 h 31"/>
                <a:gd name="T24" fmla="*/ 3 w 91"/>
                <a:gd name="T25" fmla="*/ 24 h 31"/>
                <a:gd name="T26" fmla="*/ 5 w 91"/>
                <a:gd name="T27" fmla="*/ 26 h 31"/>
                <a:gd name="T28" fmla="*/ 7 w 91"/>
                <a:gd name="T29" fmla="*/ 28 h 31"/>
                <a:gd name="T30" fmla="*/ 10 w 91"/>
                <a:gd name="T31" fmla="*/ 29 h 31"/>
                <a:gd name="T32" fmla="*/ 12 w 91"/>
                <a:gd name="T33" fmla="*/ 30 h 31"/>
                <a:gd name="T34" fmla="*/ 16 w 91"/>
                <a:gd name="T35" fmla="*/ 31 h 31"/>
                <a:gd name="T36" fmla="*/ 76 w 91"/>
                <a:gd name="T37" fmla="*/ 31 h 31"/>
                <a:gd name="T38" fmla="*/ 79 w 91"/>
                <a:gd name="T39" fmla="*/ 30 h 31"/>
                <a:gd name="T40" fmla="*/ 82 w 91"/>
                <a:gd name="T41" fmla="*/ 29 h 31"/>
                <a:gd name="T42" fmla="*/ 84 w 91"/>
                <a:gd name="T43" fmla="*/ 28 h 31"/>
                <a:gd name="T44" fmla="*/ 86 w 91"/>
                <a:gd name="T45" fmla="*/ 26 h 31"/>
                <a:gd name="T46" fmla="*/ 88 w 91"/>
                <a:gd name="T47" fmla="*/ 24 h 31"/>
                <a:gd name="T48" fmla="*/ 90 w 91"/>
                <a:gd name="T49" fmla="*/ 22 h 31"/>
                <a:gd name="T50" fmla="*/ 91 w 91"/>
                <a:gd name="T51" fmla="*/ 18 h 31"/>
                <a:gd name="T52" fmla="*/ 91 w 91"/>
                <a:gd name="T53" fmla="*/ 15 h 31"/>
                <a:gd name="T54" fmla="*/ 91 w 91"/>
                <a:gd name="T55" fmla="*/ 13 h 31"/>
                <a:gd name="T56" fmla="*/ 90 w 91"/>
                <a:gd name="T57" fmla="*/ 10 h 31"/>
                <a:gd name="T58" fmla="*/ 88 w 91"/>
                <a:gd name="T59" fmla="*/ 8 h 31"/>
                <a:gd name="T60" fmla="*/ 86 w 91"/>
                <a:gd name="T61" fmla="*/ 5 h 31"/>
                <a:gd name="T62" fmla="*/ 84 w 91"/>
                <a:gd name="T63" fmla="*/ 3 h 31"/>
                <a:gd name="T64" fmla="*/ 82 w 91"/>
                <a:gd name="T65" fmla="*/ 2 h 31"/>
                <a:gd name="T66" fmla="*/ 79 w 91"/>
                <a:gd name="T67" fmla="*/ 1 h 31"/>
                <a:gd name="T68" fmla="*/ 76 w 91"/>
                <a:gd name="T69" fmla="*/ 0 h 31"/>
                <a:gd name="T70" fmla="*/ 76 w 91"/>
                <a:gd name="T7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31">
                  <a:moveTo>
                    <a:pt x="76" y="0"/>
                  </a:moveTo>
                  <a:lnTo>
                    <a:pt x="16" y="0"/>
                  </a:lnTo>
                  <a:lnTo>
                    <a:pt x="12" y="1"/>
                  </a:lnTo>
                  <a:lnTo>
                    <a:pt x="10" y="1"/>
                  </a:lnTo>
                  <a:lnTo>
                    <a:pt x="7" y="3"/>
                  </a:lnTo>
                  <a:lnTo>
                    <a:pt x="5" y="5"/>
                  </a:lnTo>
                  <a:lnTo>
                    <a:pt x="3" y="8"/>
                  </a:lnTo>
                  <a:lnTo>
                    <a:pt x="2" y="10"/>
                  </a:lnTo>
                  <a:lnTo>
                    <a:pt x="0" y="13"/>
                  </a:lnTo>
                  <a:lnTo>
                    <a:pt x="0" y="15"/>
                  </a:lnTo>
                  <a:lnTo>
                    <a:pt x="0" y="18"/>
                  </a:lnTo>
                  <a:lnTo>
                    <a:pt x="2" y="22"/>
                  </a:lnTo>
                  <a:lnTo>
                    <a:pt x="3" y="24"/>
                  </a:lnTo>
                  <a:lnTo>
                    <a:pt x="5" y="26"/>
                  </a:lnTo>
                  <a:lnTo>
                    <a:pt x="7" y="28"/>
                  </a:lnTo>
                  <a:lnTo>
                    <a:pt x="10" y="29"/>
                  </a:lnTo>
                  <a:lnTo>
                    <a:pt x="12" y="30"/>
                  </a:lnTo>
                  <a:lnTo>
                    <a:pt x="16" y="31"/>
                  </a:lnTo>
                  <a:lnTo>
                    <a:pt x="76" y="31"/>
                  </a:lnTo>
                  <a:lnTo>
                    <a:pt x="79" y="30"/>
                  </a:lnTo>
                  <a:lnTo>
                    <a:pt x="82" y="29"/>
                  </a:lnTo>
                  <a:lnTo>
                    <a:pt x="84" y="28"/>
                  </a:lnTo>
                  <a:lnTo>
                    <a:pt x="86" y="26"/>
                  </a:lnTo>
                  <a:lnTo>
                    <a:pt x="88" y="24"/>
                  </a:lnTo>
                  <a:lnTo>
                    <a:pt x="90" y="22"/>
                  </a:lnTo>
                  <a:lnTo>
                    <a:pt x="91" y="18"/>
                  </a:lnTo>
                  <a:lnTo>
                    <a:pt x="91" y="15"/>
                  </a:lnTo>
                  <a:lnTo>
                    <a:pt x="91" y="13"/>
                  </a:lnTo>
                  <a:lnTo>
                    <a:pt x="90" y="10"/>
                  </a:lnTo>
                  <a:lnTo>
                    <a:pt x="88" y="8"/>
                  </a:lnTo>
                  <a:lnTo>
                    <a:pt x="86" y="5"/>
                  </a:lnTo>
                  <a:lnTo>
                    <a:pt x="84" y="3"/>
                  </a:lnTo>
                  <a:lnTo>
                    <a:pt x="82" y="2"/>
                  </a:lnTo>
                  <a:lnTo>
                    <a:pt x="79" y="1"/>
                  </a:lnTo>
                  <a:lnTo>
                    <a:pt x="76"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33" name="Freeform 530">
              <a:extLst>
                <a:ext uri="{FF2B5EF4-FFF2-40B4-BE49-F238E27FC236}">
                  <a16:creationId xmlns:a16="http://schemas.microsoft.com/office/drawing/2014/main" id="{185F2961-CB23-9AF4-4AEA-B140FFD469B8}"/>
                </a:ext>
              </a:extLst>
            </p:cNvPr>
            <p:cNvSpPr>
              <a:spLocks/>
            </p:cNvSpPr>
            <p:nvPr/>
          </p:nvSpPr>
          <p:spPr bwMode="auto">
            <a:xfrm>
              <a:off x="2627313" y="2732088"/>
              <a:ext cx="19050" cy="9525"/>
            </a:xfrm>
            <a:custGeom>
              <a:avLst/>
              <a:gdLst>
                <a:gd name="T0" fmla="*/ 45 w 60"/>
                <a:gd name="T1" fmla="*/ 0 h 30"/>
                <a:gd name="T2" fmla="*/ 15 w 60"/>
                <a:gd name="T3" fmla="*/ 0 h 30"/>
                <a:gd name="T4" fmla="*/ 11 w 60"/>
                <a:gd name="T5" fmla="*/ 0 h 30"/>
                <a:gd name="T6" fmla="*/ 9 w 60"/>
                <a:gd name="T7" fmla="*/ 1 h 30"/>
                <a:gd name="T8" fmla="*/ 6 w 60"/>
                <a:gd name="T9" fmla="*/ 2 h 30"/>
                <a:gd name="T10" fmla="*/ 4 w 60"/>
                <a:gd name="T11" fmla="*/ 5 h 30"/>
                <a:gd name="T12" fmla="*/ 2 w 60"/>
                <a:gd name="T13" fmla="*/ 7 h 30"/>
                <a:gd name="T14" fmla="*/ 1 w 60"/>
                <a:gd name="T15" fmla="*/ 9 h 30"/>
                <a:gd name="T16" fmla="*/ 0 w 60"/>
                <a:gd name="T17" fmla="*/ 12 h 30"/>
                <a:gd name="T18" fmla="*/ 0 w 60"/>
                <a:gd name="T19" fmla="*/ 15 h 30"/>
                <a:gd name="T20" fmla="*/ 0 w 60"/>
                <a:gd name="T21" fmla="*/ 17 h 30"/>
                <a:gd name="T22" fmla="*/ 1 w 60"/>
                <a:gd name="T23" fmla="*/ 21 h 30"/>
                <a:gd name="T24" fmla="*/ 2 w 60"/>
                <a:gd name="T25" fmla="*/ 23 h 30"/>
                <a:gd name="T26" fmla="*/ 4 w 60"/>
                <a:gd name="T27" fmla="*/ 26 h 30"/>
                <a:gd name="T28" fmla="*/ 6 w 60"/>
                <a:gd name="T29" fmla="*/ 27 h 30"/>
                <a:gd name="T30" fmla="*/ 9 w 60"/>
                <a:gd name="T31" fmla="*/ 29 h 30"/>
                <a:gd name="T32" fmla="*/ 11 w 60"/>
                <a:gd name="T33" fmla="*/ 29 h 30"/>
                <a:gd name="T34" fmla="*/ 15 w 60"/>
                <a:gd name="T35" fmla="*/ 30 h 30"/>
                <a:gd name="T36" fmla="*/ 45 w 60"/>
                <a:gd name="T37" fmla="*/ 30 h 30"/>
                <a:gd name="T38" fmla="*/ 48 w 60"/>
                <a:gd name="T39" fmla="*/ 29 h 30"/>
                <a:gd name="T40" fmla="*/ 51 w 60"/>
                <a:gd name="T41" fmla="*/ 29 h 30"/>
                <a:gd name="T42" fmla="*/ 53 w 60"/>
                <a:gd name="T43" fmla="*/ 27 h 30"/>
                <a:gd name="T44" fmla="*/ 55 w 60"/>
                <a:gd name="T45" fmla="*/ 26 h 30"/>
                <a:gd name="T46" fmla="*/ 57 w 60"/>
                <a:gd name="T47" fmla="*/ 23 h 30"/>
                <a:gd name="T48" fmla="*/ 59 w 60"/>
                <a:gd name="T49" fmla="*/ 21 h 30"/>
                <a:gd name="T50" fmla="*/ 60 w 60"/>
                <a:gd name="T51" fmla="*/ 17 h 30"/>
                <a:gd name="T52" fmla="*/ 60 w 60"/>
                <a:gd name="T53" fmla="*/ 15 h 30"/>
                <a:gd name="T54" fmla="*/ 60 w 60"/>
                <a:gd name="T55" fmla="*/ 12 h 30"/>
                <a:gd name="T56" fmla="*/ 59 w 60"/>
                <a:gd name="T57" fmla="*/ 9 h 30"/>
                <a:gd name="T58" fmla="*/ 57 w 60"/>
                <a:gd name="T59" fmla="*/ 7 h 30"/>
                <a:gd name="T60" fmla="*/ 55 w 60"/>
                <a:gd name="T61" fmla="*/ 5 h 30"/>
                <a:gd name="T62" fmla="*/ 53 w 60"/>
                <a:gd name="T63" fmla="*/ 2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1" y="0"/>
                  </a:lnTo>
                  <a:lnTo>
                    <a:pt x="9" y="1"/>
                  </a:lnTo>
                  <a:lnTo>
                    <a:pt x="6" y="2"/>
                  </a:lnTo>
                  <a:lnTo>
                    <a:pt x="4" y="5"/>
                  </a:lnTo>
                  <a:lnTo>
                    <a:pt x="2" y="7"/>
                  </a:lnTo>
                  <a:lnTo>
                    <a:pt x="1" y="9"/>
                  </a:lnTo>
                  <a:lnTo>
                    <a:pt x="0" y="12"/>
                  </a:lnTo>
                  <a:lnTo>
                    <a:pt x="0" y="15"/>
                  </a:lnTo>
                  <a:lnTo>
                    <a:pt x="0" y="17"/>
                  </a:lnTo>
                  <a:lnTo>
                    <a:pt x="1" y="21"/>
                  </a:lnTo>
                  <a:lnTo>
                    <a:pt x="2" y="23"/>
                  </a:lnTo>
                  <a:lnTo>
                    <a:pt x="4" y="26"/>
                  </a:lnTo>
                  <a:lnTo>
                    <a:pt x="6" y="27"/>
                  </a:lnTo>
                  <a:lnTo>
                    <a:pt x="9" y="29"/>
                  </a:lnTo>
                  <a:lnTo>
                    <a:pt x="11" y="29"/>
                  </a:lnTo>
                  <a:lnTo>
                    <a:pt x="15" y="30"/>
                  </a:lnTo>
                  <a:lnTo>
                    <a:pt x="45" y="30"/>
                  </a:lnTo>
                  <a:lnTo>
                    <a:pt x="48" y="29"/>
                  </a:lnTo>
                  <a:lnTo>
                    <a:pt x="51" y="29"/>
                  </a:lnTo>
                  <a:lnTo>
                    <a:pt x="53" y="27"/>
                  </a:lnTo>
                  <a:lnTo>
                    <a:pt x="55" y="26"/>
                  </a:lnTo>
                  <a:lnTo>
                    <a:pt x="57" y="23"/>
                  </a:lnTo>
                  <a:lnTo>
                    <a:pt x="59" y="21"/>
                  </a:lnTo>
                  <a:lnTo>
                    <a:pt x="60" y="17"/>
                  </a:lnTo>
                  <a:lnTo>
                    <a:pt x="60" y="15"/>
                  </a:lnTo>
                  <a:lnTo>
                    <a:pt x="60" y="12"/>
                  </a:lnTo>
                  <a:lnTo>
                    <a:pt x="59" y="9"/>
                  </a:lnTo>
                  <a:lnTo>
                    <a:pt x="57" y="7"/>
                  </a:lnTo>
                  <a:lnTo>
                    <a:pt x="55" y="5"/>
                  </a:lnTo>
                  <a:lnTo>
                    <a:pt x="53" y="2"/>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34" name="Freeform 531">
              <a:extLst>
                <a:ext uri="{FF2B5EF4-FFF2-40B4-BE49-F238E27FC236}">
                  <a16:creationId xmlns:a16="http://schemas.microsoft.com/office/drawing/2014/main" id="{05FBBC17-2877-DC8B-9630-4ED096E1715E}"/>
                </a:ext>
              </a:extLst>
            </p:cNvPr>
            <p:cNvSpPr>
              <a:spLocks noEditPoints="1"/>
            </p:cNvSpPr>
            <p:nvPr/>
          </p:nvSpPr>
          <p:spPr bwMode="auto">
            <a:xfrm>
              <a:off x="2603500" y="2530475"/>
              <a:ext cx="114300" cy="114300"/>
            </a:xfrm>
            <a:custGeom>
              <a:avLst/>
              <a:gdLst>
                <a:gd name="T0" fmla="*/ 167 w 362"/>
                <a:gd name="T1" fmla="*/ 103 h 362"/>
                <a:gd name="T2" fmla="*/ 169 w 362"/>
                <a:gd name="T3" fmla="*/ 98 h 362"/>
                <a:gd name="T4" fmla="*/ 172 w 362"/>
                <a:gd name="T5" fmla="*/ 94 h 362"/>
                <a:gd name="T6" fmla="*/ 177 w 362"/>
                <a:gd name="T7" fmla="*/ 92 h 362"/>
                <a:gd name="T8" fmla="*/ 184 w 362"/>
                <a:gd name="T9" fmla="*/ 92 h 362"/>
                <a:gd name="T10" fmla="*/ 189 w 362"/>
                <a:gd name="T11" fmla="*/ 94 h 362"/>
                <a:gd name="T12" fmla="*/ 193 w 362"/>
                <a:gd name="T13" fmla="*/ 98 h 362"/>
                <a:gd name="T14" fmla="*/ 196 w 362"/>
                <a:gd name="T15" fmla="*/ 103 h 362"/>
                <a:gd name="T16" fmla="*/ 196 w 362"/>
                <a:gd name="T17" fmla="*/ 181 h 362"/>
                <a:gd name="T18" fmla="*/ 244 w 362"/>
                <a:gd name="T19" fmla="*/ 182 h 362"/>
                <a:gd name="T20" fmla="*/ 249 w 362"/>
                <a:gd name="T21" fmla="*/ 184 h 362"/>
                <a:gd name="T22" fmla="*/ 254 w 362"/>
                <a:gd name="T23" fmla="*/ 188 h 362"/>
                <a:gd name="T24" fmla="*/ 256 w 362"/>
                <a:gd name="T25" fmla="*/ 193 h 362"/>
                <a:gd name="T26" fmla="*/ 256 w 362"/>
                <a:gd name="T27" fmla="*/ 199 h 362"/>
                <a:gd name="T28" fmla="*/ 254 w 362"/>
                <a:gd name="T29" fmla="*/ 204 h 362"/>
                <a:gd name="T30" fmla="*/ 249 w 362"/>
                <a:gd name="T31" fmla="*/ 208 h 362"/>
                <a:gd name="T32" fmla="*/ 244 w 362"/>
                <a:gd name="T33" fmla="*/ 211 h 362"/>
                <a:gd name="T34" fmla="*/ 181 w 362"/>
                <a:gd name="T35" fmla="*/ 212 h 362"/>
                <a:gd name="T36" fmla="*/ 175 w 362"/>
                <a:gd name="T37" fmla="*/ 211 h 362"/>
                <a:gd name="T38" fmla="*/ 170 w 362"/>
                <a:gd name="T39" fmla="*/ 206 h 362"/>
                <a:gd name="T40" fmla="*/ 167 w 362"/>
                <a:gd name="T41" fmla="*/ 202 h 362"/>
                <a:gd name="T42" fmla="*/ 166 w 362"/>
                <a:gd name="T43" fmla="*/ 197 h 362"/>
                <a:gd name="T44" fmla="*/ 181 w 362"/>
                <a:gd name="T45" fmla="*/ 362 h 362"/>
                <a:gd name="T46" fmla="*/ 217 w 362"/>
                <a:gd name="T47" fmla="*/ 359 h 362"/>
                <a:gd name="T48" fmla="*/ 251 w 362"/>
                <a:gd name="T49" fmla="*/ 348 h 362"/>
                <a:gd name="T50" fmla="*/ 281 w 362"/>
                <a:gd name="T51" fmla="*/ 331 h 362"/>
                <a:gd name="T52" fmla="*/ 308 w 362"/>
                <a:gd name="T53" fmla="*/ 309 h 362"/>
                <a:gd name="T54" fmla="*/ 331 w 362"/>
                <a:gd name="T55" fmla="*/ 282 h 362"/>
                <a:gd name="T56" fmla="*/ 347 w 362"/>
                <a:gd name="T57" fmla="*/ 251 h 362"/>
                <a:gd name="T58" fmla="*/ 358 w 362"/>
                <a:gd name="T59" fmla="*/ 217 h 362"/>
                <a:gd name="T60" fmla="*/ 362 w 362"/>
                <a:gd name="T61" fmla="*/ 182 h 362"/>
                <a:gd name="T62" fmla="*/ 358 w 362"/>
                <a:gd name="T63" fmla="*/ 145 h 362"/>
                <a:gd name="T64" fmla="*/ 347 w 362"/>
                <a:gd name="T65" fmla="*/ 111 h 362"/>
                <a:gd name="T66" fmla="*/ 331 w 362"/>
                <a:gd name="T67" fmla="*/ 80 h 362"/>
                <a:gd name="T68" fmla="*/ 308 w 362"/>
                <a:gd name="T69" fmla="*/ 53 h 362"/>
                <a:gd name="T70" fmla="*/ 281 w 362"/>
                <a:gd name="T71" fmla="*/ 31 h 362"/>
                <a:gd name="T72" fmla="*/ 251 w 362"/>
                <a:gd name="T73" fmla="*/ 14 h 362"/>
                <a:gd name="T74" fmla="*/ 217 w 362"/>
                <a:gd name="T75" fmla="*/ 5 h 362"/>
                <a:gd name="T76" fmla="*/ 181 w 362"/>
                <a:gd name="T77" fmla="*/ 0 h 362"/>
                <a:gd name="T78" fmla="*/ 144 w 362"/>
                <a:gd name="T79" fmla="*/ 5 h 362"/>
                <a:gd name="T80" fmla="*/ 111 w 362"/>
                <a:gd name="T81" fmla="*/ 14 h 362"/>
                <a:gd name="T82" fmla="*/ 80 w 362"/>
                <a:gd name="T83" fmla="*/ 31 h 362"/>
                <a:gd name="T84" fmla="*/ 53 w 362"/>
                <a:gd name="T85" fmla="*/ 53 h 362"/>
                <a:gd name="T86" fmla="*/ 32 w 362"/>
                <a:gd name="T87" fmla="*/ 80 h 362"/>
                <a:gd name="T88" fmla="*/ 14 w 362"/>
                <a:gd name="T89" fmla="*/ 111 h 362"/>
                <a:gd name="T90" fmla="*/ 4 w 362"/>
                <a:gd name="T91" fmla="*/ 145 h 362"/>
                <a:gd name="T92" fmla="*/ 0 w 362"/>
                <a:gd name="T93" fmla="*/ 182 h 362"/>
                <a:gd name="T94" fmla="*/ 4 w 362"/>
                <a:gd name="T95" fmla="*/ 217 h 362"/>
                <a:gd name="T96" fmla="*/ 14 w 362"/>
                <a:gd name="T97" fmla="*/ 251 h 362"/>
                <a:gd name="T98" fmla="*/ 32 w 362"/>
                <a:gd name="T99" fmla="*/ 282 h 362"/>
                <a:gd name="T100" fmla="*/ 53 w 362"/>
                <a:gd name="T101" fmla="*/ 309 h 362"/>
                <a:gd name="T102" fmla="*/ 80 w 362"/>
                <a:gd name="T103" fmla="*/ 331 h 362"/>
                <a:gd name="T104" fmla="*/ 111 w 362"/>
                <a:gd name="T105" fmla="*/ 348 h 362"/>
                <a:gd name="T106" fmla="*/ 144 w 362"/>
                <a:gd name="T107" fmla="*/ 359 h 362"/>
                <a:gd name="T108" fmla="*/ 181 w 362"/>
                <a:gd name="T109"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2" h="362">
                  <a:moveTo>
                    <a:pt x="166" y="105"/>
                  </a:moveTo>
                  <a:lnTo>
                    <a:pt x="167" y="103"/>
                  </a:lnTo>
                  <a:lnTo>
                    <a:pt x="167" y="100"/>
                  </a:lnTo>
                  <a:lnTo>
                    <a:pt x="169" y="98"/>
                  </a:lnTo>
                  <a:lnTo>
                    <a:pt x="170" y="95"/>
                  </a:lnTo>
                  <a:lnTo>
                    <a:pt x="172" y="94"/>
                  </a:lnTo>
                  <a:lnTo>
                    <a:pt x="175" y="92"/>
                  </a:lnTo>
                  <a:lnTo>
                    <a:pt x="177" y="92"/>
                  </a:lnTo>
                  <a:lnTo>
                    <a:pt x="181" y="90"/>
                  </a:lnTo>
                  <a:lnTo>
                    <a:pt x="184" y="92"/>
                  </a:lnTo>
                  <a:lnTo>
                    <a:pt x="187" y="92"/>
                  </a:lnTo>
                  <a:lnTo>
                    <a:pt x="189" y="94"/>
                  </a:lnTo>
                  <a:lnTo>
                    <a:pt x="191" y="95"/>
                  </a:lnTo>
                  <a:lnTo>
                    <a:pt x="193" y="98"/>
                  </a:lnTo>
                  <a:lnTo>
                    <a:pt x="195" y="100"/>
                  </a:lnTo>
                  <a:lnTo>
                    <a:pt x="196" y="103"/>
                  </a:lnTo>
                  <a:lnTo>
                    <a:pt x="196" y="105"/>
                  </a:lnTo>
                  <a:lnTo>
                    <a:pt x="196" y="181"/>
                  </a:lnTo>
                  <a:lnTo>
                    <a:pt x="241" y="181"/>
                  </a:lnTo>
                  <a:lnTo>
                    <a:pt x="244" y="182"/>
                  </a:lnTo>
                  <a:lnTo>
                    <a:pt x="247" y="183"/>
                  </a:lnTo>
                  <a:lnTo>
                    <a:pt x="249" y="184"/>
                  </a:lnTo>
                  <a:lnTo>
                    <a:pt x="251" y="186"/>
                  </a:lnTo>
                  <a:lnTo>
                    <a:pt x="254" y="188"/>
                  </a:lnTo>
                  <a:lnTo>
                    <a:pt x="255" y="190"/>
                  </a:lnTo>
                  <a:lnTo>
                    <a:pt x="256" y="193"/>
                  </a:lnTo>
                  <a:lnTo>
                    <a:pt x="256" y="197"/>
                  </a:lnTo>
                  <a:lnTo>
                    <a:pt x="256" y="199"/>
                  </a:lnTo>
                  <a:lnTo>
                    <a:pt x="255" y="202"/>
                  </a:lnTo>
                  <a:lnTo>
                    <a:pt x="254" y="204"/>
                  </a:lnTo>
                  <a:lnTo>
                    <a:pt x="251" y="206"/>
                  </a:lnTo>
                  <a:lnTo>
                    <a:pt x="249" y="208"/>
                  </a:lnTo>
                  <a:lnTo>
                    <a:pt x="247" y="211"/>
                  </a:lnTo>
                  <a:lnTo>
                    <a:pt x="244" y="211"/>
                  </a:lnTo>
                  <a:lnTo>
                    <a:pt x="241" y="212"/>
                  </a:lnTo>
                  <a:lnTo>
                    <a:pt x="181" y="212"/>
                  </a:lnTo>
                  <a:lnTo>
                    <a:pt x="177" y="211"/>
                  </a:lnTo>
                  <a:lnTo>
                    <a:pt x="175" y="211"/>
                  </a:lnTo>
                  <a:lnTo>
                    <a:pt x="172" y="208"/>
                  </a:lnTo>
                  <a:lnTo>
                    <a:pt x="170" y="206"/>
                  </a:lnTo>
                  <a:lnTo>
                    <a:pt x="169" y="204"/>
                  </a:lnTo>
                  <a:lnTo>
                    <a:pt x="167" y="202"/>
                  </a:lnTo>
                  <a:lnTo>
                    <a:pt x="167" y="199"/>
                  </a:lnTo>
                  <a:lnTo>
                    <a:pt x="166" y="197"/>
                  </a:lnTo>
                  <a:lnTo>
                    <a:pt x="166" y="105"/>
                  </a:lnTo>
                  <a:close/>
                  <a:moveTo>
                    <a:pt x="181" y="362"/>
                  </a:moveTo>
                  <a:lnTo>
                    <a:pt x="200" y="361"/>
                  </a:lnTo>
                  <a:lnTo>
                    <a:pt x="217" y="359"/>
                  </a:lnTo>
                  <a:lnTo>
                    <a:pt x="234" y="353"/>
                  </a:lnTo>
                  <a:lnTo>
                    <a:pt x="251" y="348"/>
                  </a:lnTo>
                  <a:lnTo>
                    <a:pt x="268" y="340"/>
                  </a:lnTo>
                  <a:lnTo>
                    <a:pt x="281" y="331"/>
                  </a:lnTo>
                  <a:lnTo>
                    <a:pt x="295" y="320"/>
                  </a:lnTo>
                  <a:lnTo>
                    <a:pt x="308" y="309"/>
                  </a:lnTo>
                  <a:lnTo>
                    <a:pt x="320" y="296"/>
                  </a:lnTo>
                  <a:lnTo>
                    <a:pt x="331" y="282"/>
                  </a:lnTo>
                  <a:lnTo>
                    <a:pt x="339" y="267"/>
                  </a:lnTo>
                  <a:lnTo>
                    <a:pt x="347" y="251"/>
                  </a:lnTo>
                  <a:lnTo>
                    <a:pt x="353" y="235"/>
                  </a:lnTo>
                  <a:lnTo>
                    <a:pt x="358" y="217"/>
                  </a:lnTo>
                  <a:lnTo>
                    <a:pt x="361" y="200"/>
                  </a:lnTo>
                  <a:lnTo>
                    <a:pt x="362" y="182"/>
                  </a:lnTo>
                  <a:lnTo>
                    <a:pt x="361" y="162"/>
                  </a:lnTo>
                  <a:lnTo>
                    <a:pt x="358" y="145"/>
                  </a:lnTo>
                  <a:lnTo>
                    <a:pt x="353" y="127"/>
                  </a:lnTo>
                  <a:lnTo>
                    <a:pt x="347" y="111"/>
                  </a:lnTo>
                  <a:lnTo>
                    <a:pt x="339" y="95"/>
                  </a:lnTo>
                  <a:lnTo>
                    <a:pt x="331" y="80"/>
                  </a:lnTo>
                  <a:lnTo>
                    <a:pt x="320" y="66"/>
                  </a:lnTo>
                  <a:lnTo>
                    <a:pt x="308" y="53"/>
                  </a:lnTo>
                  <a:lnTo>
                    <a:pt x="295" y="42"/>
                  </a:lnTo>
                  <a:lnTo>
                    <a:pt x="281" y="31"/>
                  </a:lnTo>
                  <a:lnTo>
                    <a:pt x="268" y="22"/>
                  </a:lnTo>
                  <a:lnTo>
                    <a:pt x="251" y="14"/>
                  </a:lnTo>
                  <a:lnTo>
                    <a:pt x="234" y="9"/>
                  </a:lnTo>
                  <a:lnTo>
                    <a:pt x="217" y="5"/>
                  </a:lnTo>
                  <a:lnTo>
                    <a:pt x="200" y="1"/>
                  </a:lnTo>
                  <a:lnTo>
                    <a:pt x="181" y="0"/>
                  </a:lnTo>
                  <a:lnTo>
                    <a:pt x="162" y="1"/>
                  </a:lnTo>
                  <a:lnTo>
                    <a:pt x="144" y="5"/>
                  </a:lnTo>
                  <a:lnTo>
                    <a:pt x="127" y="9"/>
                  </a:lnTo>
                  <a:lnTo>
                    <a:pt x="111" y="14"/>
                  </a:lnTo>
                  <a:lnTo>
                    <a:pt x="95" y="22"/>
                  </a:lnTo>
                  <a:lnTo>
                    <a:pt x="80" y="31"/>
                  </a:lnTo>
                  <a:lnTo>
                    <a:pt x="66" y="42"/>
                  </a:lnTo>
                  <a:lnTo>
                    <a:pt x="53" y="53"/>
                  </a:lnTo>
                  <a:lnTo>
                    <a:pt x="41" y="66"/>
                  </a:lnTo>
                  <a:lnTo>
                    <a:pt x="32" y="80"/>
                  </a:lnTo>
                  <a:lnTo>
                    <a:pt x="22" y="95"/>
                  </a:lnTo>
                  <a:lnTo>
                    <a:pt x="14" y="111"/>
                  </a:lnTo>
                  <a:lnTo>
                    <a:pt x="8" y="128"/>
                  </a:lnTo>
                  <a:lnTo>
                    <a:pt x="4" y="145"/>
                  </a:lnTo>
                  <a:lnTo>
                    <a:pt x="2" y="162"/>
                  </a:lnTo>
                  <a:lnTo>
                    <a:pt x="0" y="182"/>
                  </a:lnTo>
                  <a:lnTo>
                    <a:pt x="2" y="200"/>
                  </a:lnTo>
                  <a:lnTo>
                    <a:pt x="4" y="217"/>
                  </a:lnTo>
                  <a:lnTo>
                    <a:pt x="8" y="235"/>
                  </a:lnTo>
                  <a:lnTo>
                    <a:pt x="14" y="251"/>
                  </a:lnTo>
                  <a:lnTo>
                    <a:pt x="22" y="267"/>
                  </a:lnTo>
                  <a:lnTo>
                    <a:pt x="32" y="282"/>
                  </a:lnTo>
                  <a:lnTo>
                    <a:pt x="41" y="296"/>
                  </a:lnTo>
                  <a:lnTo>
                    <a:pt x="53" y="309"/>
                  </a:lnTo>
                  <a:lnTo>
                    <a:pt x="66" y="320"/>
                  </a:lnTo>
                  <a:lnTo>
                    <a:pt x="80" y="331"/>
                  </a:lnTo>
                  <a:lnTo>
                    <a:pt x="95" y="340"/>
                  </a:lnTo>
                  <a:lnTo>
                    <a:pt x="111" y="348"/>
                  </a:lnTo>
                  <a:lnTo>
                    <a:pt x="127" y="353"/>
                  </a:lnTo>
                  <a:lnTo>
                    <a:pt x="144" y="359"/>
                  </a:lnTo>
                  <a:lnTo>
                    <a:pt x="162" y="361"/>
                  </a:lnTo>
                  <a:lnTo>
                    <a:pt x="181"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35" name="Freeform 532">
              <a:extLst>
                <a:ext uri="{FF2B5EF4-FFF2-40B4-BE49-F238E27FC236}">
                  <a16:creationId xmlns:a16="http://schemas.microsoft.com/office/drawing/2014/main" id="{E14625EC-A682-E56A-3C29-7C3484EA1E38}"/>
                </a:ext>
              </a:extLst>
            </p:cNvPr>
            <p:cNvSpPr>
              <a:spLocks/>
            </p:cNvSpPr>
            <p:nvPr/>
          </p:nvSpPr>
          <p:spPr bwMode="auto">
            <a:xfrm>
              <a:off x="2689225" y="2732088"/>
              <a:ext cx="47625" cy="47625"/>
            </a:xfrm>
            <a:custGeom>
              <a:avLst/>
              <a:gdLst>
                <a:gd name="T0" fmla="*/ 67 w 150"/>
                <a:gd name="T1" fmla="*/ 0 h 150"/>
                <a:gd name="T2" fmla="*/ 52 w 150"/>
                <a:gd name="T3" fmla="*/ 3 h 150"/>
                <a:gd name="T4" fmla="*/ 38 w 150"/>
                <a:gd name="T5" fmla="*/ 9 h 150"/>
                <a:gd name="T6" fmla="*/ 27 w 150"/>
                <a:gd name="T7" fmla="*/ 17 h 150"/>
                <a:gd name="T8" fmla="*/ 17 w 150"/>
                <a:gd name="T9" fmla="*/ 27 h 150"/>
                <a:gd name="T10" fmla="*/ 8 w 150"/>
                <a:gd name="T11" fmla="*/ 39 h 150"/>
                <a:gd name="T12" fmla="*/ 3 w 150"/>
                <a:gd name="T13" fmla="*/ 53 h 150"/>
                <a:gd name="T14" fmla="*/ 0 w 150"/>
                <a:gd name="T15" fmla="*/ 68 h 150"/>
                <a:gd name="T16" fmla="*/ 0 w 150"/>
                <a:gd name="T17" fmla="*/ 83 h 150"/>
                <a:gd name="T18" fmla="*/ 3 w 150"/>
                <a:gd name="T19" fmla="*/ 98 h 150"/>
                <a:gd name="T20" fmla="*/ 8 w 150"/>
                <a:gd name="T21" fmla="*/ 111 h 150"/>
                <a:gd name="T22" fmla="*/ 17 w 150"/>
                <a:gd name="T23" fmla="*/ 123 h 150"/>
                <a:gd name="T24" fmla="*/ 27 w 150"/>
                <a:gd name="T25" fmla="*/ 133 h 150"/>
                <a:gd name="T26" fmla="*/ 38 w 150"/>
                <a:gd name="T27" fmla="*/ 141 h 150"/>
                <a:gd name="T28" fmla="*/ 52 w 150"/>
                <a:gd name="T29" fmla="*/ 147 h 150"/>
                <a:gd name="T30" fmla="*/ 67 w 150"/>
                <a:gd name="T31" fmla="*/ 150 h 150"/>
                <a:gd name="T32" fmla="*/ 82 w 150"/>
                <a:gd name="T33" fmla="*/ 150 h 150"/>
                <a:gd name="T34" fmla="*/ 97 w 150"/>
                <a:gd name="T35" fmla="*/ 147 h 150"/>
                <a:gd name="T36" fmla="*/ 110 w 150"/>
                <a:gd name="T37" fmla="*/ 141 h 150"/>
                <a:gd name="T38" fmla="*/ 122 w 150"/>
                <a:gd name="T39" fmla="*/ 133 h 150"/>
                <a:gd name="T40" fmla="*/ 133 w 150"/>
                <a:gd name="T41" fmla="*/ 123 h 150"/>
                <a:gd name="T42" fmla="*/ 140 w 150"/>
                <a:gd name="T43" fmla="*/ 111 h 150"/>
                <a:gd name="T44" fmla="*/ 147 w 150"/>
                <a:gd name="T45" fmla="*/ 98 h 150"/>
                <a:gd name="T46" fmla="*/ 150 w 150"/>
                <a:gd name="T47" fmla="*/ 83 h 150"/>
                <a:gd name="T48" fmla="*/ 150 w 150"/>
                <a:gd name="T49" fmla="*/ 68 h 150"/>
                <a:gd name="T50" fmla="*/ 147 w 150"/>
                <a:gd name="T51" fmla="*/ 53 h 150"/>
                <a:gd name="T52" fmla="*/ 140 w 150"/>
                <a:gd name="T53" fmla="*/ 39 h 150"/>
                <a:gd name="T54" fmla="*/ 133 w 150"/>
                <a:gd name="T55" fmla="*/ 27 h 150"/>
                <a:gd name="T56" fmla="*/ 122 w 150"/>
                <a:gd name="T57" fmla="*/ 17 h 150"/>
                <a:gd name="T58" fmla="*/ 110 w 150"/>
                <a:gd name="T59" fmla="*/ 9 h 150"/>
                <a:gd name="T60" fmla="*/ 97 w 150"/>
                <a:gd name="T61" fmla="*/ 3 h 150"/>
                <a:gd name="T62" fmla="*/ 82 w 150"/>
                <a:gd name="T63"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0" h="150">
                  <a:moveTo>
                    <a:pt x="75" y="0"/>
                  </a:moveTo>
                  <a:lnTo>
                    <a:pt x="67" y="0"/>
                  </a:lnTo>
                  <a:lnTo>
                    <a:pt x="60" y="1"/>
                  </a:lnTo>
                  <a:lnTo>
                    <a:pt x="52" y="3"/>
                  </a:lnTo>
                  <a:lnTo>
                    <a:pt x="45" y="6"/>
                  </a:lnTo>
                  <a:lnTo>
                    <a:pt x="38" y="9"/>
                  </a:lnTo>
                  <a:lnTo>
                    <a:pt x="32" y="13"/>
                  </a:lnTo>
                  <a:lnTo>
                    <a:pt x="27" y="17"/>
                  </a:lnTo>
                  <a:lnTo>
                    <a:pt x="21" y="22"/>
                  </a:lnTo>
                  <a:lnTo>
                    <a:pt x="17" y="27"/>
                  </a:lnTo>
                  <a:lnTo>
                    <a:pt x="13" y="33"/>
                  </a:lnTo>
                  <a:lnTo>
                    <a:pt x="8" y="39"/>
                  </a:lnTo>
                  <a:lnTo>
                    <a:pt x="5" y="45"/>
                  </a:lnTo>
                  <a:lnTo>
                    <a:pt x="3" y="53"/>
                  </a:lnTo>
                  <a:lnTo>
                    <a:pt x="1" y="60"/>
                  </a:lnTo>
                  <a:lnTo>
                    <a:pt x="0" y="68"/>
                  </a:lnTo>
                  <a:lnTo>
                    <a:pt x="0" y="75"/>
                  </a:lnTo>
                  <a:lnTo>
                    <a:pt x="0" y="83"/>
                  </a:lnTo>
                  <a:lnTo>
                    <a:pt x="1" y="90"/>
                  </a:lnTo>
                  <a:lnTo>
                    <a:pt x="3" y="98"/>
                  </a:lnTo>
                  <a:lnTo>
                    <a:pt x="5" y="104"/>
                  </a:lnTo>
                  <a:lnTo>
                    <a:pt x="8" y="111"/>
                  </a:lnTo>
                  <a:lnTo>
                    <a:pt x="13" y="117"/>
                  </a:lnTo>
                  <a:lnTo>
                    <a:pt x="17" y="123"/>
                  </a:lnTo>
                  <a:lnTo>
                    <a:pt x="21" y="128"/>
                  </a:lnTo>
                  <a:lnTo>
                    <a:pt x="27" y="133"/>
                  </a:lnTo>
                  <a:lnTo>
                    <a:pt x="32" y="138"/>
                  </a:lnTo>
                  <a:lnTo>
                    <a:pt x="38" y="141"/>
                  </a:lnTo>
                  <a:lnTo>
                    <a:pt x="45" y="144"/>
                  </a:lnTo>
                  <a:lnTo>
                    <a:pt x="52" y="147"/>
                  </a:lnTo>
                  <a:lnTo>
                    <a:pt x="60" y="149"/>
                  </a:lnTo>
                  <a:lnTo>
                    <a:pt x="67" y="150"/>
                  </a:lnTo>
                  <a:lnTo>
                    <a:pt x="75" y="150"/>
                  </a:lnTo>
                  <a:lnTo>
                    <a:pt x="82" y="150"/>
                  </a:lnTo>
                  <a:lnTo>
                    <a:pt x="90" y="149"/>
                  </a:lnTo>
                  <a:lnTo>
                    <a:pt x="97" y="147"/>
                  </a:lnTo>
                  <a:lnTo>
                    <a:pt x="104" y="144"/>
                  </a:lnTo>
                  <a:lnTo>
                    <a:pt x="110" y="141"/>
                  </a:lnTo>
                  <a:lnTo>
                    <a:pt x="117" y="138"/>
                  </a:lnTo>
                  <a:lnTo>
                    <a:pt x="122" y="133"/>
                  </a:lnTo>
                  <a:lnTo>
                    <a:pt x="127" y="128"/>
                  </a:lnTo>
                  <a:lnTo>
                    <a:pt x="133" y="123"/>
                  </a:lnTo>
                  <a:lnTo>
                    <a:pt x="137" y="117"/>
                  </a:lnTo>
                  <a:lnTo>
                    <a:pt x="140" y="111"/>
                  </a:lnTo>
                  <a:lnTo>
                    <a:pt x="144" y="104"/>
                  </a:lnTo>
                  <a:lnTo>
                    <a:pt x="147" y="98"/>
                  </a:lnTo>
                  <a:lnTo>
                    <a:pt x="148" y="90"/>
                  </a:lnTo>
                  <a:lnTo>
                    <a:pt x="150" y="83"/>
                  </a:lnTo>
                  <a:lnTo>
                    <a:pt x="150" y="75"/>
                  </a:lnTo>
                  <a:lnTo>
                    <a:pt x="150" y="68"/>
                  </a:lnTo>
                  <a:lnTo>
                    <a:pt x="148" y="60"/>
                  </a:lnTo>
                  <a:lnTo>
                    <a:pt x="147" y="53"/>
                  </a:lnTo>
                  <a:lnTo>
                    <a:pt x="144" y="45"/>
                  </a:lnTo>
                  <a:lnTo>
                    <a:pt x="140" y="39"/>
                  </a:lnTo>
                  <a:lnTo>
                    <a:pt x="137" y="33"/>
                  </a:lnTo>
                  <a:lnTo>
                    <a:pt x="133" y="27"/>
                  </a:lnTo>
                  <a:lnTo>
                    <a:pt x="127" y="22"/>
                  </a:lnTo>
                  <a:lnTo>
                    <a:pt x="122" y="17"/>
                  </a:lnTo>
                  <a:lnTo>
                    <a:pt x="117" y="13"/>
                  </a:lnTo>
                  <a:lnTo>
                    <a:pt x="110" y="9"/>
                  </a:lnTo>
                  <a:lnTo>
                    <a:pt x="104" y="6"/>
                  </a:lnTo>
                  <a:lnTo>
                    <a:pt x="97" y="3"/>
                  </a:lnTo>
                  <a:lnTo>
                    <a:pt x="90" y="1"/>
                  </a:lnTo>
                  <a:lnTo>
                    <a:pt x="82"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36" name="Freeform 533">
              <a:extLst>
                <a:ext uri="{FF2B5EF4-FFF2-40B4-BE49-F238E27FC236}">
                  <a16:creationId xmlns:a16="http://schemas.microsoft.com/office/drawing/2014/main" id="{BC74621A-7222-6D9C-EF29-A3190C2E3BAF}"/>
                </a:ext>
              </a:extLst>
            </p:cNvPr>
            <p:cNvSpPr>
              <a:spLocks noEditPoints="1"/>
            </p:cNvSpPr>
            <p:nvPr/>
          </p:nvSpPr>
          <p:spPr bwMode="auto">
            <a:xfrm>
              <a:off x="2789238" y="2654300"/>
              <a:ext cx="96838" cy="106363"/>
            </a:xfrm>
            <a:custGeom>
              <a:avLst/>
              <a:gdLst>
                <a:gd name="T0" fmla="*/ 30 w 301"/>
                <a:gd name="T1" fmla="*/ 30 h 331"/>
                <a:gd name="T2" fmla="*/ 250 w 301"/>
                <a:gd name="T3" fmla="*/ 150 h 331"/>
                <a:gd name="T4" fmla="*/ 301 w 301"/>
                <a:gd name="T5" fmla="*/ 165 h 331"/>
                <a:gd name="T6" fmla="*/ 300 w 301"/>
                <a:gd name="T7" fmla="*/ 161 h 331"/>
                <a:gd name="T8" fmla="*/ 300 w 301"/>
                <a:gd name="T9" fmla="*/ 160 h 331"/>
                <a:gd name="T10" fmla="*/ 297 w 301"/>
                <a:gd name="T11" fmla="*/ 155 h 331"/>
                <a:gd name="T12" fmla="*/ 297 w 301"/>
                <a:gd name="T13" fmla="*/ 155 h 331"/>
                <a:gd name="T14" fmla="*/ 144 w 301"/>
                <a:gd name="T15" fmla="*/ 2 h 331"/>
                <a:gd name="T16" fmla="*/ 138 w 301"/>
                <a:gd name="T17" fmla="*/ 0 h 331"/>
                <a:gd name="T18" fmla="*/ 15 w 301"/>
                <a:gd name="T19" fmla="*/ 0 h 331"/>
                <a:gd name="T20" fmla="*/ 10 w 301"/>
                <a:gd name="T21" fmla="*/ 1 h 331"/>
                <a:gd name="T22" fmla="*/ 4 w 301"/>
                <a:gd name="T23" fmla="*/ 4 h 331"/>
                <a:gd name="T24" fmla="*/ 1 w 301"/>
                <a:gd name="T25" fmla="*/ 10 h 331"/>
                <a:gd name="T26" fmla="*/ 0 w 301"/>
                <a:gd name="T27" fmla="*/ 15 h 331"/>
                <a:gd name="T28" fmla="*/ 0 w 301"/>
                <a:gd name="T29" fmla="*/ 316 h 331"/>
                <a:gd name="T30" fmla="*/ 1 w 301"/>
                <a:gd name="T31" fmla="*/ 322 h 331"/>
                <a:gd name="T32" fmla="*/ 4 w 301"/>
                <a:gd name="T33" fmla="*/ 327 h 331"/>
                <a:gd name="T34" fmla="*/ 10 w 301"/>
                <a:gd name="T35" fmla="*/ 330 h 331"/>
                <a:gd name="T36" fmla="*/ 15 w 301"/>
                <a:gd name="T37" fmla="*/ 331 h 331"/>
                <a:gd name="T38" fmla="*/ 31 w 301"/>
                <a:gd name="T39" fmla="*/ 324 h 331"/>
                <a:gd name="T40" fmla="*/ 31 w 301"/>
                <a:gd name="T41" fmla="*/ 306 h 331"/>
                <a:gd name="T42" fmla="*/ 35 w 301"/>
                <a:gd name="T43" fmla="*/ 285 h 331"/>
                <a:gd name="T44" fmla="*/ 43 w 301"/>
                <a:gd name="T45" fmla="*/ 266 h 331"/>
                <a:gd name="T46" fmla="*/ 55 w 301"/>
                <a:gd name="T47" fmla="*/ 249 h 331"/>
                <a:gd name="T48" fmla="*/ 69 w 301"/>
                <a:gd name="T49" fmla="*/ 235 h 331"/>
                <a:gd name="T50" fmla="*/ 86 w 301"/>
                <a:gd name="T51" fmla="*/ 223 h 331"/>
                <a:gd name="T52" fmla="*/ 104 w 301"/>
                <a:gd name="T53" fmla="*/ 215 h 331"/>
                <a:gd name="T54" fmla="*/ 126 w 301"/>
                <a:gd name="T55" fmla="*/ 211 h 331"/>
                <a:gd name="T56" fmla="*/ 147 w 301"/>
                <a:gd name="T57" fmla="*/ 211 h 331"/>
                <a:gd name="T58" fmla="*/ 167 w 301"/>
                <a:gd name="T59" fmla="*/ 215 h 331"/>
                <a:gd name="T60" fmla="*/ 186 w 301"/>
                <a:gd name="T61" fmla="*/ 223 h 331"/>
                <a:gd name="T62" fmla="*/ 203 w 301"/>
                <a:gd name="T63" fmla="*/ 235 h 331"/>
                <a:gd name="T64" fmla="*/ 217 w 301"/>
                <a:gd name="T65" fmla="*/ 249 h 331"/>
                <a:gd name="T66" fmla="*/ 229 w 301"/>
                <a:gd name="T67" fmla="*/ 266 h 331"/>
                <a:gd name="T68" fmla="*/ 236 w 301"/>
                <a:gd name="T69" fmla="*/ 285 h 331"/>
                <a:gd name="T70" fmla="*/ 240 w 301"/>
                <a:gd name="T71" fmla="*/ 306 h 331"/>
                <a:gd name="T72" fmla="*/ 241 w 301"/>
                <a:gd name="T73" fmla="*/ 324 h 331"/>
                <a:gd name="T74" fmla="*/ 286 w 301"/>
                <a:gd name="T75" fmla="*/ 331 h 331"/>
                <a:gd name="T76" fmla="*/ 292 w 301"/>
                <a:gd name="T77" fmla="*/ 330 h 331"/>
                <a:gd name="T78" fmla="*/ 297 w 301"/>
                <a:gd name="T79" fmla="*/ 327 h 331"/>
                <a:gd name="T80" fmla="*/ 300 w 301"/>
                <a:gd name="T81" fmla="*/ 322 h 331"/>
                <a:gd name="T82" fmla="*/ 301 w 301"/>
                <a:gd name="T83" fmla="*/ 316 h 331"/>
                <a:gd name="T84" fmla="*/ 301 w 301"/>
                <a:gd name="T85" fmla="*/ 165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31">
                  <a:moveTo>
                    <a:pt x="30" y="150"/>
                  </a:moveTo>
                  <a:lnTo>
                    <a:pt x="30" y="30"/>
                  </a:lnTo>
                  <a:lnTo>
                    <a:pt x="130" y="30"/>
                  </a:lnTo>
                  <a:lnTo>
                    <a:pt x="250" y="150"/>
                  </a:lnTo>
                  <a:lnTo>
                    <a:pt x="30" y="150"/>
                  </a:lnTo>
                  <a:close/>
                  <a:moveTo>
                    <a:pt x="301" y="165"/>
                  </a:moveTo>
                  <a:lnTo>
                    <a:pt x="300" y="163"/>
                  </a:lnTo>
                  <a:lnTo>
                    <a:pt x="300" y="161"/>
                  </a:lnTo>
                  <a:lnTo>
                    <a:pt x="300" y="160"/>
                  </a:lnTo>
                  <a:lnTo>
                    <a:pt x="300" y="160"/>
                  </a:lnTo>
                  <a:lnTo>
                    <a:pt x="298" y="156"/>
                  </a:lnTo>
                  <a:lnTo>
                    <a:pt x="297" y="155"/>
                  </a:lnTo>
                  <a:lnTo>
                    <a:pt x="297" y="155"/>
                  </a:lnTo>
                  <a:lnTo>
                    <a:pt x="297" y="155"/>
                  </a:lnTo>
                  <a:lnTo>
                    <a:pt x="147" y="4"/>
                  </a:lnTo>
                  <a:lnTo>
                    <a:pt x="144" y="2"/>
                  </a:lnTo>
                  <a:lnTo>
                    <a:pt x="142" y="1"/>
                  </a:lnTo>
                  <a:lnTo>
                    <a:pt x="138" y="0"/>
                  </a:lnTo>
                  <a:lnTo>
                    <a:pt x="136" y="0"/>
                  </a:lnTo>
                  <a:lnTo>
                    <a:pt x="15" y="0"/>
                  </a:lnTo>
                  <a:lnTo>
                    <a:pt x="12" y="0"/>
                  </a:lnTo>
                  <a:lnTo>
                    <a:pt x="10" y="1"/>
                  </a:lnTo>
                  <a:lnTo>
                    <a:pt x="7" y="2"/>
                  </a:lnTo>
                  <a:lnTo>
                    <a:pt x="4" y="4"/>
                  </a:lnTo>
                  <a:lnTo>
                    <a:pt x="3" y="6"/>
                  </a:lnTo>
                  <a:lnTo>
                    <a:pt x="1" y="10"/>
                  </a:lnTo>
                  <a:lnTo>
                    <a:pt x="1" y="12"/>
                  </a:lnTo>
                  <a:lnTo>
                    <a:pt x="0" y="15"/>
                  </a:lnTo>
                  <a:lnTo>
                    <a:pt x="0" y="165"/>
                  </a:lnTo>
                  <a:lnTo>
                    <a:pt x="0" y="316"/>
                  </a:lnTo>
                  <a:lnTo>
                    <a:pt x="1" y="320"/>
                  </a:lnTo>
                  <a:lnTo>
                    <a:pt x="1" y="322"/>
                  </a:lnTo>
                  <a:lnTo>
                    <a:pt x="3" y="325"/>
                  </a:lnTo>
                  <a:lnTo>
                    <a:pt x="4" y="327"/>
                  </a:lnTo>
                  <a:lnTo>
                    <a:pt x="7" y="328"/>
                  </a:lnTo>
                  <a:lnTo>
                    <a:pt x="10" y="330"/>
                  </a:lnTo>
                  <a:lnTo>
                    <a:pt x="12" y="331"/>
                  </a:lnTo>
                  <a:lnTo>
                    <a:pt x="15" y="331"/>
                  </a:lnTo>
                  <a:lnTo>
                    <a:pt x="31" y="331"/>
                  </a:lnTo>
                  <a:lnTo>
                    <a:pt x="31" y="324"/>
                  </a:lnTo>
                  <a:lnTo>
                    <a:pt x="30" y="316"/>
                  </a:lnTo>
                  <a:lnTo>
                    <a:pt x="31" y="306"/>
                  </a:lnTo>
                  <a:lnTo>
                    <a:pt x="32" y="295"/>
                  </a:lnTo>
                  <a:lnTo>
                    <a:pt x="35" y="285"/>
                  </a:lnTo>
                  <a:lnTo>
                    <a:pt x="39" y="276"/>
                  </a:lnTo>
                  <a:lnTo>
                    <a:pt x="43" y="266"/>
                  </a:lnTo>
                  <a:lnTo>
                    <a:pt x="48" y="257"/>
                  </a:lnTo>
                  <a:lnTo>
                    <a:pt x="55" y="249"/>
                  </a:lnTo>
                  <a:lnTo>
                    <a:pt x="61" y="241"/>
                  </a:lnTo>
                  <a:lnTo>
                    <a:pt x="69" y="235"/>
                  </a:lnTo>
                  <a:lnTo>
                    <a:pt x="77" y="228"/>
                  </a:lnTo>
                  <a:lnTo>
                    <a:pt x="86" y="223"/>
                  </a:lnTo>
                  <a:lnTo>
                    <a:pt x="94" y="219"/>
                  </a:lnTo>
                  <a:lnTo>
                    <a:pt x="104" y="215"/>
                  </a:lnTo>
                  <a:lnTo>
                    <a:pt x="115" y="213"/>
                  </a:lnTo>
                  <a:lnTo>
                    <a:pt x="126" y="211"/>
                  </a:lnTo>
                  <a:lnTo>
                    <a:pt x="136" y="211"/>
                  </a:lnTo>
                  <a:lnTo>
                    <a:pt x="147" y="211"/>
                  </a:lnTo>
                  <a:lnTo>
                    <a:pt x="157" y="213"/>
                  </a:lnTo>
                  <a:lnTo>
                    <a:pt x="167" y="215"/>
                  </a:lnTo>
                  <a:lnTo>
                    <a:pt x="177" y="219"/>
                  </a:lnTo>
                  <a:lnTo>
                    <a:pt x="186" y="223"/>
                  </a:lnTo>
                  <a:lnTo>
                    <a:pt x="194" y="228"/>
                  </a:lnTo>
                  <a:lnTo>
                    <a:pt x="203" y="235"/>
                  </a:lnTo>
                  <a:lnTo>
                    <a:pt x="210" y="241"/>
                  </a:lnTo>
                  <a:lnTo>
                    <a:pt x="217" y="249"/>
                  </a:lnTo>
                  <a:lnTo>
                    <a:pt x="223" y="257"/>
                  </a:lnTo>
                  <a:lnTo>
                    <a:pt x="229" y="266"/>
                  </a:lnTo>
                  <a:lnTo>
                    <a:pt x="233" y="276"/>
                  </a:lnTo>
                  <a:lnTo>
                    <a:pt x="236" y="285"/>
                  </a:lnTo>
                  <a:lnTo>
                    <a:pt x="239" y="295"/>
                  </a:lnTo>
                  <a:lnTo>
                    <a:pt x="240" y="306"/>
                  </a:lnTo>
                  <a:lnTo>
                    <a:pt x="241" y="316"/>
                  </a:lnTo>
                  <a:lnTo>
                    <a:pt x="241" y="324"/>
                  </a:lnTo>
                  <a:lnTo>
                    <a:pt x="240" y="331"/>
                  </a:lnTo>
                  <a:lnTo>
                    <a:pt x="286" y="331"/>
                  </a:lnTo>
                  <a:lnTo>
                    <a:pt x="290" y="330"/>
                  </a:lnTo>
                  <a:lnTo>
                    <a:pt x="292" y="330"/>
                  </a:lnTo>
                  <a:lnTo>
                    <a:pt x="295" y="328"/>
                  </a:lnTo>
                  <a:lnTo>
                    <a:pt x="297" y="327"/>
                  </a:lnTo>
                  <a:lnTo>
                    <a:pt x="299" y="325"/>
                  </a:lnTo>
                  <a:lnTo>
                    <a:pt x="300" y="322"/>
                  </a:lnTo>
                  <a:lnTo>
                    <a:pt x="301" y="320"/>
                  </a:lnTo>
                  <a:lnTo>
                    <a:pt x="301" y="316"/>
                  </a:lnTo>
                  <a:lnTo>
                    <a:pt x="301" y="165"/>
                  </a:lnTo>
                  <a:lnTo>
                    <a:pt x="301" y="165"/>
                  </a:lnTo>
                  <a:lnTo>
                    <a:pt x="301"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37" name="Freeform 534">
              <a:extLst>
                <a:ext uri="{FF2B5EF4-FFF2-40B4-BE49-F238E27FC236}">
                  <a16:creationId xmlns:a16="http://schemas.microsoft.com/office/drawing/2014/main" id="{C6FACFCA-0912-6B20-0EE6-3921DBC57F41}"/>
                </a:ext>
              </a:extLst>
            </p:cNvPr>
            <p:cNvSpPr>
              <a:spLocks/>
            </p:cNvSpPr>
            <p:nvPr/>
          </p:nvSpPr>
          <p:spPr bwMode="auto">
            <a:xfrm>
              <a:off x="2808288" y="2732088"/>
              <a:ext cx="49213" cy="47625"/>
            </a:xfrm>
            <a:custGeom>
              <a:avLst/>
              <a:gdLst>
                <a:gd name="T0" fmla="*/ 68 w 151"/>
                <a:gd name="T1" fmla="*/ 0 h 150"/>
                <a:gd name="T2" fmla="*/ 54 w 151"/>
                <a:gd name="T3" fmla="*/ 3 h 150"/>
                <a:gd name="T4" fmla="*/ 40 w 151"/>
                <a:gd name="T5" fmla="*/ 9 h 150"/>
                <a:gd name="T6" fmla="*/ 28 w 151"/>
                <a:gd name="T7" fmla="*/ 17 h 150"/>
                <a:gd name="T8" fmla="*/ 17 w 151"/>
                <a:gd name="T9" fmla="*/ 27 h 150"/>
                <a:gd name="T10" fmla="*/ 10 w 151"/>
                <a:gd name="T11" fmla="*/ 39 h 150"/>
                <a:gd name="T12" fmla="*/ 4 w 151"/>
                <a:gd name="T13" fmla="*/ 53 h 150"/>
                <a:gd name="T14" fmla="*/ 1 w 151"/>
                <a:gd name="T15" fmla="*/ 68 h 150"/>
                <a:gd name="T16" fmla="*/ 1 w 151"/>
                <a:gd name="T17" fmla="*/ 83 h 150"/>
                <a:gd name="T18" fmla="*/ 4 w 151"/>
                <a:gd name="T19" fmla="*/ 98 h 150"/>
                <a:gd name="T20" fmla="*/ 10 w 151"/>
                <a:gd name="T21" fmla="*/ 111 h 150"/>
                <a:gd name="T22" fmla="*/ 17 w 151"/>
                <a:gd name="T23" fmla="*/ 123 h 150"/>
                <a:gd name="T24" fmla="*/ 28 w 151"/>
                <a:gd name="T25" fmla="*/ 133 h 150"/>
                <a:gd name="T26" fmla="*/ 40 w 151"/>
                <a:gd name="T27" fmla="*/ 141 h 150"/>
                <a:gd name="T28" fmla="*/ 54 w 151"/>
                <a:gd name="T29" fmla="*/ 147 h 150"/>
                <a:gd name="T30" fmla="*/ 68 w 151"/>
                <a:gd name="T31" fmla="*/ 150 h 150"/>
                <a:gd name="T32" fmla="*/ 84 w 151"/>
                <a:gd name="T33" fmla="*/ 150 h 150"/>
                <a:gd name="T34" fmla="*/ 98 w 151"/>
                <a:gd name="T35" fmla="*/ 147 h 150"/>
                <a:gd name="T36" fmla="*/ 112 w 151"/>
                <a:gd name="T37" fmla="*/ 141 h 150"/>
                <a:gd name="T38" fmla="*/ 124 w 151"/>
                <a:gd name="T39" fmla="*/ 133 h 150"/>
                <a:gd name="T40" fmla="*/ 134 w 151"/>
                <a:gd name="T41" fmla="*/ 123 h 150"/>
                <a:gd name="T42" fmla="*/ 142 w 151"/>
                <a:gd name="T43" fmla="*/ 111 h 150"/>
                <a:gd name="T44" fmla="*/ 148 w 151"/>
                <a:gd name="T45" fmla="*/ 98 h 150"/>
                <a:gd name="T46" fmla="*/ 150 w 151"/>
                <a:gd name="T47" fmla="*/ 83 h 150"/>
                <a:gd name="T48" fmla="*/ 150 w 151"/>
                <a:gd name="T49" fmla="*/ 68 h 150"/>
                <a:gd name="T50" fmla="*/ 148 w 151"/>
                <a:gd name="T51" fmla="*/ 53 h 150"/>
                <a:gd name="T52" fmla="*/ 142 w 151"/>
                <a:gd name="T53" fmla="*/ 39 h 150"/>
                <a:gd name="T54" fmla="*/ 134 w 151"/>
                <a:gd name="T55" fmla="*/ 27 h 150"/>
                <a:gd name="T56" fmla="*/ 124 w 151"/>
                <a:gd name="T57" fmla="*/ 17 h 150"/>
                <a:gd name="T58" fmla="*/ 112 w 151"/>
                <a:gd name="T59" fmla="*/ 9 h 150"/>
                <a:gd name="T60" fmla="*/ 98 w 151"/>
                <a:gd name="T61" fmla="*/ 3 h 150"/>
                <a:gd name="T62" fmla="*/ 84 w 151"/>
                <a:gd name="T63"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1" h="150">
                  <a:moveTo>
                    <a:pt x="76" y="0"/>
                  </a:moveTo>
                  <a:lnTo>
                    <a:pt x="68" y="0"/>
                  </a:lnTo>
                  <a:lnTo>
                    <a:pt x="60" y="1"/>
                  </a:lnTo>
                  <a:lnTo>
                    <a:pt x="54" y="3"/>
                  </a:lnTo>
                  <a:lnTo>
                    <a:pt x="46" y="6"/>
                  </a:lnTo>
                  <a:lnTo>
                    <a:pt x="40" y="9"/>
                  </a:lnTo>
                  <a:lnTo>
                    <a:pt x="33" y="13"/>
                  </a:lnTo>
                  <a:lnTo>
                    <a:pt x="28" y="17"/>
                  </a:lnTo>
                  <a:lnTo>
                    <a:pt x="23" y="22"/>
                  </a:lnTo>
                  <a:lnTo>
                    <a:pt x="17" y="27"/>
                  </a:lnTo>
                  <a:lnTo>
                    <a:pt x="13" y="33"/>
                  </a:lnTo>
                  <a:lnTo>
                    <a:pt x="10" y="39"/>
                  </a:lnTo>
                  <a:lnTo>
                    <a:pt x="7" y="45"/>
                  </a:lnTo>
                  <a:lnTo>
                    <a:pt x="4" y="53"/>
                  </a:lnTo>
                  <a:lnTo>
                    <a:pt x="2" y="60"/>
                  </a:lnTo>
                  <a:lnTo>
                    <a:pt x="1" y="68"/>
                  </a:lnTo>
                  <a:lnTo>
                    <a:pt x="0" y="75"/>
                  </a:lnTo>
                  <a:lnTo>
                    <a:pt x="1" y="83"/>
                  </a:lnTo>
                  <a:lnTo>
                    <a:pt x="2" y="90"/>
                  </a:lnTo>
                  <a:lnTo>
                    <a:pt x="4" y="98"/>
                  </a:lnTo>
                  <a:lnTo>
                    <a:pt x="7" y="104"/>
                  </a:lnTo>
                  <a:lnTo>
                    <a:pt x="10" y="111"/>
                  </a:lnTo>
                  <a:lnTo>
                    <a:pt x="13" y="117"/>
                  </a:lnTo>
                  <a:lnTo>
                    <a:pt x="17" y="123"/>
                  </a:lnTo>
                  <a:lnTo>
                    <a:pt x="23" y="128"/>
                  </a:lnTo>
                  <a:lnTo>
                    <a:pt x="28" y="133"/>
                  </a:lnTo>
                  <a:lnTo>
                    <a:pt x="33" y="138"/>
                  </a:lnTo>
                  <a:lnTo>
                    <a:pt x="40" y="141"/>
                  </a:lnTo>
                  <a:lnTo>
                    <a:pt x="46" y="144"/>
                  </a:lnTo>
                  <a:lnTo>
                    <a:pt x="54" y="147"/>
                  </a:lnTo>
                  <a:lnTo>
                    <a:pt x="60" y="149"/>
                  </a:lnTo>
                  <a:lnTo>
                    <a:pt x="68" y="150"/>
                  </a:lnTo>
                  <a:lnTo>
                    <a:pt x="76" y="150"/>
                  </a:lnTo>
                  <a:lnTo>
                    <a:pt x="84" y="150"/>
                  </a:lnTo>
                  <a:lnTo>
                    <a:pt x="91" y="149"/>
                  </a:lnTo>
                  <a:lnTo>
                    <a:pt x="98" y="147"/>
                  </a:lnTo>
                  <a:lnTo>
                    <a:pt x="105" y="144"/>
                  </a:lnTo>
                  <a:lnTo>
                    <a:pt x="112" y="141"/>
                  </a:lnTo>
                  <a:lnTo>
                    <a:pt x="118" y="138"/>
                  </a:lnTo>
                  <a:lnTo>
                    <a:pt x="124" y="133"/>
                  </a:lnTo>
                  <a:lnTo>
                    <a:pt x="129" y="128"/>
                  </a:lnTo>
                  <a:lnTo>
                    <a:pt x="134" y="123"/>
                  </a:lnTo>
                  <a:lnTo>
                    <a:pt x="139" y="117"/>
                  </a:lnTo>
                  <a:lnTo>
                    <a:pt x="142" y="111"/>
                  </a:lnTo>
                  <a:lnTo>
                    <a:pt x="145" y="104"/>
                  </a:lnTo>
                  <a:lnTo>
                    <a:pt x="148" y="98"/>
                  </a:lnTo>
                  <a:lnTo>
                    <a:pt x="149" y="90"/>
                  </a:lnTo>
                  <a:lnTo>
                    <a:pt x="150" y="83"/>
                  </a:lnTo>
                  <a:lnTo>
                    <a:pt x="151" y="75"/>
                  </a:lnTo>
                  <a:lnTo>
                    <a:pt x="150" y="68"/>
                  </a:lnTo>
                  <a:lnTo>
                    <a:pt x="149" y="60"/>
                  </a:lnTo>
                  <a:lnTo>
                    <a:pt x="148" y="53"/>
                  </a:lnTo>
                  <a:lnTo>
                    <a:pt x="145" y="45"/>
                  </a:lnTo>
                  <a:lnTo>
                    <a:pt x="142" y="39"/>
                  </a:lnTo>
                  <a:lnTo>
                    <a:pt x="139" y="33"/>
                  </a:lnTo>
                  <a:lnTo>
                    <a:pt x="134" y="27"/>
                  </a:lnTo>
                  <a:lnTo>
                    <a:pt x="129" y="22"/>
                  </a:lnTo>
                  <a:lnTo>
                    <a:pt x="124" y="17"/>
                  </a:lnTo>
                  <a:lnTo>
                    <a:pt x="118" y="13"/>
                  </a:lnTo>
                  <a:lnTo>
                    <a:pt x="112" y="9"/>
                  </a:lnTo>
                  <a:lnTo>
                    <a:pt x="105" y="6"/>
                  </a:lnTo>
                  <a:lnTo>
                    <a:pt x="98" y="3"/>
                  </a:lnTo>
                  <a:lnTo>
                    <a:pt x="91" y="1"/>
                  </a:lnTo>
                  <a:lnTo>
                    <a:pt x="84"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grpSp>
      <p:grpSp>
        <p:nvGrpSpPr>
          <p:cNvPr id="38" name="Group 37" descr="This is an icon of a shopping cart. ">
            <a:extLst>
              <a:ext uri="{FF2B5EF4-FFF2-40B4-BE49-F238E27FC236}">
                <a16:creationId xmlns:a16="http://schemas.microsoft.com/office/drawing/2014/main" id="{82B3DF72-C57C-02FD-1157-76D2F714FABF}"/>
              </a:ext>
            </a:extLst>
          </p:cNvPr>
          <p:cNvGrpSpPr/>
          <p:nvPr/>
        </p:nvGrpSpPr>
        <p:grpSpPr>
          <a:xfrm>
            <a:off x="10888271" y="5490346"/>
            <a:ext cx="285750" cy="238125"/>
            <a:chOff x="9883775" y="857250"/>
            <a:chExt cx="285750" cy="238125"/>
          </a:xfrm>
          <a:solidFill>
            <a:srgbClr val="A6A6A6"/>
          </a:solidFill>
        </p:grpSpPr>
        <p:sp>
          <p:nvSpPr>
            <p:cNvPr id="39" name="Freeform 4137">
              <a:extLst>
                <a:ext uri="{FF2B5EF4-FFF2-40B4-BE49-F238E27FC236}">
                  <a16:creationId xmlns:a16="http://schemas.microsoft.com/office/drawing/2014/main" id="{A9E828C7-9EA5-2CDB-DE5A-9AC55161C350}"/>
                </a:ext>
              </a:extLst>
            </p:cNvPr>
            <p:cNvSpPr>
              <a:spLocks/>
            </p:cNvSpPr>
            <p:nvPr/>
          </p:nvSpPr>
          <p:spPr bwMode="auto">
            <a:xfrm>
              <a:off x="9883775" y="857250"/>
              <a:ext cx="285750" cy="180975"/>
            </a:xfrm>
            <a:custGeom>
              <a:avLst/>
              <a:gdLst>
                <a:gd name="T0" fmla="*/ 790 w 901"/>
                <a:gd name="T1" fmla="*/ 0 h 571"/>
                <a:gd name="T2" fmla="*/ 777 w 901"/>
                <a:gd name="T3" fmla="*/ 2 h 571"/>
                <a:gd name="T4" fmla="*/ 767 w 901"/>
                <a:gd name="T5" fmla="*/ 8 h 571"/>
                <a:gd name="T6" fmla="*/ 760 w 901"/>
                <a:gd name="T7" fmla="*/ 18 h 571"/>
                <a:gd name="T8" fmla="*/ 755 w 901"/>
                <a:gd name="T9" fmla="*/ 30 h 571"/>
                <a:gd name="T10" fmla="*/ 744 w 901"/>
                <a:gd name="T11" fmla="*/ 122 h 571"/>
                <a:gd name="T12" fmla="*/ 742 w 901"/>
                <a:gd name="T13" fmla="*/ 136 h 571"/>
                <a:gd name="T14" fmla="*/ 735 w 901"/>
                <a:gd name="T15" fmla="*/ 147 h 571"/>
                <a:gd name="T16" fmla="*/ 723 w 901"/>
                <a:gd name="T17" fmla="*/ 150 h 571"/>
                <a:gd name="T18" fmla="*/ 62 w 901"/>
                <a:gd name="T19" fmla="*/ 151 h 571"/>
                <a:gd name="T20" fmla="*/ 46 w 901"/>
                <a:gd name="T21" fmla="*/ 156 h 571"/>
                <a:gd name="T22" fmla="*/ 31 w 901"/>
                <a:gd name="T23" fmla="*/ 164 h 571"/>
                <a:gd name="T24" fmla="*/ 19 w 901"/>
                <a:gd name="T25" fmla="*/ 175 h 571"/>
                <a:gd name="T26" fmla="*/ 9 w 901"/>
                <a:gd name="T27" fmla="*/ 188 h 571"/>
                <a:gd name="T28" fmla="*/ 3 w 901"/>
                <a:gd name="T29" fmla="*/ 203 h 571"/>
                <a:gd name="T30" fmla="*/ 0 w 901"/>
                <a:gd name="T31" fmla="*/ 220 h 571"/>
                <a:gd name="T32" fmla="*/ 1 w 901"/>
                <a:gd name="T33" fmla="*/ 237 h 571"/>
                <a:gd name="T34" fmla="*/ 62 w 901"/>
                <a:gd name="T35" fmla="*/ 434 h 571"/>
                <a:gd name="T36" fmla="*/ 72 w 901"/>
                <a:gd name="T37" fmla="*/ 453 h 571"/>
                <a:gd name="T38" fmla="*/ 87 w 901"/>
                <a:gd name="T39" fmla="*/ 468 h 571"/>
                <a:gd name="T40" fmla="*/ 106 w 901"/>
                <a:gd name="T41" fmla="*/ 478 h 571"/>
                <a:gd name="T42" fmla="*/ 127 w 901"/>
                <a:gd name="T43" fmla="*/ 481 h 571"/>
                <a:gd name="T44" fmla="*/ 136 w 901"/>
                <a:gd name="T45" fmla="*/ 481 h 571"/>
                <a:gd name="T46" fmla="*/ 680 w 901"/>
                <a:gd name="T47" fmla="*/ 482 h 571"/>
                <a:gd name="T48" fmla="*/ 686 w 901"/>
                <a:gd name="T49" fmla="*/ 489 h 571"/>
                <a:gd name="T50" fmla="*/ 690 w 901"/>
                <a:gd name="T51" fmla="*/ 501 h 571"/>
                <a:gd name="T52" fmla="*/ 691 w 901"/>
                <a:gd name="T53" fmla="*/ 516 h 571"/>
                <a:gd name="T54" fmla="*/ 689 w 901"/>
                <a:gd name="T55" fmla="*/ 525 h 571"/>
                <a:gd name="T56" fmla="*/ 685 w 901"/>
                <a:gd name="T57" fmla="*/ 533 h 571"/>
                <a:gd name="T58" fmla="*/ 678 w 901"/>
                <a:gd name="T59" fmla="*/ 538 h 571"/>
                <a:gd name="T60" fmla="*/ 148 w 901"/>
                <a:gd name="T61" fmla="*/ 541 h 571"/>
                <a:gd name="T62" fmla="*/ 141 w 901"/>
                <a:gd name="T63" fmla="*/ 542 h 571"/>
                <a:gd name="T64" fmla="*/ 137 w 901"/>
                <a:gd name="T65" fmla="*/ 545 h 571"/>
                <a:gd name="T66" fmla="*/ 134 w 901"/>
                <a:gd name="T67" fmla="*/ 550 h 571"/>
                <a:gd name="T68" fmla="*/ 133 w 901"/>
                <a:gd name="T69" fmla="*/ 556 h 571"/>
                <a:gd name="T70" fmla="*/ 134 w 901"/>
                <a:gd name="T71" fmla="*/ 562 h 571"/>
                <a:gd name="T72" fmla="*/ 137 w 901"/>
                <a:gd name="T73" fmla="*/ 567 h 571"/>
                <a:gd name="T74" fmla="*/ 141 w 901"/>
                <a:gd name="T75" fmla="*/ 570 h 571"/>
                <a:gd name="T76" fmla="*/ 148 w 901"/>
                <a:gd name="T77" fmla="*/ 571 h 571"/>
                <a:gd name="T78" fmla="*/ 685 w 901"/>
                <a:gd name="T79" fmla="*/ 569 h 571"/>
                <a:gd name="T80" fmla="*/ 701 w 901"/>
                <a:gd name="T81" fmla="*/ 558 h 571"/>
                <a:gd name="T82" fmla="*/ 713 w 901"/>
                <a:gd name="T83" fmla="*/ 545 h 571"/>
                <a:gd name="T84" fmla="*/ 719 w 901"/>
                <a:gd name="T85" fmla="*/ 530 h 571"/>
                <a:gd name="T86" fmla="*/ 721 w 901"/>
                <a:gd name="T87" fmla="*/ 511 h 571"/>
                <a:gd name="T88" fmla="*/ 720 w 901"/>
                <a:gd name="T89" fmla="*/ 499 h 571"/>
                <a:gd name="T90" fmla="*/ 772 w 901"/>
                <a:gd name="T91" fmla="*/ 138 h 571"/>
                <a:gd name="T92" fmla="*/ 785 w 901"/>
                <a:gd name="T93" fmla="*/ 33 h 571"/>
                <a:gd name="T94" fmla="*/ 790 w 901"/>
                <a:gd name="T95" fmla="*/ 30 h 571"/>
                <a:gd name="T96" fmla="*/ 889 w 901"/>
                <a:gd name="T97" fmla="*/ 30 h 571"/>
                <a:gd name="T98" fmla="*/ 895 w 901"/>
                <a:gd name="T99" fmla="*/ 28 h 571"/>
                <a:gd name="T100" fmla="*/ 899 w 901"/>
                <a:gd name="T101" fmla="*/ 23 h 571"/>
                <a:gd name="T102" fmla="*/ 901 w 901"/>
                <a:gd name="T103" fmla="*/ 18 h 571"/>
                <a:gd name="T104" fmla="*/ 901 w 901"/>
                <a:gd name="T105" fmla="*/ 12 h 571"/>
                <a:gd name="T106" fmla="*/ 899 w 901"/>
                <a:gd name="T107" fmla="*/ 6 h 571"/>
                <a:gd name="T108" fmla="*/ 895 w 901"/>
                <a:gd name="T109" fmla="*/ 3 h 571"/>
                <a:gd name="T110" fmla="*/ 889 w 901"/>
                <a:gd name="T111" fmla="*/ 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1" h="571">
                  <a:moveTo>
                    <a:pt x="886" y="0"/>
                  </a:moveTo>
                  <a:lnTo>
                    <a:pt x="790" y="0"/>
                  </a:lnTo>
                  <a:lnTo>
                    <a:pt x="783" y="1"/>
                  </a:lnTo>
                  <a:lnTo>
                    <a:pt x="777" y="2"/>
                  </a:lnTo>
                  <a:lnTo>
                    <a:pt x="772" y="5"/>
                  </a:lnTo>
                  <a:lnTo>
                    <a:pt x="767" y="8"/>
                  </a:lnTo>
                  <a:lnTo>
                    <a:pt x="763" y="13"/>
                  </a:lnTo>
                  <a:lnTo>
                    <a:pt x="760" y="18"/>
                  </a:lnTo>
                  <a:lnTo>
                    <a:pt x="757" y="23"/>
                  </a:lnTo>
                  <a:lnTo>
                    <a:pt x="755" y="30"/>
                  </a:lnTo>
                  <a:lnTo>
                    <a:pt x="744" y="121"/>
                  </a:lnTo>
                  <a:lnTo>
                    <a:pt x="744" y="122"/>
                  </a:lnTo>
                  <a:lnTo>
                    <a:pt x="744" y="122"/>
                  </a:lnTo>
                  <a:lnTo>
                    <a:pt x="742" y="136"/>
                  </a:lnTo>
                  <a:lnTo>
                    <a:pt x="738" y="142"/>
                  </a:lnTo>
                  <a:lnTo>
                    <a:pt x="735" y="147"/>
                  </a:lnTo>
                  <a:lnTo>
                    <a:pt x="730" y="149"/>
                  </a:lnTo>
                  <a:lnTo>
                    <a:pt x="723" y="150"/>
                  </a:lnTo>
                  <a:lnTo>
                    <a:pt x="71" y="150"/>
                  </a:lnTo>
                  <a:lnTo>
                    <a:pt x="62" y="151"/>
                  </a:lnTo>
                  <a:lnTo>
                    <a:pt x="53" y="153"/>
                  </a:lnTo>
                  <a:lnTo>
                    <a:pt x="46" y="156"/>
                  </a:lnTo>
                  <a:lnTo>
                    <a:pt x="38" y="160"/>
                  </a:lnTo>
                  <a:lnTo>
                    <a:pt x="31" y="164"/>
                  </a:lnTo>
                  <a:lnTo>
                    <a:pt x="24" y="169"/>
                  </a:lnTo>
                  <a:lnTo>
                    <a:pt x="19" y="175"/>
                  </a:lnTo>
                  <a:lnTo>
                    <a:pt x="14" y="181"/>
                  </a:lnTo>
                  <a:lnTo>
                    <a:pt x="9" y="188"/>
                  </a:lnTo>
                  <a:lnTo>
                    <a:pt x="5" y="196"/>
                  </a:lnTo>
                  <a:lnTo>
                    <a:pt x="3" y="203"/>
                  </a:lnTo>
                  <a:lnTo>
                    <a:pt x="1" y="212"/>
                  </a:lnTo>
                  <a:lnTo>
                    <a:pt x="0" y="220"/>
                  </a:lnTo>
                  <a:lnTo>
                    <a:pt x="0" y="228"/>
                  </a:lnTo>
                  <a:lnTo>
                    <a:pt x="1" y="237"/>
                  </a:lnTo>
                  <a:lnTo>
                    <a:pt x="3" y="244"/>
                  </a:lnTo>
                  <a:lnTo>
                    <a:pt x="62" y="434"/>
                  </a:lnTo>
                  <a:lnTo>
                    <a:pt x="66" y="444"/>
                  </a:lnTo>
                  <a:lnTo>
                    <a:pt x="72" y="453"/>
                  </a:lnTo>
                  <a:lnTo>
                    <a:pt x="79" y="461"/>
                  </a:lnTo>
                  <a:lnTo>
                    <a:pt x="87" y="468"/>
                  </a:lnTo>
                  <a:lnTo>
                    <a:pt x="96" y="474"/>
                  </a:lnTo>
                  <a:lnTo>
                    <a:pt x="106" y="478"/>
                  </a:lnTo>
                  <a:lnTo>
                    <a:pt x="117" y="480"/>
                  </a:lnTo>
                  <a:lnTo>
                    <a:pt x="127" y="481"/>
                  </a:lnTo>
                  <a:lnTo>
                    <a:pt x="132" y="481"/>
                  </a:lnTo>
                  <a:lnTo>
                    <a:pt x="136" y="481"/>
                  </a:lnTo>
                  <a:lnTo>
                    <a:pt x="676" y="481"/>
                  </a:lnTo>
                  <a:lnTo>
                    <a:pt x="680" y="482"/>
                  </a:lnTo>
                  <a:lnTo>
                    <a:pt x="684" y="485"/>
                  </a:lnTo>
                  <a:lnTo>
                    <a:pt x="686" y="489"/>
                  </a:lnTo>
                  <a:lnTo>
                    <a:pt x="688" y="492"/>
                  </a:lnTo>
                  <a:lnTo>
                    <a:pt x="690" y="501"/>
                  </a:lnTo>
                  <a:lnTo>
                    <a:pt x="691" y="511"/>
                  </a:lnTo>
                  <a:lnTo>
                    <a:pt x="691" y="516"/>
                  </a:lnTo>
                  <a:lnTo>
                    <a:pt x="690" y="521"/>
                  </a:lnTo>
                  <a:lnTo>
                    <a:pt x="689" y="525"/>
                  </a:lnTo>
                  <a:lnTo>
                    <a:pt x="687" y="529"/>
                  </a:lnTo>
                  <a:lnTo>
                    <a:pt x="685" y="533"/>
                  </a:lnTo>
                  <a:lnTo>
                    <a:pt x="682" y="536"/>
                  </a:lnTo>
                  <a:lnTo>
                    <a:pt x="678" y="538"/>
                  </a:lnTo>
                  <a:lnTo>
                    <a:pt x="674" y="541"/>
                  </a:lnTo>
                  <a:lnTo>
                    <a:pt x="148" y="541"/>
                  </a:lnTo>
                  <a:lnTo>
                    <a:pt x="145" y="541"/>
                  </a:lnTo>
                  <a:lnTo>
                    <a:pt x="141" y="542"/>
                  </a:lnTo>
                  <a:lnTo>
                    <a:pt x="139" y="543"/>
                  </a:lnTo>
                  <a:lnTo>
                    <a:pt x="137" y="545"/>
                  </a:lnTo>
                  <a:lnTo>
                    <a:pt x="135" y="548"/>
                  </a:lnTo>
                  <a:lnTo>
                    <a:pt x="134" y="550"/>
                  </a:lnTo>
                  <a:lnTo>
                    <a:pt x="133" y="553"/>
                  </a:lnTo>
                  <a:lnTo>
                    <a:pt x="133" y="556"/>
                  </a:lnTo>
                  <a:lnTo>
                    <a:pt x="133" y="559"/>
                  </a:lnTo>
                  <a:lnTo>
                    <a:pt x="134" y="562"/>
                  </a:lnTo>
                  <a:lnTo>
                    <a:pt x="135" y="565"/>
                  </a:lnTo>
                  <a:lnTo>
                    <a:pt x="137" y="567"/>
                  </a:lnTo>
                  <a:lnTo>
                    <a:pt x="139" y="568"/>
                  </a:lnTo>
                  <a:lnTo>
                    <a:pt x="141" y="570"/>
                  </a:lnTo>
                  <a:lnTo>
                    <a:pt x="145" y="571"/>
                  </a:lnTo>
                  <a:lnTo>
                    <a:pt x="148" y="571"/>
                  </a:lnTo>
                  <a:lnTo>
                    <a:pt x="682" y="571"/>
                  </a:lnTo>
                  <a:lnTo>
                    <a:pt x="685" y="569"/>
                  </a:lnTo>
                  <a:lnTo>
                    <a:pt x="693" y="565"/>
                  </a:lnTo>
                  <a:lnTo>
                    <a:pt x="701" y="558"/>
                  </a:lnTo>
                  <a:lnTo>
                    <a:pt x="707" y="553"/>
                  </a:lnTo>
                  <a:lnTo>
                    <a:pt x="713" y="545"/>
                  </a:lnTo>
                  <a:lnTo>
                    <a:pt x="716" y="538"/>
                  </a:lnTo>
                  <a:lnTo>
                    <a:pt x="719" y="530"/>
                  </a:lnTo>
                  <a:lnTo>
                    <a:pt x="720" y="521"/>
                  </a:lnTo>
                  <a:lnTo>
                    <a:pt x="721" y="511"/>
                  </a:lnTo>
                  <a:lnTo>
                    <a:pt x="721" y="505"/>
                  </a:lnTo>
                  <a:lnTo>
                    <a:pt x="720" y="499"/>
                  </a:lnTo>
                  <a:lnTo>
                    <a:pt x="772" y="141"/>
                  </a:lnTo>
                  <a:lnTo>
                    <a:pt x="772" y="138"/>
                  </a:lnTo>
                  <a:lnTo>
                    <a:pt x="773" y="135"/>
                  </a:lnTo>
                  <a:lnTo>
                    <a:pt x="785" y="33"/>
                  </a:lnTo>
                  <a:lnTo>
                    <a:pt x="787" y="31"/>
                  </a:lnTo>
                  <a:lnTo>
                    <a:pt x="790" y="30"/>
                  </a:lnTo>
                  <a:lnTo>
                    <a:pt x="886" y="30"/>
                  </a:lnTo>
                  <a:lnTo>
                    <a:pt x="889" y="30"/>
                  </a:lnTo>
                  <a:lnTo>
                    <a:pt x="892" y="29"/>
                  </a:lnTo>
                  <a:lnTo>
                    <a:pt x="895" y="28"/>
                  </a:lnTo>
                  <a:lnTo>
                    <a:pt x="897" y="26"/>
                  </a:lnTo>
                  <a:lnTo>
                    <a:pt x="899" y="23"/>
                  </a:lnTo>
                  <a:lnTo>
                    <a:pt x="900" y="21"/>
                  </a:lnTo>
                  <a:lnTo>
                    <a:pt x="901" y="18"/>
                  </a:lnTo>
                  <a:lnTo>
                    <a:pt x="901" y="15"/>
                  </a:lnTo>
                  <a:lnTo>
                    <a:pt x="901" y="12"/>
                  </a:lnTo>
                  <a:lnTo>
                    <a:pt x="900" y="9"/>
                  </a:lnTo>
                  <a:lnTo>
                    <a:pt x="899" y="6"/>
                  </a:lnTo>
                  <a:lnTo>
                    <a:pt x="897" y="4"/>
                  </a:lnTo>
                  <a:lnTo>
                    <a:pt x="895" y="3"/>
                  </a:lnTo>
                  <a:lnTo>
                    <a:pt x="892" y="1"/>
                  </a:lnTo>
                  <a:lnTo>
                    <a:pt x="889" y="0"/>
                  </a:lnTo>
                  <a:lnTo>
                    <a:pt x="8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40" name="Freeform 4138">
              <a:extLst>
                <a:ext uri="{FF2B5EF4-FFF2-40B4-BE49-F238E27FC236}">
                  <a16:creationId xmlns:a16="http://schemas.microsoft.com/office/drawing/2014/main" id="{6D9F15E4-28E3-09C0-94B6-7BD37D81D196}"/>
                </a:ext>
              </a:extLst>
            </p:cNvPr>
            <p:cNvSpPr>
              <a:spLocks/>
            </p:cNvSpPr>
            <p:nvPr/>
          </p:nvSpPr>
          <p:spPr bwMode="auto">
            <a:xfrm>
              <a:off x="10064750" y="1047750"/>
              <a:ext cx="47625" cy="47625"/>
            </a:xfrm>
            <a:custGeom>
              <a:avLst/>
              <a:gdLst>
                <a:gd name="T0" fmla="*/ 68 w 150"/>
                <a:gd name="T1" fmla="*/ 0 h 150"/>
                <a:gd name="T2" fmla="*/ 53 w 150"/>
                <a:gd name="T3" fmla="*/ 3 h 150"/>
                <a:gd name="T4" fmla="*/ 39 w 150"/>
                <a:gd name="T5" fmla="*/ 9 h 150"/>
                <a:gd name="T6" fmla="*/ 27 w 150"/>
                <a:gd name="T7" fmla="*/ 17 h 150"/>
                <a:gd name="T8" fmla="*/ 17 w 150"/>
                <a:gd name="T9" fmla="*/ 27 h 150"/>
                <a:gd name="T10" fmla="*/ 9 w 150"/>
                <a:gd name="T11" fmla="*/ 40 h 150"/>
                <a:gd name="T12" fmla="*/ 3 w 150"/>
                <a:gd name="T13" fmla="*/ 53 h 150"/>
                <a:gd name="T14" fmla="*/ 0 w 150"/>
                <a:gd name="T15" fmla="*/ 68 h 150"/>
                <a:gd name="T16" fmla="*/ 0 w 150"/>
                <a:gd name="T17" fmla="*/ 83 h 150"/>
                <a:gd name="T18" fmla="*/ 3 w 150"/>
                <a:gd name="T19" fmla="*/ 98 h 150"/>
                <a:gd name="T20" fmla="*/ 9 w 150"/>
                <a:gd name="T21" fmla="*/ 111 h 150"/>
                <a:gd name="T22" fmla="*/ 17 w 150"/>
                <a:gd name="T23" fmla="*/ 122 h 150"/>
                <a:gd name="T24" fmla="*/ 27 w 150"/>
                <a:gd name="T25" fmla="*/ 133 h 150"/>
                <a:gd name="T26" fmla="*/ 39 w 150"/>
                <a:gd name="T27" fmla="*/ 142 h 150"/>
                <a:gd name="T28" fmla="*/ 53 w 150"/>
                <a:gd name="T29" fmla="*/ 147 h 150"/>
                <a:gd name="T30" fmla="*/ 68 w 150"/>
                <a:gd name="T31" fmla="*/ 150 h 150"/>
                <a:gd name="T32" fmla="*/ 83 w 150"/>
                <a:gd name="T33" fmla="*/ 150 h 150"/>
                <a:gd name="T34" fmla="*/ 97 w 150"/>
                <a:gd name="T35" fmla="*/ 147 h 150"/>
                <a:gd name="T36" fmla="*/ 111 w 150"/>
                <a:gd name="T37" fmla="*/ 142 h 150"/>
                <a:gd name="T38" fmla="*/ 122 w 150"/>
                <a:gd name="T39" fmla="*/ 133 h 150"/>
                <a:gd name="T40" fmla="*/ 133 w 150"/>
                <a:gd name="T41" fmla="*/ 122 h 150"/>
                <a:gd name="T42" fmla="*/ 141 w 150"/>
                <a:gd name="T43" fmla="*/ 111 h 150"/>
                <a:gd name="T44" fmla="*/ 147 w 150"/>
                <a:gd name="T45" fmla="*/ 98 h 150"/>
                <a:gd name="T46" fmla="*/ 149 w 150"/>
                <a:gd name="T47" fmla="*/ 83 h 150"/>
                <a:gd name="T48" fmla="*/ 149 w 150"/>
                <a:gd name="T49" fmla="*/ 68 h 150"/>
                <a:gd name="T50" fmla="*/ 147 w 150"/>
                <a:gd name="T51" fmla="*/ 53 h 150"/>
                <a:gd name="T52" fmla="*/ 141 w 150"/>
                <a:gd name="T53" fmla="*/ 40 h 150"/>
                <a:gd name="T54" fmla="*/ 133 w 150"/>
                <a:gd name="T55" fmla="*/ 27 h 150"/>
                <a:gd name="T56" fmla="*/ 122 w 150"/>
                <a:gd name="T57" fmla="*/ 17 h 150"/>
                <a:gd name="T58" fmla="*/ 111 w 150"/>
                <a:gd name="T59" fmla="*/ 9 h 150"/>
                <a:gd name="T60" fmla="*/ 97 w 150"/>
                <a:gd name="T61" fmla="*/ 3 h 150"/>
                <a:gd name="T62" fmla="*/ 83 w 150"/>
                <a:gd name="T63"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0" h="150">
                  <a:moveTo>
                    <a:pt x="75" y="0"/>
                  </a:moveTo>
                  <a:lnTo>
                    <a:pt x="68" y="0"/>
                  </a:lnTo>
                  <a:lnTo>
                    <a:pt x="60" y="1"/>
                  </a:lnTo>
                  <a:lnTo>
                    <a:pt x="53" y="3"/>
                  </a:lnTo>
                  <a:lnTo>
                    <a:pt x="45" y="6"/>
                  </a:lnTo>
                  <a:lnTo>
                    <a:pt x="39" y="9"/>
                  </a:lnTo>
                  <a:lnTo>
                    <a:pt x="33" y="13"/>
                  </a:lnTo>
                  <a:lnTo>
                    <a:pt x="27" y="17"/>
                  </a:lnTo>
                  <a:lnTo>
                    <a:pt x="22" y="22"/>
                  </a:lnTo>
                  <a:lnTo>
                    <a:pt x="17" y="27"/>
                  </a:lnTo>
                  <a:lnTo>
                    <a:pt x="13" y="33"/>
                  </a:lnTo>
                  <a:lnTo>
                    <a:pt x="9" y="40"/>
                  </a:lnTo>
                  <a:lnTo>
                    <a:pt x="5" y="46"/>
                  </a:lnTo>
                  <a:lnTo>
                    <a:pt x="3" y="53"/>
                  </a:lnTo>
                  <a:lnTo>
                    <a:pt x="1" y="60"/>
                  </a:lnTo>
                  <a:lnTo>
                    <a:pt x="0" y="68"/>
                  </a:lnTo>
                  <a:lnTo>
                    <a:pt x="0" y="75"/>
                  </a:lnTo>
                  <a:lnTo>
                    <a:pt x="0" y="83"/>
                  </a:lnTo>
                  <a:lnTo>
                    <a:pt x="1" y="90"/>
                  </a:lnTo>
                  <a:lnTo>
                    <a:pt x="3" y="98"/>
                  </a:lnTo>
                  <a:lnTo>
                    <a:pt x="5" y="104"/>
                  </a:lnTo>
                  <a:lnTo>
                    <a:pt x="9" y="111"/>
                  </a:lnTo>
                  <a:lnTo>
                    <a:pt x="13" y="117"/>
                  </a:lnTo>
                  <a:lnTo>
                    <a:pt x="17" y="122"/>
                  </a:lnTo>
                  <a:lnTo>
                    <a:pt x="22" y="128"/>
                  </a:lnTo>
                  <a:lnTo>
                    <a:pt x="27" y="133"/>
                  </a:lnTo>
                  <a:lnTo>
                    <a:pt x="33" y="137"/>
                  </a:lnTo>
                  <a:lnTo>
                    <a:pt x="39" y="142"/>
                  </a:lnTo>
                  <a:lnTo>
                    <a:pt x="45" y="145"/>
                  </a:lnTo>
                  <a:lnTo>
                    <a:pt x="53" y="147"/>
                  </a:lnTo>
                  <a:lnTo>
                    <a:pt x="60" y="149"/>
                  </a:lnTo>
                  <a:lnTo>
                    <a:pt x="68" y="150"/>
                  </a:lnTo>
                  <a:lnTo>
                    <a:pt x="75" y="150"/>
                  </a:lnTo>
                  <a:lnTo>
                    <a:pt x="83" y="150"/>
                  </a:lnTo>
                  <a:lnTo>
                    <a:pt x="90" y="149"/>
                  </a:lnTo>
                  <a:lnTo>
                    <a:pt x="97" y="147"/>
                  </a:lnTo>
                  <a:lnTo>
                    <a:pt x="104" y="145"/>
                  </a:lnTo>
                  <a:lnTo>
                    <a:pt x="111" y="142"/>
                  </a:lnTo>
                  <a:lnTo>
                    <a:pt x="117" y="137"/>
                  </a:lnTo>
                  <a:lnTo>
                    <a:pt x="122" y="133"/>
                  </a:lnTo>
                  <a:lnTo>
                    <a:pt x="128" y="128"/>
                  </a:lnTo>
                  <a:lnTo>
                    <a:pt x="133" y="122"/>
                  </a:lnTo>
                  <a:lnTo>
                    <a:pt x="137" y="117"/>
                  </a:lnTo>
                  <a:lnTo>
                    <a:pt x="141" y="111"/>
                  </a:lnTo>
                  <a:lnTo>
                    <a:pt x="144" y="104"/>
                  </a:lnTo>
                  <a:lnTo>
                    <a:pt x="147" y="98"/>
                  </a:lnTo>
                  <a:lnTo>
                    <a:pt x="148" y="90"/>
                  </a:lnTo>
                  <a:lnTo>
                    <a:pt x="149" y="83"/>
                  </a:lnTo>
                  <a:lnTo>
                    <a:pt x="150" y="75"/>
                  </a:lnTo>
                  <a:lnTo>
                    <a:pt x="149" y="68"/>
                  </a:lnTo>
                  <a:lnTo>
                    <a:pt x="148" y="60"/>
                  </a:lnTo>
                  <a:lnTo>
                    <a:pt x="147" y="53"/>
                  </a:lnTo>
                  <a:lnTo>
                    <a:pt x="144" y="46"/>
                  </a:lnTo>
                  <a:lnTo>
                    <a:pt x="141" y="40"/>
                  </a:lnTo>
                  <a:lnTo>
                    <a:pt x="137" y="33"/>
                  </a:lnTo>
                  <a:lnTo>
                    <a:pt x="133" y="27"/>
                  </a:lnTo>
                  <a:lnTo>
                    <a:pt x="128" y="22"/>
                  </a:lnTo>
                  <a:lnTo>
                    <a:pt x="122" y="17"/>
                  </a:lnTo>
                  <a:lnTo>
                    <a:pt x="117" y="13"/>
                  </a:lnTo>
                  <a:lnTo>
                    <a:pt x="111" y="9"/>
                  </a:lnTo>
                  <a:lnTo>
                    <a:pt x="104" y="6"/>
                  </a:lnTo>
                  <a:lnTo>
                    <a:pt x="97" y="3"/>
                  </a:lnTo>
                  <a:lnTo>
                    <a:pt x="90" y="1"/>
                  </a:lnTo>
                  <a:lnTo>
                    <a:pt x="83"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41" name="Freeform 4139">
              <a:extLst>
                <a:ext uri="{FF2B5EF4-FFF2-40B4-BE49-F238E27FC236}">
                  <a16:creationId xmlns:a16="http://schemas.microsoft.com/office/drawing/2014/main" id="{84B4FDE7-68F6-AB09-997E-D1E92168603B}"/>
                </a:ext>
              </a:extLst>
            </p:cNvPr>
            <p:cNvSpPr>
              <a:spLocks/>
            </p:cNvSpPr>
            <p:nvPr/>
          </p:nvSpPr>
          <p:spPr bwMode="auto">
            <a:xfrm>
              <a:off x="9931400" y="1047750"/>
              <a:ext cx="47625" cy="47625"/>
            </a:xfrm>
            <a:custGeom>
              <a:avLst/>
              <a:gdLst>
                <a:gd name="T0" fmla="*/ 67 w 150"/>
                <a:gd name="T1" fmla="*/ 0 h 150"/>
                <a:gd name="T2" fmla="*/ 52 w 150"/>
                <a:gd name="T3" fmla="*/ 3 h 150"/>
                <a:gd name="T4" fmla="*/ 40 w 150"/>
                <a:gd name="T5" fmla="*/ 9 h 150"/>
                <a:gd name="T6" fmla="*/ 28 w 150"/>
                <a:gd name="T7" fmla="*/ 17 h 150"/>
                <a:gd name="T8" fmla="*/ 17 w 150"/>
                <a:gd name="T9" fmla="*/ 27 h 150"/>
                <a:gd name="T10" fmla="*/ 10 w 150"/>
                <a:gd name="T11" fmla="*/ 40 h 150"/>
                <a:gd name="T12" fmla="*/ 3 w 150"/>
                <a:gd name="T13" fmla="*/ 53 h 150"/>
                <a:gd name="T14" fmla="*/ 0 w 150"/>
                <a:gd name="T15" fmla="*/ 68 h 150"/>
                <a:gd name="T16" fmla="*/ 0 w 150"/>
                <a:gd name="T17" fmla="*/ 83 h 150"/>
                <a:gd name="T18" fmla="*/ 3 w 150"/>
                <a:gd name="T19" fmla="*/ 98 h 150"/>
                <a:gd name="T20" fmla="*/ 10 w 150"/>
                <a:gd name="T21" fmla="*/ 111 h 150"/>
                <a:gd name="T22" fmla="*/ 17 w 150"/>
                <a:gd name="T23" fmla="*/ 122 h 150"/>
                <a:gd name="T24" fmla="*/ 28 w 150"/>
                <a:gd name="T25" fmla="*/ 133 h 150"/>
                <a:gd name="T26" fmla="*/ 40 w 150"/>
                <a:gd name="T27" fmla="*/ 142 h 150"/>
                <a:gd name="T28" fmla="*/ 52 w 150"/>
                <a:gd name="T29" fmla="*/ 147 h 150"/>
                <a:gd name="T30" fmla="*/ 67 w 150"/>
                <a:gd name="T31" fmla="*/ 150 h 150"/>
                <a:gd name="T32" fmla="*/ 82 w 150"/>
                <a:gd name="T33" fmla="*/ 150 h 150"/>
                <a:gd name="T34" fmla="*/ 97 w 150"/>
                <a:gd name="T35" fmla="*/ 147 h 150"/>
                <a:gd name="T36" fmla="*/ 111 w 150"/>
                <a:gd name="T37" fmla="*/ 142 h 150"/>
                <a:gd name="T38" fmla="*/ 123 w 150"/>
                <a:gd name="T39" fmla="*/ 133 h 150"/>
                <a:gd name="T40" fmla="*/ 133 w 150"/>
                <a:gd name="T41" fmla="*/ 122 h 150"/>
                <a:gd name="T42" fmla="*/ 141 w 150"/>
                <a:gd name="T43" fmla="*/ 111 h 150"/>
                <a:gd name="T44" fmla="*/ 147 w 150"/>
                <a:gd name="T45" fmla="*/ 98 h 150"/>
                <a:gd name="T46" fmla="*/ 150 w 150"/>
                <a:gd name="T47" fmla="*/ 83 h 150"/>
                <a:gd name="T48" fmla="*/ 150 w 150"/>
                <a:gd name="T49" fmla="*/ 68 h 150"/>
                <a:gd name="T50" fmla="*/ 147 w 150"/>
                <a:gd name="T51" fmla="*/ 53 h 150"/>
                <a:gd name="T52" fmla="*/ 141 w 150"/>
                <a:gd name="T53" fmla="*/ 40 h 150"/>
                <a:gd name="T54" fmla="*/ 133 w 150"/>
                <a:gd name="T55" fmla="*/ 27 h 150"/>
                <a:gd name="T56" fmla="*/ 123 w 150"/>
                <a:gd name="T57" fmla="*/ 17 h 150"/>
                <a:gd name="T58" fmla="*/ 111 w 150"/>
                <a:gd name="T59" fmla="*/ 9 h 150"/>
                <a:gd name="T60" fmla="*/ 97 w 150"/>
                <a:gd name="T61" fmla="*/ 3 h 150"/>
                <a:gd name="T62" fmla="*/ 82 w 150"/>
                <a:gd name="T63"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0" h="150">
                  <a:moveTo>
                    <a:pt x="75" y="0"/>
                  </a:moveTo>
                  <a:lnTo>
                    <a:pt x="67" y="0"/>
                  </a:lnTo>
                  <a:lnTo>
                    <a:pt x="60" y="1"/>
                  </a:lnTo>
                  <a:lnTo>
                    <a:pt x="52" y="3"/>
                  </a:lnTo>
                  <a:lnTo>
                    <a:pt x="46" y="6"/>
                  </a:lnTo>
                  <a:lnTo>
                    <a:pt x="40" y="9"/>
                  </a:lnTo>
                  <a:lnTo>
                    <a:pt x="33" y="13"/>
                  </a:lnTo>
                  <a:lnTo>
                    <a:pt x="28" y="17"/>
                  </a:lnTo>
                  <a:lnTo>
                    <a:pt x="22" y="22"/>
                  </a:lnTo>
                  <a:lnTo>
                    <a:pt x="17" y="27"/>
                  </a:lnTo>
                  <a:lnTo>
                    <a:pt x="13" y="33"/>
                  </a:lnTo>
                  <a:lnTo>
                    <a:pt x="10" y="40"/>
                  </a:lnTo>
                  <a:lnTo>
                    <a:pt x="6" y="46"/>
                  </a:lnTo>
                  <a:lnTo>
                    <a:pt x="3" y="53"/>
                  </a:lnTo>
                  <a:lnTo>
                    <a:pt x="1" y="60"/>
                  </a:lnTo>
                  <a:lnTo>
                    <a:pt x="0" y="68"/>
                  </a:lnTo>
                  <a:lnTo>
                    <a:pt x="0" y="75"/>
                  </a:lnTo>
                  <a:lnTo>
                    <a:pt x="0" y="83"/>
                  </a:lnTo>
                  <a:lnTo>
                    <a:pt x="1" y="90"/>
                  </a:lnTo>
                  <a:lnTo>
                    <a:pt x="3" y="98"/>
                  </a:lnTo>
                  <a:lnTo>
                    <a:pt x="6" y="104"/>
                  </a:lnTo>
                  <a:lnTo>
                    <a:pt x="10" y="111"/>
                  </a:lnTo>
                  <a:lnTo>
                    <a:pt x="13" y="117"/>
                  </a:lnTo>
                  <a:lnTo>
                    <a:pt x="17" y="122"/>
                  </a:lnTo>
                  <a:lnTo>
                    <a:pt x="22" y="128"/>
                  </a:lnTo>
                  <a:lnTo>
                    <a:pt x="28" y="133"/>
                  </a:lnTo>
                  <a:lnTo>
                    <a:pt x="33" y="137"/>
                  </a:lnTo>
                  <a:lnTo>
                    <a:pt x="40" y="142"/>
                  </a:lnTo>
                  <a:lnTo>
                    <a:pt x="46" y="145"/>
                  </a:lnTo>
                  <a:lnTo>
                    <a:pt x="52" y="147"/>
                  </a:lnTo>
                  <a:lnTo>
                    <a:pt x="60" y="149"/>
                  </a:lnTo>
                  <a:lnTo>
                    <a:pt x="67" y="150"/>
                  </a:lnTo>
                  <a:lnTo>
                    <a:pt x="75" y="150"/>
                  </a:lnTo>
                  <a:lnTo>
                    <a:pt x="82" y="150"/>
                  </a:lnTo>
                  <a:lnTo>
                    <a:pt x="90" y="149"/>
                  </a:lnTo>
                  <a:lnTo>
                    <a:pt x="97" y="147"/>
                  </a:lnTo>
                  <a:lnTo>
                    <a:pt x="104" y="145"/>
                  </a:lnTo>
                  <a:lnTo>
                    <a:pt x="111" y="142"/>
                  </a:lnTo>
                  <a:lnTo>
                    <a:pt x="117" y="137"/>
                  </a:lnTo>
                  <a:lnTo>
                    <a:pt x="123" y="133"/>
                  </a:lnTo>
                  <a:lnTo>
                    <a:pt x="128" y="128"/>
                  </a:lnTo>
                  <a:lnTo>
                    <a:pt x="133" y="122"/>
                  </a:lnTo>
                  <a:lnTo>
                    <a:pt x="137" y="117"/>
                  </a:lnTo>
                  <a:lnTo>
                    <a:pt x="141" y="111"/>
                  </a:lnTo>
                  <a:lnTo>
                    <a:pt x="145" y="104"/>
                  </a:lnTo>
                  <a:lnTo>
                    <a:pt x="147" y="98"/>
                  </a:lnTo>
                  <a:lnTo>
                    <a:pt x="149" y="90"/>
                  </a:lnTo>
                  <a:lnTo>
                    <a:pt x="150" y="83"/>
                  </a:lnTo>
                  <a:lnTo>
                    <a:pt x="150" y="75"/>
                  </a:lnTo>
                  <a:lnTo>
                    <a:pt x="150" y="68"/>
                  </a:lnTo>
                  <a:lnTo>
                    <a:pt x="149" y="60"/>
                  </a:lnTo>
                  <a:lnTo>
                    <a:pt x="147" y="53"/>
                  </a:lnTo>
                  <a:lnTo>
                    <a:pt x="145" y="46"/>
                  </a:lnTo>
                  <a:lnTo>
                    <a:pt x="141" y="40"/>
                  </a:lnTo>
                  <a:lnTo>
                    <a:pt x="137" y="33"/>
                  </a:lnTo>
                  <a:lnTo>
                    <a:pt x="133" y="27"/>
                  </a:lnTo>
                  <a:lnTo>
                    <a:pt x="128" y="22"/>
                  </a:lnTo>
                  <a:lnTo>
                    <a:pt x="123" y="17"/>
                  </a:lnTo>
                  <a:lnTo>
                    <a:pt x="117" y="13"/>
                  </a:lnTo>
                  <a:lnTo>
                    <a:pt x="111" y="9"/>
                  </a:lnTo>
                  <a:lnTo>
                    <a:pt x="104" y="6"/>
                  </a:lnTo>
                  <a:lnTo>
                    <a:pt x="97" y="3"/>
                  </a:lnTo>
                  <a:lnTo>
                    <a:pt x="90" y="1"/>
                  </a:lnTo>
                  <a:lnTo>
                    <a:pt x="82"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grpSp>
      <p:sp>
        <p:nvSpPr>
          <p:cNvPr id="42" name="Rectangle 41">
            <a:extLst>
              <a:ext uri="{FF2B5EF4-FFF2-40B4-BE49-F238E27FC236}">
                <a16:creationId xmlns:a16="http://schemas.microsoft.com/office/drawing/2014/main" id="{082D7414-D170-772C-9048-E8F6C6A2566D}"/>
              </a:ext>
              <a:ext uri="{C183D7F6-B498-43B3-948B-1728B52AA6E4}">
                <adec:decorative xmlns:adec="http://schemas.microsoft.com/office/drawing/2017/decorative" val="1"/>
              </a:ext>
            </a:extLst>
          </p:cNvPr>
          <p:cNvSpPr/>
          <p:nvPr/>
        </p:nvSpPr>
        <p:spPr>
          <a:xfrm rot="16200000" flipH="1">
            <a:off x="3236572" y="3449526"/>
            <a:ext cx="4945188" cy="80685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77F44307-A2BC-B587-FD10-EE1B8D0CE534}"/>
              </a:ext>
            </a:extLst>
          </p:cNvPr>
          <p:cNvSpPr>
            <a:spLocks noGrp="1"/>
          </p:cNvSpPr>
          <p:nvPr>
            <p:ph type="title"/>
          </p:nvPr>
        </p:nvSpPr>
        <p:spPr/>
        <p:txBody>
          <a:bodyPr/>
          <a:lstStyle/>
          <a:p>
            <a:r>
              <a:rPr lang="en-BR"/>
              <a:t>Dashboard</a:t>
            </a:r>
          </a:p>
        </p:txBody>
      </p:sp>
      <p:sp>
        <p:nvSpPr>
          <p:cNvPr id="3" name="Text Placeholder 2">
            <a:extLst>
              <a:ext uri="{FF2B5EF4-FFF2-40B4-BE49-F238E27FC236}">
                <a16:creationId xmlns:a16="http://schemas.microsoft.com/office/drawing/2014/main" id="{C9FBBA0C-C4CE-C623-0E80-E38AD3E12BD0}"/>
              </a:ext>
            </a:extLst>
          </p:cNvPr>
          <p:cNvSpPr>
            <a:spLocks noGrp="1"/>
          </p:cNvSpPr>
          <p:nvPr>
            <p:ph type="body" sz="quarter" idx="13"/>
          </p:nvPr>
        </p:nvSpPr>
        <p:spPr/>
        <p:txBody>
          <a:bodyPr/>
          <a:lstStyle/>
          <a:p>
            <a:endParaRPr lang="en-BR"/>
          </a:p>
        </p:txBody>
      </p:sp>
      <p:graphicFrame>
        <p:nvGraphicFramePr>
          <p:cNvPr id="8" name="Chart 7" descr="This is a chart. ">
            <a:extLst>
              <a:ext uri="{FF2B5EF4-FFF2-40B4-BE49-F238E27FC236}">
                <a16:creationId xmlns:a16="http://schemas.microsoft.com/office/drawing/2014/main" id="{05D0BA8A-47AD-0BF9-E88F-CF9CC5BC9655}"/>
              </a:ext>
            </a:extLst>
          </p:cNvPr>
          <p:cNvGraphicFramePr/>
          <p:nvPr>
            <p:extLst>
              <p:ext uri="{D42A27DB-BD31-4B8C-83A1-F6EECF244321}">
                <p14:modId xmlns:p14="http://schemas.microsoft.com/office/powerpoint/2010/main" val="3089743872"/>
              </p:ext>
            </p:extLst>
          </p:nvPr>
        </p:nvGraphicFramePr>
        <p:xfrm>
          <a:off x="1213409" y="2041702"/>
          <a:ext cx="3781664" cy="3526921"/>
        </p:xfrm>
        <a:graphic>
          <a:graphicData uri="http://schemas.openxmlformats.org/drawingml/2006/chart">
            <c:chart xmlns:c="http://schemas.openxmlformats.org/drawingml/2006/chart" xmlns:r="http://schemas.openxmlformats.org/officeDocument/2006/relationships" r:id="rId2"/>
          </a:graphicData>
        </a:graphic>
      </p:graphicFrame>
      <p:sp>
        <p:nvSpPr>
          <p:cNvPr id="9" name="Oval 8">
            <a:extLst>
              <a:ext uri="{FF2B5EF4-FFF2-40B4-BE49-F238E27FC236}">
                <a16:creationId xmlns:a16="http://schemas.microsoft.com/office/drawing/2014/main" id="{03C48BE0-E1BC-0883-2394-80AEBE415C4D}"/>
              </a:ext>
              <a:ext uri="{C183D7F6-B498-43B3-948B-1728B52AA6E4}">
                <adec:decorative xmlns:adec="http://schemas.microsoft.com/office/drawing/2017/decorative" val="1"/>
              </a:ext>
            </a:extLst>
          </p:cNvPr>
          <p:cNvSpPr/>
          <p:nvPr/>
        </p:nvSpPr>
        <p:spPr>
          <a:xfrm>
            <a:off x="2009636" y="2710558"/>
            <a:ext cx="2189210" cy="2189210"/>
          </a:xfrm>
          <a:prstGeom prst="ellipse">
            <a:avLst/>
          </a:prstGeom>
          <a:solidFill>
            <a:schemeClr val="bg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10" name="Group 9" descr="This is an icon of a calculator.">
            <a:extLst>
              <a:ext uri="{FF2B5EF4-FFF2-40B4-BE49-F238E27FC236}">
                <a16:creationId xmlns:a16="http://schemas.microsoft.com/office/drawing/2014/main" id="{273D8259-3958-C4F7-A54C-6D6FB886AC13}"/>
              </a:ext>
            </a:extLst>
          </p:cNvPr>
          <p:cNvGrpSpPr/>
          <p:nvPr/>
        </p:nvGrpSpPr>
        <p:grpSpPr>
          <a:xfrm>
            <a:off x="2823696" y="3439851"/>
            <a:ext cx="561088" cy="730624"/>
            <a:chOff x="3209925" y="771525"/>
            <a:chExt cx="220663" cy="287338"/>
          </a:xfrm>
          <a:solidFill>
            <a:srgbClr val="D6222B"/>
          </a:solidFill>
        </p:grpSpPr>
        <p:sp>
          <p:nvSpPr>
            <p:cNvPr id="11" name="Freeform 328">
              <a:extLst>
                <a:ext uri="{FF2B5EF4-FFF2-40B4-BE49-F238E27FC236}">
                  <a16:creationId xmlns:a16="http://schemas.microsoft.com/office/drawing/2014/main" id="{AF95332E-C9A5-3AB9-03E1-7328383FE19D}"/>
                </a:ext>
              </a:extLst>
            </p:cNvPr>
            <p:cNvSpPr>
              <a:spLocks noEditPoints="1"/>
            </p:cNvSpPr>
            <p:nvPr/>
          </p:nvSpPr>
          <p:spPr bwMode="auto">
            <a:xfrm>
              <a:off x="3209925" y="771525"/>
              <a:ext cx="220663" cy="114300"/>
            </a:xfrm>
            <a:custGeom>
              <a:avLst/>
              <a:gdLst>
                <a:gd name="T0" fmla="*/ 601 w 692"/>
                <a:gd name="T1" fmla="*/ 265 h 361"/>
                <a:gd name="T2" fmla="*/ 595 w 692"/>
                <a:gd name="T3" fmla="*/ 281 h 361"/>
                <a:gd name="T4" fmla="*/ 582 w 692"/>
                <a:gd name="T5" fmla="*/ 294 h 361"/>
                <a:gd name="T6" fmla="*/ 566 w 692"/>
                <a:gd name="T7" fmla="*/ 300 h 361"/>
                <a:gd name="T8" fmla="*/ 136 w 692"/>
                <a:gd name="T9" fmla="*/ 301 h 361"/>
                <a:gd name="T10" fmla="*/ 118 w 692"/>
                <a:gd name="T11" fmla="*/ 297 h 361"/>
                <a:gd name="T12" fmla="*/ 104 w 692"/>
                <a:gd name="T13" fmla="*/ 287 h 361"/>
                <a:gd name="T14" fmla="*/ 94 w 692"/>
                <a:gd name="T15" fmla="*/ 274 h 361"/>
                <a:gd name="T16" fmla="*/ 91 w 692"/>
                <a:gd name="T17" fmla="*/ 256 h 361"/>
                <a:gd name="T18" fmla="*/ 91 w 692"/>
                <a:gd name="T19" fmla="*/ 127 h 361"/>
                <a:gd name="T20" fmla="*/ 98 w 692"/>
                <a:gd name="T21" fmla="*/ 110 h 361"/>
                <a:gd name="T22" fmla="*/ 110 w 692"/>
                <a:gd name="T23" fmla="*/ 98 h 361"/>
                <a:gd name="T24" fmla="*/ 126 w 692"/>
                <a:gd name="T25" fmla="*/ 91 h 361"/>
                <a:gd name="T26" fmla="*/ 557 w 692"/>
                <a:gd name="T27" fmla="*/ 90 h 361"/>
                <a:gd name="T28" fmla="*/ 575 w 692"/>
                <a:gd name="T29" fmla="*/ 94 h 361"/>
                <a:gd name="T30" fmla="*/ 588 w 692"/>
                <a:gd name="T31" fmla="*/ 104 h 361"/>
                <a:gd name="T32" fmla="*/ 598 w 692"/>
                <a:gd name="T33" fmla="*/ 118 h 361"/>
                <a:gd name="T34" fmla="*/ 602 w 692"/>
                <a:gd name="T35" fmla="*/ 135 h 361"/>
                <a:gd name="T36" fmla="*/ 602 w 692"/>
                <a:gd name="T37" fmla="*/ 0 h 361"/>
                <a:gd name="T38" fmla="*/ 81 w 692"/>
                <a:gd name="T39" fmla="*/ 0 h 361"/>
                <a:gd name="T40" fmla="*/ 64 w 692"/>
                <a:gd name="T41" fmla="*/ 4 h 361"/>
                <a:gd name="T42" fmla="*/ 47 w 692"/>
                <a:gd name="T43" fmla="*/ 11 h 361"/>
                <a:gd name="T44" fmla="*/ 33 w 692"/>
                <a:gd name="T45" fmla="*/ 20 h 361"/>
                <a:gd name="T46" fmla="*/ 21 w 692"/>
                <a:gd name="T47" fmla="*/ 33 h 361"/>
                <a:gd name="T48" fmla="*/ 11 w 692"/>
                <a:gd name="T49" fmla="*/ 47 h 361"/>
                <a:gd name="T50" fmla="*/ 4 w 692"/>
                <a:gd name="T51" fmla="*/ 63 h 361"/>
                <a:gd name="T52" fmla="*/ 1 w 692"/>
                <a:gd name="T53" fmla="*/ 82 h 361"/>
                <a:gd name="T54" fmla="*/ 0 w 692"/>
                <a:gd name="T55" fmla="*/ 361 h 361"/>
                <a:gd name="T56" fmla="*/ 692 w 692"/>
                <a:gd name="T57" fmla="*/ 90 h 361"/>
                <a:gd name="T58" fmla="*/ 690 w 692"/>
                <a:gd name="T59" fmla="*/ 72 h 361"/>
                <a:gd name="T60" fmla="*/ 685 w 692"/>
                <a:gd name="T61" fmla="*/ 55 h 361"/>
                <a:gd name="T62" fmla="*/ 677 w 692"/>
                <a:gd name="T63" fmla="*/ 40 h 361"/>
                <a:gd name="T64" fmla="*/ 666 w 692"/>
                <a:gd name="T65" fmla="*/ 27 h 361"/>
                <a:gd name="T66" fmla="*/ 653 w 692"/>
                <a:gd name="T67" fmla="*/ 15 h 361"/>
                <a:gd name="T68" fmla="*/ 637 w 692"/>
                <a:gd name="T69" fmla="*/ 8 h 361"/>
                <a:gd name="T70" fmla="*/ 621 w 692"/>
                <a:gd name="T71" fmla="*/ 2 h 361"/>
                <a:gd name="T72" fmla="*/ 602 w 692"/>
                <a:gd name="T73"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2" h="361">
                  <a:moveTo>
                    <a:pt x="602" y="256"/>
                  </a:moveTo>
                  <a:lnTo>
                    <a:pt x="601" y="265"/>
                  </a:lnTo>
                  <a:lnTo>
                    <a:pt x="598" y="274"/>
                  </a:lnTo>
                  <a:lnTo>
                    <a:pt x="595" y="281"/>
                  </a:lnTo>
                  <a:lnTo>
                    <a:pt x="588" y="287"/>
                  </a:lnTo>
                  <a:lnTo>
                    <a:pt x="582" y="294"/>
                  </a:lnTo>
                  <a:lnTo>
                    <a:pt x="575" y="297"/>
                  </a:lnTo>
                  <a:lnTo>
                    <a:pt x="566" y="300"/>
                  </a:lnTo>
                  <a:lnTo>
                    <a:pt x="557" y="301"/>
                  </a:lnTo>
                  <a:lnTo>
                    <a:pt x="136" y="301"/>
                  </a:lnTo>
                  <a:lnTo>
                    <a:pt x="126" y="300"/>
                  </a:lnTo>
                  <a:lnTo>
                    <a:pt x="118" y="297"/>
                  </a:lnTo>
                  <a:lnTo>
                    <a:pt x="110" y="294"/>
                  </a:lnTo>
                  <a:lnTo>
                    <a:pt x="104" y="287"/>
                  </a:lnTo>
                  <a:lnTo>
                    <a:pt x="98" y="281"/>
                  </a:lnTo>
                  <a:lnTo>
                    <a:pt x="94" y="274"/>
                  </a:lnTo>
                  <a:lnTo>
                    <a:pt x="91" y="265"/>
                  </a:lnTo>
                  <a:lnTo>
                    <a:pt x="91" y="256"/>
                  </a:lnTo>
                  <a:lnTo>
                    <a:pt x="91" y="135"/>
                  </a:lnTo>
                  <a:lnTo>
                    <a:pt x="91" y="127"/>
                  </a:lnTo>
                  <a:lnTo>
                    <a:pt x="94" y="118"/>
                  </a:lnTo>
                  <a:lnTo>
                    <a:pt x="98" y="110"/>
                  </a:lnTo>
                  <a:lnTo>
                    <a:pt x="104" y="104"/>
                  </a:lnTo>
                  <a:lnTo>
                    <a:pt x="110" y="98"/>
                  </a:lnTo>
                  <a:lnTo>
                    <a:pt x="118" y="94"/>
                  </a:lnTo>
                  <a:lnTo>
                    <a:pt x="126" y="91"/>
                  </a:lnTo>
                  <a:lnTo>
                    <a:pt x="136" y="90"/>
                  </a:lnTo>
                  <a:lnTo>
                    <a:pt x="557" y="90"/>
                  </a:lnTo>
                  <a:lnTo>
                    <a:pt x="566" y="91"/>
                  </a:lnTo>
                  <a:lnTo>
                    <a:pt x="575" y="94"/>
                  </a:lnTo>
                  <a:lnTo>
                    <a:pt x="582" y="98"/>
                  </a:lnTo>
                  <a:lnTo>
                    <a:pt x="588" y="104"/>
                  </a:lnTo>
                  <a:lnTo>
                    <a:pt x="595" y="110"/>
                  </a:lnTo>
                  <a:lnTo>
                    <a:pt x="598" y="118"/>
                  </a:lnTo>
                  <a:lnTo>
                    <a:pt x="601" y="127"/>
                  </a:lnTo>
                  <a:lnTo>
                    <a:pt x="602" y="135"/>
                  </a:lnTo>
                  <a:lnTo>
                    <a:pt x="602" y="256"/>
                  </a:lnTo>
                  <a:close/>
                  <a:moveTo>
                    <a:pt x="602" y="0"/>
                  </a:moveTo>
                  <a:lnTo>
                    <a:pt x="91" y="0"/>
                  </a:lnTo>
                  <a:lnTo>
                    <a:pt x="81" y="0"/>
                  </a:lnTo>
                  <a:lnTo>
                    <a:pt x="73" y="2"/>
                  </a:lnTo>
                  <a:lnTo>
                    <a:pt x="64" y="4"/>
                  </a:lnTo>
                  <a:lnTo>
                    <a:pt x="55" y="8"/>
                  </a:lnTo>
                  <a:lnTo>
                    <a:pt x="47" y="11"/>
                  </a:lnTo>
                  <a:lnTo>
                    <a:pt x="39" y="15"/>
                  </a:lnTo>
                  <a:lnTo>
                    <a:pt x="33" y="20"/>
                  </a:lnTo>
                  <a:lnTo>
                    <a:pt x="26" y="27"/>
                  </a:lnTo>
                  <a:lnTo>
                    <a:pt x="21" y="33"/>
                  </a:lnTo>
                  <a:lnTo>
                    <a:pt x="16" y="40"/>
                  </a:lnTo>
                  <a:lnTo>
                    <a:pt x="11" y="47"/>
                  </a:lnTo>
                  <a:lnTo>
                    <a:pt x="7" y="56"/>
                  </a:lnTo>
                  <a:lnTo>
                    <a:pt x="4" y="63"/>
                  </a:lnTo>
                  <a:lnTo>
                    <a:pt x="2" y="72"/>
                  </a:lnTo>
                  <a:lnTo>
                    <a:pt x="1" y="82"/>
                  </a:lnTo>
                  <a:lnTo>
                    <a:pt x="0" y="90"/>
                  </a:lnTo>
                  <a:lnTo>
                    <a:pt x="0" y="361"/>
                  </a:lnTo>
                  <a:lnTo>
                    <a:pt x="692" y="361"/>
                  </a:lnTo>
                  <a:lnTo>
                    <a:pt x="692" y="90"/>
                  </a:lnTo>
                  <a:lnTo>
                    <a:pt x="692" y="82"/>
                  </a:lnTo>
                  <a:lnTo>
                    <a:pt x="690" y="72"/>
                  </a:lnTo>
                  <a:lnTo>
                    <a:pt x="688" y="63"/>
                  </a:lnTo>
                  <a:lnTo>
                    <a:pt x="685" y="55"/>
                  </a:lnTo>
                  <a:lnTo>
                    <a:pt x="682" y="47"/>
                  </a:lnTo>
                  <a:lnTo>
                    <a:pt x="677" y="40"/>
                  </a:lnTo>
                  <a:lnTo>
                    <a:pt x="672" y="33"/>
                  </a:lnTo>
                  <a:lnTo>
                    <a:pt x="666" y="27"/>
                  </a:lnTo>
                  <a:lnTo>
                    <a:pt x="659" y="20"/>
                  </a:lnTo>
                  <a:lnTo>
                    <a:pt x="653" y="15"/>
                  </a:lnTo>
                  <a:lnTo>
                    <a:pt x="645" y="11"/>
                  </a:lnTo>
                  <a:lnTo>
                    <a:pt x="637" y="8"/>
                  </a:lnTo>
                  <a:lnTo>
                    <a:pt x="629" y="4"/>
                  </a:lnTo>
                  <a:lnTo>
                    <a:pt x="621" y="2"/>
                  </a:lnTo>
                  <a:lnTo>
                    <a:pt x="611" y="1"/>
                  </a:lnTo>
                  <a:lnTo>
                    <a:pt x="602" y="0"/>
                  </a:lnTo>
                  <a:lnTo>
                    <a:pt x="6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329">
              <a:extLst>
                <a:ext uri="{FF2B5EF4-FFF2-40B4-BE49-F238E27FC236}">
                  <a16:creationId xmlns:a16="http://schemas.microsoft.com/office/drawing/2014/main" id="{BE58779A-3053-4FA6-8BD8-1208E358C559}"/>
                </a:ext>
              </a:extLst>
            </p:cNvPr>
            <p:cNvSpPr>
              <a:spLocks noEditPoints="1"/>
            </p:cNvSpPr>
            <p:nvPr/>
          </p:nvSpPr>
          <p:spPr bwMode="auto">
            <a:xfrm>
              <a:off x="3209925" y="895350"/>
              <a:ext cx="106363" cy="66675"/>
            </a:xfrm>
            <a:custGeom>
              <a:avLst/>
              <a:gdLst>
                <a:gd name="T0" fmla="*/ 151 w 331"/>
                <a:gd name="T1" fmla="*/ 90 h 210"/>
                <a:gd name="T2" fmla="*/ 151 w 331"/>
                <a:gd name="T3" fmla="*/ 41 h 210"/>
                <a:gd name="T4" fmla="*/ 153 w 331"/>
                <a:gd name="T5" fmla="*/ 36 h 210"/>
                <a:gd name="T6" fmla="*/ 157 w 331"/>
                <a:gd name="T7" fmla="*/ 32 h 210"/>
                <a:gd name="T8" fmla="*/ 163 w 331"/>
                <a:gd name="T9" fmla="*/ 30 h 210"/>
                <a:gd name="T10" fmla="*/ 169 w 331"/>
                <a:gd name="T11" fmla="*/ 30 h 210"/>
                <a:gd name="T12" fmla="*/ 174 w 331"/>
                <a:gd name="T13" fmla="*/ 32 h 210"/>
                <a:gd name="T14" fmla="*/ 178 w 331"/>
                <a:gd name="T15" fmla="*/ 36 h 210"/>
                <a:gd name="T16" fmla="*/ 180 w 331"/>
                <a:gd name="T17" fmla="*/ 41 h 210"/>
                <a:gd name="T18" fmla="*/ 181 w 331"/>
                <a:gd name="T19" fmla="*/ 90 h 210"/>
                <a:gd name="T20" fmla="*/ 229 w 331"/>
                <a:gd name="T21" fmla="*/ 90 h 210"/>
                <a:gd name="T22" fmla="*/ 235 w 331"/>
                <a:gd name="T23" fmla="*/ 93 h 210"/>
                <a:gd name="T24" fmla="*/ 238 w 331"/>
                <a:gd name="T25" fmla="*/ 96 h 210"/>
                <a:gd name="T26" fmla="*/ 241 w 331"/>
                <a:gd name="T27" fmla="*/ 101 h 210"/>
                <a:gd name="T28" fmla="*/ 241 w 331"/>
                <a:gd name="T29" fmla="*/ 108 h 210"/>
                <a:gd name="T30" fmla="*/ 238 w 331"/>
                <a:gd name="T31" fmla="*/ 113 h 210"/>
                <a:gd name="T32" fmla="*/ 235 w 331"/>
                <a:gd name="T33" fmla="*/ 118 h 210"/>
                <a:gd name="T34" fmla="*/ 229 w 331"/>
                <a:gd name="T35" fmla="*/ 120 h 210"/>
                <a:gd name="T36" fmla="*/ 181 w 331"/>
                <a:gd name="T37" fmla="*/ 120 h 210"/>
                <a:gd name="T38" fmla="*/ 180 w 331"/>
                <a:gd name="T39" fmla="*/ 168 h 210"/>
                <a:gd name="T40" fmla="*/ 178 w 331"/>
                <a:gd name="T41" fmla="*/ 173 h 210"/>
                <a:gd name="T42" fmla="*/ 174 w 331"/>
                <a:gd name="T43" fmla="*/ 178 h 210"/>
                <a:gd name="T44" fmla="*/ 169 w 331"/>
                <a:gd name="T45" fmla="*/ 180 h 210"/>
                <a:gd name="T46" fmla="*/ 163 w 331"/>
                <a:gd name="T47" fmla="*/ 180 h 210"/>
                <a:gd name="T48" fmla="*/ 157 w 331"/>
                <a:gd name="T49" fmla="*/ 178 h 210"/>
                <a:gd name="T50" fmla="*/ 153 w 331"/>
                <a:gd name="T51" fmla="*/ 173 h 210"/>
                <a:gd name="T52" fmla="*/ 151 w 331"/>
                <a:gd name="T53" fmla="*/ 168 h 210"/>
                <a:gd name="T54" fmla="*/ 151 w 331"/>
                <a:gd name="T55" fmla="*/ 120 h 210"/>
                <a:gd name="T56" fmla="*/ 103 w 331"/>
                <a:gd name="T57" fmla="*/ 120 h 210"/>
                <a:gd name="T58" fmla="*/ 97 w 331"/>
                <a:gd name="T59" fmla="*/ 118 h 210"/>
                <a:gd name="T60" fmla="*/ 93 w 331"/>
                <a:gd name="T61" fmla="*/ 113 h 210"/>
                <a:gd name="T62" fmla="*/ 91 w 331"/>
                <a:gd name="T63" fmla="*/ 108 h 210"/>
                <a:gd name="T64" fmla="*/ 91 w 331"/>
                <a:gd name="T65" fmla="*/ 101 h 210"/>
                <a:gd name="T66" fmla="*/ 93 w 331"/>
                <a:gd name="T67" fmla="*/ 96 h 210"/>
                <a:gd name="T68" fmla="*/ 97 w 331"/>
                <a:gd name="T69" fmla="*/ 93 h 210"/>
                <a:gd name="T70" fmla="*/ 103 w 331"/>
                <a:gd name="T71" fmla="*/ 90 h 210"/>
                <a:gd name="T72" fmla="*/ 0 w 331"/>
                <a:gd name="T73" fmla="*/ 210 h 210"/>
                <a:gd name="T74" fmla="*/ 331 w 331"/>
                <a:gd name="T75" fmla="*/ 0 h 210"/>
                <a:gd name="T76" fmla="*/ 0 w 331"/>
                <a:gd name="T7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1" h="210">
                  <a:moveTo>
                    <a:pt x="106" y="90"/>
                  </a:moveTo>
                  <a:lnTo>
                    <a:pt x="151" y="90"/>
                  </a:lnTo>
                  <a:lnTo>
                    <a:pt x="151" y="45"/>
                  </a:lnTo>
                  <a:lnTo>
                    <a:pt x="151" y="41"/>
                  </a:lnTo>
                  <a:lnTo>
                    <a:pt x="152" y="39"/>
                  </a:lnTo>
                  <a:lnTo>
                    <a:pt x="153" y="36"/>
                  </a:lnTo>
                  <a:lnTo>
                    <a:pt x="155" y="34"/>
                  </a:lnTo>
                  <a:lnTo>
                    <a:pt x="157" y="32"/>
                  </a:lnTo>
                  <a:lnTo>
                    <a:pt x="159" y="31"/>
                  </a:lnTo>
                  <a:lnTo>
                    <a:pt x="163" y="30"/>
                  </a:lnTo>
                  <a:lnTo>
                    <a:pt x="166" y="30"/>
                  </a:lnTo>
                  <a:lnTo>
                    <a:pt x="169" y="30"/>
                  </a:lnTo>
                  <a:lnTo>
                    <a:pt x="171" y="31"/>
                  </a:lnTo>
                  <a:lnTo>
                    <a:pt x="174" y="32"/>
                  </a:lnTo>
                  <a:lnTo>
                    <a:pt x="177" y="34"/>
                  </a:lnTo>
                  <a:lnTo>
                    <a:pt x="178" y="36"/>
                  </a:lnTo>
                  <a:lnTo>
                    <a:pt x="180" y="39"/>
                  </a:lnTo>
                  <a:lnTo>
                    <a:pt x="180" y="41"/>
                  </a:lnTo>
                  <a:lnTo>
                    <a:pt x="181" y="45"/>
                  </a:lnTo>
                  <a:lnTo>
                    <a:pt x="181" y="90"/>
                  </a:lnTo>
                  <a:lnTo>
                    <a:pt x="226" y="90"/>
                  </a:lnTo>
                  <a:lnTo>
                    <a:pt x="229" y="90"/>
                  </a:lnTo>
                  <a:lnTo>
                    <a:pt x="231" y="91"/>
                  </a:lnTo>
                  <a:lnTo>
                    <a:pt x="235" y="93"/>
                  </a:lnTo>
                  <a:lnTo>
                    <a:pt x="237" y="94"/>
                  </a:lnTo>
                  <a:lnTo>
                    <a:pt x="238" y="96"/>
                  </a:lnTo>
                  <a:lnTo>
                    <a:pt x="240" y="99"/>
                  </a:lnTo>
                  <a:lnTo>
                    <a:pt x="241" y="101"/>
                  </a:lnTo>
                  <a:lnTo>
                    <a:pt x="241" y="105"/>
                  </a:lnTo>
                  <a:lnTo>
                    <a:pt x="241" y="108"/>
                  </a:lnTo>
                  <a:lnTo>
                    <a:pt x="240" y="111"/>
                  </a:lnTo>
                  <a:lnTo>
                    <a:pt x="238" y="113"/>
                  </a:lnTo>
                  <a:lnTo>
                    <a:pt x="237" y="115"/>
                  </a:lnTo>
                  <a:lnTo>
                    <a:pt x="235" y="118"/>
                  </a:lnTo>
                  <a:lnTo>
                    <a:pt x="231" y="119"/>
                  </a:lnTo>
                  <a:lnTo>
                    <a:pt x="229" y="120"/>
                  </a:lnTo>
                  <a:lnTo>
                    <a:pt x="226" y="120"/>
                  </a:lnTo>
                  <a:lnTo>
                    <a:pt x="181" y="120"/>
                  </a:lnTo>
                  <a:lnTo>
                    <a:pt x="181" y="165"/>
                  </a:lnTo>
                  <a:lnTo>
                    <a:pt x="180" y="168"/>
                  </a:lnTo>
                  <a:lnTo>
                    <a:pt x="180" y="171"/>
                  </a:lnTo>
                  <a:lnTo>
                    <a:pt x="178" y="173"/>
                  </a:lnTo>
                  <a:lnTo>
                    <a:pt x="177" y="175"/>
                  </a:lnTo>
                  <a:lnTo>
                    <a:pt x="174" y="178"/>
                  </a:lnTo>
                  <a:lnTo>
                    <a:pt x="171" y="179"/>
                  </a:lnTo>
                  <a:lnTo>
                    <a:pt x="169" y="180"/>
                  </a:lnTo>
                  <a:lnTo>
                    <a:pt x="166" y="180"/>
                  </a:lnTo>
                  <a:lnTo>
                    <a:pt x="163" y="180"/>
                  </a:lnTo>
                  <a:lnTo>
                    <a:pt x="159" y="179"/>
                  </a:lnTo>
                  <a:lnTo>
                    <a:pt x="157" y="178"/>
                  </a:lnTo>
                  <a:lnTo>
                    <a:pt x="155" y="175"/>
                  </a:lnTo>
                  <a:lnTo>
                    <a:pt x="153" y="173"/>
                  </a:lnTo>
                  <a:lnTo>
                    <a:pt x="152" y="171"/>
                  </a:lnTo>
                  <a:lnTo>
                    <a:pt x="151" y="168"/>
                  </a:lnTo>
                  <a:lnTo>
                    <a:pt x="151" y="165"/>
                  </a:lnTo>
                  <a:lnTo>
                    <a:pt x="151" y="120"/>
                  </a:lnTo>
                  <a:lnTo>
                    <a:pt x="106" y="120"/>
                  </a:lnTo>
                  <a:lnTo>
                    <a:pt x="103" y="120"/>
                  </a:lnTo>
                  <a:lnTo>
                    <a:pt x="99" y="119"/>
                  </a:lnTo>
                  <a:lnTo>
                    <a:pt x="97" y="118"/>
                  </a:lnTo>
                  <a:lnTo>
                    <a:pt x="95" y="115"/>
                  </a:lnTo>
                  <a:lnTo>
                    <a:pt x="93" y="113"/>
                  </a:lnTo>
                  <a:lnTo>
                    <a:pt x="92" y="111"/>
                  </a:lnTo>
                  <a:lnTo>
                    <a:pt x="91" y="108"/>
                  </a:lnTo>
                  <a:lnTo>
                    <a:pt x="91" y="105"/>
                  </a:lnTo>
                  <a:lnTo>
                    <a:pt x="91" y="101"/>
                  </a:lnTo>
                  <a:lnTo>
                    <a:pt x="92" y="99"/>
                  </a:lnTo>
                  <a:lnTo>
                    <a:pt x="93" y="96"/>
                  </a:lnTo>
                  <a:lnTo>
                    <a:pt x="95" y="94"/>
                  </a:lnTo>
                  <a:lnTo>
                    <a:pt x="97" y="93"/>
                  </a:lnTo>
                  <a:lnTo>
                    <a:pt x="99" y="91"/>
                  </a:lnTo>
                  <a:lnTo>
                    <a:pt x="103" y="90"/>
                  </a:lnTo>
                  <a:lnTo>
                    <a:pt x="106" y="90"/>
                  </a:lnTo>
                  <a:close/>
                  <a:moveTo>
                    <a:pt x="0" y="210"/>
                  </a:moveTo>
                  <a:lnTo>
                    <a:pt x="331" y="210"/>
                  </a:lnTo>
                  <a:lnTo>
                    <a:pt x="331" y="0"/>
                  </a:lnTo>
                  <a:lnTo>
                    <a:pt x="0" y="0"/>
                  </a:ln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330">
              <a:extLst>
                <a:ext uri="{FF2B5EF4-FFF2-40B4-BE49-F238E27FC236}">
                  <a16:creationId xmlns:a16="http://schemas.microsoft.com/office/drawing/2014/main" id="{E476C97E-A5CB-C59B-64B6-840E96235355}"/>
                </a:ext>
              </a:extLst>
            </p:cNvPr>
            <p:cNvSpPr>
              <a:spLocks noEditPoints="1"/>
            </p:cNvSpPr>
            <p:nvPr/>
          </p:nvSpPr>
          <p:spPr bwMode="auto">
            <a:xfrm>
              <a:off x="3325813" y="895350"/>
              <a:ext cx="104775" cy="66675"/>
            </a:xfrm>
            <a:custGeom>
              <a:avLst/>
              <a:gdLst>
                <a:gd name="T0" fmla="*/ 90 w 331"/>
                <a:gd name="T1" fmla="*/ 90 h 210"/>
                <a:gd name="T2" fmla="*/ 211 w 331"/>
                <a:gd name="T3" fmla="*/ 90 h 210"/>
                <a:gd name="T4" fmla="*/ 214 w 331"/>
                <a:gd name="T5" fmla="*/ 90 h 210"/>
                <a:gd name="T6" fmla="*/ 217 w 331"/>
                <a:gd name="T7" fmla="*/ 91 h 210"/>
                <a:gd name="T8" fmla="*/ 220 w 331"/>
                <a:gd name="T9" fmla="*/ 93 h 210"/>
                <a:gd name="T10" fmla="*/ 222 w 331"/>
                <a:gd name="T11" fmla="*/ 94 h 210"/>
                <a:gd name="T12" fmla="*/ 223 w 331"/>
                <a:gd name="T13" fmla="*/ 96 h 210"/>
                <a:gd name="T14" fmla="*/ 225 w 331"/>
                <a:gd name="T15" fmla="*/ 99 h 210"/>
                <a:gd name="T16" fmla="*/ 225 w 331"/>
                <a:gd name="T17" fmla="*/ 101 h 210"/>
                <a:gd name="T18" fmla="*/ 226 w 331"/>
                <a:gd name="T19" fmla="*/ 105 h 210"/>
                <a:gd name="T20" fmla="*/ 225 w 331"/>
                <a:gd name="T21" fmla="*/ 108 h 210"/>
                <a:gd name="T22" fmla="*/ 225 w 331"/>
                <a:gd name="T23" fmla="*/ 111 h 210"/>
                <a:gd name="T24" fmla="*/ 223 w 331"/>
                <a:gd name="T25" fmla="*/ 113 h 210"/>
                <a:gd name="T26" fmla="*/ 222 w 331"/>
                <a:gd name="T27" fmla="*/ 115 h 210"/>
                <a:gd name="T28" fmla="*/ 219 w 331"/>
                <a:gd name="T29" fmla="*/ 118 h 210"/>
                <a:gd name="T30" fmla="*/ 217 w 331"/>
                <a:gd name="T31" fmla="*/ 119 h 210"/>
                <a:gd name="T32" fmla="*/ 214 w 331"/>
                <a:gd name="T33" fmla="*/ 120 h 210"/>
                <a:gd name="T34" fmla="*/ 211 w 331"/>
                <a:gd name="T35" fmla="*/ 120 h 210"/>
                <a:gd name="T36" fmla="*/ 90 w 331"/>
                <a:gd name="T37" fmla="*/ 120 h 210"/>
                <a:gd name="T38" fmla="*/ 88 w 331"/>
                <a:gd name="T39" fmla="*/ 120 h 210"/>
                <a:gd name="T40" fmla="*/ 85 w 331"/>
                <a:gd name="T41" fmla="*/ 119 h 210"/>
                <a:gd name="T42" fmla="*/ 83 w 331"/>
                <a:gd name="T43" fmla="*/ 118 h 210"/>
                <a:gd name="T44" fmla="*/ 79 w 331"/>
                <a:gd name="T45" fmla="*/ 115 h 210"/>
                <a:gd name="T46" fmla="*/ 78 w 331"/>
                <a:gd name="T47" fmla="*/ 113 h 210"/>
                <a:gd name="T48" fmla="*/ 76 w 331"/>
                <a:gd name="T49" fmla="*/ 111 h 210"/>
                <a:gd name="T50" fmla="*/ 76 w 331"/>
                <a:gd name="T51" fmla="*/ 108 h 210"/>
                <a:gd name="T52" fmla="*/ 75 w 331"/>
                <a:gd name="T53" fmla="*/ 105 h 210"/>
                <a:gd name="T54" fmla="*/ 76 w 331"/>
                <a:gd name="T55" fmla="*/ 101 h 210"/>
                <a:gd name="T56" fmla="*/ 76 w 331"/>
                <a:gd name="T57" fmla="*/ 99 h 210"/>
                <a:gd name="T58" fmla="*/ 78 w 331"/>
                <a:gd name="T59" fmla="*/ 96 h 210"/>
                <a:gd name="T60" fmla="*/ 79 w 331"/>
                <a:gd name="T61" fmla="*/ 94 h 210"/>
                <a:gd name="T62" fmla="*/ 83 w 331"/>
                <a:gd name="T63" fmla="*/ 93 h 210"/>
                <a:gd name="T64" fmla="*/ 85 w 331"/>
                <a:gd name="T65" fmla="*/ 91 h 210"/>
                <a:gd name="T66" fmla="*/ 88 w 331"/>
                <a:gd name="T67" fmla="*/ 90 h 210"/>
                <a:gd name="T68" fmla="*/ 90 w 331"/>
                <a:gd name="T69" fmla="*/ 90 h 210"/>
                <a:gd name="T70" fmla="*/ 0 w 331"/>
                <a:gd name="T71" fmla="*/ 210 h 210"/>
                <a:gd name="T72" fmla="*/ 331 w 331"/>
                <a:gd name="T73" fmla="*/ 210 h 210"/>
                <a:gd name="T74" fmla="*/ 331 w 331"/>
                <a:gd name="T75" fmla="*/ 0 h 210"/>
                <a:gd name="T76" fmla="*/ 0 w 331"/>
                <a:gd name="T77" fmla="*/ 0 h 210"/>
                <a:gd name="T78" fmla="*/ 0 w 331"/>
                <a:gd name="T7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1" h="210">
                  <a:moveTo>
                    <a:pt x="90" y="90"/>
                  </a:moveTo>
                  <a:lnTo>
                    <a:pt x="211" y="90"/>
                  </a:lnTo>
                  <a:lnTo>
                    <a:pt x="214" y="90"/>
                  </a:lnTo>
                  <a:lnTo>
                    <a:pt x="217" y="91"/>
                  </a:lnTo>
                  <a:lnTo>
                    <a:pt x="220" y="93"/>
                  </a:lnTo>
                  <a:lnTo>
                    <a:pt x="222" y="94"/>
                  </a:lnTo>
                  <a:lnTo>
                    <a:pt x="223" y="96"/>
                  </a:lnTo>
                  <a:lnTo>
                    <a:pt x="225" y="99"/>
                  </a:lnTo>
                  <a:lnTo>
                    <a:pt x="225" y="101"/>
                  </a:lnTo>
                  <a:lnTo>
                    <a:pt x="226" y="105"/>
                  </a:lnTo>
                  <a:lnTo>
                    <a:pt x="225" y="108"/>
                  </a:lnTo>
                  <a:lnTo>
                    <a:pt x="225" y="111"/>
                  </a:lnTo>
                  <a:lnTo>
                    <a:pt x="223" y="113"/>
                  </a:lnTo>
                  <a:lnTo>
                    <a:pt x="222" y="115"/>
                  </a:lnTo>
                  <a:lnTo>
                    <a:pt x="219" y="118"/>
                  </a:lnTo>
                  <a:lnTo>
                    <a:pt x="217" y="119"/>
                  </a:lnTo>
                  <a:lnTo>
                    <a:pt x="214" y="120"/>
                  </a:lnTo>
                  <a:lnTo>
                    <a:pt x="211" y="120"/>
                  </a:lnTo>
                  <a:lnTo>
                    <a:pt x="90" y="120"/>
                  </a:lnTo>
                  <a:lnTo>
                    <a:pt x="88" y="120"/>
                  </a:lnTo>
                  <a:lnTo>
                    <a:pt x="85" y="119"/>
                  </a:lnTo>
                  <a:lnTo>
                    <a:pt x="83" y="118"/>
                  </a:lnTo>
                  <a:lnTo>
                    <a:pt x="79" y="115"/>
                  </a:lnTo>
                  <a:lnTo>
                    <a:pt x="78" y="113"/>
                  </a:lnTo>
                  <a:lnTo>
                    <a:pt x="76" y="111"/>
                  </a:lnTo>
                  <a:lnTo>
                    <a:pt x="76" y="108"/>
                  </a:lnTo>
                  <a:lnTo>
                    <a:pt x="75" y="105"/>
                  </a:lnTo>
                  <a:lnTo>
                    <a:pt x="76" y="101"/>
                  </a:lnTo>
                  <a:lnTo>
                    <a:pt x="76" y="99"/>
                  </a:lnTo>
                  <a:lnTo>
                    <a:pt x="78" y="96"/>
                  </a:lnTo>
                  <a:lnTo>
                    <a:pt x="79" y="94"/>
                  </a:lnTo>
                  <a:lnTo>
                    <a:pt x="83" y="93"/>
                  </a:lnTo>
                  <a:lnTo>
                    <a:pt x="85" y="91"/>
                  </a:lnTo>
                  <a:lnTo>
                    <a:pt x="88" y="90"/>
                  </a:lnTo>
                  <a:lnTo>
                    <a:pt x="90" y="90"/>
                  </a:lnTo>
                  <a:close/>
                  <a:moveTo>
                    <a:pt x="0" y="210"/>
                  </a:moveTo>
                  <a:lnTo>
                    <a:pt x="331" y="210"/>
                  </a:lnTo>
                  <a:lnTo>
                    <a:pt x="331" y="0"/>
                  </a:lnTo>
                  <a:lnTo>
                    <a:pt x="0" y="0"/>
                  </a:ln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331">
              <a:extLst>
                <a:ext uri="{FF2B5EF4-FFF2-40B4-BE49-F238E27FC236}">
                  <a16:creationId xmlns:a16="http://schemas.microsoft.com/office/drawing/2014/main" id="{ADC38E66-9CE5-8ECC-858A-FDB52EE7D84B}"/>
                </a:ext>
              </a:extLst>
            </p:cNvPr>
            <p:cNvSpPr>
              <a:spLocks noEditPoints="1"/>
            </p:cNvSpPr>
            <p:nvPr/>
          </p:nvSpPr>
          <p:spPr bwMode="auto">
            <a:xfrm>
              <a:off x="3209925" y="973138"/>
              <a:ext cx="106363" cy="85725"/>
            </a:xfrm>
            <a:custGeom>
              <a:avLst/>
              <a:gdLst>
                <a:gd name="T0" fmla="*/ 108 w 331"/>
                <a:gd name="T1" fmla="*/ 82 h 270"/>
                <a:gd name="T2" fmla="*/ 106 w 331"/>
                <a:gd name="T3" fmla="*/ 77 h 270"/>
                <a:gd name="T4" fmla="*/ 106 w 331"/>
                <a:gd name="T5" fmla="*/ 72 h 270"/>
                <a:gd name="T6" fmla="*/ 108 w 331"/>
                <a:gd name="T7" fmla="*/ 66 h 270"/>
                <a:gd name="T8" fmla="*/ 112 w 331"/>
                <a:gd name="T9" fmla="*/ 62 h 270"/>
                <a:gd name="T10" fmla="*/ 118 w 331"/>
                <a:gd name="T11" fmla="*/ 60 h 270"/>
                <a:gd name="T12" fmla="*/ 123 w 331"/>
                <a:gd name="T13" fmla="*/ 60 h 270"/>
                <a:gd name="T14" fmla="*/ 128 w 331"/>
                <a:gd name="T15" fmla="*/ 62 h 270"/>
                <a:gd name="T16" fmla="*/ 166 w 331"/>
                <a:gd name="T17" fmla="*/ 99 h 270"/>
                <a:gd name="T18" fmla="*/ 202 w 331"/>
                <a:gd name="T19" fmla="*/ 62 h 270"/>
                <a:gd name="T20" fmla="*/ 208 w 331"/>
                <a:gd name="T21" fmla="*/ 60 h 270"/>
                <a:gd name="T22" fmla="*/ 214 w 331"/>
                <a:gd name="T23" fmla="*/ 60 h 270"/>
                <a:gd name="T24" fmla="*/ 220 w 331"/>
                <a:gd name="T25" fmla="*/ 62 h 270"/>
                <a:gd name="T26" fmla="*/ 224 w 331"/>
                <a:gd name="T27" fmla="*/ 66 h 270"/>
                <a:gd name="T28" fmla="*/ 226 w 331"/>
                <a:gd name="T29" fmla="*/ 72 h 270"/>
                <a:gd name="T30" fmla="*/ 226 w 331"/>
                <a:gd name="T31" fmla="*/ 77 h 270"/>
                <a:gd name="T32" fmla="*/ 224 w 331"/>
                <a:gd name="T33" fmla="*/ 82 h 270"/>
                <a:gd name="T34" fmla="*/ 187 w 331"/>
                <a:gd name="T35" fmla="*/ 120 h 270"/>
                <a:gd name="T36" fmla="*/ 224 w 331"/>
                <a:gd name="T37" fmla="*/ 156 h 270"/>
                <a:gd name="T38" fmla="*/ 226 w 331"/>
                <a:gd name="T39" fmla="*/ 162 h 270"/>
                <a:gd name="T40" fmla="*/ 226 w 331"/>
                <a:gd name="T41" fmla="*/ 168 h 270"/>
                <a:gd name="T42" fmla="*/ 224 w 331"/>
                <a:gd name="T43" fmla="*/ 174 h 270"/>
                <a:gd name="T44" fmla="*/ 220 w 331"/>
                <a:gd name="T45" fmla="*/ 178 h 270"/>
                <a:gd name="T46" fmla="*/ 214 w 331"/>
                <a:gd name="T47" fmla="*/ 180 h 270"/>
                <a:gd name="T48" fmla="*/ 208 w 331"/>
                <a:gd name="T49" fmla="*/ 180 h 270"/>
                <a:gd name="T50" fmla="*/ 202 w 331"/>
                <a:gd name="T51" fmla="*/ 178 h 270"/>
                <a:gd name="T52" fmla="*/ 166 w 331"/>
                <a:gd name="T53" fmla="*/ 141 h 270"/>
                <a:gd name="T54" fmla="*/ 128 w 331"/>
                <a:gd name="T55" fmla="*/ 178 h 270"/>
                <a:gd name="T56" fmla="*/ 123 w 331"/>
                <a:gd name="T57" fmla="*/ 180 h 270"/>
                <a:gd name="T58" fmla="*/ 118 w 331"/>
                <a:gd name="T59" fmla="*/ 180 h 270"/>
                <a:gd name="T60" fmla="*/ 112 w 331"/>
                <a:gd name="T61" fmla="*/ 178 h 270"/>
                <a:gd name="T62" fmla="*/ 108 w 331"/>
                <a:gd name="T63" fmla="*/ 174 h 270"/>
                <a:gd name="T64" fmla="*/ 106 w 331"/>
                <a:gd name="T65" fmla="*/ 168 h 270"/>
                <a:gd name="T66" fmla="*/ 106 w 331"/>
                <a:gd name="T67" fmla="*/ 162 h 270"/>
                <a:gd name="T68" fmla="*/ 108 w 331"/>
                <a:gd name="T69" fmla="*/ 156 h 270"/>
                <a:gd name="T70" fmla="*/ 144 w 331"/>
                <a:gd name="T71" fmla="*/ 120 h 270"/>
                <a:gd name="T72" fmla="*/ 0 w 331"/>
                <a:gd name="T73" fmla="*/ 180 h 270"/>
                <a:gd name="T74" fmla="*/ 2 w 331"/>
                <a:gd name="T75" fmla="*/ 198 h 270"/>
                <a:gd name="T76" fmla="*/ 7 w 331"/>
                <a:gd name="T77" fmla="*/ 215 h 270"/>
                <a:gd name="T78" fmla="*/ 16 w 331"/>
                <a:gd name="T79" fmla="*/ 231 h 270"/>
                <a:gd name="T80" fmla="*/ 26 w 331"/>
                <a:gd name="T81" fmla="*/ 243 h 270"/>
                <a:gd name="T82" fmla="*/ 39 w 331"/>
                <a:gd name="T83" fmla="*/ 255 h 270"/>
                <a:gd name="T84" fmla="*/ 55 w 331"/>
                <a:gd name="T85" fmla="*/ 264 h 270"/>
                <a:gd name="T86" fmla="*/ 73 w 331"/>
                <a:gd name="T87" fmla="*/ 268 h 270"/>
                <a:gd name="T88" fmla="*/ 91 w 331"/>
                <a:gd name="T89" fmla="*/ 270 h 270"/>
                <a:gd name="T90" fmla="*/ 331 w 331"/>
                <a:gd name="T91" fmla="*/ 0 h 270"/>
                <a:gd name="T92" fmla="*/ 0 w 331"/>
                <a:gd name="T93" fmla="*/ 18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1" h="270">
                  <a:moveTo>
                    <a:pt x="110" y="86"/>
                  </a:moveTo>
                  <a:lnTo>
                    <a:pt x="108" y="82"/>
                  </a:lnTo>
                  <a:lnTo>
                    <a:pt x="107" y="80"/>
                  </a:lnTo>
                  <a:lnTo>
                    <a:pt x="106" y="77"/>
                  </a:lnTo>
                  <a:lnTo>
                    <a:pt x="106" y="75"/>
                  </a:lnTo>
                  <a:lnTo>
                    <a:pt x="106" y="72"/>
                  </a:lnTo>
                  <a:lnTo>
                    <a:pt x="107" y="69"/>
                  </a:lnTo>
                  <a:lnTo>
                    <a:pt x="108" y="66"/>
                  </a:lnTo>
                  <a:lnTo>
                    <a:pt x="110" y="64"/>
                  </a:lnTo>
                  <a:lnTo>
                    <a:pt x="112" y="62"/>
                  </a:lnTo>
                  <a:lnTo>
                    <a:pt x="114" y="61"/>
                  </a:lnTo>
                  <a:lnTo>
                    <a:pt x="118" y="60"/>
                  </a:lnTo>
                  <a:lnTo>
                    <a:pt x="121" y="60"/>
                  </a:lnTo>
                  <a:lnTo>
                    <a:pt x="123" y="60"/>
                  </a:lnTo>
                  <a:lnTo>
                    <a:pt x="126" y="61"/>
                  </a:lnTo>
                  <a:lnTo>
                    <a:pt x="128" y="62"/>
                  </a:lnTo>
                  <a:lnTo>
                    <a:pt x="132" y="64"/>
                  </a:lnTo>
                  <a:lnTo>
                    <a:pt x="166" y="99"/>
                  </a:lnTo>
                  <a:lnTo>
                    <a:pt x="200" y="64"/>
                  </a:lnTo>
                  <a:lnTo>
                    <a:pt x="202" y="62"/>
                  </a:lnTo>
                  <a:lnTo>
                    <a:pt x="206" y="61"/>
                  </a:lnTo>
                  <a:lnTo>
                    <a:pt x="208" y="60"/>
                  </a:lnTo>
                  <a:lnTo>
                    <a:pt x="211" y="60"/>
                  </a:lnTo>
                  <a:lnTo>
                    <a:pt x="214" y="60"/>
                  </a:lnTo>
                  <a:lnTo>
                    <a:pt x="216" y="61"/>
                  </a:lnTo>
                  <a:lnTo>
                    <a:pt x="220" y="62"/>
                  </a:lnTo>
                  <a:lnTo>
                    <a:pt x="222" y="64"/>
                  </a:lnTo>
                  <a:lnTo>
                    <a:pt x="224" y="66"/>
                  </a:lnTo>
                  <a:lnTo>
                    <a:pt x="225" y="69"/>
                  </a:lnTo>
                  <a:lnTo>
                    <a:pt x="226" y="72"/>
                  </a:lnTo>
                  <a:lnTo>
                    <a:pt x="226" y="75"/>
                  </a:lnTo>
                  <a:lnTo>
                    <a:pt x="226" y="77"/>
                  </a:lnTo>
                  <a:lnTo>
                    <a:pt x="225" y="80"/>
                  </a:lnTo>
                  <a:lnTo>
                    <a:pt x="224" y="82"/>
                  </a:lnTo>
                  <a:lnTo>
                    <a:pt x="222" y="86"/>
                  </a:lnTo>
                  <a:lnTo>
                    <a:pt x="187" y="120"/>
                  </a:lnTo>
                  <a:lnTo>
                    <a:pt x="222" y="154"/>
                  </a:lnTo>
                  <a:lnTo>
                    <a:pt x="224" y="156"/>
                  </a:lnTo>
                  <a:lnTo>
                    <a:pt x="225" y="160"/>
                  </a:lnTo>
                  <a:lnTo>
                    <a:pt x="226" y="162"/>
                  </a:lnTo>
                  <a:lnTo>
                    <a:pt x="226" y="165"/>
                  </a:lnTo>
                  <a:lnTo>
                    <a:pt x="226" y="168"/>
                  </a:lnTo>
                  <a:lnTo>
                    <a:pt x="225" y="170"/>
                  </a:lnTo>
                  <a:lnTo>
                    <a:pt x="224" y="174"/>
                  </a:lnTo>
                  <a:lnTo>
                    <a:pt x="222" y="176"/>
                  </a:lnTo>
                  <a:lnTo>
                    <a:pt x="220" y="178"/>
                  </a:lnTo>
                  <a:lnTo>
                    <a:pt x="216" y="179"/>
                  </a:lnTo>
                  <a:lnTo>
                    <a:pt x="214" y="180"/>
                  </a:lnTo>
                  <a:lnTo>
                    <a:pt x="211" y="180"/>
                  </a:lnTo>
                  <a:lnTo>
                    <a:pt x="208" y="180"/>
                  </a:lnTo>
                  <a:lnTo>
                    <a:pt x="206" y="179"/>
                  </a:lnTo>
                  <a:lnTo>
                    <a:pt x="202" y="178"/>
                  </a:lnTo>
                  <a:lnTo>
                    <a:pt x="200" y="176"/>
                  </a:lnTo>
                  <a:lnTo>
                    <a:pt x="166" y="141"/>
                  </a:lnTo>
                  <a:lnTo>
                    <a:pt x="132" y="176"/>
                  </a:lnTo>
                  <a:lnTo>
                    <a:pt x="128" y="178"/>
                  </a:lnTo>
                  <a:lnTo>
                    <a:pt x="126" y="179"/>
                  </a:lnTo>
                  <a:lnTo>
                    <a:pt x="123" y="180"/>
                  </a:lnTo>
                  <a:lnTo>
                    <a:pt x="121" y="180"/>
                  </a:lnTo>
                  <a:lnTo>
                    <a:pt x="118" y="180"/>
                  </a:lnTo>
                  <a:lnTo>
                    <a:pt x="114" y="179"/>
                  </a:lnTo>
                  <a:lnTo>
                    <a:pt x="112" y="178"/>
                  </a:lnTo>
                  <a:lnTo>
                    <a:pt x="110" y="176"/>
                  </a:lnTo>
                  <a:lnTo>
                    <a:pt x="108" y="174"/>
                  </a:lnTo>
                  <a:lnTo>
                    <a:pt x="107" y="170"/>
                  </a:lnTo>
                  <a:lnTo>
                    <a:pt x="106" y="168"/>
                  </a:lnTo>
                  <a:lnTo>
                    <a:pt x="106" y="165"/>
                  </a:lnTo>
                  <a:lnTo>
                    <a:pt x="106" y="162"/>
                  </a:lnTo>
                  <a:lnTo>
                    <a:pt x="107" y="160"/>
                  </a:lnTo>
                  <a:lnTo>
                    <a:pt x="108" y="156"/>
                  </a:lnTo>
                  <a:lnTo>
                    <a:pt x="110" y="154"/>
                  </a:lnTo>
                  <a:lnTo>
                    <a:pt x="144" y="120"/>
                  </a:lnTo>
                  <a:lnTo>
                    <a:pt x="110" y="86"/>
                  </a:lnTo>
                  <a:close/>
                  <a:moveTo>
                    <a:pt x="0" y="180"/>
                  </a:moveTo>
                  <a:lnTo>
                    <a:pt x="1" y="190"/>
                  </a:lnTo>
                  <a:lnTo>
                    <a:pt x="2" y="198"/>
                  </a:lnTo>
                  <a:lnTo>
                    <a:pt x="4" y="207"/>
                  </a:lnTo>
                  <a:lnTo>
                    <a:pt x="7" y="215"/>
                  </a:lnTo>
                  <a:lnTo>
                    <a:pt x="11" y="223"/>
                  </a:lnTo>
                  <a:lnTo>
                    <a:pt x="16" y="231"/>
                  </a:lnTo>
                  <a:lnTo>
                    <a:pt x="21" y="238"/>
                  </a:lnTo>
                  <a:lnTo>
                    <a:pt x="26" y="243"/>
                  </a:lnTo>
                  <a:lnTo>
                    <a:pt x="33" y="250"/>
                  </a:lnTo>
                  <a:lnTo>
                    <a:pt x="39" y="255"/>
                  </a:lnTo>
                  <a:lnTo>
                    <a:pt x="47" y="259"/>
                  </a:lnTo>
                  <a:lnTo>
                    <a:pt x="55" y="264"/>
                  </a:lnTo>
                  <a:lnTo>
                    <a:pt x="64" y="266"/>
                  </a:lnTo>
                  <a:lnTo>
                    <a:pt x="73" y="268"/>
                  </a:lnTo>
                  <a:lnTo>
                    <a:pt x="81" y="270"/>
                  </a:lnTo>
                  <a:lnTo>
                    <a:pt x="91" y="270"/>
                  </a:lnTo>
                  <a:lnTo>
                    <a:pt x="331" y="270"/>
                  </a:lnTo>
                  <a:lnTo>
                    <a:pt x="331" y="0"/>
                  </a:lnTo>
                  <a:lnTo>
                    <a:pt x="0" y="0"/>
                  </a:lnTo>
                  <a:lnTo>
                    <a:pt x="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332">
              <a:extLst>
                <a:ext uri="{FF2B5EF4-FFF2-40B4-BE49-F238E27FC236}">
                  <a16:creationId xmlns:a16="http://schemas.microsoft.com/office/drawing/2014/main" id="{7C215EA8-8E61-D96A-A5F0-B358B98DCA3B}"/>
                </a:ext>
              </a:extLst>
            </p:cNvPr>
            <p:cNvSpPr>
              <a:spLocks noEditPoints="1"/>
            </p:cNvSpPr>
            <p:nvPr/>
          </p:nvSpPr>
          <p:spPr bwMode="auto">
            <a:xfrm>
              <a:off x="3325813" y="973138"/>
              <a:ext cx="104775" cy="85725"/>
            </a:xfrm>
            <a:custGeom>
              <a:avLst/>
              <a:gdLst>
                <a:gd name="T0" fmla="*/ 211 w 331"/>
                <a:gd name="T1" fmla="*/ 120 h 270"/>
                <a:gd name="T2" fmla="*/ 217 w 331"/>
                <a:gd name="T3" fmla="*/ 121 h 270"/>
                <a:gd name="T4" fmla="*/ 222 w 331"/>
                <a:gd name="T5" fmla="*/ 124 h 270"/>
                <a:gd name="T6" fmla="*/ 225 w 331"/>
                <a:gd name="T7" fmla="*/ 129 h 270"/>
                <a:gd name="T8" fmla="*/ 226 w 331"/>
                <a:gd name="T9" fmla="*/ 135 h 270"/>
                <a:gd name="T10" fmla="*/ 225 w 331"/>
                <a:gd name="T11" fmla="*/ 140 h 270"/>
                <a:gd name="T12" fmla="*/ 222 w 331"/>
                <a:gd name="T13" fmla="*/ 146 h 270"/>
                <a:gd name="T14" fmla="*/ 217 w 331"/>
                <a:gd name="T15" fmla="*/ 149 h 270"/>
                <a:gd name="T16" fmla="*/ 211 w 331"/>
                <a:gd name="T17" fmla="*/ 150 h 270"/>
                <a:gd name="T18" fmla="*/ 88 w 331"/>
                <a:gd name="T19" fmla="*/ 150 h 270"/>
                <a:gd name="T20" fmla="*/ 83 w 331"/>
                <a:gd name="T21" fmla="*/ 147 h 270"/>
                <a:gd name="T22" fmla="*/ 78 w 331"/>
                <a:gd name="T23" fmla="*/ 144 h 270"/>
                <a:gd name="T24" fmla="*/ 76 w 331"/>
                <a:gd name="T25" fmla="*/ 138 h 270"/>
                <a:gd name="T26" fmla="*/ 76 w 331"/>
                <a:gd name="T27" fmla="*/ 132 h 270"/>
                <a:gd name="T28" fmla="*/ 78 w 331"/>
                <a:gd name="T29" fmla="*/ 126 h 270"/>
                <a:gd name="T30" fmla="*/ 83 w 331"/>
                <a:gd name="T31" fmla="*/ 122 h 270"/>
                <a:gd name="T32" fmla="*/ 88 w 331"/>
                <a:gd name="T33" fmla="*/ 120 h 270"/>
                <a:gd name="T34" fmla="*/ 90 w 331"/>
                <a:gd name="T35" fmla="*/ 60 h 270"/>
                <a:gd name="T36" fmla="*/ 214 w 331"/>
                <a:gd name="T37" fmla="*/ 60 h 270"/>
                <a:gd name="T38" fmla="*/ 220 w 331"/>
                <a:gd name="T39" fmla="*/ 62 h 270"/>
                <a:gd name="T40" fmla="*/ 223 w 331"/>
                <a:gd name="T41" fmla="*/ 66 h 270"/>
                <a:gd name="T42" fmla="*/ 225 w 331"/>
                <a:gd name="T43" fmla="*/ 72 h 270"/>
                <a:gd name="T44" fmla="*/ 225 w 331"/>
                <a:gd name="T45" fmla="*/ 78 h 270"/>
                <a:gd name="T46" fmla="*/ 223 w 331"/>
                <a:gd name="T47" fmla="*/ 84 h 270"/>
                <a:gd name="T48" fmla="*/ 219 w 331"/>
                <a:gd name="T49" fmla="*/ 87 h 270"/>
                <a:gd name="T50" fmla="*/ 214 w 331"/>
                <a:gd name="T51" fmla="*/ 89 h 270"/>
                <a:gd name="T52" fmla="*/ 90 w 331"/>
                <a:gd name="T53" fmla="*/ 90 h 270"/>
                <a:gd name="T54" fmla="*/ 85 w 331"/>
                <a:gd name="T55" fmla="*/ 89 h 270"/>
                <a:gd name="T56" fmla="*/ 79 w 331"/>
                <a:gd name="T57" fmla="*/ 86 h 270"/>
                <a:gd name="T58" fmla="*/ 76 w 331"/>
                <a:gd name="T59" fmla="*/ 80 h 270"/>
                <a:gd name="T60" fmla="*/ 75 w 331"/>
                <a:gd name="T61" fmla="*/ 75 h 270"/>
                <a:gd name="T62" fmla="*/ 76 w 331"/>
                <a:gd name="T63" fmla="*/ 69 h 270"/>
                <a:gd name="T64" fmla="*/ 79 w 331"/>
                <a:gd name="T65" fmla="*/ 64 h 270"/>
                <a:gd name="T66" fmla="*/ 85 w 331"/>
                <a:gd name="T67" fmla="*/ 61 h 270"/>
                <a:gd name="T68" fmla="*/ 90 w 331"/>
                <a:gd name="T69" fmla="*/ 60 h 270"/>
                <a:gd name="T70" fmla="*/ 0 w 331"/>
                <a:gd name="T71" fmla="*/ 270 h 270"/>
                <a:gd name="T72" fmla="*/ 250 w 331"/>
                <a:gd name="T73" fmla="*/ 270 h 270"/>
                <a:gd name="T74" fmla="*/ 268 w 331"/>
                <a:gd name="T75" fmla="*/ 266 h 270"/>
                <a:gd name="T76" fmla="*/ 284 w 331"/>
                <a:gd name="T77" fmla="*/ 259 h 270"/>
                <a:gd name="T78" fmla="*/ 298 w 331"/>
                <a:gd name="T79" fmla="*/ 250 h 270"/>
                <a:gd name="T80" fmla="*/ 311 w 331"/>
                <a:gd name="T81" fmla="*/ 238 h 270"/>
                <a:gd name="T82" fmla="*/ 321 w 331"/>
                <a:gd name="T83" fmla="*/ 223 h 270"/>
                <a:gd name="T84" fmla="*/ 327 w 331"/>
                <a:gd name="T85" fmla="*/ 207 h 270"/>
                <a:gd name="T86" fmla="*/ 331 w 331"/>
                <a:gd name="T87" fmla="*/ 190 h 270"/>
                <a:gd name="T88" fmla="*/ 331 w 331"/>
                <a:gd name="T89" fmla="*/ 0 h 270"/>
                <a:gd name="T90" fmla="*/ 0 w 331"/>
                <a:gd name="T91" fmla="*/ 27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1" h="270">
                  <a:moveTo>
                    <a:pt x="90" y="120"/>
                  </a:moveTo>
                  <a:lnTo>
                    <a:pt x="211" y="120"/>
                  </a:lnTo>
                  <a:lnTo>
                    <a:pt x="214" y="120"/>
                  </a:lnTo>
                  <a:lnTo>
                    <a:pt x="217" y="121"/>
                  </a:lnTo>
                  <a:lnTo>
                    <a:pt x="220" y="122"/>
                  </a:lnTo>
                  <a:lnTo>
                    <a:pt x="222" y="124"/>
                  </a:lnTo>
                  <a:lnTo>
                    <a:pt x="223" y="126"/>
                  </a:lnTo>
                  <a:lnTo>
                    <a:pt x="225" y="129"/>
                  </a:lnTo>
                  <a:lnTo>
                    <a:pt x="225" y="132"/>
                  </a:lnTo>
                  <a:lnTo>
                    <a:pt x="226" y="135"/>
                  </a:lnTo>
                  <a:lnTo>
                    <a:pt x="225" y="138"/>
                  </a:lnTo>
                  <a:lnTo>
                    <a:pt x="225" y="140"/>
                  </a:lnTo>
                  <a:lnTo>
                    <a:pt x="223" y="144"/>
                  </a:lnTo>
                  <a:lnTo>
                    <a:pt x="222" y="146"/>
                  </a:lnTo>
                  <a:lnTo>
                    <a:pt x="219" y="148"/>
                  </a:lnTo>
                  <a:lnTo>
                    <a:pt x="217" y="149"/>
                  </a:lnTo>
                  <a:lnTo>
                    <a:pt x="214" y="150"/>
                  </a:lnTo>
                  <a:lnTo>
                    <a:pt x="211" y="150"/>
                  </a:lnTo>
                  <a:lnTo>
                    <a:pt x="90" y="150"/>
                  </a:lnTo>
                  <a:lnTo>
                    <a:pt x="88" y="150"/>
                  </a:lnTo>
                  <a:lnTo>
                    <a:pt x="85" y="149"/>
                  </a:lnTo>
                  <a:lnTo>
                    <a:pt x="83" y="147"/>
                  </a:lnTo>
                  <a:lnTo>
                    <a:pt x="79" y="146"/>
                  </a:lnTo>
                  <a:lnTo>
                    <a:pt x="78" y="144"/>
                  </a:lnTo>
                  <a:lnTo>
                    <a:pt x="76" y="140"/>
                  </a:lnTo>
                  <a:lnTo>
                    <a:pt x="76" y="138"/>
                  </a:lnTo>
                  <a:lnTo>
                    <a:pt x="75" y="135"/>
                  </a:lnTo>
                  <a:lnTo>
                    <a:pt x="76" y="132"/>
                  </a:lnTo>
                  <a:lnTo>
                    <a:pt x="76" y="129"/>
                  </a:lnTo>
                  <a:lnTo>
                    <a:pt x="78" y="126"/>
                  </a:lnTo>
                  <a:lnTo>
                    <a:pt x="79" y="124"/>
                  </a:lnTo>
                  <a:lnTo>
                    <a:pt x="83" y="122"/>
                  </a:lnTo>
                  <a:lnTo>
                    <a:pt x="85" y="121"/>
                  </a:lnTo>
                  <a:lnTo>
                    <a:pt x="88" y="120"/>
                  </a:lnTo>
                  <a:lnTo>
                    <a:pt x="90" y="120"/>
                  </a:lnTo>
                  <a:close/>
                  <a:moveTo>
                    <a:pt x="90" y="60"/>
                  </a:moveTo>
                  <a:lnTo>
                    <a:pt x="211" y="60"/>
                  </a:lnTo>
                  <a:lnTo>
                    <a:pt x="214" y="60"/>
                  </a:lnTo>
                  <a:lnTo>
                    <a:pt x="217" y="61"/>
                  </a:lnTo>
                  <a:lnTo>
                    <a:pt x="220" y="62"/>
                  </a:lnTo>
                  <a:lnTo>
                    <a:pt x="222" y="64"/>
                  </a:lnTo>
                  <a:lnTo>
                    <a:pt x="223" y="66"/>
                  </a:lnTo>
                  <a:lnTo>
                    <a:pt x="225" y="69"/>
                  </a:lnTo>
                  <a:lnTo>
                    <a:pt x="225" y="72"/>
                  </a:lnTo>
                  <a:lnTo>
                    <a:pt x="226" y="75"/>
                  </a:lnTo>
                  <a:lnTo>
                    <a:pt x="225" y="78"/>
                  </a:lnTo>
                  <a:lnTo>
                    <a:pt x="225" y="80"/>
                  </a:lnTo>
                  <a:lnTo>
                    <a:pt x="223" y="84"/>
                  </a:lnTo>
                  <a:lnTo>
                    <a:pt x="222" y="86"/>
                  </a:lnTo>
                  <a:lnTo>
                    <a:pt x="219" y="87"/>
                  </a:lnTo>
                  <a:lnTo>
                    <a:pt x="217" y="89"/>
                  </a:lnTo>
                  <a:lnTo>
                    <a:pt x="214" y="89"/>
                  </a:lnTo>
                  <a:lnTo>
                    <a:pt x="211" y="90"/>
                  </a:lnTo>
                  <a:lnTo>
                    <a:pt x="90" y="90"/>
                  </a:lnTo>
                  <a:lnTo>
                    <a:pt x="88" y="89"/>
                  </a:lnTo>
                  <a:lnTo>
                    <a:pt x="85" y="89"/>
                  </a:lnTo>
                  <a:lnTo>
                    <a:pt x="83" y="87"/>
                  </a:lnTo>
                  <a:lnTo>
                    <a:pt x="79" y="86"/>
                  </a:lnTo>
                  <a:lnTo>
                    <a:pt x="78" y="84"/>
                  </a:lnTo>
                  <a:lnTo>
                    <a:pt x="76" y="80"/>
                  </a:lnTo>
                  <a:lnTo>
                    <a:pt x="76" y="78"/>
                  </a:lnTo>
                  <a:lnTo>
                    <a:pt x="75" y="75"/>
                  </a:lnTo>
                  <a:lnTo>
                    <a:pt x="76" y="72"/>
                  </a:lnTo>
                  <a:lnTo>
                    <a:pt x="76" y="69"/>
                  </a:lnTo>
                  <a:lnTo>
                    <a:pt x="78" y="66"/>
                  </a:lnTo>
                  <a:lnTo>
                    <a:pt x="79" y="64"/>
                  </a:lnTo>
                  <a:lnTo>
                    <a:pt x="83" y="62"/>
                  </a:lnTo>
                  <a:lnTo>
                    <a:pt x="85" y="61"/>
                  </a:lnTo>
                  <a:lnTo>
                    <a:pt x="88" y="60"/>
                  </a:lnTo>
                  <a:lnTo>
                    <a:pt x="90" y="60"/>
                  </a:lnTo>
                  <a:lnTo>
                    <a:pt x="90" y="60"/>
                  </a:lnTo>
                  <a:close/>
                  <a:moveTo>
                    <a:pt x="0" y="270"/>
                  </a:moveTo>
                  <a:lnTo>
                    <a:pt x="241" y="270"/>
                  </a:lnTo>
                  <a:lnTo>
                    <a:pt x="250" y="270"/>
                  </a:lnTo>
                  <a:lnTo>
                    <a:pt x="260" y="268"/>
                  </a:lnTo>
                  <a:lnTo>
                    <a:pt x="268" y="266"/>
                  </a:lnTo>
                  <a:lnTo>
                    <a:pt x="276" y="264"/>
                  </a:lnTo>
                  <a:lnTo>
                    <a:pt x="284" y="259"/>
                  </a:lnTo>
                  <a:lnTo>
                    <a:pt x="292" y="255"/>
                  </a:lnTo>
                  <a:lnTo>
                    <a:pt x="298" y="250"/>
                  </a:lnTo>
                  <a:lnTo>
                    <a:pt x="305" y="243"/>
                  </a:lnTo>
                  <a:lnTo>
                    <a:pt x="311" y="238"/>
                  </a:lnTo>
                  <a:lnTo>
                    <a:pt x="316" y="231"/>
                  </a:lnTo>
                  <a:lnTo>
                    <a:pt x="321" y="223"/>
                  </a:lnTo>
                  <a:lnTo>
                    <a:pt x="324" y="215"/>
                  </a:lnTo>
                  <a:lnTo>
                    <a:pt x="327" y="207"/>
                  </a:lnTo>
                  <a:lnTo>
                    <a:pt x="329" y="198"/>
                  </a:lnTo>
                  <a:lnTo>
                    <a:pt x="331" y="190"/>
                  </a:lnTo>
                  <a:lnTo>
                    <a:pt x="331" y="180"/>
                  </a:lnTo>
                  <a:lnTo>
                    <a:pt x="331" y="0"/>
                  </a:lnTo>
                  <a:lnTo>
                    <a:pt x="0" y="0"/>
                  </a:lnTo>
                  <a:lnTo>
                    <a:pt x="0" y="2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3" name="Footer Placeholder 42">
            <a:extLst>
              <a:ext uri="{FF2B5EF4-FFF2-40B4-BE49-F238E27FC236}">
                <a16:creationId xmlns:a16="http://schemas.microsoft.com/office/drawing/2014/main" id="{000E34F1-DE98-1543-445C-A8CB1CEE4D93}"/>
              </a:ext>
            </a:extLst>
          </p:cNvPr>
          <p:cNvSpPr>
            <a:spLocks noGrp="1"/>
          </p:cNvSpPr>
          <p:nvPr>
            <p:ph type="ftr" sz="quarter" idx="11"/>
          </p:nvPr>
        </p:nvSpPr>
        <p:spPr/>
        <p:txBody>
          <a:bodyPr/>
          <a:lstStyle/>
          <a:p>
            <a:r>
              <a:rPr lang="en-US"/>
              <a:t>© 2024 Mobiz. All rights reserved</a:t>
            </a:r>
            <a:endParaRPr lang="en-BR"/>
          </a:p>
        </p:txBody>
      </p:sp>
      <p:sp>
        <p:nvSpPr>
          <p:cNvPr id="44" name="Slide Number Placeholder 43">
            <a:extLst>
              <a:ext uri="{FF2B5EF4-FFF2-40B4-BE49-F238E27FC236}">
                <a16:creationId xmlns:a16="http://schemas.microsoft.com/office/drawing/2014/main" id="{2F28164F-BAC3-036F-EC47-F968D13868C4}"/>
              </a:ext>
            </a:extLst>
          </p:cNvPr>
          <p:cNvSpPr>
            <a:spLocks noGrp="1"/>
          </p:cNvSpPr>
          <p:nvPr>
            <p:ph type="sldNum" sz="quarter" idx="12"/>
          </p:nvPr>
        </p:nvSpPr>
        <p:spPr/>
        <p:txBody>
          <a:bodyPr/>
          <a:lstStyle/>
          <a:p>
            <a:fld id="{A8DDC45B-7265-3747-B738-ED29642119D9}" type="slidenum">
              <a:rPr lang="en-BR" smtClean="0"/>
              <a:pPr/>
              <a:t>54</a:t>
            </a:fld>
            <a:endParaRPr lang="en-BR"/>
          </a:p>
        </p:txBody>
      </p:sp>
    </p:spTree>
    <p:extLst>
      <p:ext uri="{BB962C8B-B14F-4D97-AF65-F5344CB8AC3E}">
        <p14:creationId xmlns:p14="http://schemas.microsoft.com/office/powerpoint/2010/main" val="13697916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17C843-D629-CB4D-528E-F6395EE9F732}"/>
              </a:ext>
            </a:extLst>
          </p:cNvPr>
          <p:cNvSpPr>
            <a:spLocks noGrp="1"/>
          </p:cNvSpPr>
          <p:nvPr>
            <p:ph type="title"/>
          </p:nvPr>
        </p:nvSpPr>
        <p:spPr/>
        <p:txBody>
          <a:bodyPr/>
          <a:lstStyle/>
          <a:p>
            <a:r>
              <a:rPr lang="en-BR"/>
              <a:t>Dashboard</a:t>
            </a:r>
          </a:p>
        </p:txBody>
      </p:sp>
      <p:sp>
        <p:nvSpPr>
          <p:cNvPr id="3" name="Text Placeholder 2">
            <a:extLst>
              <a:ext uri="{FF2B5EF4-FFF2-40B4-BE49-F238E27FC236}">
                <a16:creationId xmlns:a16="http://schemas.microsoft.com/office/drawing/2014/main" id="{ED821D98-D221-2FAF-E9AA-3FAC239E92D4}"/>
              </a:ext>
            </a:extLst>
          </p:cNvPr>
          <p:cNvSpPr>
            <a:spLocks noGrp="1"/>
          </p:cNvSpPr>
          <p:nvPr>
            <p:ph type="body" sz="quarter" idx="13"/>
          </p:nvPr>
        </p:nvSpPr>
        <p:spPr/>
        <p:txBody>
          <a:bodyPr/>
          <a:lstStyle/>
          <a:p>
            <a:endParaRPr lang="en-BR"/>
          </a:p>
        </p:txBody>
      </p:sp>
      <p:grpSp>
        <p:nvGrpSpPr>
          <p:cNvPr id="4" name="Group 3">
            <a:extLst>
              <a:ext uri="{FF2B5EF4-FFF2-40B4-BE49-F238E27FC236}">
                <a16:creationId xmlns:a16="http://schemas.microsoft.com/office/drawing/2014/main" id="{D68FF88C-942C-DDF7-A14D-EDD57DCA4B00}"/>
              </a:ext>
              <a:ext uri="{C183D7F6-B498-43B3-948B-1728B52AA6E4}">
                <adec:decorative xmlns:adec="http://schemas.microsoft.com/office/drawing/2017/decorative" val="1"/>
              </a:ext>
            </a:extLst>
          </p:cNvPr>
          <p:cNvGrpSpPr/>
          <p:nvPr/>
        </p:nvGrpSpPr>
        <p:grpSpPr>
          <a:xfrm>
            <a:off x="838200" y="1687232"/>
            <a:ext cx="3028950" cy="4524306"/>
            <a:chOff x="838200" y="1687232"/>
            <a:chExt cx="3028950" cy="4524306"/>
          </a:xfrm>
        </p:grpSpPr>
        <p:sp>
          <p:nvSpPr>
            <p:cNvPr id="5" name="Rectangle 4">
              <a:extLst>
                <a:ext uri="{FF2B5EF4-FFF2-40B4-BE49-F238E27FC236}">
                  <a16:creationId xmlns:a16="http://schemas.microsoft.com/office/drawing/2014/main" id="{92C08598-AB5A-2340-C08D-67252A12F1D7}"/>
                </a:ext>
              </a:extLst>
            </p:cNvPr>
            <p:cNvSpPr/>
            <p:nvPr/>
          </p:nvSpPr>
          <p:spPr>
            <a:xfrm>
              <a:off x="838200" y="4002149"/>
              <a:ext cx="3028950" cy="2209389"/>
            </a:xfrm>
            <a:prstGeom prst="rect">
              <a:avLst/>
            </a:prstGeom>
            <a:pattFill prst="ltDnDiag">
              <a:fgClr>
                <a:schemeClr val="bg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grpSp>
          <p:nvGrpSpPr>
            <p:cNvPr id="6" name="Group 5">
              <a:extLst>
                <a:ext uri="{FF2B5EF4-FFF2-40B4-BE49-F238E27FC236}">
                  <a16:creationId xmlns:a16="http://schemas.microsoft.com/office/drawing/2014/main" id="{D73733BD-851C-2989-C018-04F659800207}"/>
                </a:ext>
              </a:extLst>
            </p:cNvPr>
            <p:cNvGrpSpPr/>
            <p:nvPr/>
          </p:nvGrpSpPr>
          <p:grpSpPr>
            <a:xfrm>
              <a:off x="1322832" y="1687232"/>
              <a:ext cx="2059686" cy="1920940"/>
              <a:chOff x="749625" y="2041702"/>
              <a:chExt cx="3781664" cy="3526921"/>
            </a:xfrm>
          </p:grpSpPr>
          <p:graphicFrame>
            <p:nvGraphicFramePr>
              <p:cNvPr id="13" name="Chart 12">
                <a:extLst>
                  <a:ext uri="{FF2B5EF4-FFF2-40B4-BE49-F238E27FC236}">
                    <a16:creationId xmlns:a16="http://schemas.microsoft.com/office/drawing/2014/main" id="{D432CDD9-F8EB-C82A-8CB7-8B8694328C79}"/>
                  </a:ext>
                </a:extLst>
              </p:cNvPr>
              <p:cNvGraphicFramePr/>
              <p:nvPr>
                <p:extLst>
                  <p:ext uri="{D42A27DB-BD31-4B8C-83A1-F6EECF244321}">
                    <p14:modId xmlns:p14="http://schemas.microsoft.com/office/powerpoint/2010/main" val="3281359942"/>
                  </p:ext>
                </p:extLst>
              </p:nvPr>
            </p:nvGraphicFramePr>
            <p:xfrm>
              <a:off x="749625" y="2041702"/>
              <a:ext cx="3781664" cy="3526921"/>
            </p:xfrm>
            <a:graphic>
              <a:graphicData uri="http://schemas.openxmlformats.org/drawingml/2006/chart">
                <c:chart xmlns:c="http://schemas.openxmlformats.org/drawingml/2006/chart" xmlns:r="http://schemas.openxmlformats.org/officeDocument/2006/relationships" r:id="rId2"/>
              </a:graphicData>
            </a:graphic>
          </p:graphicFrame>
          <p:sp>
            <p:nvSpPr>
              <p:cNvPr id="14" name="Oval 13">
                <a:extLst>
                  <a:ext uri="{FF2B5EF4-FFF2-40B4-BE49-F238E27FC236}">
                    <a16:creationId xmlns:a16="http://schemas.microsoft.com/office/drawing/2014/main" id="{CF984A16-9549-DD7D-F42D-0EB9D90E9D99}"/>
                  </a:ext>
                </a:extLst>
              </p:cNvPr>
              <p:cNvSpPr/>
              <p:nvPr/>
            </p:nvSpPr>
            <p:spPr>
              <a:xfrm>
                <a:off x="1835519" y="3000226"/>
                <a:ext cx="1609874" cy="160987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a:solidFill>
                      <a:srgbClr val="C00000"/>
                    </a:solidFill>
                    <a:latin typeface="Segoe UI" panose="020B0502040204020203" pitchFamily="34" charset="0"/>
                    <a:cs typeface="Segoe UI" panose="020B0502040204020203" pitchFamily="34" charset="0"/>
                  </a:rPr>
                  <a:t>68%</a:t>
                </a:r>
              </a:p>
            </p:txBody>
          </p:sp>
        </p:grpSp>
        <p:sp>
          <p:nvSpPr>
            <p:cNvPr id="7" name="Rectangle: Rounded Corners 6">
              <a:extLst>
                <a:ext uri="{FF2B5EF4-FFF2-40B4-BE49-F238E27FC236}">
                  <a16:creationId xmlns:a16="http://schemas.microsoft.com/office/drawing/2014/main" id="{182323A9-D6BD-1CDC-EBE9-833BE62940F9}"/>
                </a:ext>
              </a:extLst>
            </p:cNvPr>
            <p:cNvSpPr/>
            <p:nvPr/>
          </p:nvSpPr>
          <p:spPr>
            <a:xfrm>
              <a:off x="1066800" y="3752850"/>
              <a:ext cx="2533650" cy="498598"/>
            </a:xfrm>
            <a:prstGeom prst="roundRect">
              <a:avLst>
                <a:gd name="adj" fmla="val 50000"/>
              </a:avLst>
            </a:prstGeom>
            <a:solidFill>
              <a:srgbClr val="D6222B"/>
            </a:solidFill>
            <a:ln>
              <a:noFill/>
            </a:ln>
          </p:spPr>
          <p:style>
            <a:lnRef idx="3">
              <a:schemeClr val="lt1"/>
            </a:lnRef>
            <a:fillRef idx="1">
              <a:schemeClr val="accent5"/>
            </a:fillRef>
            <a:effectRef idx="1">
              <a:schemeClr val="accent5"/>
            </a:effectRef>
            <a:fontRef idx="minor">
              <a:schemeClr val="lt1"/>
            </a:fontRef>
          </p:style>
          <p:txBody>
            <a:bodyPr rtlCol="0" anchor="ctr"/>
            <a:lstStyle/>
            <a:p>
              <a:pPr algn="ctr"/>
              <a:r>
                <a:rPr lang="en-US" sz="1600">
                  <a:latin typeface="Segoe UI" panose="020B0502040204020203" pitchFamily="34" charset="0"/>
                  <a:cs typeface="Segoe UI" panose="020B0502040204020203" pitchFamily="34" charset="0"/>
                </a:rPr>
                <a:t>Lorem Ipsum</a:t>
              </a:r>
            </a:p>
          </p:txBody>
        </p:sp>
        <p:sp>
          <p:nvSpPr>
            <p:cNvPr id="8" name="TextBox 47">
              <a:extLst>
                <a:ext uri="{FF2B5EF4-FFF2-40B4-BE49-F238E27FC236}">
                  <a16:creationId xmlns:a16="http://schemas.microsoft.com/office/drawing/2014/main" id="{A5CCB7BE-FEDE-61E7-49E3-162F58C4CDA8}"/>
                </a:ext>
              </a:extLst>
            </p:cNvPr>
            <p:cNvSpPr txBox="1"/>
            <p:nvPr/>
          </p:nvSpPr>
          <p:spPr>
            <a:xfrm>
              <a:off x="1005964" y="4396126"/>
              <a:ext cx="2693422" cy="1400383"/>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300" err="1">
                  <a:solidFill>
                    <a:schemeClr val="tx1">
                      <a:lumMod val="75000"/>
                      <a:lumOff val="25000"/>
                    </a:schemeClr>
                  </a:solidFill>
                  <a:latin typeface="Segoe UI" panose="020B0502040204020203" pitchFamily="34" charset="0"/>
                  <a:cs typeface="Segoe UI" panose="020B0502040204020203" pitchFamily="34" charset="0"/>
                </a:rPr>
                <a:t>ame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eli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Pellentesque</a:t>
              </a:r>
              <a:r>
                <a:rPr lang="en-US" sz="1300">
                  <a:solidFill>
                    <a:schemeClr val="tx1">
                      <a:lumMod val="75000"/>
                      <a:lumOff val="25000"/>
                    </a:schemeClr>
                  </a:solidFill>
                  <a:latin typeface="Segoe UI" panose="020B0502040204020203" pitchFamily="34" charset="0"/>
                  <a:cs typeface="Segoe UI" panose="020B0502040204020203" pitchFamily="34" charset="0"/>
                </a:rPr>
                <a:t> sit </a:t>
              </a:r>
              <a:r>
                <a:rPr lang="en-US" sz="1300" err="1">
                  <a:solidFill>
                    <a:schemeClr val="tx1">
                      <a:lumMod val="75000"/>
                      <a:lumOff val="25000"/>
                    </a:schemeClr>
                  </a:solidFill>
                  <a:latin typeface="Segoe UI" panose="020B0502040204020203" pitchFamily="34" charset="0"/>
                  <a:cs typeface="Segoe UI" panose="020B0502040204020203" pitchFamily="34" charset="0"/>
                </a:rPr>
                <a:t>ame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feugiat</a:t>
              </a:r>
              <a:r>
                <a:rPr lang="en-US" sz="1300">
                  <a:solidFill>
                    <a:schemeClr val="tx1">
                      <a:lumMod val="75000"/>
                      <a:lumOff val="25000"/>
                    </a:schemeClr>
                  </a:solidFill>
                  <a:latin typeface="Segoe UI" panose="020B0502040204020203" pitchFamily="34" charset="0"/>
                  <a:cs typeface="Segoe UI" panose="020B0502040204020203" pitchFamily="34" charset="0"/>
                </a:rPr>
                <a:t> mi. Maecenas </a:t>
              </a:r>
              <a:r>
                <a:rPr lang="en-US" sz="1300" err="1">
                  <a:solidFill>
                    <a:schemeClr val="tx1">
                      <a:lumMod val="75000"/>
                      <a:lumOff val="25000"/>
                    </a:schemeClr>
                  </a:solidFill>
                  <a:latin typeface="Segoe UI" panose="020B0502040204020203" pitchFamily="34" charset="0"/>
                  <a:cs typeface="Segoe UI" panose="020B0502040204020203" pitchFamily="34" charset="0"/>
                </a:rPr>
                <a:t>volutpa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hendreri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odio</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quis</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mattis</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Quisque</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ege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leo</a:t>
              </a:r>
              <a:r>
                <a:rPr lang="en-US" sz="1300">
                  <a:solidFill>
                    <a:schemeClr val="tx1">
                      <a:lumMod val="75000"/>
                      <a:lumOff val="25000"/>
                    </a:schemeClr>
                  </a:solidFill>
                  <a:latin typeface="Segoe UI" panose="020B0502040204020203" pitchFamily="34" charset="0"/>
                  <a:cs typeface="Segoe UI" panose="020B0502040204020203" pitchFamily="34" charset="0"/>
                </a:rPr>
                <a:t> sit </a:t>
              </a:r>
              <a:r>
                <a:rPr lang="en-US" sz="1300" err="1">
                  <a:solidFill>
                    <a:schemeClr val="tx1">
                      <a:lumMod val="75000"/>
                      <a:lumOff val="25000"/>
                    </a:schemeClr>
                  </a:solidFill>
                  <a:latin typeface="Segoe UI" panose="020B0502040204020203" pitchFamily="34" charset="0"/>
                  <a:cs typeface="Segoe UI" panose="020B0502040204020203" pitchFamily="34" charset="0"/>
                </a:rPr>
                <a:t>ame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nulla</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dapibus</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lobortis</a:t>
              </a:r>
              <a:r>
                <a:rPr lang="en-US" sz="1300">
                  <a:solidFill>
                    <a:schemeClr val="tx1">
                      <a:lumMod val="75000"/>
                      <a:lumOff val="25000"/>
                    </a:schemeClr>
                  </a:solidFill>
                  <a:latin typeface="Segoe UI" panose="020B0502040204020203" pitchFamily="34" charset="0"/>
                  <a:cs typeface="Segoe UI" panose="020B0502040204020203" pitchFamily="34" charset="0"/>
                </a:rPr>
                <a:t> id </a:t>
              </a:r>
              <a:r>
                <a:rPr lang="en-US" sz="1300" err="1">
                  <a:solidFill>
                    <a:schemeClr val="tx1">
                      <a:lumMod val="75000"/>
                      <a:lumOff val="25000"/>
                    </a:schemeClr>
                  </a:solidFill>
                  <a:latin typeface="Segoe UI" panose="020B0502040204020203" pitchFamily="34" charset="0"/>
                  <a:cs typeface="Segoe UI" panose="020B0502040204020203" pitchFamily="34" charset="0"/>
                </a:rPr>
                <a:t>nec</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felis</a:t>
              </a:r>
              <a:r>
                <a:rPr lang="en-US" sz="1300">
                  <a:solidFill>
                    <a:schemeClr val="tx1">
                      <a:lumMod val="75000"/>
                      <a:lumOff val="25000"/>
                    </a:schemeClr>
                  </a:solidFill>
                  <a:latin typeface="Segoe UI" panose="020B0502040204020203" pitchFamily="34" charset="0"/>
                  <a:cs typeface="Segoe UI" panose="020B0502040204020203" pitchFamily="34" charset="0"/>
                </a:rPr>
                <a:t>. </a:t>
              </a:r>
            </a:p>
          </p:txBody>
        </p:sp>
        <p:grpSp>
          <p:nvGrpSpPr>
            <p:cNvPr id="9" name="Group 8">
              <a:extLst>
                <a:ext uri="{FF2B5EF4-FFF2-40B4-BE49-F238E27FC236}">
                  <a16:creationId xmlns:a16="http://schemas.microsoft.com/office/drawing/2014/main" id="{87A60F86-925C-C658-9171-427AF5F35304}"/>
                </a:ext>
              </a:extLst>
            </p:cNvPr>
            <p:cNvGrpSpPr/>
            <p:nvPr/>
          </p:nvGrpSpPr>
          <p:grpSpPr>
            <a:xfrm>
              <a:off x="2019351" y="5999642"/>
              <a:ext cx="666649" cy="116554"/>
              <a:chOff x="2000299" y="6003628"/>
              <a:chExt cx="666649" cy="116554"/>
            </a:xfrm>
          </p:grpSpPr>
          <p:sp>
            <p:nvSpPr>
              <p:cNvPr id="10" name="Rectangle: Rounded Corners 7">
                <a:extLst>
                  <a:ext uri="{FF2B5EF4-FFF2-40B4-BE49-F238E27FC236}">
                    <a16:creationId xmlns:a16="http://schemas.microsoft.com/office/drawing/2014/main" id="{54D422AF-B8AA-2AF4-1E01-75A5D1E8ACBD}"/>
                  </a:ext>
                </a:extLst>
              </p:cNvPr>
              <p:cNvSpPr/>
              <p:nvPr/>
            </p:nvSpPr>
            <p:spPr>
              <a:xfrm rot="18900000">
                <a:off x="2000299" y="6003628"/>
                <a:ext cx="116554" cy="11655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11" name="Rectangle: Rounded Corners 50">
                <a:extLst>
                  <a:ext uri="{FF2B5EF4-FFF2-40B4-BE49-F238E27FC236}">
                    <a16:creationId xmlns:a16="http://schemas.microsoft.com/office/drawing/2014/main" id="{5543D9E7-1175-2A7A-D819-EC57FB357E3D}"/>
                  </a:ext>
                </a:extLst>
              </p:cNvPr>
              <p:cNvSpPr/>
              <p:nvPr/>
            </p:nvSpPr>
            <p:spPr>
              <a:xfrm rot="18900000">
                <a:off x="2275346" y="6003628"/>
                <a:ext cx="116554" cy="116554"/>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12" name="Rectangle: Rounded Corners 51">
                <a:extLst>
                  <a:ext uri="{FF2B5EF4-FFF2-40B4-BE49-F238E27FC236}">
                    <a16:creationId xmlns:a16="http://schemas.microsoft.com/office/drawing/2014/main" id="{EA3BE1EA-9A11-1A5D-DE1D-D00ECA671425}"/>
                  </a:ext>
                </a:extLst>
              </p:cNvPr>
              <p:cNvSpPr/>
              <p:nvPr/>
            </p:nvSpPr>
            <p:spPr>
              <a:xfrm rot="18900000">
                <a:off x="2550394" y="6003628"/>
                <a:ext cx="116554" cy="116554"/>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grpSp>
      </p:grpSp>
      <p:grpSp>
        <p:nvGrpSpPr>
          <p:cNvPr id="15" name="Group 14">
            <a:extLst>
              <a:ext uri="{FF2B5EF4-FFF2-40B4-BE49-F238E27FC236}">
                <a16:creationId xmlns:a16="http://schemas.microsoft.com/office/drawing/2014/main" id="{0270C374-C4B1-D2C9-B14A-23F7B7B877FC}"/>
              </a:ext>
              <a:ext uri="{C183D7F6-B498-43B3-948B-1728B52AA6E4}">
                <adec:decorative xmlns:adec="http://schemas.microsoft.com/office/drawing/2017/decorative" val="1"/>
              </a:ext>
            </a:extLst>
          </p:cNvPr>
          <p:cNvGrpSpPr/>
          <p:nvPr/>
        </p:nvGrpSpPr>
        <p:grpSpPr>
          <a:xfrm>
            <a:off x="4581525" y="1687232"/>
            <a:ext cx="3028950" cy="4524306"/>
            <a:chOff x="4600575" y="1687232"/>
            <a:chExt cx="3028950" cy="4524306"/>
          </a:xfrm>
        </p:grpSpPr>
        <p:sp>
          <p:nvSpPr>
            <p:cNvPr id="16" name="Rectangle 15">
              <a:extLst>
                <a:ext uri="{FF2B5EF4-FFF2-40B4-BE49-F238E27FC236}">
                  <a16:creationId xmlns:a16="http://schemas.microsoft.com/office/drawing/2014/main" id="{45ADA4CA-C3D4-BD0C-13A0-16BE6221A3EA}"/>
                </a:ext>
              </a:extLst>
            </p:cNvPr>
            <p:cNvSpPr/>
            <p:nvPr/>
          </p:nvSpPr>
          <p:spPr>
            <a:xfrm>
              <a:off x="4600575" y="4002149"/>
              <a:ext cx="3028950" cy="2209389"/>
            </a:xfrm>
            <a:prstGeom prst="rect">
              <a:avLst/>
            </a:prstGeom>
            <a:pattFill prst="ltDnDiag">
              <a:fgClr>
                <a:schemeClr val="bg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grpSp>
          <p:nvGrpSpPr>
            <p:cNvPr id="17" name="Group 16">
              <a:extLst>
                <a:ext uri="{FF2B5EF4-FFF2-40B4-BE49-F238E27FC236}">
                  <a16:creationId xmlns:a16="http://schemas.microsoft.com/office/drawing/2014/main" id="{502223F2-804C-F57C-07EF-7245FBE2F719}"/>
                </a:ext>
              </a:extLst>
            </p:cNvPr>
            <p:cNvGrpSpPr/>
            <p:nvPr/>
          </p:nvGrpSpPr>
          <p:grpSpPr>
            <a:xfrm>
              <a:off x="5085207" y="1687232"/>
              <a:ext cx="2059686" cy="1920940"/>
              <a:chOff x="749625" y="2041702"/>
              <a:chExt cx="3781664" cy="3526921"/>
            </a:xfrm>
          </p:grpSpPr>
          <p:graphicFrame>
            <p:nvGraphicFramePr>
              <p:cNvPr id="24" name="Chart 23">
                <a:extLst>
                  <a:ext uri="{FF2B5EF4-FFF2-40B4-BE49-F238E27FC236}">
                    <a16:creationId xmlns:a16="http://schemas.microsoft.com/office/drawing/2014/main" id="{B7C8F559-3DB7-2A74-D2C1-F9DCA50A7DE9}"/>
                  </a:ext>
                </a:extLst>
              </p:cNvPr>
              <p:cNvGraphicFramePr/>
              <p:nvPr/>
            </p:nvGraphicFramePr>
            <p:xfrm>
              <a:off x="749625" y="2041702"/>
              <a:ext cx="3781664" cy="3526921"/>
            </p:xfrm>
            <a:graphic>
              <a:graphicData uri="http://schemas.openxmlformats.org/drawingml/2006/chart">
                <c:chart xmlns:c="http://schemas.openxmlformats.org/drawingml/2006/chart" xmlns:r="http://schemas.openxmlformats.org/officeDocument/2006/relationships" r:id="rId3"/>
              </a:graphicData>
            </a:graphic>
          </p:graphicFrame>
          <p:sp>
            <p:nvSpPr>
              <p:cNvPr id="25" name="Oval 24">
                <a:extLst>
                  <a:ext uri="{FF2B5EF4-FFF2-40B4-BE49-F238E27FC236}">
                    <a16:creationId xmlns:a16="http://schemas.microsoft.com/office/drawing/2014/main" id="{8E9EEED0-CD47-BD04-7473-FD411B95A848}"/>
                  </a:ext>
                </a:extLst>
              </p:cNvPr>
              <p:cNvSpPr/>
              <p:nvPr/>
            </p:nvSpPr>
            <p:spPr>
              <a:xfrm>
                <a:off x="1835520" y="3000226"/>
                <a:ext cx="1609874" cy="160987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a:solidFill>
                      <a:srgbClr val="404040"/>
                    </a:solidFill>
                    <a:latin typeface="Segoe UI" panose="020B0502040204020203" pitchFamily="34" charset="0"/>
                    <a:cs typeface="Segoe UI" panose="020B0502040204020203" pitchFamily="34" charset="0"/>
                  </a:rPr>
                  <a:t>45%</a:t>
                </a:r>
              </a:p>
            </p:txBody>
          </p:sp>
        </p:grpSp>
        <p:sp>
          <p:nvSpPr>
            <p:cNvPr id="18" name="Rectangle: Rounded Corners 87">
              <a:extLst>
                <a:ext uri="{FF2B5EF4-FFF2-40B4-BE49-F238E27FC236}">
                  <a16:creationId xmlns:a16="http://schemas.microsoft.com/office/drawing/2014/main" id="{DFA8E94B-A692-0AAC-347F-907EAC684E1B}"/>
                </a:ext>
              </a:extLst>
            </p:cNvPr>
            <p:cNvSpPr/>
            <p:nvPr/>
          </p:nvSpPr>
          <p:spPr>
            <a:xfrm>
              <a:off x="4829175" y="3752850"/>
              <a:ext cx="2533650" cy="498598"/>
            </a:xfrm>
            <a:prstGeom prst="roundRect">
              <a:avLst>
                <a:gd name="adj" fmla="val 50000"/>
              </a:avLst>
            </a:prstGeom>
            <a:solidFill>
              <a:srgbClr val="404040"/>
            </a:solidFill>
            <a:ln>
              <a:noFill/>
            </a:ln>
          </p:spPr>
          <p:style>
            <a:lnRef idx="3">
              <a:schemeClr val="lt1"/>
            </a:lnRef>
            <a:fillRef idx="1">
              <a:schemeClr val="accent5"/>
            </a:fillRef>
            <a:effectRef idx="1">
              <a:schemeClr val="accent5"/>
            </a:effectRef>
            <a:fontRef idx="minor">
              <a:schemeClr val="lt1"/>
            </a:fontRef>
          </p:style>
          <p:txBody>
            <a:bodyPr rtlCol="0" anchor="ctr"/>
            <a:lstStyle/>
            <a:p>
              <a:pPr algn="ctr"/>
              <a:r>
                <a:rPr lang="en-US" sz="1600">
                  <a:latin typeface="Segoe UI" panose="020B0502040204020203" pitchFamily="34" charset="0"/>
                  <a:cs typeface="Segoe UI" panose="020B0502040204020203" pitchFamily="34" charset="0"/>
                </a:rPr>
                <a:t>Lorem Ipsum</a:t>
              </a:r>
            </a:p>
          </p:txBody>
        </p:sp>
        <p:sp>
          <p:nvSpPr>
            <p:cNvPr id="19" name="TextBox 47">
              <a:extLst>
                <a:ext uri="{FF2B5EF4-FFF2-40B4-BE49-F238E27FC236}">
                  <a16:creationId xmlns:a16="http://schemas.microsoft.com/office/drawing/2014/main" id="{F28BF2C2-9ABE-5637-F324-D74501E1144F}"/>
                </a:ext>
              </a:extLst>
            </p:cNvPr>
            <p:cNvSpPr txBox="1"/>
            <p:nvPr/>
          </p:nvSpPr>
          <p:spPr>
            <a:xfrm>
              <a:off x="4768339" y="4396126"/>
              <a:ext cx="2693422" cy="1400383"/>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300" err="1">
                  <a:solidFill>
                    <a:schemeClr val="tx1">
                      <a:lumMod val="75000"/>
                      <a:lumOff val="25000"/>
                    </a:schemeClr>
                  </a:solidFill>
                  <a:latin typeface="Segoe UI" panose="020B0502040204020203" pitchFamily="34" charset="0"/>
                  <a:cs typeface="Segoe UI" panose="020B0502040204020203" pitchFamily="34" charset="0"/>
                </a:rPr>
                <a:t>ame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eli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Pellentesque</a:t>
              </a:r>
              <a:r>
                <a:rPr lang="en-US" sz="1300">
                  <a:solidFill>
                    <a:schemeClr val="tx1">
                      <a:lumMod val="75000"/>
                      <a:lumOff val="25000"/>
                    </a:schemeClr>
                  </a:solidFill>
                  <a:latin typeface="Segoe UI" panose="020B0502040204020203" pitchFamily="34" charset="0"/>
                  <a:cs typeface="Segoe UI" panose="020B0502040204020203" pitchFamily="34" charset="0"/>
                </a:rPr>
                <a:t> sit </a:t>
              </a:r>
              <a:r>
                <a:rPr lang="en-US" sz="1300" err="1">
                  <a:solidFill>
                    <a:schemeClr val="tx1">
                      <a:lumMod val="75000"/>
                      <a:lumOff val="25000"/>
                    </a:schemeClr>
                  </a:solidFill>
                  <a:latin typeface="Segoe UI" panose="020B0502040204020203" pitchFamily="34" charset="0"/>
                  <a:cs typeface="Segoe UI" panose="020B0502040204020203" pitchFamily="34" charset="0"/>
                </a:rPr>
                <a:t>ame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feugiat</a:t>
              </a:r>
              <a:r>
                <a:rPr lang="en-US" sz="1300">
                  <a:solidFill>
                    <a:schemeClr val="tx1">
                      <a:lumMod val="75000"/>
                      <a:lumOff val="25000"/>
                    </a:schemeClr>
                  </a:solidFill>
                  <a:latin typeface="Segoe UI" panose="020B0502040204020203" pitchFamily="34" charset="0"/>
                  <a:cs typeface="Segoe UI" panose="020B0502040204020203" pitchFamily="34" charset="0"/>
                </a:rPr>
                <a:t> mi. Maecenas </a:t>
              </a:r>
              <a:r>
                <a:rPr lang="en-US" sz="1300" err="1">
                  <a:solidFill>
                    <a:schemeClr val="tx1">
                      <a:lumMod val="75000"/>
                      <a:lumOff val="25000"/>
                    </a:schemeClr>
                  </a:solidFill>
                  <a:latin typeface="Segoe UI" panose="020B0502040204020203" pitchFamily="34" charset="0"/>
                  <a:cs typeface="Segoe UI" panose="020B0502040204020203" pitchFamily="34" charset="0"/>
                </a:rPr>
                <a:t>volutpa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hendreri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odio</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quis</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mattis</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Quisque</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ege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leo</a:t>
              </a:r>
              <a:r>
                <a:rPr lang="en-US" sz="1300">
                  <a:solidFill>
                    <a:schemeClr val="tx1">
                      <a:lumMod val="75000"/>
                      <a:lumOff val="25000"/>
                    </a:schemeClr>
                  </a:solidFill>
                  <a:latin typeface="Segoe UI" panose="020B0502040204020203" pitchFamily="34" charset="0"/>
                  <a:cs typeface="Segoe UI" panose="020B0502040204020203" pitchFamily="34" charset="0"/>
                </a:rPr>
                <a:t> sit </a:t>
              </a:r>
              <a:r>
                <a:rPr lang="en-US" sz="1300" err="1">
                  <a:solidFill>
                    <a:schemeClr val="tx1">
                      <a:lumMod val="75000"/>
                      <a:lumOff val="25000"/>
                    </a:schemeClr>
                  </a:solidFill>
                  <a:latin typeface="Segoe UI" panose="020B0502040204020203" pitchFamily="34" charset="0"/>
                  <a:cs typeface="Segoe UI" panose="020B0502040204020203" pitchFamily="34" charset="0"/>
                </a:rPr>
                <a:t>ame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nulla</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dapibus</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lobortis</a:t>
              </a:r>
              <a:r>
                <a:rPr lang="en-US" sz="1300">
                  <a:solidFill>
                    <a:schemeClr val="tx1">
                      <a:lumMod val="75000"/>
                      <a:lumOff val="25000"/>
                    </a:schemeClr>
                  </a:solidFill>
                  <a:latin typeface="Segoe UI" panose="020B0502040204020203" pitchFamily="34" charset="0"/>
                  <a:cs typeface="Segoe UI" panose="020B0502040204020203" pitchFamily="34" charset="0"/>
                </a:rPr>
                <a:t> id </a:t>
              </a:r>
              <a:r>
                <a:rPr lang="en-US" sz="1300" err="1">
                  <a:solidFill>
                    <a:schemeClr val="tx1">
                      <a:lumMod val="75000"/>
                      <a:lumOff val="25000"/>
                    </a:schemeClr>
                  </a:solidFill>
                  <a:latin typeface="Segoe UI" panose="020B0502040204020203" pitchFamily="34" charset="0"/>
                  <a:cs typeface="Segoe UI" panose="020B0502040204020203" pitchFamily="34" charset="0"/>
                </a:rPr>
                <a:t>nec</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felis</a:t>
              </a:r>
              <a:r>
                <a:rPr lang="en-US" sz="1300">
                  <a:solidFill>
                    <a:schemeClr val="tx1">
                      <a:lumMod val="75000"/>
                      <a:lumOff val="25000"/>
                    </a:schemeClr>
                  </a:solidFill>
                  <a:latin typeface="Segoe UI" panose="020B0502040204020203" pitchFamily="34" charset="0"/>
                  <a:cs typeface="Segoe UI" panose="020B0502040204020203" pitchFamily="34" charset="0"/>
                </a:rPr>
                <a:t>. </a:t>
              </a:r>
            </a:p>
          </p:txBody>
        </p:sp>
        <p:grpSp>
          <p:nvGrpSpPr>
            <p:cNvPr id="20" name="Group 19">
              <a:extLst>
                <a:ext uri="{FF2B5EF4-FFF2-40B4-BE49-F238E27FC236}">
                  <a16:creationId xmlns:a16="http://schemas.microsoft.com/office/drawing/2014/main" id="{314637FB-A5B7-8103-E614-6A9574151289}"/>
                </a:ext>
              </a:extLst>
            </p:cNvPr>
            <p:cNvGrpSpPr/>
            <p:nvPr/>
          </p:nvGrpSpPr>
          <p:grpSpPr>
            <a:xfrm>
              <a:off x="5781726" y="5999642"/>
              <a:ext cx="666649" cy="116554"/>
              <a:chOff x="2000299" y="6003628"/>
              <a:chExt cx="666649" cy="116554"/>
            </a:xfrm>
          </p:grpSpPr>
          <p:sp>
            <p:nvSpPr>
              <p:cNvPr id="21" name="Rectangle: Rounded Corners 90">
                <a:extLst>
                  <a:ext uri="{FF2B5EF4-FFF2-40B4-BE49-F238E27FC236}">
                    <a16:creationId xmlns:a16="http://schemas.microsoft.com/office/drawing/2014/main" id="{ADA06C6E-1794-5474-9BAB-E2D00274B501}"/>
                  </a:ext>
                </a:extLst>
              </p:cNvPr>
              <p:cNvSpPr/>
              <p:nvPr/>
            </p:nvSpPr>
            <p:spPr>
              <a:xfrm rot="18900000">
                <a:off x="2000299" y="6003628"/>
                <a:ext cx="116554" cy="11655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22" name="Rectangle: Rounded Corners 91">
                <a:extLst>
                  <a:ext uri="{FF2B5EF4-FFF2-40B4-BE49-F238E27FC236}">
                    <a16:creationId xmlns:a16="http://schemas.microsoft.com/office/drawing/2014/main" id="{32A72BF5-1650-5EF5-9A2C-38DB0DCA8434}"/>
                  </a:ext>
                </a:extLst>
              </p:cNvPr>
              <p:cNvSpPr/>
              <p:nvPr/>
            </p:nvSpPr>
            <p:spPr>
              <a:xfrm rot="18900000">
                <a:off x="2275346" y="6003628"/>
                <a:ext cx="116554" cy="116554"/>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23" name="Rectangle: Rounded Corners 92">
                <a:extLst>
                  <a:ext uri="{FF2B5EF4-FFF2-40B4-BE49-F238E27FC236}">
                    <a16:creationId xmlns:a16="http://schemas.microsoft.com/office/drawing/2014/main" id="{E1424BC2-D3E9-DB14-8C52-F86EAE3AE8C7}"/>
                  </a:ext>
                </a:extLst>
              </p:cNvPr>
              <p:cNvSpPr/>
              <p:nvPr/>
            </p:nvSpPr>
            <p:spPr>
              <a:xfrm rot="18900000">
                <a:off x="2550394" y="6003628"/>
                <a:ext cx="116554" cy="116554"/>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grpSp>
      </p:grpSp>
      <p:grpSp>
        <p:nvGrpSpPr>
          <p:cNvPr id="26" name="Group 25">
            <a:extLst>
              <a:ext uri="{FF2B5EF4-FFF2-40B4-BE49-F238E27FC236}">
                <a16:creationId xmlns:a16="http://schemas.microsoft.com/office/drawing/2014/main" id="{714A4AD7-972D-DFCE-BE71-EC030D10CD42}"/>
              </a:ext>
              <a:ext uri="{C183D7F6-B498-43B3-948B-1728B52AA6E4}">
                <adec:decorative xmlns:adec="http://schemas.microsoft.com/office/drawing/2017/decorative" val="1"/>
              </a:ext>
            </a:extLst>
          </p:cNvPr>
          <p:cNvGrpSpPr/>
          <p:nvPr/>
        </p:nvGrpSpPr>
        <p:grpSpPr>
          <a:xfrm>
            <a:off x="8324850" y="1687232"/>
            <a:ext cx="3028950" cy="4524306"/>
            <a:chOff x="4600575" y="1687232"/>
            <a:chExt cx="3028950" cy="4524306"/>
          </a:xfrm>
        </p:grpSpPr>
        <p:sp>
          <p:nvSpPr>
            <p:cNvPr id="27" name="Rectangle 26">
              <a:extLst>
                <a:ext uri="{FF2B5EF4-FFF2-40B4-BE49-F238E27FC236}">
                  <a16:creationId xmlns:a16="http://schemas.microsoft.com/office/drawing/2014/main" id="{C2281012-6E0D-5824-2E08-5BBE07B932E2}"/>
                </a:ext>
              </a:extLst>
            </p:cNvPr>
            <p:cNvSpPr/>
            <p:nvPr/>
          </p:nvSpPr>
          <p:spPr>
            <a:xfrm>
              <a:off x="4600575" y="4002149"/>
              <a:ext cx="3028950" cy="2209389"/>
            </a:xfrm>
            <a:prstGeom prst="rect">
              <a:avLst/>
            </a:prstGeom>
            <a:pattFill prst="ltDnDiag">
              <a:fgClr>
                <a:schemeClr val="bg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grpSp>
          <p:nvGrpSpPr>
            <p:cNvPr id="28" name="Group 27">
              <a:extLst>
                <a:ext uri="{FF2B5EF4-FFF2-40B4-BE49-F238E27FC236}">
                  <a16:creationId xmlns:a16="http://schemas.microsoft.com/office/drawing/2014/main" id="{115B5547-A544-4D81-73E1-166666CE806A}"/>
                </a:ext>
              </a:extLst>
            </p:cNvPr>
            <p:cNvGrpSpPr/>
            <p:nvPr/>
          </p:nvGrpSpPr>
          <p:grpSpPr>
            <a:xfrm>
              <a:off x="5085207" y="1687232"/>
              <a:ext cx="2059686" cy="1920940"/>
              <a:chOff x="749625" y="2041702"/>
              <a:chExt cx="3781664" cy="3526921"/>
            </a:xfrm>
          </p:grpSpPr>
          <p:graphicFrame>
            <p:nvGraphicFramePr>
              <p:cNvPr id="35" name="Chart 34">
                <a:extLst>
                  <a:ext uri="{FF2B5EF4-FFF2-40B4-BE49-F238E27FC236}">
                    <a16:creationId xmlns:a16="http://schemas.microsoft.com/office/drawing/2014/main" id="{46BD5DCB-C23A-8B1B-A1E7-7DEFE65509B1}"/>
                  </a:ext>
                </a:extLst>
              </p:cNvPr>
              <p:cNvGraphicFramePr/>
              <p:nvPr>
                <p:extLst>
                  <p:ext uri="{D42A27DB-BD31-4B8C-83A1-F6EECF244321}">
                    <p14:modId xmlns:p14="http://schemas.microsoft.com/office/powerpoint/2010/main" val="2964049944"/>
                  </p:ext>
                </p:extLst>
              </p:nvPr>
            </p:nvGraphicFramePr>
            <p:xfrm>
              <a:off x="749625" y="2041702"/>
              <a:ext cx="3781664" cy="3526921"/>
            </p:xfrm>
            <a:graphic>
              <a:graphicData uri="http://schemas.openxmlformats.org/drawingml/2006/chart">
                <c:chart xmlns:c="http://schemas.openxmlformats.org/drawingml/2006/chart" xmlns:r="http://schemas.openxmlformats.org/officeDocument/2006/relationships" r:id="rId4"/>
              </a:graphicData>
            </a:graphic>
          </p:graphicFrame>
          <p:sp>
            <p:nvSpPr>
              <p:cNvPr id="36" name="Oval 35">
                <a:extLst>
                  <a:ext uri="{FF2B5EF4-FFF2-40B4-BE49-F238E27FC236}">
                    <a16:creationId xmlns:a16="http://schemas.microsoft.com/office/drawing/2014/main" id="{87D0C49B-35BD-3B38-4989-A75F13D180DC}"/>
                  </a:ext>
                </a:extLst>
              </p:cNvPr>
              <p:cNvSpPr/>
              <p:nvPr/>
            </p:nvSpPr>
            <p:spPr>
              <a:xfrm>
                <a:off x="1835520" y="3000226"/>
                <a:ext cx="1609874" cy="160987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a:solidFill>
                      <a:srgbClr val="7F7F7F"/>
                    </a:solidFill>
                    <a:latin typeface="Segoe UI" panose="020B0502040204020203" pitchFamily="34" charset="0"/>
                    <a:cs typeface="Segoe UI" panose="020B0502040204020203" pitchFamily="34" charset="0"/>
                  </a:rPr>
                  <a:t>90%</a:t>
                </a:r>
              </a:p>
            </p:txBody>
          </p:sp>
        </p:grpSp>
        <p:sp>
          <p:nvSpPr>
            <p:cNvPr id="29" name="Rectangle: Rounded Corners 96">
              <a:extLst>
                <a:ext uri="{FF2B5EF4-FFF2-40B4-BE49-F238E27FC236}">
                  <a16:creationId xmlns:a16="http://schemas.microsoft.com/office/drawing/2014/main" id="{B9C8EF17-A7F4-4A82-EFE8-45CA18F718C1}"/>
                </a:ext>
              </a:extLst>
            </p:cNvPr>
            <p:cNvSpPr/>
            <p:nvPr/>
          </p:nvSpPr>
          <p:spPr>
            <a:xfrm>
              <a:off x="4829175" y="3752850"/>
              <a:ext cx="2533650" cy="498598"/>
            </a:xfrm>
            <a:prstGeom prst="roundRect">
              <a:avLst>
                <a:gd name="adj" fmla="val 50000"/>
              </a:avLst>
            </a:prstGeom>
            <a:solidFill>
              <a:srgbClr val="7F7F7F"/>
            </a:solidFill>
            <a:ln>
              <a:noFill/>
            </a:ln>
          </p:spPr>
          <p:style>
            <a:lnRef idx="3">
              <a:schemeClr val="lt1"/>
            </a:lnRef>
            <a:fillRef idx="1">
              <a:schemeClr val="accent5"/>
            </a:fillRef>
            <a:effectRef idx="1">
              <a:schemeClr val="accent5"/>
            </a:effectRef>
            <a:fontRef idx="minor">
              <a:schemeClr val="lt1"/>
            </a:fontRef>
          </p:style>
          <p:txBody>
            <a:bodyPr rtlCol="0" anchor="ctr"/>
            <a:lstStyle/>
            <a:p>
              <a:pPr algn="ctr"/>
              <a:r>
                <a:rPr lang="en-US" sz="1600">
                  <a:latin typeface="Segoe UI" panose="020B0502040204020203" pitchFamily="34" charset="0"/>
                  <a:cs typeface="Segoe UI" panose="020B0502040204020203" pitchFamily="34" charset="0"/>
                </a:rPr>
                <a:t>Lorem Ipsum</a:t>
              </a:r>
            </a:p>
          </p:txBody>
        </p:sp>
        <p:sp>
          <p:nvSpPr>
            <p:cNvPr id="30" name="TextBox 47">
              <a:extLst>
                <a:ext uri="{FF2B5EF4-FFF2-40B4-BE49-F238E27FC236}">
                  <a16:creationId xmlns:a16="http://schemas.microsoft.com/office/drawing/2014/main" id="{4903B5BF-36F7-F4FC-511D-49697FFB6BDA}"/>
                </a:ext>
              </a:extLst>
            </p:cNvPr>
            <p:cNvSpPr txBox="1"/>
            <p:nvPr/>
          </p:nvSpPr>
          <p:spPr>
            <a:xfrm>
              <a:off x="4768339" y="4396126"/>
              <a:ext cx="2693422" cy="1400383"/>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300" err="1">
                  <a:solidFill>
                    <a:schemeClr val="tx1">
                      <a:lumMod val="75000"/>
                      <a:lumOff val="25000"/>
                    </a:schemeClr>
                  </a:solidFill>
                  <a:latin typeface="Segoe UI" panose="020B0502040204020203" pitchFamily="34" charset="0"/>
                  <a:cs typeface="Segoe UI" panose="020B0502040204020203" pitchFamily="34" charset="0"/>
                </a:rPr>
                <a:t>ame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eli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Pellentesque</a:t>
              </a:r>
              <a:r>
                <a:rPr lang="en-US" sz="1300">
                  <a:solidFill>
                    <a:schemeClr val="tx1">
                      <a:lumMod val="75000"/>
                      <a:lumOff val="25000"/>
                    </a:schemeClr>
                  </a:solidFill>
                  <a:latin typeface="Segoe UI" panose="020B0502040204020203" pitchFamily="34" charset="0"/>
                  <a:cs typeface="Segoe UI" panose="020B0502040204020203" pitchFamily="34" charset="0"/>
                </a:rPr>
                <a:t> sit </a:t>
              </a:r>
              <a:r>
                <a:rPr lang="en-US" sz="1300" err="1">
                  <a:solidFill>
                    <a:schemeClr val="tx1">
                      <a:lumMod val="75000"/>
                      <a:lumOff val="25000"/>
                    </a:schemeClr>
                  </a:solidFill>
                  <a:latin typeface="Segoe UI" panose="020B0502040204020203" pitchFamily="34" charset="0"/>
                  <a:cs typeface="Segoe UI" panose="020B0502040204020203" pitchFamily="34" charset="0"/>
                </a:rPr>
                <a:t>ame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feugiat</a:t>
              </a:r>
              <a:r>
                <a:rPr lang="en-US" sz="1300">
                  <a:solidFill>
                    <a:schemeClr val="tx1">
                      <a:lumMod val="75000"/>
                      <a:lumOff val="25000"/>
                    </a:schemeClr>
                  </a:solidFill>
                  <a:latin typeface="Segoe UI" panose="020B0502040204020203" pitchFamily="34" charset="0"/>
                  <a:cs typeface="Segoe UI" panose="020B0502040204020203" pitchFamily="34" charset="0"/>
                </a:rPr>
                <a:t> mi. Maecenas </a:t>
              </a:r>
              <a:r>
                <a:rPr lang="en-US" sz="1300" err="1">
                  <a:solidFill>
                    <a:schemeClr val="tx1">
                      <a:lumMod val="75000"/>
                      <a:lumOff val="25000"/>
                    </a:schemeClr>
                  </a:solidFill>
                  <a:latin typeface="Segoe UI" panose="020B0502040204020203" pitchFamily="34" charset="0"/>
                  <a:cs typeface="Segoe UI" panose="020B0502040204020203" pitchFamily="34" charset="0"/>
                </a:rPr>
                <a:t>volutpa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hendreri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odio</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quis</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mattis</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Quisque</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ege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leo</a:t>
              </a:r>
              <a:r>
                <a:rPr lang="en-US" sz="1300">
                  <a:solidFill>
                    <a:schemeClr val="tx1">
                      <a:lumMod val="75000"/>
                      <a:lumOff val="25000"/>
                    </a:schemeClr>
                  </a:solidFill>
                  <a:latin typeface="Segoe UI" panose="020B0502040204020203" pitchFamily="34" charset="0"/>
                  <a:cs typeface="Segoe UI" panose="020B0502040204020203" pitchFamily="34" charset="0"/>
                </a:rPr>
                <a:t> sit </a:t>
              </a:r>
              <a:r>
                <a:rPr lang="en-US" sz="1300" err="1">
                  <a:solidFill>
                    <a:schemeClr val="tx1">
                      <a:lumMod val="75000"/>
                      <a:lumOff val="25000"/>
                    </a:schemeClr>
                  </a:solidFill>
                  <a:latin typeface="Segoe UI" panose="020B0502040204020203" pitchFamily="34" charset="0"/>
                  <a:cs typeface="Segoe UI" panose="020B0502040204020203" pitchFamily="34" charset="0"/>
                </a:rPr>
                <a:t>amet</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nulla</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dapibus</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lobortis</a:t>
              </a:r>
              <a:r>
                <a:rPr lang="en-US" sz="1300">
                  <a:solidFill>
                    <a:schemeClr val="tx1">
                      <a:lumMod val="75000"/>
                      <a:lumOff val="25000"/>
                    </a:schemeClr>
                  </a:solidFill>
                  <a:latin typeface="Segoe UI" panose="020B0502040204020203" pitchFamily="34" charset="0"/>
                  <a:cs typeface="Segoe UI" panose="020B0502040204020203" pitchFamily="34" charset="0"/>
                </a:rPr>
                <a:t> id </a:t>
              </a:r>
              <a:r>
                <a:rPr lang="en-US" sz="1300" err="1">
                  <a:solidFill>
                    <a:schemeClr val="tx1">
                      <a:lumMod val="75000"/>
                      <a:lumOff val="25000"/>
                    </a:schemeClr>
                  </a:solidFill>
                  <a:latin typeface="Segoe UI" panose="020B0502040204020203" pitchFamily="34" charset="0"/>
                  <a:cs typeface="Segoe UI" panose="020B0502040204020203" pitchFamily="34" charset="0"/>
                </a:rPr>
                <a:t>nec</a:t>
              </a:r>
              <a:r>
                <a:rPr lang="en-US" sz="1300">
                  <a:solidFill>
                    <a:schemeClr val="tx1">
                      <a:lumMod val="75000"/>
                      <a:lumOff val="25000"/>
                    </a:schemeClr>
                  </a:solidFill>
                  <a:latin typeface="Segoe UI" panose="020B0502040204020203" pitchFamily="34" charset="0"/>
                  <a:cs typeface="Segoe UI" panose="020B0502040204020203" pitchFamily="34" charset="0"/>
                </a:rPr>
                <a:t> </a:t>
              </a:r>
              <a:r>
                <a:rPr lang="en-US" sz="1300" err="1">
                  <a:solidFill>
                    <a:schemeClr val="tx1">
                      <a:lumMod val="75000"/>
                      <a:lumOff val="25000"/>
                    </a:schemeClr>
                  </a:solidFill>
                  <a:latin typeface="Segoe UI" panose="020B0502040204020203" pitchFamily="34" charset="0"/>
                  <a:cs typeface="Segoe UI" panose="020B0502040204020203" pitchFamily="34" charset="0"/>
                </a:rPr>
                <a:t>felis</a:t>
              </a:r>
              <a:r>
                <a:rPr lang="en-US" sz="1300">
                  <a:solidFill>
                    <a:schemeClr val="tx1">
                      <a:lumMod val="75000"/>
                      <a:lumOff val="25000"/>
                    </a:schemeClr>
                  </a:solidFill>
                  <a:latin typeface="Segoe UI" panose="020B0502040204020203" pitchFamily="34" charset="0"/>
                  <a:cs typeface="Segoe UI" panose="020B0502040204020203" pitchFamily="34" charset="0"/>
                </a:rPr>
                <a:t>. </a:t>
              </a:r>
            </a:p>
          </p:txBody>
        </p:sp>
        <p:grpSp>
          <p:nvGrpSpPr>
            <p:cNvPr id="31" name="Group 30">
              <a:extLst>
                <a:ext uri="{FF2B5EF4-FFF2-40B4-BE49-F238E27FC236}">
                  <a16:creationId xmlns:a16="http://schemas.microsoft.com/office/drawing/2014/main" id="{D32F2B4D-88CB-9A89-8882-F4182C7FA784}"/>
                </a:ext>
              </a:extLst>
            </p:cNvPr>
            <p:cNvGrpSpPr/>
            <p:nvPr/>
          </p:nvGrpSpPr>
          <p:grpSpPr>
            <a:xfrm>
              <a:off x="5781726" y="5999642"/>
              <a:ext cx="666649" cy="116554"/>
              <a:chOff x="2000299" y="6003628"/>
              <a:chExt cx="666649" cy="116554"/>
            </a:xfrm>
          </p:grpSpPr>
          <p:sp>
            <p:nvSpPr>
              <p:cNvPr id="32" name="Rectangle: Rounded Corners 99">
                <a:extLst>
                  <a:ext uri="{FF2B5EF4-FFF2-40B4-BE49-F238E27FC236}">
                    <a16:creationId xmlns:a16="http://schemas.microsoft.com/office/drawing/2014/main" id="{8D4050DF-296D-60FC-5748-C56E5BF36964}"/>
                  </a:ext>
                </a:extLst>
              </p:cNvPr>
              <p:cNvSpPr/>
              <p:nvPr/>
            </p:nvSpPr>
            <p:spPr>
              <a:xfrm rot="18900000">
                <a:off x="2000299" y="6003628"/>
                <a:ext cx="116554" cy="11655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33" name="Rectangle: Rounded Corners 100">
                <a:extLst>
                  <a:ext uri="{FF2B5EF4-FFF2-40B4-BE49-F238E27FC236}">
                    <a16:creationId xmlns:a16="http://schemas.microsoft.com/office/drawing/2014/main" id="{ABE1CAFC-E25B-2308-7616-85449AF02EAB}"/>
                  </a:ext>
                </a:extLst>
              </p:cNvPr>
              <p:cNvSpPr/>
              <p:nvPr/>
            </p:nvSpPr>
            <p:spPr>
              <a:xfrm rot="18900000">
                <a:off x="2275346" y="6003628"/>
                <a:ext cx="116554" cy="116554"/>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34" name="Rectangle: Rounded Corners 101">
                <a:extLst>
                  <a:ext uri="{FF2B5EF4-FFF2-40B4-BE49-F238E27FC236}">
                    <a16:creationId xmlns:a16="http://schemas.microsoft.com/office/drawing/2014/main" id="{3CEC3B4C-A358-753D-5A45-63B61601BB0E}"/>
                  </a:ext>
                </a:extLst>
              </p:cNvPr>
              <p:cNvSpPr/>
              <p:nvPr/>
            </p:nvSpPr>
            <p:spPr>
              <a:xfrm rot="18900000">
                <a:off x="2550394" y="6003628"/>
                <a:ext cx="116554" cy="116554"/>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grpSp>
      </p:grpSp>
      <p:sp>
        <p:nvSpPr>
          <p:cNvPr id="37" name="Footer Placeholder 36">
            <a:extLst>
              <a:ext uri="{FF2B5EF4-FFF2-40B4-BE49-F238E27FC236}">
                <a16:creationId xmlns:a16="http://schemas.microsoft.com/office/drawing/2014/main" id="{52239C49-3EBA-60F2-F8E9-DD0B96108232}"/>
              </a:ext>
            </a:extLst>
          </p:cNvPr>
          <p:cNvSpPr>
            <a:spLocks noGrp="1"/>
          </p:cNvSpPr>
          <p:nvPr>
            <p:ph type="ftr" sz="quarter" idx="11"/>
          </p:nvPr>
        </p:nvSpPr>
        <p:spPr/>
        <p:txBody>
          <a:bodyPr/>
          <a:lstStyle/>
          <a:p>
            <a:r>
              <a:rPr lang="en-US"/>
              <a:t>© 2024 Mobiz. All rights reserved</a:t>
            </a:r>
            <a:endParaRPr lang="en-BR"/>
          </a:p>
        </p:txBody>
      </p:sp>
      <p:sp>
        <p:nvSpPr>
          <p:cNvPr id="38" name="Slide Number Placeholder 37">
            <a:extLst>
              <a:ext uri="{FF2B5EF4-FFF2-40B4-BE49-F238E27FC236}">
                <a16:creationId xmlns:a16="http://schemas.microsoft.com/office/drawing/2014/main" id="{05953727-BE47-8F9D-A68B-12AA97446D48}"/>
              </a:ext>
            </a:extLst>
          </p:cNvPr>
          <p:cNvSpPr>
            <a:spLocks noGrp="1"/>
          </p:cNvSpPr>
          <p:nvPr>
            <p:ph type="sldNum" sz="quarter" idx="12"/>
          </p:nvPr>
        </p:nvSpPr>
        <p:spPr/>
        <p:txBody>
          <a:bodyPr/>
          <a:lstStyle/>
          <a:p>
            <a:fld id="{A8DDC45B-7265-3747-B738-ED29642119D9}" type="slidenum">
              <a:rPr lang="en-BR" smtClean="0"/>
              <a:pPr/>
              <a:t>55</a:t>
            </a:fld>
            <a:endParaRPr lang="en-BR"/>
          </a:p>
        </p:txBody>
      </p:sp>
    </p:spTree>
    <p:extLst>
      <p:ext uri="{BB962C8B-B14F-4D97-AF65-F5344CB8AC3E}">
        <p14:creationId xmlns:p14="http://schemas.microsoft.com/office/powerpoint/2010/main" val="326295310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96B9CF-FD1F-CBD9-0FBA-53F468257A9A}"/>
              </a:ext>
            </a:extLst>
          </p:cNvPr>
          <p:cNvSpPr>
            <a:spLocks noGrp="1"/>
          </p:cNvSpPr>
          <p:nvPr>
            <p:ph type="title"/>
          </p:nvPr>
        </p:nvSpPr>
        <p:spPr/>
        <p:txBody>
          <a:bodyPr/>
          <a:lstStyle/>
          <a:p>
            <a:r>
              <a:rPr lang="en-BR"/>
              <a:t>Dashboard</a:t>
            </a:r>
          </a:p>
        </p:txBody>
      </p:sp>
      <p:sp>
        <p:nvSpPr>
          <p:cNvPr id="3" name="Text Placeholder 2">
            <a:extLst>
              <a:ext uri="{FF2B5EF4-FFF2-40B4-BE49-F238E27FC236}">
                <a16:creationId xmlns:a16="http://schemas.microsoft.com/office/drawing/2014/main" id="{0BF8C948-59A5-DE56-154F-06C3648DA9B1}"/>
              </a:ext>
            </a:extLst>
          </p:cNvPr>
          <p:cNvSpPr>
            <a:spLocks noGrp="1"/>
          </p:cNvSpPr>
          <p:nvPr>
            <p:ph type="body" sz="quarter" idx="13"/>
          </p:nvPr>
        </p:nvSpPr>
        <p:spPr/>
        <p:txBody>
          <a:bodyPr/>
          <a:lstStyle/>
          <a:p>
            <a:endParaRPr lang="en-BR"/>
          </a:p>
        </p:txBody>
      </p:sp>
      <p:graphicFrame>
        <p:nvGraphicFramePr>
          <p:cNvPr id="4" name="Chart 3" descr="This is a chart.">
            <a:extLst>
              <a:ext uri="{FF2B5EF4-FFF2-40B4-BE49-F238E27FC236}">
                <a16:creationId xmlns:a16="http://schemas.microsoft.com/office/drawing/2014/main" id="{E351ECF1-FBF8-89D5-8691-009CCF58E8E8}"/>
              </a:ext>
            </a:extLst>
          </p:cNvPr>
          <p:cNvGraphicFramePr/>
          <p:nvPr>
            <p:extLst>
              <p:ext uri="{D42A27DB-BD31-4B8C-83A1-F6EECF244321}">
                <p14:modId xmlns:p14="http://schemas.microsoft.com/office/powerpoint/2010/main" val="3397809482"/>
              </p:ext>
            </p:extLst>
          </p:nvPr>
        </p:nvGraphicFramePr>
        <p:xfrm>
          <a:off x="434186" y="2324866"/>
          <a:ext cx="6254275" cy="3347885"/>
        </p:xfrm>
        <a:graphic>
          <a:graphicData uri="http://schemas.openxmlformats.org/drawingml/2006/chart">
            <c:chart xmlns:c="http://schemas.openxmlformats.org/drawingml/2006/chart" xmlns:r="http://schemas.openxmlformats.org/officeDocument/2006/relationships" r:id="rId2"/>
          </a:graphicData>
        </a:graphic>
      </p:graphicFrame>
      <p:sp>
        <p:nvSpPr>
          <p:cNvPr id="5" name="Rounded Rectangle 4">
            <a:extLst>
              <a:ext uri="{FF2B5EF4-FFF2-40B4-BE49-F238E27FC236}">
                <a16:creationId xmlns:a16="http://schemas.microsoft.com/office/drawing/2014/main" id="{0498B253-3BCB-C413-8141-3B6F6DD19121}"/>
              </a:ext>
              <a:ext uri="{C183D7F6-B498-43B3-948B-1728B52AA6E4}">
                <adec:decorative xmlns:adec="http://schemas.microsoft.com/office/drawing/2017/decorative" val="1"/>
              </a:ext>
            </a:extLst>
          </p:cNvPr>
          <p:cNvSpPr/>
          <p:nvPr/>
        </p:nvSpPr>
        <p:spPr>
          <a:xfrm>
            <a:off x="338137" y="1822761"/>
            <a:ext cx="6479707" cy="4099679"/>
          </a:xfrm>
          <a:prstGeom prst="roundRect">
            <a:avLst>
              <a:gd name="adj" fmla="val 5973"/>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6" name="Oval 5">
            <a:extLst>
              <a:ext uri="{FF2B5EF4-FFF2-40B4-BE49-F238E27FC236}">
                <a16:creationId xmlns:a16="http://schemas.microsoft.com/office/drawing/2014/main" id="{022C94E3-D0EB-C521-5720-C154692477E4}"/>
              </a:ext>
              <a:ext uri="{C183D7F6-B498-43B3-948B-1728B52AA6E4}">
                <adec:decorative xmlns:adec="http://schemas.microsoft.com/office/drawing/2017/decorative" val="1"/>
              </a:ext>
            </a:extLst>
          </p:cNvPr>
          <p:cNvSpPr/>
          <p:nvPr/>
        </p:nvSpPr>
        <p:spPr>
          <a:xfrm>
            <a:off x="6989290" y="3223140"/>
            <a:ext cx="482603" cy="482603"/>
          </a:xfrm>
          <a:prstGeom prst="ellipse">
            <a:avLst/>
          </a:prstGeom>
          <a:solidFill>
            <a:srgbClr val="D6222B"/>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7" name="TextBox 47">
            <a:extLst>
              <a:ext uri="{FF2B5EF4-FFF2-40B4-BE49-F238E27FC236}">
                <a16:creationId xmlns:a16="http://schemas.microsoft.com/office/drawing/2014/main" id="{C24A6EEE-B44C-9983-E7AB-C4F07A41FE62}"/>
              </a:ext>
            </a:extLst>
          </p:cNvPr>
          <p:cNvSpPr txBox="1"/>
          <p:nvPr/>
        </p:nvSpPr>
        <p:spPr>
          <a:xfrm>
            <a:off x="7638907" y="3210773"/>
            <a:ext cx="2223432" cy="215444"/>
          </a:xfrm>
          <a:prstGeom prst="rect">
            <a:avLst/>
          </a:prstGeom>
          <a:noFill/>
          <a:ln w="6350">
            <a:noFill/>
            <a:prstDash val="dash"/>
          </a:ln>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chemeClr val="tx1">
                    <a:lumMod val="75000"/>
                    <a:lumOff val="25000"/>
                  </a:schemeClr>
                </a:solidFill>
                <a:latin typeface="Segoe UI" panose="020B0502040204020203" pitchFamily="34" charset="0"/>
                <a:cs typeface="Segoe UI" panose="020B0502040204020203" pitchFamily="34" charset="0"/>
              </a:rPr>
              <a:t>LOREM IPSUM</a:t>
            </a:r>
          </a:p>
        </p:txBody>
      </p:sp>
      <p:grpSp>
        <p:nvGrpSpPr>
          <p:cNvPr id="8" name="Group 7">
            <a:extLst>
              <a:ext uri="{FF2B5EF4-FFF2-40B4-BE49-F238E27FC236}">
                <a16:creationId xmlns:a16="http://schemas.microsoft.com/office/drawing/2014/main" id="{7570BF4D-8069-9F14-972F-007564D9B1B5}"/>
              </a:ext>
              <a:ext uri="{C183D7F6-B498-43B3-948B-1728B52AA6E4}">
                <adec:decorative xmlns:adec="http://schemas.microsoft.com/office/drawing/2017/decorative" val="1"/>
              </a:ext>
            </a:extLst>
          </p:cNvPr>
          <p:cNvGrpSpPr/>
          <p:nvPr/>
        </p:nvGrpSpPr>
        <p:grpSpPr>
          <a:xfrm>
            <a:off x="7638907" y="3571661"/>
            <a:ext cx="3468225" cy="0"/>
            <a:chOff x="5388791" y="1573213"/>
            <a:chExt cx="2917009" cy="0"/>
          </a:xfrm>
        </p:grpSpPr>
        <p:sp>
          <p:nvSpPr>
            <p:cNvPr id="9" name="Line 7">
              <a:extLst>
                <a:ext uri="{FF2B5EF4-FFF2-40B4-BE49-F238E27FC236}">
                  <a16:creationId xmlns:a16="http://schemas.microsoft.com/office/drawing/2014/main" id="{DD9A65DA-B0F1-202C-E3B9-4B9FB40740D2}"/>
                </a:ext>
              </a:extLst>
            </p:cNvPr>
            <p:cNvSpPr>
              <a:spLocks noChangeShapeType="1"/>
            </p:cNvSpPr>
            <p:nvPr/>
          </p:nvSpPr>
          <p:spPr bwMode="auto">
            <a:xfrm>
              <a:off x="5388791" y="1573213"/>
              <a:ext cx="2917009" cy="0"/>
            </a:xfrm>
            <a:prstGeom prst="line">
              <a:avLst/>
            </a:prstGeom>
            <a:noFill/>
            <a:ln w="76200" cap="rnd">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Segoe UI" panose="020B0502040204020203" pitchFamily="34" charset="0"/>
                <a:cs typeface="Segoe UI" panose="020B0502040204020203" pitchFamily="34" charset="0"/>
              </a:endParaRPr>
            </a:p>
          </p:txBody>
        </p:sp>
        <p:sp>
          <p:nvSpPr>
            <p:cNvPr id="10" name="Line 7">
              <a:extLst>
                <a:ext uri="{FF2B5EF4-FFF2-40B4-BE49-F238E27FC236}">
                  <a16:creationId xmlns:a16="http://schemas.microsoft.com/office/drawing/2014/main" id="{391C1C04-7EC1-02C2-A99B-0E80692F831B}"/>
                </a:ext>
              </a:extLst>
            </p:cNvPr>
            <p:cNvSpPr>
              <a:spLocks noChangeShapeType="1"/>
            </p:cNvSpPr>
            <p:nvPr/>
          </p:nvSpPr>
          <p:spPr bwMode="auto">
            <a:xfrm>
              <a:off x="5388791" y="1573213"/>
              <a:ext cx="1633515" cy="0"/>
            </a:xfrm>
            <a:prstGeom prst="line">
              <a:avLst/>
            </a:prstGeom>
            <a:noFill/>
            <a:ln w="76200" cap="rnd">
              <a:solidFill>
                <a:srgbClr val="D6222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Segoe UI" panose="020B0502040204020203" pitchFamily="34" charset="0"/>
                <a:cs typeface="Segoe UI" panose="020B0502040204020203" pitchFamily="34" charset="0"/>
              </a:endParaRPr>
            </a:p>
          </p:txBody>
        </p:sp>
      </p:grpSp>
      <p:sp>
        <p:nvSpPr>
          <p:cNvPr id="11" name="TextBox 57">
            <a:extLst>
              <a:ext uri="{FF2B5EF4-FFF2-40B4-BE49-F238E27FC236}">
                <a16:creationId xmlns:a16="http://schemas.microsoft.com/office/drawing/2014/main" id="{62280357-BF7E-DE06-2274-0DB6C159B765}"/>
              </a:ext>
            </a:extLst>
          </p:cNvPr>
          <p:cNvSpPr txBox="1"/>
          <p:nvPr/>
        </p:nvSpPr>
        <p:spPr>
          <a:xfrm>
            <a:off x="11223212" y="3379553"/>
            <a:ext cx="534602" cy="276999"/>
          </a:xfrm>
          <a:prstGeom prst="rect">
            <a:avLst/>
          </a:prstGeom>
          <a:noFill/>
          <a:ln w="6350">
            <a:noFill/>
            <a:prstDash val="dash"/>
          </a:ln>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a:solidFill>
                  <a:schemeClr val="tx1">
                    <a:lumMod val="75000"/>
                    <a:lumOff val="25000"/>
                  </a:schemeClr>
                </a:solidFill>
                <a:latin typeface="Segoe UI" panose="020B0502040204020203" pitchFamily="34" charset="0"/>
                <a:cs typeface="Segoe UI" panose="020B0502040204020203" pitchFamily="34" charset="0"/>
              </a:rPr>
              <a:t>60%</a:t>
            </a:r>
          </a:p>
        </p:txBody>
      </p:sp>
      <p:sp>
        <p:nvSpPr>
          <p:cNvPr id="12" name="TextBox 62">
            <a:extLst>
              <a:ext uri="{FF2B5EF4-FFF2-40B4-BE49-F238E27FC236}">
                <a16:creationId xmlns:a16="http://schemas.microsoft.com/office/drawing/2014/main" id="{04C9326E-3C01-6C95-1ED3-AFC026538CB7}"/>
              </a:ext>
            </a:extLst>
          </p:cNvPr>
          <p:cNvSpPr txBox="1"/>
          <p:nvPr/>
        </p:nvSpPr>
        <p:spPr>
          <a:xfrm>
            <a:off x="7638907" y="3882439"/>
            <a:ext cx="2223432" cy="215444"/>
          </a:xfrm>
          <a:prstGeom prst="rect">
            <a:avLst/>
          </a:prstGeom>
          <a:noFill/>
          <a:ln w="6350">
            <a:noFill/>
            <a:prstDash val="dash"/>
          </a:ln>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chemeClr val="tx1">
                    <a:lumMod val="75000"/>
                    <a:lumOff val="25000"/>
                  </a:schemeClr>
                </a:solidFill>
                <a:latin typeface="Segoe UI" panose="020B0502040204020203" pitchFamily="34" charset="0"/>
                <a:cs typeface="Segoe UI" panose="020B0502040204020203" pitchFamily="34" charset="0"/>
              </a:rPr>
              <a:t>LOREM IPSUM</a:t>
            </a:r>
          </a:p>
        </p:txBody>
      </p:sp>
      <p:grpSp>
        <p:nvGrpSpPr>
          <p:cNvPr id="13" name="Group 12">
            <a:extLst>
              <a:ext uri="{FF2B5EF4-FFF2-40B4-BE49-F238E27FC236}">
                <a16:creationId xmlns:a16="http://schemas.microsoft.com/office/drawing/2014/main" id="{E83489BF-2B1C-6409-7311-80682937BB4C}"/>
              </a:ext>
              <a:ext uri="{C183D7F6-B498-43B3-948B-1728B52AA6E4}">
                <adec:decorative xmlns:adec="http://schemas.microsoft.com/office/drawing/2017/decorative" val="1"/>
              </a:ext>
            </a:extLst>
          </p:cNvPr>
          <p:cNvGrpSpPr/>
          <p:nvPr/>
        </p:nvGrpSpPr>
        <p:grpSpPr>
          <a:xfrm>
            <a:off x="7638907" y="4243327"/>
            <a:ext cx="3468225" cy="0"/>
            <a:chOff x="5388791" y="1573213"/>
            <a:chExt cx="2917009" cy="0"/>
          </a:xfrm>
        </p:grpSpPr>
        <p:sp>
          <p:nvSpPr>
            <p:cNvPr id="14" name="Line 7">
              <a:extLst>
                <a:ext uri="{FF2B5EF4-FFF2-40B4-BE49-F238E27FC236}">
                  <a16:creationId xmlns:a16="http://schemas.microsoft.com/office/drawing/2014/main" id="{B9A70B77-C23A-197E-F202-198BACEA2F51}"/>
                </a:ext>
              </a:extLst>
            </p:cNvPr>
            <p:cNvSpPr>
              <a:spLocks noChangeShapeType="1"/>
            </p:cNvSpPr>
            <p:nvPr/>
          </p:nvSpPr>
          <p:spPr bwMode="auto">
            <a:xfrm>
              <a:off x="5388791" y="1573213"/>
              <a:ext cx="2917009" cy="0"/>
            </a:xfrm>
            <a:prstGeom prst="line">
              <a:avLst/>
            </a:prstGeom>
            <a:noFill/>
            <a:ln w="76200" cap="rnd">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Segoe UI" panose="020B0502040204020203" pitchFamily="34" charset="0"/>
                <a:cs typeface="Segoe UI" panose="020B0502040204020203" pitchFamily="34" charset="0"/>
              </a:endParaRPr>
            </a:p>
          </p:txBody>
        </p:sp>
        <p:sp>
          <p:nvSpPr>
            <p:cNvPr id="15" name="Line 7">
              <a:extLst>
                <a:ext uri="{FF2B5EF4-FFF2-40B4-BE49-F238E27FC236}">
                  <a16:creationId xmlns:a16="http://schemas.microsoft.com/office/drawing/2014/main" id="{7261BC72-013C-DE30-FBC7-3A8AB0DF2308}"/>
                </a:ext>
              </a:extLst>
            </p:cNvPr>
            <p:cNvSpPr>
              <a:spLocks noChangeShapeType="1"/>
            </p:cNvSpPr>
            <p:nvPr/>
          </p:nvSpPr>
          <p:spPr bwMode="auto">
            <a:xfrm>
              <a:off x="5388791" y="1573213"/>
              <a:ext cx="2132202" cy="0"/>
            </a:xfrm>
            <a:prstGeom prst="line">
              <a:avLst/>
            </a:prstGeom>
            <a:noFill/>
            <a:ln w="7620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Segoe UI" panose="020B0502040204020203" pitchFamily="34" charset="0"/>
                <a:cs typeface="Segoe UI" panose="020B0502040204020203" pitchFamily="34" charset="0"/>
              </a:endParaRPr>
            </a:p>
          </p:txBody>
        </p:sp>
      </p:grpSp>
      <p:sp>
        <p:nvSpPr>
          <p:cNvPr id="16" name="TextBox 65">
            <a:extLst>
              <a:ext uri="{FF2B5EF4-FFF2-40B4-BE49-F238E27FC236}">
                <a16:creationId xmlns:a16="http://schemas.microsoft.com/office/drawing/2014/main" id="{41675360-6985-F915-53B1-437EE3F5E382}"/>
              </a:ext>
            </a:extLst>
          </p:cNvPr>
          <p:cNvSpPr txBox="1"/>
          <p:nvPr/>
        </p:nvSpPr>
        <p:spPr>
          <a:xfrm>
            <a:off x="11223212" y="4051219"/>
            <a:ext cx="534602" cy="276999"/>
          </a:xfrm>
          <a:prstGeom prst="rect">
            <a:avLst/>
          </a:prstGeom>
          <a:noFill/>
          <a:ln w="6350">
            <a:noFill/>
            <a:prstDash val="dash"/>
          </a:ln>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a:solidFill>
                  <a:schemeClr val="tx1">
                    <a:lumMod val="75000"/>
                    <a:lumOff val="25000"/>
                  </a:schemeClr>
                </a:solidFill>
                <a:latin typeface="Segoe UI" panose="020B0502040204020203" pitchFamily="34" charset="0"/>
                <a:cs typeface="Segoe UI" panose="020B0502040204020203" pitchFamily="34" charset="0"/>
              </a:rPr>
              <a:t>75%</a:t>
            </a:r>
          </a:p>
        </p:txBody>
      </p:sp>
      <p:sp>
        <p:nvSpPr>
          <p:cNvPr id="17" name="TextBox 69">
            <a:extLst>
              <a:ext uri="{FF2B5EF4-FFF2-40B4-BE49-F238E27FC236}">
                <a16:creationId xmlns:a16="http://schemas.microsoft.com/office/drawing/2014/main" id="{87E12204-A86C-FF29-247C-B0B451863DB9}"/>
              </a:ext>
            </a:extLst>
          </p:cNvPr>
          <p:cNvSpPr txBox="1"/>
          <p:nvPr/>
        </p:nvSpPr>
        <p:spPr>
          <a:xfrm>
            <a:off x="7638907" y="4554186"/>
            <a:ext cx="2223432" cy="215444"/>
          </a:xfrm>
          <a:prstGeom prst="rect">
            <a:avLst/>
          </a:prstGeom>
          <a:noFill/>
          <a:ln w="6350">
            <a:noFill/>
            <a:prstDash val="dash"/>
          </a:ln>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chemeClr val="tx1">
                    <a:lumMod val="75000"/>
                    <a:lumOff val="25000"/>
                  </a:schemeClr>
                </a:solidFill>
                <a:latin typeface="Segoe UI" panose="020B0502040204020203" pitchFamily="34" charset="0"/>
                <a:cs typeface="Segoe UI" panose="020B0502040204020203" pitchFamily="34" charset="0"/>
              </a:rPr>
              <a:t>LOREM IPSUM</a:t>
            </a:r>
          </a:p>
        </p:txBody>
      </p:sp>
      <p:grpSp>
        <p:nvGrpSpPr>
          <p:cNvPr id="18" name="Group 17">
            <a:extLst>
              <a:ext uri="{FF2B5EF4-FFF2-40B4-BE49-F238E27FC236}">
                <a16:creationId xmlns:a16="http://schemas.microsoft.com/office/drawing/2014/main" id="{C4BA5EBB-3240-1B06-8045-0937B1D8FFBD}"/>
              </a:ext>
              <a:ext uri="{C183D7F6-B498-43B3-948B-1728B52AA6E4}">
                <adec:decorative xmlns:adec="http://schemas.microsoft.com/office/drawing/2017/decorative" val="1"/>
              </a:ext>
            </a:extLst>
          </p:cNvPr>
          <p:cNvGrpSpPr/>
          <p:nvPr/>
        </p:nvGrpSpPr>
        <p:grpSpPr>
          <a:xfrm>
            <a:off x="7638907" y="4915074"/>
            <a:ext cx="3468225" cy="0"/>
            <a:chOff x="5388791" y="1573213"/>
            <a:chExt cx="2917009" cy="0"/>
          </a:xfrm>
        </p:grpSpPr>
        <p:sp>
          <p:nvSpPr>
            <p:cNvPr id="19" name="Line 7">
              <a:extLst>
                <a:ext uri="{FF2B5EF4-FFF2-40B4-BE49-F238E27FC236}">
                  <a16:creationId xmlns:a16="http://schemas.microsoft.com/office/drawing/2014/main" id="{5611B6FA-200F-9240-5FBB-7F9CBF8E23C1}"/>
                </a:ext>
              </a:extLst>
            </p:cNvPr>
            <p:cNvSpPr>
              <a:spLocks noChangeShapeType="1"/>
            </p:cNvSpPr>
            <p:nvPr/>
          </p:nvSpPr>
          <p:spPr bwMode="auto">
            <a:xfrm>
              <a:off x="5388791" y="1573213"/>
              <a:ext cx="2917009" cy="0"/>
            </a:xfrm>
            <a:prstGeom prst="line">
              <a:avLst/>
            </a:prstGeom>
            <a:noFill/>
            <a:ln w="76200" cap="rnd">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Segoe UI" panose="020B0502040204020203" pitchFamily="34" charset="0"/>
                <a:cs typeface="Segoe UI" panose="020B0502040204020203" pitchFamily="34" charset="0"/>
              </a:endParaRPr>
            </a:p>
          </p:txBody>
        </p:sp>
        <p:sp>
          <p:nvSpPr>
            <p:cNvPr id="20" name="Line 7">
              <a:extLst>
                <a:ext uri="{FF2B5EF4-FFF2-40B4-BE49-F238E27FC236}">
                  <a16:creationId xmlns:a16="http://schemas.microsoft.com/office/drawing/2014/main" id="{D813B7DB-FDF6-F937-162E-4211F549A450}"/>
                </a:ext>
              </a:extLst>
            </p:cNvPr>
            <p:cNvSpPr>
              <a:spLocks noChangeShapeType="1"/>
            </p:cNvSpPr>
            <p:nvPr/>
          </p:nvSpPr>
          <p:spPr bwMode="auto">
            <a:xfrm>
              <a:off x="5388791" y="1573213"/>
              <a:ext cx="1051805" cy="0"/>
            </a:xfrm>
            <a:prstGeom prst="line">
              <a:avLst/>
            </a:prstGeom>
            <a:noFill/>
            <a:ln w="76200" cap="rnd">
              <a:solidFill>
                <a:srgbClr val="7F7F7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Segoe UI" panose="020B0502040204020203" pitchFamily="34" charset="0"/>
                <a:cs typeface="Segoe UI" panose="020B0502040204020203" pitchFamily="34" charset="0"/>
              </a:endParaRPr>
            </a:p>
          </p:txBody>
        </p:sp>
      </p:grpSp>
      <p:sp>
        <p:nvSpPr>
          <p:cNvPr id="21" name="TextBox 72">
            <a:extLst>
              <a:ext uri="{FF2B5EF4-FFF2-40B4-BE49-F238E27FC236}">
                <a16:creationId xmlns:a16="http://schemas.microsoft.com/office/drawing/2014/main" id="{E710657F-277F-11E8-B77A-F34C50DF124F}"/>
              </a:ext>
            </a:extLst>
          </p:cNvPr>
          <p:cNvSpPr txBox="1"/>
          <p:nvPr/>
        </p:nvSpPr>
        <p:spPr>
          <a:xfrm>
            <a:off x="11223212" y="4722966"/>
            <a:ext cx="534602" cy="276999"/>
          </a:xfrm>
          <a:prstGeom prst="rect">
            <a:avLst/>
          </a:prstGeom>
          <a:noFill/>
          <a:ln w="6350">
            <a:noFill/>
            <a:prstDash val="dash"/>
          </a:ln>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a:solidFill>
                  <a:schemeClr val="tx1">
                    <a:lumMod val="75000"/>
                    <a:lumOff val="25000"/>
                  </a:schemeClr>
                </a:solidFill>
                <a:latin typeface="Segoe UI" panose="020B0502040204020203" pitchFamily="34" charset="0"/>
                <a:cs typeface="Segoe UI" panose="020B0502040204020203" pitchFamily="34" charset="0"/>
              </a:rPr>
              <a:t>30%</a:t>
            </a:r>
          </a:p>
        </p:txBody>
      </p:sp>
      <p:sp>
        <p:nvSpPr>
          <p:cNvPr id="22" name="TextBox 76">
            <a:extLst>
              <a:ext uri="{FF2B5EF4-FFF2-40B4-BE49-F238E27FC236}">
                <a16:creationId xmlns:a16="http://schemas.microsoft.com/office/drawing/2014/main" id="{3BD747D6-ED80-5D93-25BF-6625DB07F3E7}"/>
              </a:ext>
            </a:extLst>
          </p:cNvPr>
          <p:cNvSpPr txBox="1"/>
          <p:nvPr/>
        </p:nvSpPr>
        <p:spPr>
          <a:xfrm>
            <a:off x="7638907" y="5224609"/>
            <a:ext cx="2223432" cy="215444"/>
          </a:xfrm>
          <a:prstGeom prst="rect">
            <a:avLst/>
          </a:prstGeom>
          <a:noFill/>
          <a:ln w="6350">
            <a:noFill/>
            <a:prstDash val="dash"/>
          </a:ln>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chemeClr val="tx1">
                    <a:lumMod val="75000"/>
                    <a:lumOff val="25000"/>
                  </a:schemeClr>
                </a:solidFill>
                <a:latin typeface="Segoe UI" panose="020B0502040204020203" pitchFamily="34" charset="0"/>
                <a:cs typeface="Segoe UI" panose="020B0502040204020203" pitchFamily="34" charset="0"/>
              </a:rPr>
              <a:t>LOREM IPSUM</a:t>
            </a:r>
          </a:p>
        </p:txBody>
      </p:sp>
      <p:grpSp>
        <p:nvGrpSpPr>
          <p:cNvPr id="23" name="Group 22">
            <a:extLst>
              <a:ext uri="{FF2B5EF4-FFF2-40B4-BE49-F238E27FC236}">
                <a16:creationId xmlns:a16="http://schemas.microsoft.com/office/drawing/2014/main" id="{563268EC-D851-9EFE-A5C3-4428A5B3AF49}"/>
              </a:ext>
              <a:ext uri="{C183D7F6-B498-43B3-948B-1728B52AA6E4}">
                <adec:decorative xmlns:adec="http://schemas.microsoft.com/office/drawing/2017/decorative" val="1"/>
              </a:ext>
            </a:extLst>
          </p:cNvPr>
          <p:cNvGrpSpPr/>
          <p:nvPr/>
        </p:nvGrpSpPr>
        <p:grpSpPr>
          <a:xfrm>
            <a:off x="7638907" y="5585497"/>
            <a:ext cx="3468225" cy="0"/>
            <a:chOff x="5388791" y="1573213"/>
            <a:chExt cx="2917009" cy="0"/>
          </a:xfrm>
        </p:grpSpPr>
        <p:sp>
          <p:nvSpPr>
            <p:cNvPr id="24" name="Line 7">
              <a:extLst>
                <a:ext uri="{FF2B5EF4-FFF2-40B4-BE49-F238E27FC236}">
                  <a16:creationId xmlns:a16="http://schemas.microsoft.com/office/drawing/2014/main" id="{A6C2B3F2-654E-B686-3065-593D7E3679C3}"/>
                </a:ext>
              </a:extLst>
            </p:cNvPr>
            <p:cNvSpPr>
              <a:spLocks noChangeShapeType="1"/>
            </p:cNvSpPr>
            <p:nvPr/>
          </p:nvSpPr>
          <p:spPr bwMode="auto">
            <a:xfrm>
              <a:off x="5388791" y="1573213"/>
              <a:ext cx="2917009" cy="0"/>
            </a:xfrm>
            <a:prstGeom prst="line">
              <a:avLst/>
            </a:prstGeom>
            <a:noFill/>
            <a:ln w="76200" cap="rnd">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Segoe UI" panose="020B0502040204020203" pitchFamily="34" charset="0"/>
                <a:cs typeface="Segoe UI" panose="020B0502040204020203" pitchFamily="34" charset="0"/>
              </a:endParaRPr>
            </a:p>
          </p:txBody>
        </p:sp>
        <p:sp>
          <p:nvSpPr>
            <p:cNvPr id="25" name="Line 7">
              <a:extLst>
                <a:ext uri="{FF2B5EF4-FFF2-40B4-BE49-F238E27FC236}">
                  <a16:creationId xmlns:a16="http://schemas.microsoft.com/office/drawing/2014/main" id="{2605D214-82F9-9AF4-4F1E-9BE94F4507DB}"/>
                </a:ext>
              </a:extLst>
            </p:cNvPr>
            <p:cNvSpPr>
              <a:spLocks noChangeShapeType="1"/>
            </p:cNvSpPr>
            <p:nvPr/>
          </p:nvSpPr>
          <p:spPr bwMode="auto">
            <a:xfrm>
              <a:off x="5388791" y="1573213"/>
              <a:ext cx="2747197" cy="0"/>
            </a:xfrm>
            <a:prstGeom prst="line">
              <a:avLst/>
            </a:prstGeom>
            <a:noFill/>
            <a:ln w="76200" cap="rnd">
              <a:solidFill>
                <a:srgbClr val="A6A6A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Segoe UI" panose="020B0502040204020203" pitchFamily="34" charset="0"/>
                <a:cs typeface="Segoe UI" panose="020B0502040204020203" pitchFamily="34" charset="0"/>
              </a:endParaRPr>
            </a:p>
          </p:txBody>
        </p:sp>
      </p:grpSp>
      <p:sp>
        <p:nvSpPr>
          <p:cNvPr id="26" name="TextBox 79">
            <a:extLst>
              <a:ext uri="{FF2B5EF4-FFF2-40B4-BE49-F238E27FC236}">
                <a16:creationId xmlns:a16="http://schemas.microsoft.com/office/drawing/2014/main" id="{BBCF4858-329D-85B7-914F-46302715D1A6}"/>
              </a:ext>
            </a:extLst>
          </p:cNvPr>
          <p:cNvSpPr txBox="1"/>
          <p:nvPr/>
        </p:nvSpPr>
        <p:spPr>
          <a:xfrm>
            <a:off x="11223212" y="5393389"/>
            <a:ext cx="534602" cy="276999"/>
          </a:xfrm>
          <a:prstGeom prst="rect">
            <a:avLst/>
          </a:prstGeom>
          <a:noFill/>
          <a:ln w="6350">
            <a:noFill/>
            <a:prstDash val="dash"/>
          </a:ln>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a:solidFill>
                  <a:schemeClr val="tx1">
                    <a:lumMod val="75000"/>
                    <a:lumOff val="25000"/>
                  </a:schemeClr>
                </a:solidFill>
                <a:latin typeface="Segoe UI" panose="020B0502040204020203" pitchFamily="34" charset="0"/>
                <a:cs typeface="Segoe UI" panose="020B0502040204020203" pitchFamily="34" charset="0"/>
              </a:rPr>
              <a:t>94%</a:t>
            </a:r>
          </a:p>
        </p:txBody>
      </p:sp>
      <p:grpSp>
        <p:nvGrpSpPr>
          <p:cNvPr id="27" name="Group 26" descr="This is an icon of a cellphone. ">
            <a:extLst>
              <a:ext uri="{FF2B5EF4-FFF2-40B4-BE49-F238E27FC236}">
                <a16:creationId xmlns:a16="http://schemas.microsoft.com/office/drawing/2014/main" id="{45038643-8372-0002-44BF-37801C8FC539}"/>
              </a:ext>
            </a:extLst>
          </p:cNvPr>
          <p:cNvGrpSpPr/>
          <p:nvPr/>
        </p:nvGrpSpPr>
        <p:grpSpPr>
          <a:xfrm>
            <a:off x="7156233" y="3367615"/>
            <a:ext cx="148718" cy="193653"/>
            <a:chOff x="7373011" y="2614988"/>
            <a:chExt cx="220663" cy="287338"/>
          </a:xfrm>
          <a:solidFill>
            <a:schemeClr val="bg1"/>
          </a:solidFill>
        </p:grpSpPr>
        <p:sp>
          <p:nvSpPr>
            <p:cNvPr id="28" name="Freeform 1497">
              <a:extLst>
                <a:ext uri="{FF2B5EF4-FFF2-40B4-BE49-F238E27FC236}">
                  <a16:creationId xmlns:a16="http://schemas.microsoft.com/office/drawing/2014/main" id="{20CD063A-D60C-40F7-6784-0EFBCED5BB85}"/>
                </a:ext>
              </a:extLst>
            </p:cNvPr>
            <p:cNvSpPr>
              <a:spLocks noEditPoints="1"/>
            </p:cNvSpPr>
            <p:nvPr/>
          </p:nvSpPr>
          <p:spPr bwMode="auto">
            <a:xfrm>
              <a:off x="7373011" y="2614988"/>
              <a:ext cx="220663" cy="287338"/>
            </a:xfrm>
            <a:custGeom>
              <a:avLst/>
              <a:gdLst>
                <a:gd name="T0" fmla="*/ 91 w 695"/>
                <a:gd name="T1" fmla="*/ 120 h 906"/>
                <a:gd name="T2" fmla="*/ 347 w 695"/>
                <a:gd name="T3" fmla="*/ 845 h 906"/>
                <a:gd name="T4" fmla="*/ 322 w 695"/>
                <a:gd name="T5" fmla="*/ 837 h 906"/>
                <a:gd name="T6" fmla="*/ 305 w 695"/>
                <a:gd name="T7" fmla="*/ 817 h 906"/>
                <a:gd name="T8" fmla="*/ 303 w 695"/>
                <a:gd name="T9" fmla="*/ 791 h 906"/>
                <a:gd name="T10" fmla="*/ 315 w 695"/>
                <a:gd name="T11" fmla="*/ 767 h 906"/>
                <a:gd name="T12" fmla="*/ 339 w 695"/>
                <a:gd name="T13" fmla="*/ 755 h 906"/>
                <a:gd name="T14" fmla="*/ 365 w 695"/>
                <a:gd name="T15" fmla="*/ 759 h 906"/>
                <a:gd name="T16" fmla="*/ 385 w 695"/>
                <a:gd name="T17" fmla="*/ 774 h 906"/>
                <a:gd name="T18" fmla="*/ 393 w 695"/>
                <a:gd name="T19" fmla="*/ 799 h 906"/>
                <a:gd name="T20" fmla="*/ 385 w 695"/>
                <a:gd name="T21" fmla="*/ 825 h 906"/>
                <a:gd name="T22" fmla="*/ 365 w 695"/>
                <a:gd name="T23" fmla="*/ 842 h 906"/>
                <a:gd name="T24" fmla="*/ 347 w 695"/>
                <a:gd name="T25" fmla="*/ 53 h 906"/>
                <a:gd name="T26" fmla="*/ 360 w 695"/>
                <a:gd name="T27" fmla="*/ 57 h 906"/>
                <a:gd name="T28" fmla="*/ 368 w 695"/>
                <a:gd name="T29" fmla="*/ 67 h 906"/>
                <a:gd name="T30" fmla="*/ 370 w 695"/>
                <a:gd name="T31" fmla="*/ 80 h 906"/>
                <a:gd name="T32" fmla="*/ 363 w 695"/>
                <a:gd name="T33" fmla="*/ 91 h 906"/>
                <a:gd name="T34" fmla="*/ 352 w 695"/>
                <a:gd name="T35" fmla="*/ 98 h 906"/>
                <a:gd name="T36" fmla="*/ 339 w 695"/>
                <a:gd name="T37" fmla="*/ 96 h 906"/>
                <a:gd name="T38" fmla="*/ 329 w 695"/>
                <a:gd name="T39" fmla="*/ 88 h 906"/>
                <a:gd name="T40" fmla="*/ 325 w 695"/>
                <a:gd name="T41" fmla="*/ 76 h 906"/>
                <a:gd name="T42" fmla="*/ 329 w 695"/>
                <a:gd name="T43" fmla="*/ 63 h 906"/>
                <a:gd name="T44" fmla="*/ 339 w 695"/>
                <a:gd name="T45" fmla="*/ 55 h 906"/>
                <a:gd name="T46" fmla="*/ 347 w 695"/>
                <a:gd name="T47" fmla="*/ 53 h 906"/>
                <a:gd name="T48" fmla="*/ 82 w 695"/>
                <a:gd name="T49" fmla="*/ 1 h 906"/>
                <a:gd name="T50" fmla="*/ 55 w 695"/>
                <a:gd name="T51" fmla="*/ 7 h 906"/>
                <a:gd name="T52" fmla="*/ 33 w 695"/>
                <a:gd name="T53" fmla="*/ 21 h 906"/>
                <a:gd name="T54" fmla="*/ 16 w 695"/>
                <a:gd name="T55" fmla="*/ 39 h 906"/>
                <a:gd name="T56" fmla="*/ 5 w 695"/>
                <a:gd name="T57" fmla="*/ 64 h 906"/>
                <a:gd name="T58" fmla="*/ 0 w 695"/>
                <a:gd name="T59" fmla="*/ 90 h 906"/>
                <a:gd name="T60" fmla="*/ 2 w 695"/>
                <a:gd name="T61" fmla="*/ 833 h 906"/>
                <a:gd name="T62" fmla="*/ 11 w 695"/>
                <a:gd name="T63" fmla="*/ 858 h 906"/>
                <a:gd name="T64" fmla="*/ 27 w 695"/>
                <a:gd name="T65" fmla="*/ 879 h 906"/>
                <a:gd name="T66" fmla="*/ 48 w 695"/>
                <a:gd name="T67" fmla="*/ 895 h 906"/>
                <a:gd name="T68" fmla="*/ 73 w 695"/>
                <a:gd name="T69" fmla="*/ 903 h 906"/>
                <a:gd name="T70" fmla="*/ 604 w 695"/>
                <a:gd name="T71" fmla="*/ 906 h 906"/>
                <a:gd name="T72" fmla="*/ 631 w 695"/>
                <a:gd name="T73" fmla="*/ 901 h 906"/>
                <a:gd name="T74" fmla="*/ 655 w 695"/>
                <a:gd name="T75" fmla="*/ 890 h 906"/>
                <a:gd name="T76" fmla="*/ 674 w 695"/>
                <a:gd name="T77" fmla="*/ 872 h 906"/>
                <a:gd name="T78" fmla="*/ 687 w 695"/>
                <a:gd name="T79" fmla="*/ 850 h 906"/>
                <a:gd name="T80" fmla="*/ 694 w 695"/>
                <a:gd name="T81" fmla="*/ 824 h 906"/>
                <a:gd name="T82" fmla="*/ 694 w 695"/>
                <a:gd name="T83" fmla="*/ 82 h 906"/>
                <a:gd name="T84" fmla="*/ 687 w 695"/>
                <a:gd name="T85" fmla="*/ 55 h 906"/>
                <a:gd name="T86" fmla="*/ 674 w 695"/>
                <a:gd name="T87" fmla="*/ 33 h 906"/>
                <a:gd name="T88" fmla="*/ 655 w 695"/>
                <a:gd name="T89" fmla="*/ 15 h 906"/>
                <a:gd name="T90" fmla="*/ 631 w 695"/>
                <a:gd name="T91" fmla="*/ 4 h 906"/>
                <a:gd name="T92" fmla="*/ 604 w 695"/>
                <a:gd name="T93" fmla="*/ 0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5" h="906">
                  <a:moveTo>
                    <a:pt x="604" y="724"/>
                  </a:moveTo>
                  <a:lnTo>
                    <a:pt x="91" y="724"/>
                  </a:lnTo>
                  <a:lnTo>
                    <a:pt x="91" y="120"/>
                  </a:lnTo>
                  <a:lnTo>
                    <a:pt x="604" y="120"/>
                  </a:lnTo>
                  <a:lnTo>
                    <a:pt x="604" y="724"/>
                  </a:lnTo>
                  <a:close/>
                  <a:moveTo>
                    <a:pt x="347" y="845"/>
                  </a:moveTo>
                  <a:lnTo>
                    <a:pt x="339" y="844"/>
                  </a:lnTo>
                  <a:lnTo>
                    <a:pt x="330" y="842"/>
                  </a:lnTo>
                  <a:lnTo>
                    <a:pt x="322" y="837"/>
                  </a:lnTo>
                  <a:lnTo>
                    <a:pt x="315" y="832"/>
                  </a:lnTo>
                  <a:lnTo>
                    <a:pt x="310" y="825"/>
                  </a:lnTo>
                  <a:lnTo>
                    <a:pt x="305" y="817"/>
                  </a:lnTo>
                  <a:lnTo>
                    <a:pt x="303" y="809"/>
                  </a:lnTo>
                  <a:lnTo>
                    <a:pt x="302" y="799"/>
                  </a:lnTo>
                  <a:lnTo>
                    <a:pt x="303" y="791"/>
                  </a:lnTo>
                  <a:lnTo>
                    <a:pt x="305" y="782"/>
                  </a:lnTo>
                  <a:lnTo>
                    <a:pt x="310" y="774"/>
                  </a:lnTo>
                  <a:lnTo>
                    <a:pt x="315" y="767"/>
                  </a:lnTo>
                  <a:lnTo>
                    <a:pt x="322" y="762"/>
                  </a:lnTo>
                  <a:lnTo>
                    <a:pt x="330" y="759"/>
                  </a:lnTo>
                  <a:lnTo>
                    <a:pt x="339" y="755"/>
                  </a:lnTo>
                  <a:lnTo>
                    <a:pt x="347" y="754"/>
                  </a:lnTo>
                  <a:lnTo>
                    <a:pt x="356" y="755"/>
                  </a:lnTo>
                  <a:lnTo>
                    <a:pt x="365" y="759"/>
                  </a:lnTo>
                  <a:lnTo>
                    <a:pt x="373" y="762"/>
                  </a:lnTo>
                  <a:lnTo>
                    <a:pt x="380" y="767"/>
                  </a:lnTo>
                  <a:lnTo>
                    <a:pt x="385" y="774"/>
                  </a:lnTo>
                  <a:lnTo>
                    <a:pt x="389" y="782"/>
                  </a:lnTo>
                  <a:lnTo>
                    <a:pt x="392" y="791"/>
                  </a:lnTo>
                  <a:lnTo>
                    <a:pt x="393" y="799"/>
                  </a:lnTo>
                  <a:lnTo>
                    <a:pt x="392" y="809"/>
                  </a:lnTo>
                  <a:lnTo>
                    <a:pt x="389" y="817"/>
                  </a:lnTo>
                  <a:lnTo>
                    <a:pt x="385" y="825"/>
                  </a:lnTo>
                  <a:lnTo>
                    <a:pt x="380" y="832"/>
                  </a:lnTo>
                  <a:lnTo>
                    <a:pt x="373" y="837"/>
                  </a:lnTo>
                  <a:lnTo>
                    <a:pt x="365" y="842"/>
                  </a:lnTo>
                  <a:lnTo>
                    <a:pt x="356" y="844"/>
                  </a:lnTo>
                  <a:lnTo>
                    <a:pt x="347" y="845"/>
                  </a:lnTo>
                  <a:close/>
                  <a:moveTo>
                    <a:pt x="347" y="53"/>
                  </a:moveTo>
                  <a:lnTo>
                    <a:pt x="352" y="53"/>
                  </a:lnTo>
                  <a:lnTo>
                    <a:pt x="356" y="55"/>
                  </a:lnTo>
                  <a:lnTo>
                    <a:pt x="360" y="57"/>
                  </a:lnTo>
                  <a:lnTo>
                    <a:pt x="363" y="59"/>
                  </a:lnTo>
                  <a:lnTo>
                    <a:pt x="366" y="63"/>
                  </a:lnTo>
                  <a:lnTo>
                    <a:pt x="368" y="67"/>
                  </a:lnTo>
                  <a:lnTo>
                    <a:pt x="370" y="70"/>
                  </a:lnTo>
                  <a:lnTo>
                    <a:pt x="370" y="76"/>
                  </a:lnTo>
                  <a:lnTo>
                    <a:pt x="370" y="80"/>
                  </a:lnTo>
                  <a:lnTo>
                    <a:pt x="368" y="85"/>
                  </a:lnTo>
                  <a:lnTo>
                    <a:pt x="366" y="88"/>
                  </a:lnTo>
                  <a:lnTo>
                    <a:pt x="363" y="91"/>
                  </a:lnTo>
                  <a:lnTo>
                    <a:pt x="360" y="95"/>
                  </a:lnTo>
                  <a:lnTo>
                    <a:pt x="356" y="96"/>
                  </a:lnTo>
                  <a:lnTo>
                    <a:pt x="352" y="98"/>
                  </a:lnTo>
                  <a:lnTo>
                    <a:pt x="347" y="98"/>
                  </a:lnTo>
                  <a:lnTo>
                    <a:pt x="343" y="98"/>
                  </a:lnTo>
                  <a:lnTo>
                    <a:pt x="339" y="96"/>
                  </a:lnTo>
                  <a:lnTo>
                    <a:pt x="335" y="95"/>
                  </a:lnTo>
                  <a:lnTo>
                    <a:pt x="331" y="91"/>
                  </a:lnTo>
                  <a:lnTo>
                    <a:pt x="329" y="88"/>
                  </a:lnTo>
                  <a:lnTo>
                    <a:pt x="326" y="85"/>
                  </a:lnTo>
                  <a:lnTo>
                    <a:pt x="325" y="80"/>
                  </a:lnTo>
                  <a:lnTo>
                    <a:pt x="325" y="76"/>
                  </a:lnTo>
                  <a:lnTo>
                    <a:pt x="325" y="70"/>
                  </a:lnTo>
                  <a:lnTo>
                    <a:pt x="326" y="67"/>
                  </a:lnTo>
                  <a:lnTo>
                    <a:pt x="329" y="63"/>
                  </a:lnTo>
                  <a:lnTo>
                    <a:pt x="331" y="59"/>
                  </a:lnTo>
                  <a:lnTo>
                    <a:pt x="335" y="57"/>
                  </a:lnTo>
                  <a:lnTo>
                    <a:pt x="339" y="55"/>
                  </a:lnTo>
                  <a:lnTo>
                    <a:pt x="343" y="54"/>
                  </a:lnTo>
                  <a:lnTo>
                    <a:pt x="347" y="53"/>
                  </a:lnTo>
                  <a:lnTo>
                    <a:pt x="347" y="53"/>
                  </a:lnTo>
                  <a:close/>
                  <a:moveTo>
                    <a:pt x="604" y="0"/>
                  </a:moveTo>
                  <a:lnTo>
                    <a:pt x="91" y="0"/>
                  </a:lnTo>
                  <a:lnTo>
                    <a:pt x="82" y="1"/>
                  </a:lnTo>
                  <a:lnTo>
                    <a:pt x="73" y="2"/>
                  </a:lnTo>
                  <a:lnTo>
                    <a:pt x="64" y="4"/>
                  </a:lnTo>
                  <a:lnTo>
                    <a:pt x="55" y="7"/>
                  </a:lnTo>
                  <a:lnTo>
                    <a:pt x="48" y="11"/>
                  </a:lnTo>
                  <a:lnTo>
                    <a:pt x="40" y="15"/>
                  </a:lnTo>
                  <a:lnTo>
                    <a:pt x="33" y="21"/>
                  </a:lnTo>
                  <a:lnTo>
                    <a:pt x="27" y="26"/>
                  </a:lnTo>
                  <a:lnTo>
                    <a:pt x="21" y="33"/>
                  </a:lnTo>
                  <a:lnTo>
                    <a:pt x="16" y="39"/>
                  </a:lnTo>
                  <a:lnTo>
                    <a:pt x="11" y="47"/>
                  </a:lnTo>
                  <a:lnTo>
                    <a:pt x="8" y="55"/>
                  </a:lnTo>
                  <a:lnTo>
                    <a:pt x="5" y="64"/>
                  </a:lnTo>
                  <a:lnTo>
                    <a:pt x="2" y="73"/>
                  </a:lnTo>
                  <a:lnTo>
                    <a:pt x="1" y="82"/>
                  </a:lnTo>
                  <a:lnTo>
                    <a:pt x="0" y="90"/>
                  </a:lnTo>
                  <a:lnTo>
                    <a:pt x="0" y="815"/>
                  </a:lnTo>
                  <a:lnTo>
                    <a:pt x="1" y="824"/>
                  </a:lnTo>
                  <a:lnTo>
                    <a:pt x="2" y="833"/>
                  </a:lnTo>
                  <a:lnTo>
                    <a:pt x="5" y="842"/>
                  </a:lnTo>
                  <a:lnTo>
                    <a:pt x="8" y="850"/>
                  </a:lnTo>
                  <a:lnTo>
                    <a:pt x="11" y="858"/>
                  </a:lnTo>
                  <a:lnTo>
                    <a:pt x="16" y="866"/>
                  </a:lnTo>
                  <a:lnTo>
                    <a:pt x="21" y="872"/>
                  </a:lnTo>
                  <a:lnTo>
                    <a:pt x="27" y="879"/>
                  </a:lnTo>
                  <a:lnTo>
                    <a:pt x="33" y="885"/>
                  </a:lnTo>
                  <a:lnTo>
                    <a:pt x="40" y="890"/>
                  </a:lnTo>
                  <a:lnTo>
                    <a:pt x="48" y="895"/>
                  </a:lnTo>
                  <a:lnTo>
                    <a:pt x="55" y="898"/>
                  </a:lnTo>
                  <a:lnTo>
                    <a:pt x="64" y="901"/>
                  </a:lnTo>
                  <a:lnTo>
                    <a:pt x="73" y="903"/>
                  </a:lnTo>
                  <a:lnTo>
                    <a:pt x="82" y="905"/>
                  </a:lnTo>
                  <a:lnTo>
                    <a:pt x="91" y="906"/>
                  </a:lnTo>
                  <a:lnTo>
                    <a:pt x="604" y="906"/>
                  </a:lnTo>
                  <a:lnTo>
                    <a:pt x="613" y="905"/>
                  </a:lnTo>
                  <a:lnTo>
                    <a:pt x="622" y="903"/>
                  </a:lnTo>
                  <a:lnTo>
                    <a:pt x="631" y="901"/>
                  </a:lnTo>
                  <a:lnTo>
                    <a:pt x="639" y="898"/>
                  </a:lnTo>
                  <a:lnTo>
                    <a:pt x="647" y="895"/>
                  </a:lnTo>
                  <a:lnTo>
                    <a:pt x="655" y="890"/>
                  </a:lnTo>
                  <a:lnTo>
                    <a:pt x="662" y="885"/>
                  </a:lnTo>
                  <a:lnTo>
                    <a:pt x="668" y="879"/>
                  </a:lnTo>
                  <a:lnTo>
                    <a:pt x="674" y="872"/>
                  </a:lnTo>
                  <a:lnTo>
                    <a:pt x="679" y="866"/>
                  </a:lnTo>
                  <a:lnTo>
                    <a:pt x="684" y="858"/>
                  </a:lnTo>
                  <a:lnTo>
                    <a:pt x="687" y="850"/>
                  </a:lnTo>
                  <a:lnTo>
                    <a:pt x="690" y="842"/>
                  </a:lnTo>
                  <a:lnTo>
                    <a:pt x="693" y="833"/>
                  </a:lnTo>
                  <a:lnTo>
                    <a:pt x="694" y="824"/>
                  </a:lnTo>
                  <a:lnTo>
                    <a:pt x="695" y="815"/>
                  </a:lnTo>
                  <a:lnTo>
                    <a:pt x="695" y="90"/>
                  </a:lnTo>
                  <a:lnTo>
                    <a:pt x="694" y="82"/>
                  </a:lnTo>
                  <a:lnTo>
                    <a:pt x="693" y="73"/>
                  </a:lnTo>
                  <a:lnTo>
                    <a:pt x="690" y="64"/>
                  </a:lnTo>
                  <a:lnTo>
                    <a:pt x="687" y="55"/>
                  </a:lnTo>
                  <a:lnTo>
                    <a:pt x="684" y="47"/>
                  </a:lnTo>
                  <a:lnTo>
                    <a:pt x="679" y="39"/>
                  </a:lnTo>
                  <a:lnTo>
                    <a:pt x="674" y="33"/>
                  </a:lnTo>
                  <a:lnTo>
                    <a:pt x="668" y="26"/>
                  </a:lnTo>
                  <a:lnTo>
                    <a:pt x="662" y="21"/>
                  </a:lnTo>
                  <a:lnTo>
                    <a:pt x="655" y="15"/>
                  </a:lnTo>
                  <a:lnTo>
                    <a:pt x="647" y="11"/>
                  </a:lnTo>
                  <a:lnTo>
                    <a:pt x="639" y="7"/>
                  </a:lnTo>
                  <a:lnTo>
                    <a:pt x="631" y="4"/>
                  </a:lnTo>
                  <a:lnTo>
                    <a:pt x="622" y="2"/>
                  </a:lnTo>
                  <a:lnTo>
                    <a:pt x="613" y="1"/>
                  </a:lnTo>
                  <a:lnTo>
                    <a:pt x="604" y="0"/>
                  </a:lnTo>
                  <a:lnTo>
                    <a:pt x="604"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sp>
          <p:nvSpPr>
            <p:cNvPr id="29" name="Rectangle 1498">
              <a:extLst>
                <a:ext uri="{FF2B5EF4-FFF2-40B4-BE49-F238E27FC236}">
                  <a16:creationId xmlns:a16="http://schemas.microsoft.com/office/drawing/2014/main" id="{CF692267-0757-A01D-2345-C8AA135B8917}"/>
                </a:ext>
              </a:extLst>
            </p:cNvPr>
            <p:cNvSpPr>
              <a:spLocks noChangeArrowheads="1"/>
            </p:cNvSpPr>
            <p:nvPr/>
          </p:nvSpPr>
          <p:spPr bwMode="auto">
            <a:xfrm>
              <a:off x="7431749" y="2681663"/>
              <a:ext cx="28575" cy="28575"/>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sp>
          <p:nvSpPr>
            <p:cNvPr id="30" name="Rectangle 1499">
              <a:extLst>
                <a:ext uri="{FF2B5EF4-FFF2-40B4-BE49-F238E27FC236}">
                  <a16:creationId xmlns:a16="http://schemas.microsoft.com/office/drawing/2014/main" id="{CD19AD7F-8C45-CE6E-A76A-92E785E9DA0B}"/>
                </a:ext>
              </a:extLst>
            </p:cNvPr>
            <p:cNvSpPr>
              <a:spLocks noChangeArrowheads="1"/>
            </p:cNvSpPr>
            <p:nvPr/>
          </p:nvSpPr>
          <p:spPr bwMode="auto">
            <a:xfrm>
              <a:off x="7469849" y="2681663"/>
              <a:ext cx="28575" cy="28575"/>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sp>
          <p:nvSpPr>
            <p:cNvPr id="31" name="Rectangle 1500">
              <a:extLst>
                <a:ext uri="{FF2B5EF4-FFF2-40B4-BE49-F238E27FC236}">
                  <a16:creationId xmlns:a16="http://schemas.microsoft.com/office/drawing/2014/main" id="{7A95B838-3F70-FE08-8FBC-99A9D3F1FBCE}"/>
                </a:ext>
              </a:extLst>
            </p:cNvPr>
            <p:cNvSpPr>
              <a:spLocks noChangeArrowheads="1"/>
            </p:cNvSpPr>
            <p:nvPr/>
          </p:nvSpPr>
          <p:spPr bwMode="auto">
            <a:xfrm>
              <a:off x="7507949" y="2681663"/>
              <a:ext cx="28575" cy="28575"/>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sp>
          <p:nvSpPr>
            <p:cNvPr id="32" name="Rectangle 1501">
              <a:extLst>
                <a:ext uri="{FF2B5EF4-FFF2-40B4-BE49-F238E27FC236}">
                  <a16:creationId xmlns:a16="http://schemas.microsoft.com/office/drawing/2014/main" id="{6E9CAB6C-4411-52C4-F17C-A45C5A7A2667}"/>
                </a:ext>
              </a:extLst>
            </p:cNvPr>
            <p:cNvSpPr>
              <a:spLocks noChangeArrowheads="1"/>
            </p:cNvSpPr>
            <p:nvPr/>
          </p:nvSpPr>
          <p:spPr bwMode="auto">
            <a:xfrm>
              <a:off x="7431749" y="2719763"/>
              <a:ext cx="28575" cy="28575"/>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sp>
          <p:nvSpPr>
            <p:cNvPr id="33" name="Rectangle 1502">
              <a:extLst>
                <a:ext uri="{FF2B5EF4-FFF2-40B4-BE49-F238E27FC236}">
                  <a16:creationId xmlns:a16="http://schemas.microsoft.com/office/drawing/2014/main" id="{95116B35-E05C-7B76-3FF6-41354E97C573}"/>
                </a:ext>
              </a:extLst>
            </p:cNvPr>
            <p:cNvSpPr>
              <a:spLocks noChangeArrowheads="1"/>
            </p:cNvSpPr>
            <p:nvPr/>
          </p:nvSpPr>
          <p:spPr bwMode="auto">
            <a:xfrm>
              <a:off x="7469849" y="2719763"/>
              <a:ext cx="28575" cy="28575"/>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sp>
          <p:nvSpPr>
            <p:cNvPr id="34" name="Rectangle 1503">
              <a:extLst>
                <a:ext uri="{FF2B5EF4-FFF2-40B4-BE49-F238E27FC236}">
                  <a16:creationId xmlns:a16="http://schemas.microsoft.com/office/drawing/2014/main" id="{F891A9CB-5AD6-AA8F-D918-41AC3911DAE9}"/>
                </a:ext>
              </a:extLst>
            </p:cNvPr>
            <p:cNvSpPr>
              <a:spLocks noChangeArrowheads="1"/>
            </p:cNvSpPr>
            <p:nvPr/>
          </p:nvSpPr>
          <p:spPr bwMode="auto">
            <a:xfrm>
              <a:off x="7507949" y="2719763"/>
              <a:ext cx="28575" cy="28575"/>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sp>
          <p:nvSpPr>
            <p:cNvPr id="35" name="Rectangle 1504">
              <a:extLst>
                <a:ext uri="{FF2B5EF4-FFF2-40B4-BE49-F238E27FC236}">
                  <a16:creationId xmlns:a16="http://schemas.microsoft.com/office/drawing/2014/main" id="{F4207026-902A-0383-2EA9-02D7004AA525}"/>
                </a:ext>
              </a:extLst>
            </p:cNvPr>
            <p:cNvSpPr>
              <a:spLocks noChangeArrowheads="1"/>
            </p:cNvSpPr>
            <p:nvPr/>
          </p:nvSpPr>
          <p:spPr bwMode="auto">
            <a:xfrm>
              <a:off x="7431749" y="2757863"/>
              <a:ext cx="28575" cy="28575"/>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sp>
          <p:nvSpPr>
            <p:cNvPr id="36" name="Rectangle 1505">
              <a:extLst>
                <a:ext uri="{FF2B5EF4-FFF2-40B4-BE49-F238E27FC236}">
                  <a16:creationId xmlns:a16="http://schemas.microsoft.com/office/drawing/2014/main" id="{590FAB8F-28E8-3594-4C0C-16C523CDAD3E}"/>
                </a:ext>
              </a:extLst>
            </p:cNvPr>
            <p:cNvSpPr>
              <a:spLocks noChangeArrowheads="1"/>
            </p:cNvSpPr>
            <p:nvPr/>
          </p:nvSpPr>
          <p:spPr bwMode="auto">
            <a:xfrm>
              <a:off x="7469849" y="2757863"/>
              <a:ext cx="28575" cy="28575"/>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grpSp>
      <p:sp>
        <p:nvSpPr>
          <p:cNvPr id="37" name="Oval 36">
            <a:extLst>
              <a:ext uri="{FF2B5EF4-FFF2-40B4-BE49-F238E27FC236}">
                <a16:creationId xmlns:a16="http://schemas.microsoft.com/office/drawing/2014/main" id="{0DB8E89F-17AB-846C-0792-F31D53277D6E}"/>
              </a:ext>
              <a:ext uri="{C183D7F6-B498-43B3-948B-1728B52AA6E4}">
                <adec:decorative xmlns:adec="http://schemas.microsoft.com/office/drawing/2017/decorative" val="1"/>
              </a:ext>
            </a:extLst>
          </p:cNvPr>
          <p:cNvSpPr/>
          <p:nvPr/>
        </p:nvSpPr>
        <p:spPr>
          <a:xfrm>
            <a:off x="6979796" y="3871472"/>
            <a:ext cx="482603" cy="482603"/>
          </a:xfrm>
          <a:prstGeom prst="ellipse">
            <a:avLst/>
          </a:prstGeom>
          <a:solidFill>
            <a:schemeClr val="tx1">
              <a:lumMod val="75000"/>
              <a:lumOff val="2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38" name="Oval 37">
            <a:extLst>
              <a:ext uri="{FF2B5EF4-FFF2-40B4-BE49-F238E27FC236}">
                <a16:creationId xmlns:a16="http://schemas.microsoft.com/office/drawing/2014/main" id="{68780603-28BE-F25D-E33A-CCACA33BCB39}"/>
              </a:ext>
              <a:ext uri="{C183D7F6-B498-43B3-948B-1728B52AA6E4}">
                <adec:decorative xmlns:adec="http://schemas.microsoft.com/office/drawing/2017/decorative" val="1"/>
              </a:ext>
            </a:extLst>
          </p:cNvPr>
          <p:cNvSpPr/>
          <p:nvPr/>
        </p:nvSpPr>
        <p:spPr>
          <a:xfrm>
            <a:off x="6979796" y="4566553"/>
            <a:ext cx="482603" cy="482603"/>
          </a:xfrm>
          <a:prstGeom prst="ellipse">
            <a:avLst/>
          </a:prstGeom>
          <a:solidFill>
            <a:srgbClr val="7F7F7F"/>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39" name="Oval 38">
            <a:extLst>
              <a:ext uri="{FF2B5EF4-FFF2-40B4-BE49-F238E27FC236}">
                <a16:creationId xmlns:a16="http://schemas.microsoft.com/office/drawing/2014/main" id="{64BF6B0D-C8D1-7EEA-B697-C8547C66B24F}"/>
              </a:ext>
              <a:ext uri="{C183D7F6-B498-43B3-948B-1728B52AA6E4}">
                <adec:decorative xmlns:adec="http://schemas.microsoft.com/office/drawing/2017/decorative" val="1"/>
              </a:ext>
            </a:extLst>
          </p:cNvPr>
          <p:cNvSpPr/>
          <p:nvPr/>
        </p:nvSpPr>
        <p:spPr>
          <a:xfrm>
            <a:off x="6979796" y="5236976"/>
            <a:ext cx="482603" cy="482603"/>
          </a:xfrm>
          <a:prstGeom prst="ellipse">
            <a:avLst/>
          </a:prstGeom>
          <a:solidFill>
            <a:srgbClr val="A6A6A6"/>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grpSp>
        <p:nvGrpSpPr>
          <p:cNvPr id="40" name="Group 39" descr="This is an icon of money.">
            <a:extLst>
              <a:ext uri="{FF2B5EF4-FFF2-40B4-BE49-F238E27FC236}">
                <a16:creationId xmlns:a16="http://schemas.microsoft.com/office/drawing/2014/main" id="{810D0074-E7B2-7865-382C-6A6E8A338F1F}"/>
              </a:ext>
            </a:extLst>
          </p:cNvPr>
          <p:cNvGrpSpPr/>
          <p:nvPr/>
        </p:nvGrpSpPr>
        <p:grpSpPr>
          <a:xfrm>
            <a:off x="7138554" y="4029772"/>
            <a:ext cx="165086" cy="166002"/>
            <a:chOff x="7340467" y="3286760"/>
            <a:chExt cx="285750" cy="287338"/>
          </a:xfrm>
          <a:solidFill>
            <a:schemeClr val="bg1"/>
          </a:solidFill>
        </p:grpSpPr>
        <p:sp>
          <p:nvSpPr>
            <p:cNvPr id="41" name="Freeform 497">
              <a:extLst>
                <a:ext uri="{FF2B5EF4-FFF2-40B4-BE49-F238E27FC236}">
                  <a16:creationId xmlns:a16="http://schemas.microsoft.com/office/drawing/2014/main" id="{6BC95FC3-857B-2AA4-48E0-B386E53B18FC}"/>
                </a:ext>
              </a:extLst>
            </p:cNvPr>
            <p:cNvSpPr>
              <a:spLocks/>
            </p:cNvSpPr>
            <p:nvPr/>
          </p:nvSpPr>
          <p:spPr bwMode="auto">
            <a:xfrm>
              <a:off x="7340467" y="3286760"/>
              <a:ext cx="285750" cy="182563"/>
            </a:xfrm>
            <a:custGeom>
              <a:avLst/>
              <a:gdLst>
                <a:gd name="T0" fmla="*/ 0 w 903"/>
                <a:gd name="T1" fmla="*/ 0 h 573"/>
                <a:gd name="T2" fmla="*/ 0 w 903"/>
                <a:gd name="T3" fmla="*/ 467 h 573"/>
                <a:gd name="T4" fmla="*/ 1 w 903"/>
                <a:gd name="T5" fmla="*/ 459 h 573"/>
                <a:gd name="T6" fmla="*/ 2 w 903"/>
                <a:gd name="T7" fmla="*/ 453 h 573"/>
                <a:gd name="T8" fmla="*/ 5 w 903"/>
                <a:gd name="T9" fmla="*/ 446 h 573"/>
                <a:gd name="T10" fmla="*/ 8 w 903"/>
                <a:gd name="T11" fmla="*/ 440 h 573"/>
                <a:gd name="T12" fmla="*/ 12 w 903"/>
                <a:gd name="T13" fmla="*/ 434 h 573"/>
                <a:gd name="T14" fmla="*/ 18 w 903"/>
                <a:gd name="T15" fmla="*/ 428 h 573"/>
                <a:gd name="T16" fmla="*/ 23 w 903"/>
                <a:gd name="T17" fmla="*/ 423 h 573"/>
                <a:gd name="T18" fmla="*/ 30 w 903"/>
                <a:gd name="T19" fmla="*/ 419 h 573"/>
                <a:gd name="T20" fmla="*/ 30 w 903"/>
                <a:gd name="T21" fmla="*/ 30 h 573"/>
                <a:gd name="T22" fmla="*/ 873 w 903"/>
                <a:gd name="T23" fmla="*/ 30 h 573"/>
                <a:gd name="T24" fmla="*/ 873 w 903"/>
                <a:gd name="T25" fmla="*/ 543 h 573"/>
                <a:gd name="T26" fmla="*/ 481 w 903"/>
                <a:gd name="T27" fmla="*/ 543 h 573"/>
                <a:gd name="T28" fmla="*/ 481 w 903"/>
                <a:gd name="T29" fmla="*/ 573 h 573"/>
                <a:gd name="T30" fmla="*/ 903 w 903"/>
                <a:gd name="T31" fmla="*/ 573 h 573"/>
                <a:gd name="T32" fmla="*/ 903 w 903"/>
                <a:gd name="T33" fmla="*/ 0 h 573"/>
                <a:gd name="T34" fmla="*/ 0 w 903"/>
                <a:gd name="T35"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3" h="573">
                  <a:moveTo>
                    <a:pt x="0" y="0"/>
                  </a:moveTo>
                  <a:lnTo>
                    <a:pt x="0" y="467"/>
                  </a:lnTo>
                  <a:lnTo>
                    <a:pt x="1" y="459"/>
                  </a:lnTo>
                  <a:lnTo>
                    <a:pt x="2" y="453"/>
                  </a:lnTo>
                  <a:lnTo>
                    <a:pt x="5" y="446"/>
                  </a:lnTo>
                  <a:lnTo>
                    <a:pt x="8" y="440"/>
                  </a:lnTo>
                  <a:lnTo>
                    <a:pt x="12" y="434"/>
                  </a:lnTo>
                  <a:lnTo>
                    <a:pt x="18" y="428"/>
                  </a:lnTo>
                  <a:lnTo>
                    <a:pt x="23" y="423"/>
                  </a:lnTo>
                  <a:lnTo>
                    <a:pt x="30" y="419"/>
                  </a:lnTo>
                  <a:lnTo>
                    <a:pt x="30" y="30"/>
                  </a:lnTo>
                  <a:lnTo>
                    <a:pt x="873" y="30"/>
                  </a:lnTo>
                  <a:lnTo>
                    <a:pt x="873" y="543"/>
                  </a:lnTo>
                  <a:lnTo>
                    <a:pt x="481" y="543"/>
                  </a:lnTo>
                  <a:lnTo>
                    <a:pt x="481" y="573"/>
                  </a:lnTo>
                  <a:lnTo>
                    <a:pt x="903" y="573"/>
                  </a:lnTo>
                  <a:lnTo>
                    <a:pt x="903" y="0"/>
                  </a:ln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sp>
          <p:nvSpPr>
            <p:cNvPr id="42" name="Freeform 498">
              <a:extLst>
                <a:ext uri="{FF2B5EF4-FFF2-40B4-BE49-F238E27FC236}">
                  <a16:creationId xmlns:a16="http://schemas.microsoft.com/office/drawing/2014/main" id="{B07CCC0D-1B09-0285-F866-7BB4D3685599}"/>
                </a:ext>
              </a:extLst>
            </p:cNvPr>
            <p:cNvSpPr>
              <a:spLocks noEditPoints="1"/>
            </p:cNvSpPr>
            <p:nvPr/>
          </p:nvSpPr>
          <p:spPr bwMode="auto">
            <a:xfrm>
              <a:off x="7369042" y="3315335"/>
              <a:ext cx="228600" cy="125413"/>
            </a:xfrm>
            <a:custGeom>
              <a:avLst/>
              <a:gdLst>
                <a:gd name="T0" fmla="*/ 330 w 723"/>
                <a:gd name="T1" fmla="*/ 283 h 392"/>
                <a:gd name="T2" fmla="*/ 295 w 723"/>
                <a:gd name="T3" fmla="*/ 263 h 392"/>
                <a:gd name="T4" fmla="*/ 269 w 723"/>
                <a:gd name="T5" fmla="*/ 232 h 392"/>
                <a:gd name="T6" fmla="*/ 257 w 723"/>
                <a:gd name="T7" fmla="*/ 192 h 392"/>
                <a:gd name="T8" fmla="*/ 260 w 723"/>
                <a:gd name="T9" fmla="*/ 151 h 392"/>
                <a:gd name="T10" fmla="*/ 281 w 723"/>
                <a:gd name="T11" fmla="*/ 115 h 392"/>
                <a:gd name="T12" fmla="*/ 312 w 723"/>
                <a:gd name="T13" fmla="*/ 90 h 392"/>
                <a:gd name="T14" fmla="*/ 350 w 723"/>
                <a:gd name="T15" fmla="*/ 77 h 392"/>
                <a:gd name="T16" fmla="*/ 392 w 723"/>
                <a:gd name="T17" fmla="*/ 81 h 392"/>
                <a:gd name="T18" fmla="*/ 429 w 723"/>
                <a:gd name="T19" fmla="*/ 100 h 392"/>
                <a:gd name="T20" fmla="*/ 454 w 723"/>
                <a:gd name="T21" fmla="*/ 131 h 392"/>
                <a:gd name="T22" fmla="*/ 466 w 723"/>
                <a:gd name="T23" fmla="*/ 171 h 392"/>
                <a:gd name="T24" fmla="*/ 462 w 723"/>
                <a:gd name="T25" fmla="*/ 213 h 392"/>
                <a:gd name="T26" fmla="*/ 443 w 723"/>
                <a:gd name="T27" fmla="*/ 248 h 392"/>
                <a:gd name="T28" fmla="*/ 412 w 723"/>
                <a:gd name="T29" fmla="*/ 274 h 392"/>
                <a:gd name="T30" fmla="*/ 372 w 723"/>
                <a:gd name="T31" fmla="*/ 287 h 392"/>
                <a:gd name="T32" fmla="*/ 96 w 723"/>
                <a:gd name="T33" fmla="*/ 151 h 392"/>
                <a:gd name="T34" fmla="*/ 68 w 723"/>
                <a:gd name="T35" fmla="*/ 131 h 392"/>
                <a:gd name="T36" fmla="*/ 61 w 723"/>
                <a:gd name="T37" fmla="*/ 97 h 392"/>
                <a:gd name="T38" fmla="*/ 80 w 723"/>
                <a:gd name="T39" fmla="*/ 69 h 392"/>
                <a:gd name="T40" fmla="*/ 114 w 723"/>
                <a:gd name="T41" fmla="*/ 63 h 392"/>
                <a:gd name="T42" fmla="*/ 143 w 723"/>
                <a:gd name="T43" fmla="*/ 81 h 392"/>
                <a:gd name="T44" fmla="*/ 150 w 723"/>
                <a:gd name="T45" fmla="*/ 115 h 392"/>
                <a:gd name="T46" fmla="*/ 131 w 723"/>
                <a:gd name="T47" fmla="*/ 144 h 392"/>
                <a:gd name="T48" fmla="*/ 106 w 723"/>
                <a:gd name="T49" fmla="*/ 152 h 392"/>
                <a:gd name="T50" fmla="*/ 642 w 723"/>
                <a:gd name="T51" fmla="*/ 249 h 392"/>
                <a:gd name="T52" fmla="*/ 661 w 723"/>
                <a:gd name="T53" fmla="*/ 278 h 392"/>
                <a:gd name="T54" fmla="*/ 655 w 723"/>
                <a:gd name="T55" fmla="*/ 313 h 392"/>
                <a:gd name="T56" fmla="*/ 626 w 723"/>
                <a:gd name="T57" fmla="*/ 331 h 392"/>
                <a:gd name="T58" fmla="*/ 592 w 723"/>
                <a:gd name="T59" fmla="*/ 324 h 392"/>
                <a:gd name="T60" fmla="*/ 573 w 723"/>
                <a:gd name="T61" fmla="*/ 297 h 392"/>
                <a:gd name="T62" fmla="*/ 580 w 723"/>
                <a:gd name="T63" fmla="*/ 262 h 392"/>
                <a:gd name="T64" fmla="*/ 608 w 723"/>
                <a:gd name="T65" fmla="*/ 243 h 392"/>
                <a:gd name="T66" fmla="*/ 669 w 723"/>
                <a:gd name="T67" fmla="*/ 392 h 392"/>
                <a:gd name="T68" fmla="*/ 691 w 723"/>
                <a:gd name="T69" fmla="*/ 386 h 392"/>
                <a:gd name="T70" fmla="*/ 709 w 723"/>
                <a:gd name="T71" fmla="*/ 371 h 392"/>
                <a:gd name="T72" fmla="*/ 720 w 723"/>
                <a:gd name="T73" fmla="*/ 350 h 392"/>
                <a:gd name="T74" fmla="*/ 723 w 723"/>
                <a:gd name="T75" fmla="*/ 62 h 392"/>
                <a:gd name="T76" fmla="*/ 718 w 723"/>
                <a:gd name="T77" fmla="*/ 38 h 392"/>
                <a:gd name="T78" fmla="*/ 705 w 723"/>
                <a:gd name="T79" fmla="*/ 19 h 392"/>
                <a:gd name="T80" fmla="*/ 686 w 723"/>
                <a:gd name="T81" fmla="*/ 6 h 392"/>
                <a:gd name="T82" fmla="*/ 663 w 723"/>
                <a:gd name="T83" fmla="*/ 2 h 392"/>
                <a:gd name="T84" fmla="*/ 43 w 723"/>
                <a:gd name="T85" fmla="*/ 4 h 392"/>
                <a:gd name="T86" fmla="*/ 22 w 723"/>
                <a:gd name="T87" fmla="*/ 14 h 392"/>
                <a:gd name="T88" fmla="*/ 7 w 723"/>
                <a:gd name="T89" fmla="*/ 33 h 392"/>
                <a:gd name="T90" fmla="*/ 1 w 723"/>
                <a:gd name="T91" fmla="*/ 55 h 392"/>
                <a:gd name="T92" fmla="*/ 46 w 723"/>
                <a:gd name="T93" fmla="*/ 294 h 392"/>
                <a:gd name="T94" fmla="*/ 151 w 723"/>
                <a:gd name="T95" fmla="*/ 287 h 392"/>
                <a:gd name="T96" fmla="*/ 244 w 723"/>
                <a:gd name="T97" fmla="*/ 293 h 392"/>
                <a:gd name="T98" fmla="*/ 326 w 723"/>
                <a:gd name="T99" fmla="*/ 312 h 392"/>
                <a:gd name="T100" fmla="*/ 373 w 723"/>
                <a:gd name="T101" fmla="*/ 337 h 392"/>
                <a:gd name="T102" fmla="*/ 389 w 723"/>
                <a:gd name="T103" fmla="*/ 36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3" h="392">
                  <a:moveTo>
                    <a:pt x="361" y="287"/>
                  </a:moveTo>
                  <a:lnTo>
                    <a:pt x="350" y="287"/>
                  </a:lnTo>
                  <a:lnTo>
                    <a:pt x="341" y="285"/>
                  </a:lnTo>
                  <a:lnTo>
                    <a:pt x="330" y="283"/>
                  </a:lnTo>
                  <a:lnTo>
                    <a:pt x="320" y="278"/>
                  </a:lnTo>
                  <a:lnTo>
                    <a:pt x="312" y="274"/>
                  </a:lnTo>
                  <a:lnTo>
                    <a:pt x="302" y="269"/>
                  </a:lnTo>
                  <a:lnTo>
                    <a:pt x="295" y="263"/>
                  </a:lnTo>
                  <a:lnTo>
                    <a:pt x="287" y="256"/>
                  </a:lnTo>
                  <a:lnTo>
                    <a:pt x="281" y="248"/>
                  </a:lnTo>
                  <a:lnTo>
                    <a:pt x="274" y="241"/>
                  </a:lnTo>
                  <a:lnTo>
                    <a:pt x="269" y="232"/>
                  </a:lnTo>
                  <a:lnTo>
                    <a:pt x="265" y="223"/>
                  </a:lnTo>
                  <a:lnTo>
                    <a:pt x="260" y="213"/>
                  </a:lnTo>
                  <a:lnTo>
                    <a:pt x="258" y="203"/>
                  </a:lnTo>
                  <a:lnTo>
                    <a:pt x="257" y="192"/>
                  </a:lnTo>
                  <a:lnTo>
                    <a:pt x="256" y="182"/>
                  </a:lnTo>
                  <a:lnTo>
                    <a:pt x="257" y="171"/>
                  </a:lnTo>
                  <a:lnTo>
                    <a:pt x="258" y="160"/>
                  </a:lnTo>
                  <a:lnTo>
                    <a:pt x="260" y="151"/>
                  </a:lnTo>
                  <a:lnTo>
                    <a:pt x="265" y="141"/>
                  </a:lnTo>
                  <a:lnTo>
                    <a:pt x="269" y="131"/>
                  </a:lnTo>
                  <a:lnTo>
                    <a:pt x="274" y="123"/>
                  </a:lnTo>
                  <a:lnTo>
                    <a:pt x="281" y="115"/>
                  </a:lnTo>
                  <a:lnTo>
                    <a:pt x="287" y="108"/>
                  </a:lnTo>
                  <a:lnTo>
                    <a:pt x="295" y="100"/>
                  </a:lnTo>
                  <a:lnTo>
                    <a:pt x="302" y="95"/>
                  </a:lnTo>
                  <a:lnTo>
                    <a:pt x="312" y="90"/>
                  </a:lnTo>
                  <a:lnTo>
                    <a:pt x="320" y="84"/>
                  </a:lnTo>
                  <a:lnTo>
                    <a:pt x="330" y="81"/>
                  </a:lnTo>
                  <a:lnTo>
                    <a:pt x="341" y="79"/>
                  </a:lnTo>
                  <a:lnTo>
                    <a:pt x="350" y="77"/>
                  </a:lnTo>
                  <a:lnTo>
                    <a:pt x="361" y="77"/>
                  </a:lnTo>
                  <a:lnTo>
                    <a:pt x="372" y="77"/>
                  </a:lnTo>
                  <a:lnTo>
                    <a:pt x="383" y="79"/>
                  </a:lnTo>
                  <a:lnTo>
                    <a:pt x="392" y="81"/>
                  </a:lnTo>
                  <a:lnTo>
                    <a:pt x="403" y="84"/>
                  </a:lnTo>
                  <a:lnTo>
                    <a:pt x="412" y="90"/>
                  </a:lnTo>
                  <a:lnTo>
                    <a:pt x="420" y="95"/>
                  </a:lnTo>
                  <a:lnTo>
                    <a:pt x="429" y="100"/>
                  </a:lnTo>
                  <a:lnTo>
                    <a:pt x="436" y="108"/>
                  </a:lnTo>
                  <a:lnTo>
                    <a:pt x="443" y="115"/>
                  </a:lnTo>
                  <a:lnTo>
                    <a:pt x="449" y="123"/>
                  </a:lnTo>
                  <a:lnTo>
                    <a:pt x="454" y="131"/>
                  </a:lnTo>
                  <a:lnTo>
                    <a:pt x="459" y="141"/>
                  </a:lnTo>
                  <a:lnTo>
                    <a:pt x="462" y="151"/>
                  </a:lnTo>
                  <a:lnTo>
                    <a:pt x="465" y="160"/>
                  </a:lnTo>
                  <a:lnTo>
                    <a:pt x="466" y="171"/>
                  </a:lnTo>
                  <a:lnTo>
                    <a:pt x="467" y="182"/>
                  </a:lnTo>
                  <a:lnTo>
                    <a:pt x="466" y="192"/>
                  </a:lnTo>
                  <a:lnTo>
                    <a:pt x="465" y="203"/>
                  </a:lnTo>
                  <a:lnTo>
                    <a:pt x="462" y="213"/>
                  </a:lnTo>
                  <a:lnTo>
                    <a:pt x="459" y="223"/>
                  </a:lnTo>
                  <a:lnTo>
                    <a:pt x="454" y="232"/>
                  </a:lnTo>
                  <a:lnTo>
                    <a:pt x="449" y="241"/>
                  </a:lnTo>
                  <a:lnTo>
                    <a:pt x="443" y="248"/>
                  </a:lnTo>
                  <a:lnTo>
                    <a:pt x="436" y="256"/>
                  </a:lnTo>
                  <a:lnTo>
                    <a:pt x="429" y="263"/>
                  </a:lnTo>
                  <a:lnTo>
                    <a:pt x="420" y="269"/>
                  </a:lnTo>
                  <a:lnTo>
                    <a:pt x="412" y="274"/>
                  </a:lnTo>
                  <a:lnTo>
                    <a:pt x="403" y="278"/>
                  </a:lnTo>
                  <a:lnTo>
                    <a:pt x="392" y="283"/>
                  </a:lnTo>
                  <a:lnTo>
                    <a:pt x="383" y="285"/>
                  </a:lnTo>
                  <a:lnTo>
                    <a:pt x="372" y="287"/>
                  </a:lnTo>
                  <a:lnTo>
                    <a:pt x="361" y="287"/>
                  </a:lnTo>
                  <a:lnTo>
                    <a:pt x="361" y="287"/>
                  </a:lnTo>
                  <a:close/>
                  <a:moveTo>
                    <a:pt x="106" y="152"/>
                  </a:moveTo>
                  <a:lnTo>
                    <a:pt x="96" y="151"/>
                  </a:lnTo>
                  <a:lnTo>
                    <a:pt x="88" y="149"/>
                  </a:lnTo>
                  <a:lnTo>
                    <a:pt x="80" y="144"/>
                  </a:lnTo>
                  <a:lnTo>
                    <a:pt x="74" y="139"/>
                  </a:lnTo>
                  <a:lnTo>
                    <a:pt x="68" y="131"/>
                  </a:lnTo>
                  <a:lnTo>
                    <a:pt x="64" y="124"/>
                  </a:lnTo>
                  <a:lnTo>
                    <a:pt x="61" y="115"/>
                  </a:lnTo>
                  <a:lnTo>
                    <a:pt x="61" y="107"/>
                  </a:lnTo>
                  <a:lnTo>
                    <a:pt x="61" y="97"/>
                  </a:lnTo>
                  <a:lnTo>
                    <a:pt x="64" y="88"/>
                  </a:lnTo>
                  <a:lnTo>
                    <a:pt x="68" y="81"/>
                  </a:lnTo>
                  <a:lnTo>
                    <a:pt x="74" y="74"/>
                  </a:lnTo>
                  <a:lnTo>
                    <a:pt x="80" y="69"/>
                  </a:lnTo>
                  <a:lnTo>
                    <a:pt x="88" y="65"/>
                  </a:lnTo>
                  <a:lnTo>
                    <a:pt x="96" y="63"/>
                  </a:lnTo>
                  <a:lnTo>
                    <a:pt x="106" y="62"/>
                  </a:lnTo>
                  <a:lnTo>
                    <a:pt x="114" y="63"/>
                  </a:lnTo>
                  <a:lnTo>
                    <a:pt x="123" y="65"/>
                  </a:lnTo>
                  <a:lnTo>
                    <a:pt x="131" y="69"/>
                  </a:lnTo>
                  <a:lnTo>
                    <a:pt x="137" y="74"/>
                  </a:lnTo>
                  <a:lnTo>
                    <a:pt x="143" y="81"/>
                  </a:lnTo>
                  <a:lnTo>
                    <a:pt x="147" y="88"/>
                  </a:lnTo>
                  <a:lnTo>
                    <a:pt x="150" y="97"/>
                  </a:lnTo>
                  <a:lnTo>
                    <a:pt x="151" y="107"/>
                  </a:lnTo>
                  <a:lnTo>
                    <a:pt x="150" y="115"/>
                  </a:lnTo>
                  <a:lnTo>
                    <a:pt x="148" y="124"/>
                  </a:lnTo>
                  <a:lnTo>
                    <a:pt x="143" y="131"/>
                  </a:lnTo>
                  <a:lnTo>
                    <a:pt x="137" y="139"/>
                  </a:lnTo>
                  <a:lnTo>
                    <a:pt x="131" y="144"/>
                  </a:lnTo>
                  <a:lnTo>
                    <a:pt x="123" y="149"/>
                  </a:lnTo>
                  <a:lnTo>
                    <a:pt x="114" y="151"/>
                  </a:lnTo>
                  <a:lnTo>
                    <a:pt x="106" y="152"/>
                  </a:lnTo>
                  <a:lnTo>
                    <a:pt x="106" y="152"/>
                  </a:lnTo>
                  <a:close/>
                  <a:moveTo>
                    <a:pt x="617" y="242"/>
                  </a:moveTo>
                  <a:lnTo>
                    <a:pt x="626" y="243"/>
                  </a:lnTo>
                  <a:lnTo>
                    <a:pt x="635" y="245"/>
                  </a:lnTo>
                  <a:lnTo>
                    <a:pt x="642" y="249"/>
                  </a:lnTo>
                  <a:lnTo>
                    <a:pt x="650" y="255"/>
                  </a:lnTo>
                  <a:lnTo>
                    <a:pt x="655" y="262"/>
                  </a:lnTo>
                  <a:lnTo>
                    <a:pt x="659" y="270"/>
                  </a:lnTo>
                  <a:lnTo>
                    <a:pt x="661" y="278"/>
                  </a:lnTo>
                  <a:lnTo>
                    <a:pt x="663" y="287"/>
                  </a:lnTo>
                  <a:lnTo>
                    <a:pt x="661" y="297"/>
                  </a:lnTo>
                  <a:lnTo>
                    <a:pt x="659" y="305"/>
                  </a:lnTo>
                  <a:lnTo>
                    <a:pt x="655" y="313"/>
                  </a:lnTo>
                  <a:lnTo>
                    <a:pt x="650" y="319"/>
                  </a:lnTo>
                  <a:lnTo>
                    <a:pt x="642" y="324"/>
                  </a:lnTo>
                  <a:lnTo>
                    <a:pt x="635" y="329"/>
                  </a:lnTo>
                  <a:lnTo>
                    <a:pt x="626" y="331"/>
                  </a:lnTo>
                  <a:lnTo>
                    <a:pt x="617" y="332"/>
                  </a:lnTo>
                  <a:lnTo>
                    <a:pt x="608" y="331"/>
                  </a:lnTo>
                  <a:lnTo>
                    <a:pt x="600" y="329"/>
                  </a:lnTo>
                  <a:lnTo>
                    <a:pt x="592" y="324"/>
                  </a:lnTo>
                  <a:lnTo>
                    <a:pt x="585" y="319"/>
                  </a:lnTo>
                  <a:lnTo>
                    <a:pt x="580" y="313"/>
                  </a:lnTo>
                  <a:lnTo>
                    <a:pt x="576" y="305"/>
                  </a:lnTo>
                  <a:lnTo>
                    <a:pt x="573" y="297"/>
                  </a:lnTo>
                  <a:lnTo>
                    <a:pt x="572" y="287"/>
                  </a:lnTo>
                  <a:lnTo>
                    <a:pt x="573" y="278"/>
                  </a:lnTo>
                  <a:lnTo>
                    <a:pt x="576" y="270"/>
                  </a:lnTo>
                  <a:lnTo>
                    <a:pt x="580" y="262"/>
                  </a:lnTo>
                  <a:lnTo>
                    <a:pt x="585" y="255"/>
                  </a:lnTo>
                  <a:lnTo>
                    <a:pt x="592" y="249"/>
                  </a:lnTo>
                  <a:lnTo>
                    <a:pt x="600" y="245"/>
                  </a:lnTo>
                  <a:lnTo>
                    <a:pt x="608" y="243"/>
                  </a:lnTo>
                  <a:lnTo>
                    <a:pt x="617" y="242"/>
                  </a:lnTo>
                  <a:close/>
                  <a:moveTo>
                    <a:pt x="391" y="392"/>
                  </a:moveTo>
                  <a:lnTo>
                    <a:pt x="663" y="392"/>
                  </a:lnTo>
                  <a:lnTo>
                    <a:pt x="669" y="392"/>
                  </a:lnTo>
                  <a:lnTo>
                    <a:pt x="674" y="391"/>
                  </a:lnTo>
                  <a:lnTo>
                    <a:pt x="681" y="390"/>
                  </a:lnTo>
                  <a:lnTo>
                    <a:pt x="686" y="388"/>
                  </a:lnTo>
                  <a:lnTo>
                    <a:pt x="691" y="386"/>
                  </a:lnTo>
                  <a:lnTo>
                    <a:pt x="697" y="382"/>
                  </a:lnTo>
                  <a:lnTo>
                    <a:pt x="701" y="379"/>
                  </a:lnTo>
                  <a:lnTo>
                    <a:pt x="705" y="375"/>
                  </a:lnTo>
                  <a:lnTo>
                    <a:pt x="709" y="371"/>
                  </a:lnTo>
                  <a:lnTo>
                    <a:pt x="713" y="366"/>
                  </a:lnTo>
                  <a:lnTo>
                    <a:pt x="715" y="361"/>
                  </a:lnTo>
                  <a:lnTo>
                    <a:pt x="718" y="356"/>
                  </a:lnTo>
                  <a:lnTo>
                    <a:pt x="720" y="350"/>
                  </a:lnTo>
                  <a:lnTo>
                    <a:pt x="721" y="345"/>
                  </a:lnTo>
                  <a:lnTo>
                    <a:pt x="723" y="338"/>
                  </a:lnTo>
                  <a:lnTo>
                    <a:pt x="723" y="332"/>
                  </a:lnTo>
                  <a:lnTo>
                    <a:pt x="723" y="62"/>
                  </a:lnTo>
                  <a:lnTo>
                    <a:pt x="723" y="55"/>
                  </a:lnTo>
                  <a:lnTo>
                    <a:pt x="721" y="49"/>
                  </a:lnTo>
                  <a:lnTo>
                    <a:pt x="720" y="43"/>
                  </a:lnTo>
                  <a:lnTo>
                    <a:pt x="718" y="38"/>
                  </a:lnTo>
                  <a:lnTo>
                    <a:pt x="715" y="33"/>
                  </a:lnTo>
                  <a:lnTo>
                    <a:pt x="713" y="27"/>
                  </a:lnTo>
                  <a:lnTo>
                    <a:pt x="709" y="23"/>
                  </a:lnTo>
                  <a:lnTo>
                    <a:pt x="705" y="19"/>
                  </a:lnTo>
                  <a:lnTo>
                    <a:pt x="701" y="14"/>
                  </a:lnTo>
                  <a:lnTo>
                    <a:pt x="697" y="11"/>
                  </a:lnTo>
                  <a:lnTo>
                    <a:pt x="691" y="8"/>
                  </a:lnTo>
                  <a:lnTo>
                    <a:pt x="686" y="6"/>
                  </a:lnTo>
                  <a:lnTo>
                    <a:pt x="681" y="4"/>
                  </a:lnTo>
                  <a:lnTo>
                    <a:pt x="674" y="3"/>
                  </a:lnTo>
                  <a:lnTo>
                    <a:pt x="669" y="2"/>
                  </a:lnTo>
                  <a:lnTo>
                    <a:pt x="663" y="2"/>
                  </a:lnTo>
                  <a:lnTo>
                    <a:pt x="61" y="0"/>
                  </a:lnTo>
                  <a:lnTo>
                    <a:pt x="54" y="2"/>
                  </a:lnTo>
                  <a:lnTo>
                    <a:pt x="48" y="3"/>
                  </a:lnTo>
                  <a:lnTo>
                    <a:pt x="43" y="4"/>
                  </a:lnTo>
                  <a:lnTo>
                    <a:pt x="37" y="6"/>
                  </a:lnTo>
                  <a:lnTo>
                    <a:pt x="32" y="8"/>
                  </a:lnTo>
                  <a:lnTo>
                    <a:pt x="27" y="11"/>
                  </a:lnTo>
                  <a:lnTo>
                    <a:pt x="22" y="14"/>
                  </a:lnTo>
                  <a:lnTo>
                    <a:pt x="18" y="19"/>
                  </a:lnTo>
                  <a:lnTo>
                    <a:pt x="14" y="23"/>
                  </a:lnTo>
                  <a:lnTo>
                    <a:pt x="10" y="27"/>
                  </a:lnTo>
                  <a:lnTo>
                    <a:pt x="7" y="33"/>
                  </a:lnTo>
                  <a:lnTo>
                    <a:pt x="5" y="38"/>
                  </a:lnTo>
                  <a:lnTo>
                    <a:pt x="3" y="43"/>
                  </a:lnTo>
                  <a:lnTo>
                    <a:pt x="2" y="49"/>
                  </a:lnTo>
                  <a:lnTo>
                    <a:pt x="1" y="55"/>
                  </a:lnTo>
                  <a:lnTo>
                    <a:pt x="0" y="62"/>
                  </a:lnTo>
                  <a:lnTo>
                    <a:pt x="0" y="304"/>
                  </a:lnTo>
                  <a:lnTo>
                    <a:pt x="22" y="299"/>
                  </a:lnTo>
                  <a:lnTo>
                    <a:pt x="46" y="294"/>
                  </a:lnTo>
                  <a:lnTo>
                    <a:pt x="68" y="291"/>
                  </a:lnTo>
                  <a:lnTo>
                    <a:pt x="90" y="290"/>
                  </a:lnTo>
                  <a:lnTo>
                    <a:pt x="126" y="288"/>
                  </a:lnTo>
                  <a:lnTo>
                    <a:pt x="151" y="287"/>
                  </a:lnTo>
                  <a:lnTo>
                    <a:pt x="172" y="288"/>
                  </a:lnTo>
                  <a:lnTo>
                    <a:pt x="206" y="289"/>
                  </a:lnTo>
                  <a:lnTo>
                    <a:pt x="225" y="291"/>
                  </a:lnTo>
                  <a:lnTo>
                    <a:pt x="244" y="293"/>
                  </a:lnTo>
                  <a:lnTo>
                    <a:pt x="266" y="297"/>
                  </a:lnTo>
                  <a:lnTo>
                    <a:pt x="286" y="300"/>
                  </a:lnTo>
                  <a:lnTo>
                    <a:pt x="306" y="305"/>
                  </a:lnTo>
                  <a:lnTo>
                    <a:pt x="326" y="312"/>
                  </a:lnTo>
                  <a:lnTo>
                    <a:pt x="344" y="318"/>
                  </a:lnTo>
                  <a:lnTo>
                    <a:pt x="360" y="327"/>
                  </a:lnTo>
                  <a:lnTo>
                    <a:pt x="366" y="332"/>
                  </a:lnTo>
                  <a:lnTo>
                    <a:pt x="373" y="337"/>
                  </a:lnTo>
                  <a:lnTo>
                    <a:pt x="378" y="343"/>
                  </a:lnTo>
                  <a:lnTo>
                    <a:pt x="383" y="349"/>
                  </a:lnTo>
                  <a:lnTo>
                    <a:pt x="387" y="356"/>
                  </a:lnTo>
                  <a:lnTo>
                    <a:pt x="389" y="362"/>
                  </a:lnTo>
                  <a:lnTo>
                    <a:pt x="391" y="369"/>
                  </a:lnTo>
                  <a:lnTo>
                    <a:pt x="391" y="377"/>
                  </a:lnTo>
                  <a:lnTo>
                    <a:pt x="391" y="392"/>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sp>
          <p:nvSpPr>
            <p:cNvPr id="43" name="Freeform 499">
              <a:extLst>
                <a:ext uri="{FF2B5EF4-FFF2-40B4-BE49-F238E27FC236}">
                  <a16:creationId xmlns:a16="http://schemas.microsoft.com/office/drawing/2014/main" id="{3C319E49-14EC-30A5-5AB4-1100D8BE5E0B}"/>
                </a:ext>
              </a:extLst>
            </p:cNvPr>
            <p:cNvSpPr>
              <a:spLocks/>
            </p:cNvSpPr>
            <p:nvPr/>
          </p:nvSpPr>
          <p:spPr bwMode="auto">
            <a:xfrm>
              <a:off x="7349992" y="3540760"/>
              <a:ext cx="133350" cy="33338"/>
            </a:xfrm>
            <a:custGeom>
              <a:avLst/>
              <a:gdLst>
                <a:gd name="T0" fmla="*/ 0 w 421"/>
                <a:gd name="T1" fmla="*/ 44 h 104"/>
                <a:gd name="T2" fmla="*/ 2 w 421"/>
                <a:gd name="T3" fmla="*/ 52 h 104"/>
                <a:gd name="T4" fmla="*/ 5 w 421"/>
                <a:gd name="T5" fmla="*/ 56 h 104"/>
                <a:gd name="T6" fmla="*/ 6 w 421"/>
                <a:gd name="T7" fmla="*/ 59 h 104"/>
                <a:gd name="T8" fmla="*/ 11 w 421"/>
                <a:gd name="T9" fmla="*/ 65 h 104"/>
                <a:gd name="T10" fmla="*/ 13 w 421"/>
                <a:gd name="T11" fmla="*/ 65 h 104"/>
                <a:gd name="T12" fmla="*/ 31 w 421"/>
                <a:gd name="T13" fmla="*/ 76 h 104"/>
                <a:gd name="T14" fmla="*/ 32 w 421"/>
                <a:gd name="T15" fmla="*/ 77 h 104"/>
                <a:gd name="T16" fmla="*/ 41 w 421"/>
                <a:gd name="T17" fmla="*/ 80 h 104"/>
                <a:gd name="T18" fmla="*/ 45 w 421"/>
                <a:gd name="T19" fmla="*/ 81 h 104"/>
                <a:gd name="T20" fmla="*/ 53 w 421"/>
                <a:gd name="T21" fmla="*/ 84 h 104"/>
                <a:gd name="T22" fmla="*/ 61 w 421"/>
                <a:gd name="T23" fmla="*/ 86 h 104"/>
                <a:gd name="T24" fmla="*/ 66 w 421"/>
                <a:gd name="T25" fmla="*/ 87 h 104"/>
                <a:gd name="T26" fmla="*/ 98 w 421"/>
                <a:gd name="T27" fmla="*/ 95 h 104"/>
                <a:gd name="T28" fmla="*/ 133 w 421"/>
                <a:gd name="T29" fmla="*/ 99 h 104"/>
                <a:gd name="T30" fmla="*/ 197 w 421"/>
                <a:gd name="T31" fmla="*/ 104 h 104"/>
                <a:gd name="T32" fmla="*/ 211 w 421"/>
                <a:gd name="T33" fmla="*/ 104 h 104"/>
                <a:gd name="T34" fmla="*/ 225 w 421"/>
                <a:gd name="T35" fmla="*/ 104 h 104"/>
                <a:gd name="T36" fmla="*/ 289 w 421"/>
                <a:gd name="T37" fmla="*/ 99 h 104"/>
                <a:gd name="T38" fmla="*/ 322 w 421"/>
                <a:gd name="T39" fmla="*/ 95 h 104"/>
                <a:gd name="T40" fmla="*/ 356 w 421"/>
                <a:gd name="T41" fmla="*/ 87 h 104"/>
                <a:gd name="T42" fmla="*/ 360 w 421"/>
                <a:gd name="T43" fmla="*/ 86 h 104"/>
                <a:gd name="T44" fmla="*/ 368 w 421"/>
                <a:gd name="T45" fmla="*/ 84 h 104"/>
                <a:gd name="T46" fmla="*/ 376 w 421"/>
                <a:gd name="T47" fmla="*/ 81 h 104"/>
                <a:gd name="T48" fmla="*/ 379 w 421"/>
                <a:gd name="T49" fmla="*/ 80 h 104"/>
                <a:gd name="T50" fmla="*/ 390 w 421"/>
                <a:gd name="T51" fmla="*/ 77 h 104"/>
                <a:gd name="T52" fmla="*/ 391 w 421"/>
                <a:gd name="T53" fmla="*/ 76 h 104"/>
                <a:gd name="T54" fmla="*/ 409 w 421"/>
                <a:gd name="T55" fmla="*/ 65 h 104"/>
                <a:gd name="T56" fmla="*/ 409 w 421"/>
                <a:gd name="T57" fmla="*/ 65 h 104"/>
                <a:gd name="T58" fmla="*/ 416 w 421"/>
                <a:gd name="T59" fmla="*/ 59 h 104"/>
                <a:gd name="T60" fmla="*/ 417 w 421"/>
                <a:gd name="T61" fmla="*/ 56 h 104"/>
                <a:gd name="T62" fmla="*/ 420 w 421"/>
                <a:gd name="T63" fmla="*/ 52 h 104"/>
                <a:gd name="T64" fmla="*/ 421 w 421"/>
                <a:gd name="T65" fmla="*/ 44 h 104"/>
                <a:gd name="T66" fmla="*/ 410 w 421"/>
                <a:gd name="T67" fmla="*/ 4 h 104"/>
                <a:gd name="T68" fmla="*/ 386 w 421"/>
                <a:gd name="T69" fmla="*/ 10 h 104"/>
                <a:gd name="T70" fmla="*/ 344 w 421"/>
                <a:gd name="T71" fmla="*/ 19 h 104"/>
                <a:gd name="T72" fmla="*/ 284 w 421"/>
                <a:gd name="T73" fmla="*/ 25 h 104"/>
                <a:gd name="T74" fmla="*/ 231 w 421"/>
                <a:gd name="T75" fmla="*/ 28 h 104"/>
                <a:gd name="T76" fmla="*/ 191 w 421"/>
                <a:gd name="T77" fmla="*/ 28 h 104"/>
                <a:gd name="T78" fmla="*/ 138 w 421"/>
                <a:gd name="T79" fmla="*/ 25 h 104"/>
                <a:gd name="T80" fmla="*/ 78 w 421"/>
                <a:gd name="T81" fmla="*/ 19 h 104"/>
                <a:gd name="T82" fmla="*/ 35 w 421"/>
                <a:gd name="T83" fmla="*/ 10 h 104"/>
                <a:gd name="T84" fmla="*/ 10 w 421"/>
                <a:gd name="T85" fmla="*/ 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1" h="104">
                  <a:moveTo>
                    <a:pt x="0" y="0"/>
                  </a:moveTo>
                  <a:lnTo>
                    <a:pt x="0" y="44"/>
                  </a:lnTo>
                  <a:lnTo>
                    <a:pt x="1" y="48"/>
                  </a:lnTo>
                  <a:lnTo>
                    <a:pt x="2" y="52"/>
                  </a:lnTo>
                  <a:lnTo>
                    <a:pt x="3" y="54"/>
                  </a:lnTo>
                  <a:lnTo>
                    <a:pt x="5" y="56"/>
                  </a:lnTo>
                  <a:lnTo>
                    <a:pt x="5" y="57"/>
                  </a:lnTo>
                  <a:lnTo>
                    <a:pt x="6" y="59"/>
                  </a:lnTo>
                  <a:lnTo>
                    <a:pt x="8" y="62"/>
                  </a:lnTo>
                  <a:lnTo>
                    <a:pt x="11" y="65"/>
                  </a:lnTo>
                  <a:lnTo>
                    <a:pt x="11" y="65"/>
                  </a:lnTo>
                  <a:lnTo>
                    <a:pt x="13" y="65"/>
                  </a:lnTo>
                  <a:lnTo>
                    <a:pt x="20" y="70"/>
                  </a:lnTo>
                  <a:lnTo>
                    <a:pt x="31" y="76"/>
                  </a:lnTo>
                  <a:lnTo>
                    <a:pt x="31" y="76"/>
                  </a:lnTo>
                  <a:lnTo>
                    <a:pt x="32" y="77"/>
                  </a:lnTo>
                  <a:lnTo>
                    <a:pt x="36" y="79"/>
                  </a:lnTo>
                  <a:lnTo>
                    <a:pt x="41" y="80"/>
                  </a:lnTo>
                  <a:lnTo>
                    <a:pt x="44" y="81"/>
                  </a:lnTo>
                  <a:lnTo>
                    <a:pt x="45" y="81"/>
                  </a:lnTo>
                  <a:lnTo>
                    <a:pt x="49" y="83"/>
                  </a:lnTo>
                  <a:lnTo>
                    <a:pt x="53" y="84"/>
                  </a:lnTo>
                  <a:lnTo>
                    <a:pt x="58" y="85"/>
                  </a:lnTo>
                  <a:lnTo>
                    <a:pt x="61" y="86"/>
                  </a:lnTo>
                  <a:lnTo>
                    <a:pt x="64" y="87"/>
                  </a:lnTo>
                  <a:lnTo>
                    <a:pt x="66" y="87"/>
                  </a:lnTo>
                  <a:lnTo>
                    <a:pt x="82" y="92"/>
                  </a:lnTo>
                  <a:lnTo>
                    <a:pt x="98" y="95"/>
                  </a:lnTo>
                  <a:lnTo>
                    <a:pt x="115" y="97"/>
                  </a:lnTo>
                  <a:lnTo>
                    <a:pt x="133" y="99"/>
                  </a:lnTo>
                  <a:lnTo>
                    <a:pt x="166" y="102"/>
                  </a:lnTo>
                  <a:lnTo>
                    <a:pt x="197" y="104"/>
                  </a:lnTo>
                  <a:lnTo>
                    <a:pt x="203" y="104"/>
                  </a:lnTo>
                  <a:lnTo>
                    <a:pt x="211" y="104"/>
                  </a:lnTo>
                  <a:lnTo>
                    <a:pt x="217" y="104"/>
                  </a:lnTo>
                  <a:lnTo>
                    <a:pt x="225" y="104"/>
                  </a:lnTo>
                  <a:lnTo>
                    <a:pt x="255" y="102"/>
                  </a:lnTo>
                  <a:lnTo>
                    <a:pt x="289" y="99"/>
                  </a:lnTo>
                  <a:lnTo>
                    <a:pt x="306" y="97"/>
                  </a:lnTo>
                  <a:lnTo>
                    <a:pt x="322" y="95"/>
                  </a:lnTo>
                  <a:lnTo>
                    <a:pt x="340" y="92"/>
                  </a:lnTo>
                  <a:lnTo>
                    <a:pt x="356" y="87"/>
                  </a:lnTo>
                  <a:lnTo>
                    <a:pt x="358" y="87"/>
                  </a:lnTo>
                  <a:lnTo>
                    <a:pt x="360" y="86"/>
                  </a:lnTo>
                  <a:lnTo>
                    <a:pt x="364" y="85"/>
                  </a:lnTo>
                  <a:lnTo>
                    <a:pt x="368" y="84"/>
                  </a:lnTo>
                  <a:lnTo>
                    <a:pt x="372" y="83"/>
                  </a:lnTo>
                  <a:lnTo>
                    <a:pt x="376" y="81"/>
                  </a:lnTo>
                  <a:lnTo>
                    <a:pt x="378" y="81"/>
                  </a:lnTo>
                  <a:lnTo>
                    <a:pt x="379" y="80"/>
                  </a:lnTo>
                  <a:lnTo>
                    <a:pt x="385" y="79"/>
                  </a:lnTo>
                  <a:lnTo>
                    <a:pt x="390" y="77"/>
                  </a:lnTo>
                  <a:lnTo>
                    <a:pt x="390" y="76"/>
                  </a:lnTo>
                  <a:lnTo>
                    <a:pt x="391" y="76"/>
                  </a:lnTo>
                  <a:lnTo>
                    <a:pt x="401" y="70"/>
                  </a:lnTo>
                  <a:lnTo>
                    <a:pt x="409" y="65"/>
                  </a:lnTo>
                  <a:lnTo>
                    <a:pt x="409" y="65"/>
                  </a:lnTo>
                  <a:lnTo>
                    <a:pt x="409" y="65"/>
                  </a:lnTo>
                  <a:lnTo>
                    <a:pt x="413" y="62"/>
                  </a:lnTo>
                  <a:lnTo>
                    <a:pt x="416" y="59"/>
                  </a:lnTo>
                  <a:lnTo>
                    <a:pt x="417" y="57"/>
                  </a:lnTo>
                  <a:lnTo>
                    <a:pt x="417" y="56"/>
                  </a:lnTo>
                  <a:lnTo>
                    <a:pt x="419" y="54"/>
                  </a:lnTo>
                  <a:lnTo>
                    <a:pt x="420" y="52"/>
                  </a:lnTo>
                  <a:lnTo>
                    <a:pt x="421" y="48"/>
                  </a:lnTo>
                  <a:lnTo>
                    <a:pt x="421" y="44"/>
                  </a:lnTo>
                  <a:lnTo>
                    <a:pt x="421" y="0"/>
                  </a:lnTo>
                  <a:lnTo>
                    <a:pt x="410" y="4"/>
                  </a:lnTo>
                  <a:lnTo>
                    <a:pt x="399" y="7"/>
                  </a:lnTo>
                  <a:lnTo>
                    <a:pt x="386" y="10"/>
                  </a:lnTo>
                  <a:lnTo>
                    <a:pt x="373" y="13"/>
                  </a:lnTo>
                  <a:lnTo>
                    <a:pt x="344" y="19"/>
                  </a:lnTo>
                  <a:lnTo>
                    <a:pt x="314" y="23"/>
                  </a:lnTo>
                  <a:lnTo>
                    <a:pt x="284" y="25"/>
                  </a:lnTo>
                  <a:lnTo>
                    <a:pt x="256" y="27"/>
                  </a:lnTo>
                  <a:lnTo>
                    <a:pt x="231" y="28"/>
                  </a:lnTo>
                  <a:lnTo>
                    <a:pt x="211" y="28"/>
                  </a:lnTo>
                  <a:lnTo>
                    <a:pt x="191" y="28"/>
                  </a:lnTo>
                  <a:lnTo>
                    <a:pt x="166" y="27"/>
                  </a:lnTo>
                  <a:lnTo>
                    <a:pt x="138" y="25"/>
                  </a:lnTo>
                  <a:lnTo>
                    <a:pt x="108" y="23"/>
                  </a:lnTo>
                  <a:lnTo>
                    <a:pt x="78" y="19"/>
                  </a:lnTo>
                  <a:lnTo>
                    <a:pt x="49" y="13"/>
                  </a:lnTo>
                  <a:lnTo>
                    <a:pt x="35" y="10"/>
                  </a:lnTo>
                  <a:lnTo>
                    <a:pt x="22" y="7"/>
                  </a:lnTo>
                  <a:lnTo>
                    <a:pt x="10" y="4"/>
                  </a:ln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sp>
          <p:nvSpPr>
            <p:cNvPr id="44" name="Freeform 500">
              <a:extLst>
                <a:ext uri="{FF2B5EF4-FFF2-40B4-BE49-F238E27FC236}">
                  <a16:creationId xmlns:a16="http://schemas.microsoft.com/office/drawing/2014/main" id="{F84EB899-FC4C-E9EC-6A17-9AD49B8EACAB}"/>
                </a:ext>
              </a:extLst>
            </p:cNvPr>
            <p:cNvSpPr>
              <a:spLocks/>
            </p:cNvSpPr>
            <p:nvPr/>
          </p:nvSpPr>
          <p:spPr bwMode="auto">
            <a:xfrm>
              <a:off x="7349992" y="3416935"/>
              <a:ext cx="133350" cy="28575"/>
            </a:xfrm>
            <a:custGeom>
              <a:avLst/>
              <a:gdLst>
                <a:gd name="T0" fmla="*/ 420 w 420"/>
                <a:gd name="T1" fmla="*/ 58 h 90"/>
                <a:gd name="T2" fmla="*/ 419 w 420"/>
                <a:gd name="T3" fmla="*/ 55 h 90"/>
                <a:gd name="T4" fmla="*/ 418 w 420"/>
                <a:gd name="T5" fmla="*/ 50 h 90"/>
                <a:gd name="T6" fmla="*/ 416 w 420"/>
                <a:gd name="T7" fmla="*/ 47 h 90"/>
                <a:gd name="T8" fmla="*/ 413 w 420"/>
                <a:gd name="T9" fmla="*/ 44 h 90"/>
                <a:gd name="T10" fmla="*/ 406 w 420"/>
                <a:gd name="T11" fmla="*/ 37 h 90"/>
                <a:gd name="T12" fmla="*/ 397 w 420"/>
                <a:gd name="T13" fmla="*/ 32 h 90"/>
                <a:gd name="T14" fmla="*/ 386 w 420"/>
                <a:gd name="T15" fmla="*/ 27 h 90"/>
                <a:gd name="T16" fmla="*/ 374 w 420"/>
                <a:gd name="T17" fmla="*/ 22 h 90"/>
                <a:gd name="T18" fmla="*/ 360 w 420"/>
                <a:gd name="T19" fmla="*/ 18 h 90"/>
                <a:gd name="T20" fmla="*/ 345 w 420"/>
                <a:gd name="T21" fmla="*/ 14 h 90"/>
                <a:gd name="T22" fmla="*/ 313 w 420"/>
                <a:gd name="T23" fmla="*/ 9 h 90"/>
                <a:gd name="T24" fmla="*/ 277 w 420"/>
                <a:gd name="T25" fmla="*/ 3 h 90"/>
                <a:gd name="T26" fmla="*/ 243 w 420"/>
                <a:gd name="T27" fmla="*/ 1 h 90"/>
                <a:gd name="T28" fmla="*/ 210 w 420"/>
                <a:gd name="T29" fmla="*/ 0 h 90"/>
                <a:gd name="T30" fmla="*/ 172 w 420"/>
                <a:gd name="T31" fmla="*/ 1 h 90"/>
                <a:gd name="T32" fmla="*/ 133 w 420"/>
                <a:gd name="T33" fmla="*/ 4 h 90"/>
                <a:gd name="T34" fmla="*/ 113 w 420"/>
                <a:gd name="T35" fmla="*/ 7 h 90"/>
                <a:gd name="T36" fmla="*/ 94 w 420"/>
                <a:gd name="T37" fmla="*/ 11 h 90"/>
                <a:gd name="T38" fmla="*/ 76 w 420"/>
                <a:gd name="T39" fmla="*/ 14 h 90"/>
                <a:gd name="T40" fmla="*/ 59 w 420"/>
                <a:gd name="T41" fmla="*/ 18 h 90"/>
                <a:gd name="T42" fmla="*/ 59 w 420"/>
                <a:gd name="T43" fmla="*/ 18 h 90"/>
                <a:gd name="T44" fmla="*/ 55 w 420"/>
                <a:gd name="T45" fmla="*/ 19 h 90"/>
                <a:gd name="T46" fmla="*/ 52 w 420"/>
                <a:gd name="T47" fmla="*/ 20 h 90"/>
                <a:gd name="T48" fmla="*/ 48 w 420"/>
                <a:gd name="T49" fmla="*/ 21 h 90"/>
                <a:gd name="T50" fmla="*/ 44 w 420"/>
                <a:gd name="T51" fmla="*/ 22 h 90"/>
                <a:gd name="T52" fmla="*/ 43 w 420"/>
                <a:gd name="T53" fmla="*/ 24 h 90"/>
                <a:gd name="T54" fmla="*/ 40 w 420"/>
                <a:gd name="T55" fmla="*/ 24 h 90"/>
                <a:gd name="T56" fmla="*/ 35 w 420"/>
                <a:gd name="T57" fmla="*/ 26 h 90"/>
                <a:gd name="T58" fmla="*/ 31 w 420"/>
                <a:gd name="T59" fmla="*/ 28 h 90"/>
                <a:gd name="T60" fmla="*/ 30 w 420"/>
                <a:gd name="T61" fmla="*/ 28 h 90"/>
                <a:gd name="T62" fmla="*/ 30 w 420"/>
                <a:gd name="T63" fmla="*/ 28 h 90"/>
                <a:gd name="T64" fmla="*/ 19 w 420"/>
                <a:gd name="T65" fmla="*/ 33 h 90"/>
                <a:gd name="T66" fmla="*/ 12 w 420"/>
                <a:gd name="T67" fmla="*/ 40 h 90"/>
                <a:gd name="T68" fmla="*/ 10 w 420"/>
                <a:gd name="T69" fmla="*/ 40 h 90"/>
                <a:gd name="T70" fmla="*/ 10 w 420"/>
                <a:gd name="T71" fmla="*/ 40 h 90"/>
                <a:gd name="T72" fmla="*/ 7 w 420"/>
                <a:gd name="T73" fmla="*/ 43 h 90"/>
                <a:gd name="T74" fmla="*/ 5 w 420"/>
                <a:gd name="T75" fmla="*/ 46 h 90"/>
                <a:gd name="T76" fmla="*/ 4 w 420"/>
                <a:gd name="T77" fmla="*/ 47 h 90"/>
                <a:gd name="T78" fmla="*/ 4 w 420"/>
                <a:gd name="T79" fmla="*/ 48 h 90"/>
                <a:gd name="T80" fmla="*/ 2 w 420"/>
                <a:gd name="T81" fmla="*/ 50 h 90"/>
                <a:gd name="T82" fmla="*/ 1 w 420"/>
                <a:gd name="T83" fmla="*/ 52 h 90"/>
                <a:gd name="T84" fmla="*/ 0 w 420"/>
                <a:gd name="T85" fmla="*/ 56 h 90"/>
                <a:gd name="T86" fmla="*/ 0 w 420"/>
                <a:gd name="T87" fmla="*/ 58 h 90"/>
                <a:gd name="T88" fmla="*/ 8 w 420"/>
                <a:gd name="T89" fmla="*/ 63 h 90"/>
                <a:gd name="T90" fmla="*/ 22 w 420"/>
                <a:gd name="T91" fmla="*/ 68 h 90"/>
                <a:gd name="T92" fmla="*/ 43 w 420"/>
                <a:gd name="T93" fmla="*/ 74 h 90"/>
                <a:gd name="T94" fmla="*/ 67 w 420"/>
                <a:gd name="T95" fmla="*/ 78 h 90"/>
                <a:gd name="T96" fmla="*/ 96 w 420"/>
                <a:gd name="T97" fmla="*/ 84 h 90"/>
                <a:gd name="T98" fmla="*/ 131 w 420"/>
                <a:gd name="T99" fmla="*/ 87 h 90"/>
                <a:gd name="T100" fmla="*/ 168 w 420"/>
                <a:gd name="T101" fmla="*/ 90 h 90"/>
                <a:gd name="T102" fmla="*/ 210 w 420"/>
                <a:gd name="T103" fmla="*/ 90 h 90"/>
                <a:gd name="T104" fmla="*/ 251 w 420"/>
                <a:gd name="T105" fmla="*/ 90 h 90"/>
                <a:gd name="T106" fmla="*/ 289 w 420"/>
                <a:gd name="T107" fmla="*/ 87 h 90"/>
                <a:gd name="T108" fmla="*/ 323 w 420"/>
                <a:gd name="T109" fmla="*/ 84 h 90"/>
                <a:gd name="T110" fmla="*/ 353 w 420"/>
                <a:gd name="T111" fmla="*/ 78 h 90"/>
                <a:gd name="T112" fmla="*/ 377 w 420"/>
                <a:gd name="T113" fmla="*/ 74 h 90"/>
                <a:gd name="T114" fmla="*/ 398 w 420"/>
                <a:gd name="T115" fmla="*/ 68 h 90"/>
                <a:gd name="T116" fmla="*/ 412 w 420"/>
                <a:gd name="T117" fmla="*/ 62 h 90"/>
                <a:gd name="T118" fmla="*/ 420 w 420"/>
                <a:gd name="T119" fmla="*/ 5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0" h="90">
                  <a:moveTo>
                    <a:pt x="420" y="58"/>
                  </a:moveTo>
                  <a:lnTo>
                    <a:pt x="419" y="55"/>
                  </a:lnTo>
                  <a:lnTo>
                    <a:pt x="418" y="50"/>
                  </a:lnTo>
                  <a:lnTo>
                    <a:pt x="416" y="47"/>
                  </a:lnTo>
                  <a:lnTo>
                    <a:pt x="413" y="44"/>
                  </a:lnTo>
                  <a:lnTo>
                    <a:pt x="406" y="37"/>
                  </a:lnTo>
                  <a:lnTo>
                    <a:pt x="397" y="32"/>
                  </a:lnTo>
                  <a:lnTo>
                    <a:pt x="386" y="27"/>
                  </a:lnTo>
                  <a:lnTo>
                    <a:pt x="374" y="22"/>
                  </a:lnTo>
                  <a:lnTo>
                    <a:pt x="360" y="18"/>
                  </a:lnTo>
                  <a:lnTo>
                    <a:pt x="345" y="14"/>
                  </a:lnTo>
                  <a:lnTo>
                    <a:pt x="313" y="9"/>
                  </a:lnTo>
                  <a:lnTo>
                    <a:pt x="277" y="3"/>
                  </a:lnTo>
                  <a:lnTo>
                    <a:pt x="243" y="1"/>
                  </a:lnTo>
                  <a:lnTo>
                    <a:pt x="210" y="0"/>
                  </a:lnTo>
                  <a:lnTo>
                    <a:pt x="172" y="1"/>
                  </a:lnTo>
                  <a:lnTo>
                    <a:pt x="133" y="4"/>
                  </a:lnTo>
                  <a:lnTo>
                    <a:pt x="113" y="7"/>
                  </a:lnTo>
                  <a:lnTo>
                    <a:pt x="94" y="11"/>
                  </a:lnTo>
                  <a:lnTo>
                    <a:pt x="76" y="14"/>
                  </a:lnTo>
                  <a:lnTo>
                    <a:pt x="59" y="18"/>
                  </a:lnTo>
                  <a:lnTo>
                    <a:pt x="59" y="18"/>
                  </a:lnTo>
                  <a:lnTo>
                    <a:pt x="55" y="19"/>
                  </a:lnTo>
                  <a:lnTo>
                    <a:pt x="52" y="20"/>
                  </a:lnTo>
                  <a:lnTo>
                    <a:pt x="48" y="21"/>
                  </a:lnTo>
                  <a:lnTo>
                    <a:pt x="44" y="22"/>
                  </a:lnTo>
                  <a:lnTo>
                    <a:pt x="43" y="24"/>
                  </a:lnTo>
                  <a:lnTo>
                    <a:pt x="40" y="24"/>
                  </a:lnTo>
                  <a:lnTo>
                    <a:pt x="35" y="26"/>
                  </a:lnTo>
                  <a:lnTo>
                    <a:pt x="31" y="28"/>
                  </a:lnTo>
                  <a:lnTo>
                    <a:pt x="30" y="28"/>
                  </a:lnTo>
                  <a:lnTo>
                    <a:pt x="30" y="28"/>
                  </a:lnTo>
                  <a:lnTo>
                    <a:pt x="19" y="33"/>
                  </a:lnTo>
                  <a:lnTo>
                    <a:pt x="12" y="40"/>
                  </a:lnTo>
                  <a:lnTo>
                    <a:pt x="10" y="40"/>
                  </a:lnTo>
                  <a:lnTo>
                    <a:pt x="10" y="40"/>
                  </a:lnTo>
                  <a:lnTo>
                    <a:pt x="7" y="43"/>
                  </a:lnTo>
                  <a:lnTo>
                    <a:pt x="5" y="46"/>
                  </a:lnTo>
                  <a:lnTo>
                    <a:pt x="4" y="47"/>
                  </a:lnTo>
                  <a:lnTo>
                    <a:pt x="4" y="48"/>
                  </a:lnTo>
                  <a:lnTo>
                    <a:pt x="2" y="50"/>
                  </a:lnTo>
                  <a:lnTo>
                    <a:pt x="1" y="52"/>
                  </a:lnTo>
                  <a:lnTo>
                    <a:pt x="0" y="56"/>
                  </a:lnTo>
                  <a:lnTo>
                    <a:pt x="0" y="58"/>
                  </a:lnTo>
                  <a:lnTo>
                    <a:pt x="8" y="63"/>
                  </a:lnTo>
                  <a:lnTo>
                    <a:pt x="22" y="68"/>
                  </a:lnTo>
                  <a:lnTo>
                    <a:pt x="43" y="74"/>
                  </a:lnTo>
                  <a:lnTo>
                    <a:pt x="67" y="78"/>
                  </a:lnTo>
                  <a:lnTo>
                    <a:pt x="96" y="84"/>
                  </a:lnTo>
                  <a:lnTo>
                    <a:pt x="131" y="87"/>
                  </a:lnTo>
                  <a:lnTo>
                    <a:pt x="168" y="90"/>
                  </a:lnTo>
                  <a:lnTo>
                    <a:pt x="210" y="90"/>
                  </a:lnTo>
                  <a:lnTo>
                    <a:pt x="251" y="90"/>
                  </a:lnTo>
                  <a:lnTo>
                    <a:pt x="289" y="87"/>
                  </a:lnTo>
                  <a:lnTo>
                    <a:pt x="323" y="84"/>
                  </a:lnTo>
                  <a:lnTo>
                    <a:pt x="353" y="78"/>
                  </a:lnTo>
                  <a:lnTo>
                    <a:pt x="377" y="74"/>
                  </a:lnTo>
                  <a:lnTo>
                    <a:pt x="398" y="68"/>
                  </a:lnTo>
                  <a:lnTo>
                    <a:pt x="412" y="62"/>
                  </a:lnTo>
                  <a:lnTo>
                    <a:pt x="420" y="58"/>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sp>
          <p:nvSpPr>
            <p:cNvPr id="45" name="Freeform 501">
              <a:extLst>
                <a:ext uri="{FF2B5EF4-FFF2-40B4-BE49-F238E27FC236}">
                  <a16:creationId xmlns:a16="http://schemas.microsoft.com/office/drawing/2014/main" id="{C29D3C84-0A8A-1FC2-FE35-504E4D1927DF}"/>
                </a:ext>
              </a:extLst>
            </p:cNvPr>
            <p:cNvSpPr>
              <a:spLocks/>
            </p:cNvSpPr>
            <p:nvPr/>
          </p:nvSpPr>
          <p:spPr bwMode="auto">
            <a:xfrm>
              <a:off x="7349992" y="3445510"/>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7 h 75"/>
                <a:gd name="T10" fmla="*/ 67 w 421"/>
                <a:gd name="T11" fmla="*/ 62 h 75"/>
                <a:gd name="T12" fmla="*/ 97 w 421"/>
                <a:gd name="T13" fmla="*/ 68 h 75"/>
                <a:gd name="T14" fmla="*/ 130 w 421"/>
                <a:gd name="T15" fmla="*/ 71 h 75"/>
                <a:gd name="T16" fmla="*/ 169 w 421"/>
                <a:gd name="T17" fmla="*/ 74 h 75"/>
                <a:gd name="T18" fmla="*/ 211 w 421"/>
                <a:gd name="T19" fmla="*/ 75 h 75"/>
                <a:gd name="T20" fmla="*/ 253 w 421"/>
                <a:gd name="T21" fmla="*/ 74 h 75"/>
                <a:gd name="T22" fmla="*/ 290 w 421"/>
                <a:gd name="T23" fmla="*/ 71 h 75"/>
                <a:gd name="T24" fmla="*/ 325 w 421"/>
                <a:gd name="T25" fmla="*/ 68 h 75"/>
                <a:gd name="T26" fmla="*/ 355 w 421"/>
                <a:gd name="T27" fmla="*/ 62 h 75"/>
                <a:gd name="T28" fmla="*/ 379 w 421"/>
                <a:gd name="T29" fmla="*/ 57 h 75"/>
                <a:gd name="T30" fmla="*/ 399 w 421"/>
                <a:gd name="T31" fmla="*/ 52 h 75"/>
                <a:gd name="T32" fmla="*/ 414 w 421"/>
                <a:gd name="T33" fmla="*/ 46 h 75"/>
                <a:gd name="T34" fmla="*/ 421 w 421"/>
                <a:gd name="T35" fmla="*/ 42 h 75"/>
                <a:gd name="T36" fmla="*/ 421 w 421"/>
                <a:gd name="T37" fmla="*/ 0 h 75"/>
                <a:gd name="T38" fmla="*/ 410 w 421"/>
                <a:gd name="T39" fmla="*/ 4 h 75"/>
                <a:gd name="T40" fmla="*/ 399 w 421"/>
                <a:gd name="T41" fmla="*/ 8 h 75"/>
                <a:gd name="T42" fmla="*/ 386 w 421"/>
                <a:gd name="T43" fmla="*/ 12 h 75"/>
                <a:gd name="T44" fmla="*/ 373 w 421"/>
                <a:gd name="T45" fmla="*/ 14 h 75"/>
                <a:gd name="T46" fmla="*/ 344 w 421"/>
                <a:gd name="T47" fmla="*/ 19 h 75"/>
                <a:gd name="T48" fmla="*/ 314 w 421"/>
                <a:gd name="T49" fmla="*/ 24 h 75"/>
                <a:gd name="T50" fmla="*/ 284 w 421"/>
                <a:gd name="T51" fmla="*/ 27 h 75"/>
                <a:gd name="T52" fmla="*/ 256 w 421"/>
                <a:gd name="T53" fmla="*/ 28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8 h 75"/>
                <a:gd name="T74" fmla="*/ 10 w 421"/>
                <a:gd name="T75" fmla="*/ 4 h 75"/>
                <a:gd name="T76" fmla="*/ 0 w 421"/>
                <a:gd name="T77" fmla="*/ 0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6"/>
                  </a:lnTo>
                  <a:lnTo>
                    <a:pt x="22" y="52"/>
                  </a:lnTo>
                  <a:lnTo>
                    <a:pt x="43" y="57"/>
                  </a:lnTo>
                  <a:lnTo>
                    <a:pt x="67" y="62"/>
                  </a:lnTo>
                  <a:lnTo>
                    <a:pt x="97" y="68"/>
                  </a:lnTo>
                  <a:lnTo>
                    <a:pt x="130" y="71"/>
                  </a:lnTo>
                  <a:lnTo>
                    <a:pt x="169" y="74"/>
                  </a:lnTo>
                  <a:lnTo>
                    <a:pt x="211" y="75"/>
                  </a:lnTo>
                  <a:lnTo>
                    <a:pt x="253" y="74"/>
                  </a:lnTo>
                  <a:lnTo>
                    <a:pt x="290" y="71"/>
                  </a:lnTo>
                  <a:lnTo>
                    <a:pt x="325" y="68"/>
                  </a:lnTo>
                  <a:lnTo>
                    <a:pt x="355" y="62"/>
                  </a:lnTo>
                  <a:lnTo>
                    <a:pt x="379" y="57"/>
                  </a:lnTo>
                  <a:lnTo>
                    <a:pt x="399" y="52"/>
                  </a:lnTo>
                  <a:lnTo>
                    <a:pt x="414" y="46"/>
                  </a:lnTo>
                  <a:lnTo>
                    <a:pt x="421" y="42"/>
                  </a:lnTo>
                  <a:lnTo>
                    <a:pt x="421" y="0"/>
                  </a:lnTo>
                  <a:lnTo>
                    <a:pt x="410" y="4"/>
                  </a:lnTo>
                  <a:lnTo>
                    <a:pt x="399" y="8"/>
                  </a:lnTo>
                  <a:lnTo>
                    <a:pt x="386" y="12"/>
                  </a:lnTo>
                  <a:lnTo>
                    <a:pt x="373" y="14"/>
                  </a:lnTo>
                  <a:lnTo>
                    <a:pt x="344" y="19"/>
                  </a:lnTo>
                  <a:lnTo>
                    <a:pt x="314" y="24"/>
                  </a:lnTo>
                  <a:lnTo>
                    <a:pt x="284" y="27"/>
                  </a:lnTo>
                  <a:lnTo>
                    <a:pt x="256" y="28"/>
                  </a:lnTo>
                  <a:lnTo>
                    <a:pt x="231" y="29"/>
                  </a:lnTo>
                  <a:lnTo>
                    <a:pt x="211" y="30"/>
                  </a:lnTo>
                  <a:lnTo>
                    <a:pt x="191" y="29"/>
                  </a:lnTo>
                  <a:lnTo>
                    <a:pt x="166" y="28"/>
                  </a:lnTo>
                  <a:lnTo>
                    <a:pt x="138" y="27"/>
                  </a:lnTo>
                  <a:lnTo>
                    <a:pt x="108" y="24"/>
                  </a:lnTo>
                  <a:lnTo>
                    <a:pt x="78" y="19"/>
                  </a:lnTo>
                  <a:lnTo>
                    <a:pt x="49" y="15"/>
                  </a:lnTo>
                  <a:lnTo>
                    <a:pt x="35" y="12"/>
                  </a:lnTo>
                  <a:lnTo>
                    <a:pt x="22" y="8"/>
                  </a:lnTo>
                  <a:lnTo>
                    <a:pt x="10" y="4"/>
                  </a:lnTo>
                  <a:lnTo>
                    <a:pt x="0" y="0"/>
                  </a:ln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sp>
          <p:nvSpPr>
            <p:cNvPr id="46" name="Freeform 502">
              <a:extLst>
                <a:ext uri="{FF2B5EF4-FFF2-40B4-BE49-F238E27FC236}">
                  <a16:creationId xmlns:a16="http://schemas.microsoft.com/office/drawing/2014/main" id="{B1A032C1-863F-626D-CFCF-D43EB6D0A431}"/>
                </a:ext>
              </a:extLst>
            </p:cNvPr>
            <p:cNvSpPr>
              <a:spLocks/>
            </p:cNvSpPr>
            <p:nvPr/>
          </p:nvSpPr>
          <p:spPr bwMode="auto">
            <a:xfrm>
              <a:off x="7349992" y="3516947"/>
              <a:ext cx="133350" cy="23813"/>
            </a:xfrm>
            <a:custGeom>
              <a:avLst/>
              <a:gdLst>
                <a:gd name="T0" fmla="*/ 0 w 421"/>
                <a:gd name="T1" fmla="*/ 0 h 75"/>
                <a:gd name="T2" fmla="*/ 0 w 421"/>
                <a:gd name="T3" fmla="*/ 42 h 75"/>
                <a:gd name="T4" fmla="*/ 8 w 421"/>
                <a:gd name="T5" fmla="*/ 48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8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1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8"/>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8"/>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1"/>
                  </a:ln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sp>
          <p:nvSpPr>
            <p:cNvPr id="47" name="Freeform 503">
              <a:extLst>
                <a:ext uri="{FF2B5EF4-FFF2-40B4-BE49-F238E27FC236}">
                  <a16:creationId xmlns:a16="http://schemas.microsoft.com/office/drawing/2014/main" id="{98963627-F89C-EE0C-E9D2-86A913B0A722}"/>
                </a:ext>
              </a:extLst>
            </p:cNvPr>
            <p:cNvSpPr>
              <a:spLocks/>
            </p:cNvSpPr>
            <p:nvPr/>
          </p:nvSpPr>
          <p:spPr bwMode="auto">
            <a:xfrm>
              <a:off x="7349992" y="3493135"/>
              <a:ext cx="133350" cy="23813"/>
            </a:xfrm>
            <a:custGeom>
              <a:avLst/>
              <a:gdLst>
                <a:gd name="T0" fmla="*/ 0 w 421"/>
                <a:gd name="T1" fmla="*/ 0 h 75"/>
                <a:gd name="T2" fmla="*/ 0 w 421"/>
                <a:gd name="T3" fmla="*/ 42 h 75"/>
                <a:gd name="T4" fmla="*/ 8 w 421"/>
                <a:gd name="T5" fmla="*/ 47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7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7"/>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7"/>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sp>
          <p:nvSpPr>
            <p:cNvPr id="48" name="Freeform 504">
              <a:extLst>
                <a:ext uri="{FF2B5EF4-FFF2-40B4-BE49-F238E27FC236}">
                  <a16:creationId xmlns:a16="http://schemas.microsoft.com/office/drawing/2014/main" id="{1C1C2FE5-87DA-4A97-4CBB-1DD12A5A08E2}"/>
                </a:ext>
              </a:extLst>
            </p:cNvPr>
            <p:cNvSpPr>
              <a:spLocks/>
            </p:cNvSpPr>
            <p:nvPr/>
          </p:nvSpPr>
          <p:spPr bwMode="auto">
            <a:xfrm>
              <a:off x="7349992" y="3469322"/>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8 h 75"/>
                <a:gd name="T10" fmla="*/ 67 w 421"/>
                <a:gd name="T11" fmla="*/ 63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3 h 75"/>
                <a:gd name="T28" fmla="*/ 379 w 421"/>
                <a:gd name="T29" fmla="*/ 58 h 75"/>
                <a:gd name="T30" fmla="*/ 399 w 421"/>
                <a:gd name="T31" fmla="*/ 52 h 75"/>
                <a:gd name="T32" fmla="*/ 414 w 421"/>
                <a:gd name="T33" fmla="*/ 47 h 75"/>
                <a:gd name="T34" fmla="*/ 421 w 421"/>
                <a:gd name="T35" fmla="*/ 42 h 75"/>
                <a:gd name="T36" fmla="*/ 421 w 421"/>
                <a:gd name="T37" fmla="*/ 0 h 75"/>
                <a:gd name="T38" fmla="*/ 410 w 421"/>
                <a:gd name="T39" fmla="*/ 4 h 75"/>
                <a:gd name="T40" fmla="*/ 399 w 421"/>
                <a:gd name="T41" fmla="*/ 9 h 75"/>
                <a:gd name="T42" fmla="*/ 386 w 421"/>
                <a:gd name="T43" fmla="*/ 12 h 75"/>
                <a:gd name="T44" fmla="*/ 373 w 421"/>
                <a:gd name="T45" fmla="*/ 15 h 75"/>
                <a:gd name="T46" fmla="*/ 344 w 421"/>
                <a:gd name="T47" fmla="*/ 19 h 75"/>
                <a:gd name="T48" fmla="*/ 314 w 421"/>
                <a:gd name="T49" fmla="*/ 24 h 75"/>
                <a:gd name="T50" fmla="*/ 284 w 421"/>
                <a:gd name="T51" fmla="*/ 27 h 75"/>
                <a:gd name="T52" fmla="*/ 256 w 421"/>
                <a:gd name="T53" fmla="*/ 29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9 h 75"/>
                <a:gd name="T74" fmla="*/ 10 w 421"/>
                <a:gd name="T75" fmla="*/ 4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6"/>
                  </a:lnTo>
                  <a:lnTo>
                    <a:pt x="22" y="52"/>
                  </a:lnTo>
                  <a:lnTo>
                    <a:pt x="43" y="58"/>
                  </a:lnTo>
                  <a:lnTo>
                    <a:pt x="67" y="63"/>
                  </a:lnTo>
                  <a:lnTo>
                    <a:pt x="97" y="68"/>
                  </a:lnTo>
                  <a:lnTo>
                    <a:pt x="130" y="72"/>
                  </a:lnTo>
                  <a:lnTo>
                    <a:pt x="169" y="74"/>
                  </a:lnTo>
                  <a:lnTo>
                    <a:pt x="211" y="75"/>
                  </a:lnTo>
                  <a:lnTo>
                    <a:pt x="253" y="74"/>
                  </a:lnTo>
                  <a:lnTo>
                    <a:pt x="290" y="72"/>
                  </a:lnTo>
                  <a:lnTo>
                    <a:pt x="325" y="68"/>
                  </a:lnTo>
                  <a:lnTo>
                    <a:pt x="355" y="63"/>
                  </a:lnTo>
                  <a:lnTo>
                    <a:pt x="379" y="58"/>
                  </a:lnTo>
                  <a:lnTo>
                    <a:pt x="399" y="52"/>
                  </a:lnTo>
                  <a:lnTo>
                    <a:pt x="414" y="47"/>
                  </a:lnTo>
                  <a:lnTo>
                    <a:pt x="421" y="42"/>
                  </a:lnTo>
                  <a:lnTo>
                    <a:pt x="421" y="0"/>
                  </a:lnTo>
                  <a:lnTo>
                    <a:pt x="410" y="4"/>
                  </a:lnTo>
                  <a:lnTo>
                    <a:pt x="399" y="9"/>
                  </a:lnTo>
                  <a:lnTo>
                    <a:pt x="386" y="12"/>
                  </a:lnTo>
                  <a:lnTo>
                    <a:pt x="373" y="15"/>
                  </a:lnTo>
                  <a:lnTo>
                    <a:pt x="344" y="19"/>
                  </a:lnTo>
                  <a:lnTo>
                    <a:pt x="314" y="24"/>
                  </a:lnTo>
                  <a:lnTo>
                    <a:pt x="284" y="27"/>
                  </a:lnTo>
                  <a:lnTo>
                    <a:pt x="256" y="29"/>
                  </a:lnTo>
                  <a:lnTo>
                    <a:pt x="231" y="29"/>
                  </a:lnTo>
                  <a:lnTo>
                    <a:pt x="211" y="30"/>
                  </a:lnTo>
                  <a:lnTo>
                    <a:pt x="191" y="29"/>
                  </a:lnTo>
                  <a:lnTo>
                    <a:pt x="166" y="28"/>
                  </a:lnTo>
                  <a:lnTo>
                    <a:pt x="138" y="27"/>
                  </a:lnTo>
                  <a:lnTo>
                    <a:pt x="108" y="24"/>
                  </a:lnTo>
                  <a:lnTo>
                    <a:pt x="78" y="19"/>
                  </a:lnTo>
                  <a:lnTo>
                    <a:pt x="49" y="15"/>
                  </a:lnTo>
                  <a:lnTo>
                    <a:pt x="35" y="12"/>
                  </a:lnTo>
                  <a:lnTo>
                    <a:pt x="22" y="9"/>
                  </a:lnTo>
                  <a:lnTo>
                    <a:pt x="10" y="4"/>
                  </a:ln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grpSp>
      <p:grpSp>
        <p:nvGrpSpPr>
          <p:cNvPr id="49" name="Group 48" descr="This is an icon of a pie chart. ">
            <a:extLst>
              <a:ext uri="{FF2B5EF4-FFF2-40B4-BE49-F238E27FC236}">
                <a16:creationId xmlns:a16="http://schemas.microsoft.com/office/drawing/2014/main" id="{13B88913-5279-DE6C-7E03-6329566DBB6A}"/>
              </a:ext>
            </a:extLst>
          </p:cNvPr>
          <p:cNvGrpSpPr/>
          <p:nvPr/>
        </p:nvGrpSpPr>
        <p:grpSpPr>
          <a:xfrm>
            <a:off x="7113157" y="4699914"/>
            <a:ext cx="215881" cy="215881"/>
            <a:chOff x="4319588" y="4213225"/>
            <a:chExt cx="287338" cy="287338"/>
          </a:xfrm>
          <a:solidFill>
            <a:schemeClr val="bg1"/>
          </a:solidFill>
          <a:effectLst/>
        </p:grpSpPr>
        <p:sp>
          <p:nvSpPr>
            <p:cNvPr id="50" name="Freeform 421">
              <a:extLst>
                <a:ext uri="{FF2B5EF4-FFF2-40B4-BE49-F238E27FC236}">
                  <a16:creationId xmlns:a16="http://schemas.microsoft.com/office/drawing/2014/main" id="{F5B7C413-5FD4-1AF5-D8A3-A19F9F6AFC45}"/>
                </a:ext>
              </a:extLst>
            </p:cNvPr>
            <p:cNvSpPr>
              <a:spLocks/>
            </p:cNvSpPr>
            <p:nvPr/>
          </p:nvSpPr>
          <p:spPr bwMode="auto">
            <a:xfrm>
              <a:off x="4471988" y="4213225"/>
              <a:ext cx="134938" cy="133350"/>
            </a:xfrm>
            <a:custGeom>
              <a:avLst/>
              <a:gdLst>
                <a:gd name="T0" fmla="*/ 15 w 422"/>
                <a:gd name="T1" fmla="*/ 422 h 422"/>
                <a:gd name="T2" fmla="*/ 407 w 422"/>
                <a:gd name="T3" fmla="*/ 422 h 422"/>
                <a:gd name="T4" fmla="*/ 409 w 422"/>
                <a:gd name="T5" fmla="*/ 421 h 422"/>
                <a:gd name="T6" fmla="*/ 412 w 422"/>
                <a:gd name="T7" fmla="*/ 421 h 422"/>
                <a:gd name="T8" fmla="*/ 414 w 422"/>
                <a:gd name="T9" fmla="*/ 419 h 422"/>
                <a:gd name="T10" fmla="*/ 416 w 422"/>
                <a:gd name="T11" fmla="*/ 417 h 422"/>
                <a:gd name="T12" fmla="*/ 419 w 422"/>
                <a:gd name="T13" fmla="*/ 414 h 422"/>
                <a:gd name="T14" fmla="*/ 420 w 422"/>
                <a:gd name="T15" fmla="*/ 412 h 422"/>
                <a:gd name="T16" fmla="*/ 421 w 422"/>
                <a:gd name="T17" fmla="*/ 409 h 422"/>
                <a:gd name="T18" fmla="*/ 422 w 422"/>
                <a:gd name="T19" fmla="*/ 407 h 422"/>
                <a:gd name="T20" fmla="*/ 421 w 422"/>
                <a:gd name="T21" fmla="*/ 386 h 422"/>
                <a:gd name="T22" fmla="*/ 420 w 422"/>
                <a:gd name="T23" fmla="*/ 365 h 422"/>
                <a:gd name="T24" fmla="*/ 416 w 422"/>
                <a:gd name="T25" fmla="*/ 345 h 422"/>
                <a:gd name="T26" fmla="*/ 413 w 422"/>
                <a:gd name="T27" fmla="*/ 324 h 422"/>
                <a:gd name="T28" fmla="*/ 409 w 422"/>
                <a:gd name="T29" fmla="*/ 305 h 422"/>
                <a:gd name="T30" fmla="*/ 403 w 422"/>
                <a:gd name="T31" fmla="*/ 286 h 422"/>
                <a:gd name="T32" fmla="*/ 397 w 422"/>
                <a:gd name="T33" fmla="*/ 266 h 422"/>
                <a:gd name="T34" fmla="*/ 390 w 422"/>
                <a:gd name="T35" fmla="*/ 248 h 422"/>
                <a:gd name="T36" fmla="*/ 381 w 422"/>
                <a:gd name="T37" fmla="*/ 230 h 422"/>
                <a:gd name="T38" fmla="*/ 372 w 422"/>
                <a:gd name="T39" fmla="*/ 213 h 422"/>
                <a:gd name="T40" fmla="*/ 363 w 422"/>
                <a:gd name="T41" fmla="*/ 196 h 422"/>
                <a:gd name="T42" fmla="*/ 352 w 422"/>
                <a:gd name="T43" fmla="*/ 180 h 422"/>
                <a:gd name="T44" fmla="*/ 340 w 422"/>
                <a:gd name="T45" fmla="*/ 163 h 422"/>
                <a:gd name="T46" fmla="*/ 329 w 422"/>
                <a:gd name="T47" fmla="*/ 148 h 422"/>
                <a:gd name="T48" fmla="*/ 316 w 422"/>
                <a:gd name="T49" fmla="*/ 133 h 422"/>
                <a:gd name="T50" fmla="*/ 302 w 422"/>
                <a:gd name="T51" fmla="*/ 119 h 422"/>
                <a:gd name="T52" fmla="*/ 288 w 422"/>
                <a:gd name="T53" fmla="*/ 106 h 422"/>
                <a:gd name="T54" fmla="*/ 274 w 422"/>
                <a:gd name="T55" fmla="*/ 93 h 422"/>
                <a:gd name="T56" fmla="*/ 258 w 422"/>
                <a:gd name="T57" fmla="*/ 81 h 422"/>
                <a:gd name="T58" fmla="*/ 242 w 422"/>
                <a:gd name="T59" fmla="*/ 69 h 422"/>
                <a:gd name="T60" fmla="*/ 226 w 422"/>
                <a:gd name="T61" fmla="*/ 59 h 422"/>
                <a:gd name="T62" fmla="*/ 208 w 422"/>
                <a:gd name="T63" fmla="*/ 49 h 422"/>
                <a:gd name="T64" fmla="*/ 191 w 422"/>
                <a:gd name="T65" fmla="*/ 40 h 422"/>
                <a:gd name="T66" fmla="*/ 173 w 422"/>
                <a:gd name="T67" fmla="*/ 32 h 422"/>
                <a:gd name="T68" fmla="*/ 155 w 422"/>
                <a:gd name="T69" fmla="*/ 25 h 422"/>
                <a:gd name="T70" fmla="*/ 135 w 422"/>
                <a:gd name="T71" fmla="*/ 19 h 422"/>
                <a:gd name="T72" fmla="*/ 116 w 422"/>
                <a:gd name="T73" fmla="*/ 13 h 422"/>
                <a:gd name="T74" fmla="*/ 97 w 422"/>
                <a:gd name="T75" fmla="*/ 8 h 422"/>
                <a:gd name="T76" fmla="*/ 76 w 422"/>
                <a:gd name="T77" fmla="*/ 5 h 422"/>
                <a:gd name="T78" fmla="*/ 56 w 422"/>
                <a:gd name="T79" fmla="*/ 3 h 422"/>
                <a:gd name="T80" fmla="*/ 36 w 422"/>
                <a:gd name="T81" fmla="*/ 0 h 422"/>
                <a:gd name="T82" fmla="*/ 15 w 422"/>
                <a:gd name="T83" fmla="*/ 0 h 422"/>
                <a:gd name="T84" fmla="*/ 12 w 422"/>
                <a:gd name="T85" fmla="*/ 0 h 422"/>
                <a:gd name="T86" fmla="*/ 9 w 422"/>
                <a:gd name="T87" fmla="*/ 2 h 422"/>
                <a:gd name="T88" fmla="*/ 7 w 422"/>
                <a:gd name="T89" fmla="*/ 3 h 422"/>
                <a:gd name="T90" fmla="*/ 5 w 422"/>
                <a:gd name="T91" fmla="*/ 5 h 422"/>
                <a:gd name="T92" fmla="*/ 2 w 422"/>
                <a:gd name="T93" fmla="*/ 7 h 422"/>
                <a:gd name="T94" fmla="*/ 1 w 422"/>
                <a:gd name="T95" fmla="*/ 9 h 422"/>
                <a:gd name="T96" fmla="*/ 0 w 422"/>
                <a:gd name="T97" fmla="*/ 12 h 422"/>
                <a:gd name="T98" fmla="*/ 0 w 422"/>
                <a:gd name="T99" fmla="*/ 15 h 422"/>
                <a:gd name="T100" fmla="*/ 0 w 422"/>
                <a:gd name="T101" fmla="*/ 406 h 422"/>
                <a:gd name="T102" fmla="*/ 0 w 422"/>
                <a:gd name="T103" fmla="*/ 409 h 422"/>
                <a:gd name="T104" fmla="*/ 1 w 422"/>
                <a:gd name="T105" fmla="*/ 412 h 422"/>
                <a:gd name="T106" fmla="*/ 2 w 422"/>
                <a:gd name="T107" fmla="*/ 414 h 422"/>
                <a:gd name="T108" fmla="*/ 5 w 422"/>
                <a:gd name="T109" fmla="*/ 417 h 422"/>
                <a:gd name="T110" fmla="*/ 7 w 422"/>
                <a:gd name="T111" fmla="*/ 419 h 422"/>
                <a:gd name="T112" fmla="*/ 9 w 422"/>
                <a:gd name="T113" fmla="*/ 421 h 422"/>
                <a:gd name="T114" fmla="*/ 12 w 422"/>
                <a:gd name="T115" fmla="*/ 421 h 422"/>
                <a:gd name="T116" fmla="*/ 15 w 422"/>
                <a:gd name="T117" fmla="*/ 42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2" h="422">
                  <a:moveTo>
                    <a:pt x="15" y="422"/>
                  </a:moveTo>
                  <a:lnTo>
                    <a:pt x="407" y="422"/>
                  </a:lnTo>
                  <a:lnTo>
                    <a:pt x="409" y="421"/>
                  </a:lnTo>
                  <a:lnTo>
                    <a:pt x="412" y="421"/>
                  </a:lnTo>
                  <a:lnTo>
                    <a:pt x="414" y="419"/>
                  </a:lnTo>
                  <a:lnTo>
                    <a:pt x="416" y="417"/>
                  </a:lnTo>
                  <a:lnTo>
                    <a:pt x="419" y="414"/>
                  </a:lnTo>
                  <a:lnTo>
                    <a:pt x="420" y="412"/>
                  </a:lnTo>
                  <a:lnTo>
                    <a:pt x="421" y="409"/>
                  </a:lnTo>
                  <a:lnTo>
                    <a:pt x="422" y="407"/>
                  </a:lnTo>
                  <a:lnTo>
                    <a:pt x="421" y="386"/>
                  </a:lnTo>
                  <a:lnTo>
                    <a:pt x="420" y="365"/>
                  </a:lnTo>
                  <a:lnTo>
                    <a:pt x="416" y="345"/>
                  </a:lnTo>
                  <a:lnTo>
                    <a:pt x="413" y="324"/>
                  </a:lnTo>
                  <a:lnTo>
                    <a:pt x="409" y="305"/>
                  </a:lnTo>
                  <a:lnTo>
                    <a:pt x="403" y="286"/>
                  </a:lnTo>
                  <a:lnTo>
                    <a:pt x="397" y="266"/>
                  </a:lnTo>
                  <a:lnTo>
                    <a:pt x="390" y="248"/>
                  </a:lnTo>
                  <a:lnTo>
                    <a:pt x="381" y="230"/>
                  </a:lnTo>
                  <a:lnTo>
                    <a:pt x="372" y="213"/>
                  </a:lnTo>
                  <a:lnTo>
                    <a:pt x="363" y="196"/>
                  </a:lnTo>
                  <a:lnTo>
                    <a:pt x="352" y="180"/>
                  </a:lnTo>
                  <a:lnTo>
                    <a:pt x="340" y="163"/>
                  </a:lnTo>
                  <a:lnTo>
                    <a:pt x="329" y="148"/>
                  </a:lnTo>
                  <a:lnTo>
                    <a:pt x="316" y="133"/>
                  </a:lnTo>
                  <a:lnTo>
                    <a:pt x="302" y="119"/>
                  </a:lnTo>
                  <a:lnTo>
                    <a:pt x="288" y="106"/>
                  </a:lnTo>
                  <a:lnTo>
                    <a:pt x="274" y="93"/>
                  </a:lnTo>
                  <a:lnTo>
                    <a:pt x="258" y="81"/>
                  </a:lnTo>
                  <a:lnTo>
                    <a:pt x="242" y="69"/>
                  </a:lnTo>
                  <a:lnTo>
                    <a:pt x="226" y="59"/>
                  </a:lnTo>
                  <a:lnTo>
                    <a:pt x="208" y="49"/>
                  </a:lnTo>
                  <a:lnTo>
                    <a:pt x="191" y="40"/>
                  </a:lnTo>
                  <a:lnTo>
                    <a:pt x="173" y="32"/>
                  </a:lnTo>
                  <a:lnTo>
                    <a:pt x="155" y="25"/>
                  </a:lnTo>
                  <a:lnTo>
                    <a:pt x="135" y="19"/>
                  </a:lnTo>
                  <a:lnTo>
                    <a:pt x="116" y="13"/>
                  </a:lnTo>
                  <a:lnTo>
                    <a:pt x="97" y="8"/>
                  </a:lnTo>
                  <a:lnTo>
                    <a:pt x="76" y="5"/>
                  </a:lnTo>
                  <a:lnTo>
                    <a:pt x="56" y="3"/>
                  </a:lnTo>
                  <a:lnTo>
                    <a:pt x="36" y="0"/>
                  </a:lnTo>
                  <a:lnTo>
                    <a:pt x="15" y="0"/>
                  </a:lnTo>
                  <a:lnTo>
                    <a:pt x="12" y="0"/>
                  </a:lnTo>
                  <a:lnTo>
                    <a:pt x="9" y="2"/>
                  </a:lnTo>
                  <a:lnTo>
                    <a:pt x="7" y="3"/>
                  </a:lnTo>
                  <a:lnTo>
                    <a:pt x="5" y="5"/>
                  </a:lnTo>
                  <a:lnTo>
                    <a:pt x="2" y="7"/>
                  </a:lnTo>
                  <a:lnTo>
                    <a:pt x="1" y="9"/>
                  </a:lnTo>
                  <a:lnTo>
                    <a:pt x="0" y="12"/>
                  </a:lnTo>
                  <a:lnTo>
                    <a:pt x="0" y="15"/>
                  </a:lnTo>
                  <a:lnTo>
                    <a:pt x="0" y="406"/>
                  </a:lnTo>
                  <a:lnTo>
                    <a:pt x="0" y="409"/>
                  </a:lnTo>
                  <a:lnTo>
                    <a:pt x="1" y="412"/>
                  </a:lnTo>
                  <a:lnTo>
                    <a:pt x="2" y="414"/>
                  </a:lnTo>
                  <a:lnTo>
                    <a:pt x="5" y="417"/>
                  </a:lnTo>
                  <a:lnTo>
                    <a:pt x="7" y="419"/>
                  </a:lnTo>
                  <a:lnTo>
                    <a:pt x="9" y="421"/>
                  </a:lnTo>
                  <a:lnTo>
                    <a:pt x="12" y="421"/>
                  </a:lnTo>
                  <a:lnTo>
                    <a:pt x="15" y="422"/>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sp>
          <p:nvSpPr>
            <p:cNvPr id="51" name="Freeform 422">
              <a:extLst>
                <a:ext uri="{FF2B5EF4-FFF2-40B4-BE49-F238E27FC236}">
                  <a16:creationId xmlns:a16="http://schemas.microsoft.com/office/drawing/2014/main" id="{6D3FE6C7-D0EE-B7DB-D69A-991DA59275F4}"/>
                </a:ext>
              </a:extLst>
            </p:cNvPr>
            <p:cNvSpPr>
              <a:spLocks/>
            </p:cNvSpPr>
            <p:nvPr/>
          </p:nvSpPr>
          <p:spPr bwMode="auto">
            <a:xfrm>
              <a:off x="4319588" y="4241800"/>
              <a:ext cx="220663" cy="258763"/>
            </a:xfrm>
            <a:custGeom>
              <a:avLst/>
              <a:gdLst>
                <a:gd name="T0" fmla="*/ 421 w 698"/>
                <a:gd name="T1" fmla="*/ 15 h 813"/>
                <a:gd name="T2" fmla="*/ 420 w 698"/>
                <a:gd name="T3" fmla="*/ 8 h 813"/>
                <a:gd name="T4" fmla="*/ 417 w 698"/>
                <a:gd name="T5" fmla="*/ 4 h 813"/>
                <a:gd name="T6" fmla="*/ 413 w 698"/>
                <a:gd name="T7" fmla="*/ 1 h 813"/>
                <a:gd name="T8" fmla="*/ 406 w 698"/>
                <a:gd name="T9" fmla="*/ 0 h 813"/>
                <a:gd name="T10" fmla="*/ 365 w 698"/>
                <a:gd name="T11" fmla="*/ 2 h 813"/>
                <a:gd name="T12" fmla="*/ 325 w 698"/>
                <a:gd name="T13" fmla="*/ 8 h 813"/>
                <a:gd name="T14" fmla="*/ 286 w 698"/>
                <a:gd name="T15" fmla="*/ 18 h 813"/>
                <a:gd name="T16" fmla="*/ 249 w 698"/>
                <a:gd name="T17" fmla="*/ 32 h 813"/>
                <a:gd name="T18" fmla="*/ 213 w 698"/>
                <a:gd name="T19" fmla="*/ 49 h 813"/>
                <a:gd name="T20" fmla="*/ 180 w 698"/>
                <a:gd name="T21" fmla="*/ 69 h 813"/>
                <a:gd name="T22" fmla="*/ 148 w 698"/>
                <a:gd name="T23" fmla="*/ 92 h 813"/>
                <a:gd name="T24" fmla="*/ 120 w 698"/>
                <a:gd name="T25" fmla="*/ 119 h 813"/>
                <a:gd name="T26" fmla="*/ 93 w 698"/>
                <a:gd name="T27" fmla="*/ 148 h 813"/>
                <a:gd name="T28" fmla="*/ 69 w 698"/>
                <a:gd name="T29" fmla="*/ 179 h 813"/>
                <a:gd name="T30" fmla="*/ 49 w 698"/>
                <a:gd name="T31" fmla="*/ 212 h 813"/>
                <a:gd name="T32" fmla="*/ 32 w 698"/>
                <a:gd name="T33" fmla="*/ 247 h 813"/>
                <a:gd name="T34" fmla="*/ 19 w 698"/>
                <a:gd name="T35" fmla="*/ 285 h 813"/>
                <a:gd name="T36" fmla="*/ 8 w 698"/>
                <a:gd name="T37" fmla="*/ 325 h 813"/>
                <a:gd name="T38" fmla="*/ 2 w 698"/>
                <a:gd name="T39" fmla="*/ 364 h 813"/>
                <a:gd name="T40" fmla="*/ 0 w 698"/>
                <a:gd name="T41" fmla="*/ 406 h 813"/>
                <a:gd name="T42" fmla="*/ 2 w 698"/>
                <a:gd name="T43" fmla="*/ 447 h 813"/>
                <a:gd name="T44" fmla="*/ 8 w 698"/>
                <a:gd name="T45" fmla="*/ 488 h 813"/>
                <a:gd name="T46" fmla="*/ 19 w 698"/>
                <a:gd name="T47" fmla="*/ 526 h 813"/>
                <a:gd name="T48" fmla="*/ 32 w 698"/>
                <a:gd name="T49" fmla="*/ 564 h 813"/>
                <a:gd name="T50" fmla="*/ 49 w 698"/>
                <a:gd name="T51" fmla="*/ 599 h 813"/>
                <a:gd name="T52" fmla="*/ 69 w 698"/>
                <a:gd name="T53" fmla="*/ 633 h 813"/>
                <a:gd name="T54" fmla="*/ 93 w 698"/>
                <a:gd name="T55" fmla="*/ 665 h 813"/>
                <a:gd name="T56" fmla="*/ 120 w 698"/>
                <a:gd name="T57" fmla="*/ 694 h 813"/>
                <a:gd name="T58" fmla="*/ 148 w 698"/>
                <a:gd name="T59" fmla="*/ 719 h 813"/>
                <a:gd name="T60" fmla="*/ 180 w 698"/>
                <a:gd name="T61" fmla="*/ 743 h 813"/>
                <a:gd name="T62" fmla="*/ 213 w 698"/>
                <a:gd name="T63" fmla="*/ 763 h 813"/>
                <a:gd name="T64" fmla="*/ 249 w 698"/>
                <a:gd name="T65" fmla="*/ 780 h 813"/>
                <a:gd name="T66" fmla="*/ 286 w 698"/>
                <a:gd name="T67" fmla="*/ 794 h 813"/>
                <a:gd name="T68" fmla="*/ 325 w 698"/>
                <a:gd name="T69" fmla="*/ 804 h 813"/>
                <a:gd name="T70" fmla="*/ 365 w 698"/>
                <a:gd name="T71" fmla="*/ 810 h 813"/>
                <a:gd name="T72" fmla="*/ 406 w 698"/>
                <a:gd name="T73" fmla="*/ 813 h 813"/>
                <a:gd name="T74" fmla="*/ 447 w 698"/>
                <a:gd name="T75" fmla="*/ 810 h 813"/>
                <a:gd name="T76" fmla="*/ 487 w 698"/>
                <a:gd name="T77" fmla="*/ 804 h 813"/>
                <a:gd name="T78" fmla="*/ 525 w 698"/>
                <a:gd name="T79" fmla="*/ 794 h 813"/>
                <a:gd name="T80" fmla="*/ 562 w 698"/>
                <a:gd name="T81" fmla="*/ 782 h 813"/>
                <a:gd name="T82" fmla="*/ 598 w 698"/>
                <a:gd name="T83" fmla="*/ 764 h 813"/>
                <a:gd name="T84" fmla="*/ 632 w 698"/>
                <a:gd name="T85" fmla="*/ 744 h 813"/>
                <a:gd name="T86" fmla="*/ 664 w 698"/>
                <a:gd name="T87" fmla="*/ 720 h 813"/>
                <a:gd name="T88" fmla="*/ 694 w 698"/>
                <a:gd name="T89" fmla="*/ 694 h 813"/>
                <a:gd name="T90" fmla="*/ 697 w 698"/>
                <a:gd name="T91" fmla="*/ 688 h 813"/>
                <a:gd name="T92" fmla="*/ 698 w 698"/>
                <a:gd name="T93" fmla="*/ 683 h 813"/>
                <a:gd name="T94" fmla="*/ 697 w 698"/>
                <a:gd name="T95" fmla="*/ 676 h 813"/>
                <a:gd name="T96" fmla="*/ 694 w 698"/>
                <a:gd name="T97" fmla="*/ 672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8" h="813">
                  <a:moveTo>
                    <a:pt x="421" y="400"/>
                  </a:moveTo>
                  <a:lnTo>
                    <a:pt x="421" y="15"/>
                  </a:lnTo>
                  <a:lnTo>
                    <a:pt x="421" y="11"/>
                  </a:lnTo>
                  <a:lnTo>
                    <a:pt x="420" y="8"/>
                  </a:lnTo>
                  <a:lnTo>
                    <a:pt x="419" y="6"/>
                  </a:lnTo>
                  <a:lnTo>
                    <a:pt x="417" y="4"/>
                  </a:lnTo>
                  <a:lnTo>
                    <a:pt x="415" y="2"/>
                  </a:lnTo>
                  <a:lnTo>
                    <a:pt x="413" y="1"/>
                  </a:lnTo>
                  <a:lnTo>
                    <a:pt x="409" y="0"/>
                  </a:lnTo>
                  <a:lnTo>
                    <a:pt x="406" y="0"/>
                  </a:lnTo>
                  <a:lnTo>
                    <a:pt x="386" y="0"/>
                  </a:lnTo>
                  <a:lnTo>
                    <a:pt x="365" y="2"/>
                  </a:lnTo>
                  <a:lnTo>
                    <a:pt x="345" y="4"/>
                  </a:lnTo>
                  <a:lnTo>
                    <a:pt x="325" y="8"/>
                  </a:lnTo>
                  <a:lnTo>
                    <a:pt x="305" y="12"/>
                  </a:lnTo>
                  <a:lnTo>
                    <a:pt x="286" y="18"/>
                  </a:lnTo>
                  <a:lnTo>
                    <a:pt x="267" y="24"/>
                  </a:lnTo>
                  <a:lnTo>
                    <a:pt x="249" y="32"/>
                  </a:lnTo>
                  <a:lnTo>
                    <a:pt x="230" y="39"/>
                  </a:lnTo>
                  <a:lnTo>
                    <a:pt x="213" y="49"/>
                  </a:lnTo>
                  <a:lnTo>
                    <a:pt x="196" y="59"/>
                  </a:lnTo>
                  <a:lnTo>
                    <a:pt x="180" y="69"/>
                  </a:lnTo>
                  <a:lnTo>
                    <a:pt x="164" y="80"/>
                  </a:lnTo>
                  <a:lnTo>
                    <a:pt x="148" y="92"/>
                  </a:lnTo>
                  <a:lnTo>
                    <a:pt x="134" y="105"/>
                  </a:lnTo>
                  <a:lnTo>
                    <a:pt x="120" y="119"/>
                  </a:lnTo>
                  <a:lnTo>
                    <a:pt x="106" y="133"/>
                  </a:lnTo>
                  <a:lnTo>
                    <a:pt x="93" y="148"/>
                  </a:lnTo>
                  <a:lnTo>
                    <a:pt x="81" y="163"/>
                  </a:lnTo>
                  <a:lnTo>
                    <a:pt x="69" y="179"/>
                  </a:lnTo>
                  <a:lnTo>
                    <a:pt x="59" y="195"/>
                  </a:lnTo>
                  <a:lnTo>
                    <a:pt x="49" y="212"/>
                  </a:lnTo>
                  <a:lnTo>
                    <a:pt x="40" y="230"/>
                  </a:lnTo>
                  <a:lnTo>
                    <a:pt x="32" y="247"/>
                  </a:lnTo>
                  <a:lnTo>
                    <a:pt x="24" y="267"/>
                  </a:lnTo>
                  <a:lnTo>
                    <a:pt x="19" y="285"/>
                  </a:lnTo>
                  <a:lnTo>
                    <a:pt x="13" y="304"/>
                  </a:lnTo>
                  <a:lnTo>
                    <a:pt x="8" y="325"/>
                  </a:lnTo>
                  <a:lnTo>
                    <a:pt x="5" y="344"/>
                  </a:lnTo>
                  <a:lnTo>
                    <a:pt x="2" y="364"/>
                  </a:lnTo>
                  <a:lnTo>
                    <a:pt x="1" y="385"/>
                  </a:lnTo>
                  <a:lnTo>
                    <a:pt x="0" y="406"/>
                  </a:lnTo>
                  <a:lnTo>
                    <a:pt x="1" y="426"/>
                  </a:lnTo>
                  <a:lnTo>
                    <a:pt x="2" y="447"/>
                  </a:lnTo>
                  <a:lnTo>
                    <a:pt x="5" y="467"/>
                  </a:lnTo>
                  <a:lnTo>
                    <a:pt x="8" y="488"/>
                  </a:lnTo>
                  <a:lnTo>
                    <a:pt x="13" y="507"/>
                  </a:lnTo>
                  <a:lnTo>
                    <a:pt x="19" y="526"/>
                  </a:lnTo>
                  <a:lnTo>
                    <a:pt x="24" y="546"/>
                  </a:lnTo>
                  <a:lnTo>
                    <a:pt x="32" y="564"/>
                  </a:lnTo>
                  <a:lnTo>
                    <a:pt x="40" y="582"/>
                  </a:lnTo>
                  <a:lnTo>
                    <a:pt x="49" y="599"/>
                  </a:lnTo>
                  <a:lnTo>
                    <a:pt x="59" y="616"/>
                  </a:lnTo>
                  <a:lnTo>
                    <a:pt x="69" y="633"/>
                  </a:lnTo>
                  <a:lnTo>
                    <a:pt x="81" y="649"/>
                  </a:lnTo>
                  <a:lnTo>
                    <a:pt x="93" y="665"/>
                  </a:lnTo>
                  <a:lnTo>
                    <a:pt x="106" y="679"/>
                  </a:lnTo>
                  <a:lnTo>
                    <a:pt x="120" y="694"/>
                  </a:lnTo>
                  <a:lnTo>
                    <a:pt x="134" y="706"/>
                  </a:lnTo>
                  <a:lnTo>
                    <a:pt x="148" y="719"/>
                  </a:lnTo>
                  <a:lnTo>
                    <a:pt x="164" y="731"/>
                  </a:lnTo>
                  <a:lnTo>
                    <a:pt x="180" y="743"/>
                  </a:lnTo>
                  <a:lnTo>
                    <a:pt x="196" y="754"/>
                  </a:lnTo>
                  <a:lnTo>
                    <a:pt x="213" y="763"/>
                  </a:lnTo>
                  <a:lnTo>
                    <a:pt x="230" y="772"/>
                  </a:lnTo>
                  <a:lnTo>
                    <a:pt x="249" y="780"/>
                  </a:lnTo>
                  <a:lnTo>
                    <a:pt x="267" y="788"/>
                  </a:lnTo>
                  <a:lnTo>
                    <a:pt x="286" y="794"/>
                  </a:lnTo>
                  <a:lnTo>
                    <a:pt x="305" y="800"/>
                  </a:lnTo>
                  <a:lnTo>
                    <a:pt x="325" y="804"/>
                  </a:lnTo>
                  <a:lnTo>
                    <a:pt x="345" y="807"/>
                  </a:lnTo>
                  <a:lnTo>
                    <a:pt x="365" y="810"/>
                  </a:lnTo>
                  <a:lnTo>
                    <a:pt x="386" y="812"/>
                  </a:lnTo>
                  <a:lnTo>
                    <a:pt x="406" y="813"/>
                  </a:lnTo>
                  <a:lnTo>
                    <a:pt x="427" y="812"/>
                  </a:lnTo>
                  <a:lnTo>
                    <a:pt x="447" y="810"/>
                  </a:lnTo>
                  <a:lnTo>
                    <a:pt x="467" y="808"/>
                  </a:lnTo>
                  <a:lnTo>
                    <a:pt x="487" y="804"/>
                  </a:lnTo>
                  <a:lnTo>
                    <a:pt x="506" y="800"/>
                  </a:lnTo>
                  <a:lnTo>
                    <a:pt x="525" y="794"/>
                  </a:lnTo>
                  <a:lnTo>
                    <a:pt x="543" y="789"/>
                  </a:lnTo>
                  <a:lnTo>
                    <a:pt x="562" y="782"/>
                  </a:lnTo>
                  <a:lnTo>
                    <a:pt x="580" y="774"/>
                  </a:lnTo>
                  <a:lnTo>
                    <a:pt x="598" y="764"/>
                  </a:lnTo>
                  <a:lnTo>
                    <a:pt x="615" y="755"/>
                  </a:lnTo>
                  <a:lnTo>
                    <a:pt x="632" y="744"/>
                  </a:lnTo>
                  <a:lnTo>
                    <a:pt x="649" y="733"/>
                  </a:lnTo>
                  <a:lnTo>
                    <a:pt x="664" y="720"/>
                  </a:lnTo>
                  <a:lnTo>
                    <a:pt x="680" y="707"/>
                  </a:lnTo>
                  <a:lnTo>
                    <a:pt x="694" y="694"/>
                  </a:lnTo>
                  <a:lnTo>
                    <a:pt x="696" y="691"/>
                  </a:lnTo>
                  <a:lnTo>
                    <a:pt x="697" y="688"/>
                  </a:lnTo>
                  <a:lnTo>
                    <a:pt x="698" y="686"/>
                  </a:lnTo>
                  <a:lnTo>
                    <a:pt x="698" y="683"/>
                  </a:lnTo>
                  <a:lnTo>
                    <a:pt x="698" y="680"/>
                  </a:lnTo>
                  <a:lnTo>
                    <a:pt x="697" y="676"/>
                  </a:lnTo>
                  <a:lnTo>
                    <a:pt x="696" y="674"/>
                  </a:lnTo>
                  <a:lnTo>
                    <a:pt x="694" y="672"/>
                  </a:lnTo>
                  <a:lnTo>
                    <a:pt x="421" y="40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sp>
          <p:nvSpPr>
            <p:cNvPr id="52" name="Freeform 423">
              <a:extLst>
                <a:ext uri="{FF2B5EF4-FFF2-40B4-BE49-F238E27FC236}">
                  <a16:creationId xmlns:a16="http://schemas.microsoft.com/office/drawing/2014/main" id="{3B62C087-2C63-48A8-C800-205DD14FBA0B}"/>
                </a:ext>
              </a:extLst>
            </p:cNvPr>
            <p:cNvSpPr>
              <a:spLocks/>
            </p:cNvSpPr>
            <p:nvPr/>
          </p:nvSpPr>
          <p:spPr bwMode="auto">
            <a:xfrm>
              <a:off x="4471988" y="4356100"/>
              <a:ext cx="134938" cy="98425"/>
            </a:xfrm>
            <a:custGeom>
              <a:avLst/>
              <a:gdLst>
                <a:gd name="T0" fmla="*/ 407 w 422"/>
                <a:gd name="T1" fmla="*/ 0 h 307"/>
                <a:gd name="T2" fmla="*/ 15 w 422"/>
                <a:gd name="T3" fmla="*/ 0 h 307"/>
                <a:gd name="T4" fmla="*/ 11 w 422"/>
                <a:gd name="T5" fmla="*/ 0 h 307"/>
                <a:gd name="T6" fmla="*/ 7 w 422"/>
                <a:gd name="T7" fmla="*/ 2 h 307"/>
                <a:gd name="T8" fmla="*/ 4 w 422"/>
                <a:gd name="T9" fmla="*/ 5 h 307"/>
                <a:gd name="T10" fmla="*/ 1 w 422"/>
                <a:gd name="T11" fmla="*/ 9 h 307"/>
                <a:gd name="T12" fmla="*/ 0 w 422"/>
                <a:gd name="T13" fmla="*/ 13 h 307"/>
                <a:gd name="T14" fmla="*/ 0 w 422"/>
                <a:gd name="T15" fmla="*/ 17 h 307"/>
                <a:gd name="T16" fmla="*/ 1 w 422"/>
                <a:gd name="T17" fmla="*/ 21 h 307"/>
                <a:gd name="T18" fmla="*/ 5 w 422"/>
                <a:gd name="T19" fmla="*/ 26 h 307"/>
                <a:gd name="T20" fmla="*/ 281 w 422"/>
                <a:gd name="T21" fmla="*/ 303 h 307"/>
                <a:gd name="T22" fmla="*/ 283 w 422"/>
                <a:gd name="T23" fmla="*/ 304 h 307"/>
                <a:gd name="T24" fmla="*/ 286 w 422"/>
                <a:gd name="T25" fmla="*/ 306 h 307"/>
                <a:gd name="T26" fmla="*/ 289 w 422"/>
                <a:gd name="T27" fmla="*/ 306 h 307"/>
                <a:gd name="T28" fmla="*/ 292 w 422"/>
                <a:gd name="T29" fmla="*/ 307 h 307"/>
                <a:gd name="T30" fmla="*/ 294 w 422"/>
                <a:gd name="T31" fmla="*/ 306 h 307"/>
                <a:gd name="T32" fmla="*/ 297 w 422"/>
                <a:gd name="T33" fmla="*/ 306 h 307"/>
                <a:gd name="T34" fmla="*/ 300 w 422"/>
                <a:gd name="T35" fmla="*/ 304 h 307"/>
                <a:gd name="T36" fmla="*/ 303 w 422"/>
                <a:gd name="T37" fmla="*/ 303 h 307"/>
                <a:gd name="T38" fmla="*/ 317 w 422"/>
                <a:gd name="T39" fmla="*/ 288 h 307"/>
                <a:gd name="T40" fmla="*/ 330 w 422"/>
                <a:gd name="T41" fmla="*/ 272 h 307"/>
                <a:gd name="T42" fmla="*/ 341 w 422"/>
                <a:gd name="T43" fmla="*/ 256 h 307"/>
                <a:gd name="T44" fmla="*/ 353 w 422"/>
                <a:gd name="T45" fmla="*/ 240 h 307"/>
                <a:gd name="T46" fmla="*/ 364 w 422"/>
                <a:gd name="T47" fmla="*/ 223 h 307"/>
                <a:gd name="T48" fmla="*/ 374 w 422"/>
                <a:gd name="T49" fmla="*/ 206 h 307"/>
                <a:gd name="T50" fmla="*/ 382 w 422"/>
                <a:gd name="T51" fmla="*/ 189 h 307"/>
                <a:gd name="T52" fmla="*/ 391 w 422"/>
                <a:gd name="T53" fmla="*/ 171 h 307"/>
                <a:gd name="T54" fmla="*/ 398 w 422"/>
                <a:gd name="T55" fmla="*/ 152 h 307"/>
                <a:gd name="T56" fmla="*/ 404 w 422"/>
                <a:gd name="T57" fmla="*/ 133 h 307"/>
                <a:gd name="T58" fmla="*/ 409 w 422"/>
                <a:gd name="T59" fmla="*/ 114 h 307"/>
                <a:gd name="T60" fmla="*/ 413 w 422"/>
                <a:gd name="T61" fmla="*/ 94 h 307"/>
                <a:gd name="T62" fmla="*/ 416 w 422"/>
                <a:gd name="T63" fmla="*/ 75 h 307"/>
                <a:gd name="T64" fmla="*/ 420 w 422"/>
                <a:gd name="T65" fmla="*/ 55 h 307"/>
                <a:gd name="T66" fmla="*/ 421 w 422"/>
                <a:gd name="T67" fmla="*/ 35 h 307"/>
                <a:gd name="T68" fmla="*/ 422 w 422"/>
                <a:gd name="T69" fmla="*/ 15 h 307"/>
                <a:gd name="T70" fmla="*/ 421 w 422"/>
                <a:gd name="T71" fmla="*/ 12 h 307"/>
                <a:gd name="T72" fmla="*/ 420 w 422"/>
                <a:gd name="T73" fmla="*/ 9 h 307"/>
                <a:gd name="T74" fmla="*/ 419 w 422"/>
                <a:gd name="T75" fmla="*/ 6 h 307"/>
                <a:gd name="T76" fmla="*/ 416 w 422"/>
                <a:gd name="T77" fmla="*/ 4 h 307"/>
                <a:gd name="T78" fmla="*/ 414 w 422"/>
                <a:gd name="T79" fmla="*/ 2 h 307"/>
                <a:gd name="T80" fmla="*/ 412 w 422"/>
                <a:gd name="T81" fmla="*/ 1 h 307"/>
                <a:gd name="T82" fmla="*/ 409 w 422"/>
                <a:gd name="T83" fmla="*/ 0 h 307"/>
                <a:gd name="T84" fmla="*/ 407 w 422"/>
                <a:gd name="T85"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2" h="307">
                  <a:moveTo>
                    <a:pt x="407" y="0"/>
                  </a:moveTo>
                  <a:lnTo>
                    <a:pt x="15" y="0"/>
                  </a:lnTo>
                  <a:lnTo>
                    <a:pt x="11" y="0"/>
                  </a:lnTo>
                  <a:lnTo>
                    <a:pt x="7" y="2"/>
                  </a:lnTo>
                  <a:lnTo>
                    <a:pt x="4" y="5"/>
                  </a:lnTo>
                  <a:lnTo>
                    <a:pt x="1" y="9"/>
                  </a:lnTo>
                  <a:lnTo>
                    <a:pt x="0" y="13"/>
                  </a:lnTo>
                  <a:lnTo>
                    <a:pt x="0" y="17"/>
                  </a:lnTo>
                  <a:lnTo>
                    <a:pt x="1" y="21"/>
                  </a:lnTo>
                  <a:lnTo>
                    <a:pt x="5" y="26"/>
                  </a:lnTo>
                  <a:lnTo>
                    <a:pt x="281" y="303"/>
                  </a:lnTo>
                  <a:lnTo>
                    <a:pt x="283" y="304"/>
                  </a:lnTo>
                  <a:lnTo>
                    <a:pt x="286" y="306"/>
                  </a:lnTo>
                  <a:lnTo>
                    <a:pt x="289" y="306"/>
                  </a:lnTo>
                  <a:lnTo>
                    <a:pt x="292" y="307"/>
                  </a:lnTo>
                  <a:lnTo>
                    <a:pt x="294" y="306"/>
                  </a:lnTo>
                  <a:lnTo>
                    <a:pt x="297" y="306"/>
                  </a:lnTo>
                  <a:lnTo>
                    <a:pt x="300" y="304"/>
                  </a:lnTo>
                  <a:lnTo>
                    <a:pt x="303" y="303"/>
                  </a:lnTo>
                  <a:lnTo>
                    <a:pt x="317" y="288"/>
                  </a:lnTo>
                  <a:lnTo>
                    <a:pt x="330" y="272"/>
                  </a:lnTo>
                  <a:lnTo>
                    <a:pt x="341" y="256"/>
                  </a:lnTo>
                  <a:lnTo>
                    <a:pt x="353" y="240"/>
                  </a:lnTo>
                  <a:lnTo>
                    <a:pt x="364" y="223"/>
                  </a:lnTo>
                  <a:lnTo>
                    <a:pt x="374" y="206"/>
                  </a:lnTo>
                  <a:lnTo>
                    <a:pt x="382" y="189"/>
                  </a:lnTo>
                  <a:lnTo>
                    <a:pt x="391" y="171"/>
                  </a:lnTo>
                  <a:lnTo>
                    <a:pt x="398" y="152"/>
                  </a:lnTo>
                  <a:lnTo>
                    <a:pt x="404" y="133"/>
                  </a:lnTo>
                  <a:lnTo>
                    <a:pt x="409" y="114"/>
                  </a:lnTo>
                  <a:lnTo>
                    <a:pt x="413" y="94"/>
                  </a:lnTo>
                  <a:lnTo>
                    <a:pt x="416" y="75"/>
                  </a:lnTo>
                  <a:lnTo>
                    <a:pt x="420" y="55"/>
                  </a:lnTo>
                  <a:lnTo>
                    <a:pt x="421" y="35"/>
                  </a:lnTo>
                  <a:lnTo>
                    <a:pt x="422" y="15"/>
                  </a:lnTo>
                  <a:lnTo>
                    <a:pt x="421" y="12"/>
                  </a:lnTo>
                  <a:lnTo>
                    <a:pt x="420" y="9"/>
                  </a:lnTo>
                  <a:lnTo>
                    <a:pt x="419" y="6"/>
                  </a:lnTo>
                  <a:lnTo>
                    <a:pt x="416" y="4"/>
                  </a:lnTo>
                  <a:lnTo>
                    <a:pt x="414" y="2"/>
                  </a:lnTo>
                  <a:lnTo>
                    <a:pt x="412" y="1"/>
                  </a:lnTo>
                  <a:lnTo>
                    <a:pt x="409" y="0"/>
                  </a:lnTo>
                  <a:lnTo>
                    <a:pt x="407"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grpSp>
      <p:sp>
        <p:nvSpPr>
          <p:cNvPr id="53" name="Freeform 4404" descr="This is an icon of an hourglass.">
            <a:extLst>
              <a:ext uri="{FF2B5EF4-FFF2-40B4-BE49-F238E27FC236}">
                <a16:creationId xmlns:a16="http://schemas.microsoft.com/office/drawing/2014/main" id="{BEF6C9B9-4D17-776F-DD1A-DD5C40A436E6}"/>
              </a:ext>
            </a:extLst>
          </p:cNvPr>
          <p:cNvSpPr>
            <a:spLocks noEditPoints="1"/>
          </p:cNvSpPr>
          <p:nvPr/>
        </p:nvSpPr>
        <p:spPr bwMode="auto">
          <a:xfrm>
            <a:off x="7142975" y="5371530"/>
            <a:ext cx="156245" cy="213495"/>
          </a:xfrm>
          <a:custGeom>
            <a:avLst/>
            <a:gdLst>
              <a:gd name="T0" fmla="*/ 337 w 658"/>
              <a:gd name="T1" fmla="*/ 615 h 896"/>
              <a:gd name="T2" fmla="*/ 327 w 658"/>
              <a:gd name="T3" fmla="*/ 613 h 896"/>
              <a:gd name="T4" fmla="*/ 219 w 658"/>
              <a:gd name="T5" fmla="*/ 717 h 896"/>
              <a:gd name="T6" fmla="*/ 106 w 658"/>
              <a:gd name="T7" fmla="*/ 664 h 896"/>
              <a:gd name="T8" fmla="*/ 115 w 658"/>
              <a:gd name="T9" fmla="*/ 619 h 896"/>
              <a:gd name="T10" fmla="*/ 143 w 658"/>
              <a:gd name="T11" fmla="*/ 562 h 896"/>
              <a:gd name="T12" fmla="*/ 203 w 658"/>
              <a:gd name="T13" fmla="*/ 501 h 896"/>
              <a:gd name="T14" fmla="*/ 261 w 658"/>
              <a:gd name="T15" fmla="*/ 473 h 896"/>
              <a:gd name="T16" fmla="*/ 306 w 658"/>
              <a:gd name="T17" fmla="*/ 464 h 896"/>
              <a:gd name="T18" fmla="*/ 352 w 658"/>
              <a:gd name="T19" fmla="*/ 464 h 896"/>
              <a:gd name="T20" fmla="*/ 397 w 658"/>
              <a:gd name="T21" fmla="*/ 473 h 896"/>
              <a:gd name="T22" fmla="*/ 438 w 658"/>
              <a:gd name="T23" fmla="*/ 489 h 896"/>
              <a:gd name="T24" fmla="*/ 489 w 658"/>
              <a:gd name="T25" fmla="*/ 527 h 896"/>
              <a:gd name="T26" fmla="*/ 536 w 658"/>
              <a:gd name="T27" fmla="*/ 599 h 896"/>
              <a:gd name="T28" fmla="*/ 549 w 658"/>
              <a:gd name="T29" fmla="*/ 641 h 896"/>
              <a:gd name="T30" fmla="*/ 554 w 658"/>
              <a:gd name="T31" fmla="*/ 687 h 896"/>
              <a:gd name="T32" fmla="*/ 127 w 658"/>
              <a:gd name="T33" fmla="*/ 308 h 896"/>
              <a:gd name="T34" fmla="*/ 109 w 658"/>
              <a:gd name="T35" fmla="*/ 253 h 896"/>
              <a:gd name="T36" fmla="*/ 105 w 658"/>
              <a:gd name="T37" fmla="*/ 29 h 896"/>
              <a:gd name="T38" fmla="*/ 551 w 658"/>
              <a:gd name="T39" fmla="*/ 238 h 896"/>
              <a:gd name="T40" fmla="*/ 537 w 658"/>
              <a:gd name="T41" fmla="*/ 295 h 896"/>
              <a:gd name="T42" fmla="*/ 643 w 658"/>
              <a:gd name="T43" fmla="*/ 866 h 896"/>
              <a:gd name="T44" fmla="*/ 582 w 658"/>
              <a:gd name="T45" fmla="*/ 666 h 896"/>
              <a:gd name="T46" fmla="*/ 564 w 658"/>
              <a:gd name="T47" fmla="*/ 588 h 896"/>
              <a:gd name="T48" fmla="*/ 526 w 658"/>
              <a:gd name="T49" fmla="*/ 523 h 896"/>
              <a:gd name="T50" fmla="*/ 469 w 658"/>
              <a:gd name="T51" fmla="*/ 473 h 896"/>
              <a:gd name="T52" fmla="*/ 436 w 658"/>
              <a:gd name="T53" fmla="*/ 441 h 896"/>
              <a:gd name="T54" fmla="*/ 504 w 658"/>
              <a:gd name="T55" fmla="*/ 395 h 896"/>
              <a:gd name="T56" fmla="*/ 554 w 658"/>
              <a:gd name="T57" fmla="*/ 333 h 896"/>
              <a:gd name="T58" fmla="*/ 578 w 658"/>
              <a:gd name="T59" fmla="*/ 264 h 896"/>
              <a:gd name="T60" fmla="*/ 584 w 658"/>
              <a:gd name="T61" fmla="*/ 29 h 896"/>
              <a:gd name="T62" fmla="*/ 652 w 658"/>
              <a:gd name="T63" fmla="*/ 27 h 896"/>
              <a:gd name="T64" fmla="*/ 658 w 658"/>
              <a:gd name="T65" fmla="*/ 17 h 896"/>
              <a:gd name="T66" fmla="*/ 655 w 658"/>
              <a:gd name="T67" fmla="*/ 6 h 896"/>
              <a:gd name="T68" fmla="*/ 647 w 658"/>
              <a:gd name="T69" fmla="*/ 0 h 896"/>
              <a:gd name="T70" fmla="*/ 15 w 658"/>
              <a:gd name="T71" fmla="*/ 0 h 896"/>
              <a:gd name="T72" fmla="*/ 5 w 658"/>
              <a:gd name="T73" fmla="*/ 4 h 896"/>
              <a:gd name="T74" fmla="*/ 0 w 658"/>
              <a:gd name="T75" fmla="*/ 14 h 896"/>
              <a:gd name="T76" fmla="*/ 5 w 658"/>
              <a:gd name="T77" fmla="*/ 26 h 896"/>
              <a:gd name="T78" fmla="*/ 15 w 658"/>
              <a:gd name="T79" fmla="*/ 29 h 896"/>
              <a:gd name="T80" fmla="*/ 77 w 658"/>
              <a:gd name="T81" fmla="*/ 245 h 896"/>
              <a:gd name="T82" fmla="*/ 96 w 658"/>
              <a:gd name="T83" fmla="*/ 312 h 896"/>
              <a:gd name="T84" fmla="*/ 137 w 658"/>
              <a:gd name="T85" fmla="*/ 378 h 896"/>
              <a:gd name="T86" fmla="*/ 204 w 658"/>
              <a:gd name="T87" fmla="*/ 431 h 896"/>
              <a:gd name="T88" fmla="*/ 207 w 658"/>
              <a:gd name="T89" fmla="*/ 464 h 896"/>
              <a:gd name="T90" fmla="*/ 146 w 658"/>
              <a:gd name="T91" fmla="*/ 510 h 896"/>
              <a:gd name="T92" fmla="*/ 102 w 658"/>
              <a:gd name="T93" fmla="*/ 572 h 896"/>
              <a:gd name="T94" fmla="*/ 78 w 658"/>
              <a:gd name="T95" fmla="*/ 647 h 896"/>
              <a:gd name="T96" fmla="*/ 75 w 658"/>
              <a:gd name="T97" fmla="*/ 866 h 896"/>
              <a:gd name="T98" fmla="*/ 7 w 658"/>
              <a:gd name="T99" fmla="*/ 870 h 896"/>
              <a:gd name="T100" fmla="*/ 0 w 658"/>
              <a:gd name="T101" fmla="*/ 879 h 896"/>
              <a:gd name="T102" fmla="*/ 2 w 658"/>
              <a:gd name="T103" fmla="*/ 890 h 896"/>
              <a:gd name="T104" fmla="*/ 12 w 658"/>
              <a:gd name="T105" fmla="*/ 896 h 896"/>
              <a:gd name="T106" fmla="*/ 643 w 658"/>
              <a:gd name="T107" fmla="*/ 896 h 896"/>
              <a:gd name="T108" fmla="*/ 654 w 658"/>
              <a:gd name="T109" fmla="*/ 892 h 896"/>
              <a:gd name="T110" fmla="*/ 658 w 658"/>
              <a:gd name="T111" fmla="*/ 881 h 896"/>
              <a:gd name="T112" fmla="*/ 654 w 658"/>
              <a:gd name="T113" fmla="*/ 872 h 896"/>
              <a:gd name="T114" fmla="*/ 643 w 658"/>
              <a:gd name="T115" fmla="*/ 866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8" h="896">
                <a:moveTo>
                  <a:pt x="554" y="717"/>
                </a:moveTo>
                <a:lnTo>
                  <a:pt x="440" y="717"/>
                </a:lnTo>
                <a:lnTo>
                  <a:pt x="340" y="617"/>
                </a:lnTo>
                <a:lnTo>
                  <a:pt x="337" y="615"/>
                </a:lnTo>
                <a:lnTo>
                  <a:pt x="335" y="614"/>
                </a:lnTo>
                <a:lnTo>
                  <a:pt x="332" y="613"/>
                </a:lnTo>
                <a:lnTo>
                  <a:pt x="329" y="613"/>
                </a:lnTo>
                <a:lnTo>
                  <a:pt x="327" y="613"/>
                </a:lnTo>
                <a:lnTo>
                  <a:pt x="323" y="614"/>
                </a:lnTo>
                <a:lnTo>
                  <a:pt x="321" y="615"/>
                </a:lnTo>
                <a:lnTo>
                  <a:pt x="318" y="617"/>
                </a:lnTo>
                <a:lnTo>
                  <a:pt x="219" y="717"/>
                </a:lnTo>
                <a:lnTo>
                  <a:pt x="105" y="717"/>
                </a:lnTo>
                <a:lnTo>
                  <a:pt x="105" y="687"/>
                </a:lnTo>
                <a:lnTo>
                  <a:pt x="105" y="676"/>
                </a:lnTo>
                <a:lnTo>
                  <a:pt x="106" y="664"/>
                </a:lnTo>
                <a:lnTo>
                  <a:pt x="107" y="652"/>
                </a:lnTo>
                <a:lnTo>
                  <a:pt x="109" y="642"/>
                </a:lnTo>
                <a:lnTo>
                  <a:pt x="112" y="630"/>
                </a:lnTo>
                <a:lnTo>
                  <a:pt x="115" y="619"/>
                </a:lnTo>
                <a:lnTo>
                  <a:pt x="118" y="610"/>
                </a:lnTo>
                <a:lnTo>
                  <a:pt x="122" y="599"/>
                </a:lnTo>
                <a:lnTo>
                  <a:pt x="132" y="580"/>
                </a:lnTo>
                <a:lnTo>
                  <a:pt x="143" y="562"/>
                </a:lnTo>
                <a:lnTo>
                  <a:pt x="156" y="543"/>
                </a:lnTo>
                <a:lnTo>
                  <a:pt x="169" y="528"/>
                </a:lnTo>
                <a:lnTo>
                  <a:pt x="185" y="513"/>
                </a:lnTo>
                <a:lnTo>
                  <a:pt x="203" y="501"/>
                </a:lnTo>
                <a:lnTo>
                  <a:pt x="222" y="490"/>
                </a:lnTo>
                <a:lnTo>
                  <a:pt x="241" y="480"/>
                </a:lnTo>
                <a:lnTo>
                  <a:pt x="252" y="476"/>
                </a:lnTo>
                <a:lnTo>
                  <a:pt x="261" y="473"/>
                </a:lnTo>
                <a:lnTo>
                  <a:pt x="272" y="470"/>
                </a:lnTo>
                <a:lnTo>
                  <a:pt x="284" y="467"/>
                </a:lnTo>
                <a:lnTo>
                  <a:pt x="295" y="465"/>
                </a:lnTo>
                <a:lnTo>
                  <a:pt x="306" y="464"/>
                </a:lnTo>
                <a:lnTo>
                  <a:pt x="317" y="463"/>
                </a:lnTo>
                <a:lnTo>
                  <a:pt x="329" y="463"/>
                </a:lnTo>
                <a:lnTo>
                  <a:pt x="341" y="463"/>
                </a:lnTo>
                <a:lnTo>
                  <a:pt x="352" y="464"/>
                </a:lnTo>
                <a:lnTo>
                  <a:pt x="364" y="465"/>
                </a:lnTo>
                <a:lnTo>
                  <a:pt x="376" y="467"/>
                </a:lnTo>
                <a:lnTo>
                  <a:pt x="387" y="470"/>
                </a:lnTo>
                <a:lnTo>
                  <a:pt x="397" y="473"/>
                </a:lnTo>
                <a:lnTo>
                  <a:pt x="408" y="476"/>
                </a:lnTo>
                <a:lnTo>
                  <a:pt x="418" y="480"/>
                </a:lnTo>
                <a:lnTo>
                  <a:pt x="428" y="485"/>
                </a:lnTo>
                <a:lnTo>
                  <a:pt x="438" y="489"/>
                </a:lnTo>
                <a:lnTo>
                  <a:pt x="447" y="494"/>
                </a:lnTo>
                <a:lnTo>
                  <a:pt x="456" y="501"/>
                </a:lnTo>
                <a:lnTo>
                  <a:pt x="473" y="513"/>
                </a:lnTo>
                <a:lnTo>
                  <a:pt x="489" y="527"/>
                </a:lnTo>
                <a:lnTo>
                  <a:pt x="503" y="543"/>
                </a:lnTo>
                <a:lnTo>
                  <a:pt x="516" y="560"/>
                </a:lnTo>
                <a:lnTo>
                  <a:pt x="527" y="579"/>
                </a:lnTo>
                <a:lnTo>
                  <a:pt x="536" y="599"/>
                </a:lnTo>
                <a:lnTo>
                  <a:pt x="540" y="609"/>
                </a:lnTo>
                <a:lnTo>
                  <a:pt x="544" y="619"/>
                </a:lnTo>
                <a:lnTo>
                  <a:pt x="546" y="630"/>
                </a:lnTo>
                <a:lnTo>
                  <a:pt x="549" y="641"/>
                </a:lnTo>
                <a:lnTo>
                  <a:pt x="551" y="652"/>
                </a:lnTo>
                <a:lnTo>
                  <a:pt x="552" y="664"/>
                </a:lnTo>
                <a:lnTo>
                  <a:pt x="554" y="675"/>
                </a:lnTo>
                <a:lnTo>
                  <a:pt x="554" y="687"/>
                </a:lnTo>
                <a:lnTo>
                  <a:pt x="554" y="717"/>
                </a:lnTo>
                <a:close/>
                <a:moveTo>
                  <a:pt x="135" y="321"/>
                </a:moveTo>
                <a:lnTo>
                  <a:pt x="133" y="321"/>
                </a:lnTo>
                <a:lnTo>
                  <a:pt x="127" y="308"/>
                </a:lnTo>
                <a:lnTo>
                  <a:pt x="121" y="295"/>
                </a:lnTo>
                <a:lnTo>
                  <a:pt x="116" y="281"/>
                </a:lnTo>
                <a:lnTo>
                  <a:pt x="113" y="267"/>
                </a:lnTo>
                <a:lnTo>
                  <a:pt x="109" y="253"/>
                </a:lnTo>
                <a:lnTo>
                  <a:pt x="106" y="238"/>
                </a:lnTo>
                <a:lnTo>
                  <a:pt x="105" y="223"/>
                </a:lnTo>
                <a:lnTo>
                  <a:pt x="105" y="208"/>
                </a:lnTo>
                <a:lnTo>
                  <a:pt x="105" y="29"/>
                </a:lnTo>
                <a:lnTo>
                  <a:pt x="554" y="29"/>
                </a:lnTo>
                <a:lnTo>
                  <a:pt x="554" y="208"/>
                </a:lnTo>
                <a:lnTo>
                  <a:pt x="554" y="223"/>
                </a:lnTo>
                <a:lnTo>
                  <a:pt x="551" y="238"/>
                </a:lnTo>
                <a:lnTo>
                  <a:pt x="549" y="253"/>
                </a:lnTo>
                <a:lnTo>
                  <a:pt x="546" y="267"/>
                </a:lnTo>
                <a:lnTo>
                  <a:pt x="542" y="281"/>
                </a:lnTo>
                <a:lnTo>
                  <a:pt x="537" y="295"/>
                </a:lnTo>
                <a:lnTo>
                  <a:pt x="531" y="308"/>
                </a:lnTo>
                <a:lnTo>
                  <a:pt x="525" y="321"/>
                </a:lnTo>
                <a:lnTo>
                  <a:pt x="135" y="321"/>
                </a:lnTo>
                <a:close/>
                <a:moveTo>
                  <a:pt x="643" y="866"/>
                </a:moveTo>
                <a:lnTo>
                  <a:pt x="584" y="866"/>
                </a:lnTo>
                <a:lnTo>
                  <a:pt x="584" y="732"/>
                </a:lnTo>
                <a:lnTo>
                  <a:pt x="584" y="687"/>
                </a:lnTo>
                <a:lnTo>
                  <a:pt x="582" y="666"/>
                </a:lnTo>
                <a:lnTo>
                  <a:pt x="580" y="646"/>
                </a:lnTo>
                <a:lnTo>
                  <a:pt x="576" y="626"/>
                </a:lnTo>
                <a:lnTo>
                  <a:pt x="571" y="606"/>
                </a:lnTo>
                <a:lnTo>
                  <a:pt x="564" y="588"/>
                </a:lnTo>
                <a:lnTo>
                  <a:pt x="557" y="570"/>
                </a:lnTo>
                <a:lnTo>
                  <a:pt x="547" y="554"/>
                </a:lnTo>
                <a:lnTo>
                  <a:pt x="537" y="538"/>
                </a:lnTo>
                <a:lnTo>
                  <a:pt x="526" y="523"/>
                </a:lnTo>
                <a:lnTo>
                  <a:pt x="513" y="509"/>
                </a:lnTo>
                <a:lnTo>
                  <a:pt x="499" y="496"/>
                </a:lnTo>
                <a:lnTo>
                  <a:pt x="485" y="483"/>
                </a:lnTo>
                <a:lnTo>
                  <a:pt x="469" y="473"/>
                </a:lnTo>
                <a:lnTo>
                  <a:pt x="453" y="463"/>
                </a:lnTo>
                <a:lnTo>
                  <a:pt x="435" y="455"/>
                </a:lnTo>
                <a:lnTo>
                  <a:pt x="417" y="448"/>
                </a:lnTo>
                <a:lnTo>
                  <a:pt x="436" y="441"/>
                </a:lnTo>
                <a:lnTo>
                  <a:pt x="455" y="431"/>
                </a:lnTo>
                <a:lnTo>
                  <a:pt x="472" y="420"/>
                </a:lnTo>
                <a:lnTo>
                  <a:pt x="489" y="409"/>
                </a:lnTo>
                <a:lnTo>
                  <a:pt x="504" y="395"/>
                </a:lnTo>
                <a:lnTo>
                  <a:pt x="519" y="381"/>
                </a:lnTo>
                <a:lnTo>
                  <a:pt x="532" y="365"/>
                </a:lnTo>
                <a:lnTo>
                  <a:pt x="544" y="348"/>
                </a:lnTo>
                <a:lnTo>
                  <a:pt x="554" y="333"/>
                </a:lnTo>
                <a:lnTo>
                  <a:pt x="561" y="317"/>
                </a:lnTo>
                <a:lnTo>
                  <a:pt x="567" y="299"/>
                </a:lnTo>
                <a:lnTo>
                  <a:pt x="573" y="282"/>
                </a:lnTo>
                <a:lnTo>
                  <a:pt x="578" y="264"/>
                </a:lnTo>
                <a:lnTo>
                  <a:pt x="580" y="246"/>
                </a:lnTo>
                <a:lnTo>
                  <a:pt x="582" y="228"/>
                </a:lnTo>
                <a:lnTo>
                  <a:pt x="584" y="208"/>
                </a:lnTo>
                <a:lnTo>
                  <a:pt x="584" y="29"/>
                </a:lnTo>
                <a:lnTo>
                  <a:pt x="643" y="29"/>
                </a:lnTo>
                <a:lnTo>
                  <a:pt x="647" y="29"/>
                </a:lnTo>
                <a:lnTo>
                  <a:pt x="649" y="28"/>
                </a:lnTo>
                <a:lnTo>
                  <a:pt x="652" y="27"/>
                </a:lnTo>
                <a:lnTo>
                  <a:pt x="654" y="26"/>
                </a:lnTo>
                <a:lnTo>
                  <a:pt x="655" y="23"/>
                </a:lnTo>
                <a:lnTo>
                  <a:pt x="657" y="20"/>
                </a:lnTo>
                <a:lnTo>
                  <a:pt x="658" y="17"/>
                </a:lnTo>
                <a:lnTo>
                  <a:pt x="658" y="14"/>
                </a:lnTo>
                <a:lnTo>
                  <a:pt x="658" y="12"/>
                </a:lnTo>
                <a:lnTo>
                  <a:pt x="657" y="8"/>
                </a:lnTo>
                <a:lnTo>
                  <a:pt x="655" y="6"/>
                </a:lnTo>
                <a:lnTo>
                  <a:pt x="654" y="4"/>
                </a:lnTo>
                <a:lnTo>
                  <a:pt x="652" y="2"/>
                </a:lnTo>
                <a:lnTo>
                  <a:pt x="649" y="1"/>
                </a:lnTo>
                <a:lnTo>
                  <a:pt x="647" y="0"/>
                </a:lnTo>
                <a:lnTo>
                  <a:pt x="643" y="0"/>
                </a:lnTo>
                <a:lnTo>
                  <a:pt x="569" y="0"/>
                </a:lnTo>
                <a:lnTo>
                  <a:pt x="90" y="0"/>
                </a:lnTo>
                <a:lnTo>
                  <a:pt x="15" y="0"/>
                </a:lnTo>
                <a:lnTo>
                  <a:pt x="12" y="0"/>
                </a:lnTo>
                <a:lnTo>
                  <a:pt x="9" y="1"/>
                </a:lnTo>
                <a:lnTo>
                  <a:pt x="7" y="2"/>
                </a:lnTo>
                <a:lnTo>
                  <a:pt x="5" y="4"/>
                </a:lnTo>
                <a:lnTo>
                  <a:pt x="2" y="6"/>
                </a:lnTo>
                <a:lnTo>
                  <a:pt x="1" y="8"/>
                </a:lnTo>
                <a:lnTo>
                  <a:pt x="0" y="12"/>
                </a:lnTo>
                <a:lnTo>
                  <a:pt x="0" y="14"/>
                </a:lnTo>
                <a:lnTo>
                  <a:pt x="0" y="17"/>
                </a:lnTo>
                <a:lnTo>
                  <a:pt x="1" y="20"/>
                </a:lnTo>
                <a:lnTo>
                  <a:pt x="2" y="23"/>
                </a:lnTo>
                <a:lnTo>
                  <a:pt x="5" y="26"/>
                </a:lnTo>
                <a:lnTo>
                  <a:pt x="7" y="27"/>
                </a:lnTo>
                <a:lnTo>
                  <a:pt x="9" y="28"/>
                </a:lnTo>
                <a:lnTo>
                  <a:pt x="12" y="29"/>
                </a:lnTo>
                <a:lnTo>
                  <a:pt x="15" y="29"/>
                </a:lnTo>
                <a:lnTo>
                  <a:pt x="75" y="29"/>
                </a:lnTo>
                <a:lnTo>
                  <a:pt x="75" y="208"/>
                </a:lnTo>
                <a:lnTo>
                  <a:pt x="75" y="227"/>
                </a:lnTo>
                <a:lnTo>
                  <a:pt x="77" y="245"/>
                </a:lnTo>
                <a:lnTo>
                  <a:pt x="81" y="263"/>
                </a:lnTo>
                <a:lnTo>
                  <a:pt x="85" y="280"/>
                </a:lnTo>
                <a:lnTo>
                  <a:pt x="89" y="296"/>
                </a:lnTo>
                <a:lnTo>
                  <a:pt x="96" y="312"/>
                </a:lnTo>
                <a:lnTo>
                  <a:pt x="103" y="328"/>
                </a:lnTo>
                <a:lnTo>
                  <a:pt x="112" y="343"/>
                </a:lnTo>
                <a:lnTo>
                  <a:pt x="124" y="361"/>
                </a:lnTo>
                <a:lnTo>
                  <a:pt x="137" y="378"/>
                </a:lnTo>
                <a:lnTo>
                  <a:pt x="152" y="394"/>
                </a:lnTo>
                <a:lnTo>
                  <a:pt x="168" y="407"/>
                </a:lnTo>
                <a:lnTo>
                  <a:pt x="185" y="420"/>
                </a:lnTo>
                <a:lnTo>
                  <a:pt x="204" y="431"/>
                </a:lnTo>
                <a:lnTo>
                  <a:pt x="222" y="441"/>
                </a:lnTo>
                <a:lnTo>
                  <a:pt x="242" y="448"/>
                </a:lnTo>
                <a:lnTo>
                  <a:pt x="224" y="456"/>
                </a:lnTo>
                <a:lnTo>
                  <a:pt x="207" y="464"/>
                </a:lnTo>
                <a:lnTo>
                  <a:pt x="190" y="474"/>
                </a:lnTo>
                <a:lnTo>
                  <a:pt x="175" y="485"/>
                </a:lnTo>
                <a:lnTo>
                  <a:pt x="160" y="497"/>
                </a:lnTo>
                <a:lnTo>
                  <a:pt x="146" y="510"/>
                </a:lnTo>
                <a:lnTo>
                  <a:pt x="133" y="524"/>
                </a:lnTo>
                <a:lnTo>
                  <a:pt x="121" y="539"/>
                </a:lnTo>
                <a:lnTo>
                  <a:pt x="112" y="555"/>
                </a:lnTo>
                <a:lnTo>
                  <a:pt x="102" y="572"/>
                </a:lnTo>
                <a:lnTo>
                  <a:pt x="93" y="589"/>
                </a:lnTo>
                <a:lnTo>
                  <a:pt x="87" y="609"/>
                </a:lnTo>
                <a:lnTo>
                  <a:pt x="82" y="627"/>
                </a:lnTo>
                <a:lnTo>
                  <a:pt x="78" y="647"/>
                </a:lnTo>
                <a:lnTo>
                  <a:pt x="76" y="666"/>
                </a:lnTo>
                <a:lnTo>
                  <a:pt x="75" y="687"/>
                </a:lnTo>
                <a:lnTo>
                  <a:pt x="75" y="732"/>
                </a:lnTo>
                <a:lnTo>
                  <a:pt x="75" y="866"/>
                </a:lnTo>
                <a:lnTo>
                  <a:pt x="15" y="866"/>
                </a:lnTo>
                <a:lnTo>
                  <a:pt x="12" y="866"/>
                </a:lnTo>
                <a:lnTo>
                  <a:pt x="9" y="868"/>
                </a:lnTo>
                <a:lnTo>
                  <a:pt x="7" y="870"/>
                </a:lnTo>
                <a:lnTo>
                  <a:pt x="5" y="872"/>
                </a:lnTo>
                <a:lnTo>
                  <a:pt x="2" y="874"/>
                </a:lnTo>
                <a:lnTo>
                  <a:pt x="1" y="876"/>
                </a:lnTo>
                <a:lnTo>
                  <a:pt x="0" y="879"/>
                </a:lnTo>
                <a:lnTo>
                  <a:pt x="0" y="881"/>
                </a:lnTo>
                <a:lnTo>
                  <a:pt x="0" y="885"/>
                </a:lnTo>
                <a:lnTo>
                  <a:pt x="1" y="888"/>
                </a:lnTo>
                <a:lnTo>
                  <a:pt x="2" y="890"/>
                </a:lnTo>
                <a:lnTo>
                  <a:pt x="5" y="892"/>
                </a:lnTo>
                <a:lnTo>
                  <a:pt x="7" y="894"/>
                </a:lnTo>
                <a:lnTo>
                  <a:pt x="9" y="895"/>
                </a:lnTo>
                <a:lnTo>
                  <a:pt x="12" y="896"/>
                </a:lnTo>
                <a:lnTo>
                  <a:pt x="15" y="896"/>
                </a:lnTo>
                <a:lnTo>
                  <a:pt x="90" y="896"/>
                </a:lnTo>
                <a:lnTo>
                  <a:pt x="569" y="896"/>
                </a:lnTo>
                <a:lnTo>
                  <a:pt x="643" y="896"/>
                </a:lnTo>
                <a:lnTo>
                  <a:pt x="647" y="896"/>
                </a:lnTo>
                <a:lnTo>
                  <a:pt x="649" y="895"/>
                </a:lnTo>
                <a:lnTo>
                  <a:pt x="652" y="894"/>
                </a:lnTo>
                <a:lnTo>
                  <a:pt x="654" y="892"/>
                </a:lnTo>
                <a:lnTo>
                  <a:pt x="655" y="890"/>
                </a:lnTo>
                <a:lnTo>
                  <a:pt x="657" y="888"/>
                </a:lnTo>
                <a:lnTo>
                  <a:pt x="658" y="885"/>
                </a:lnTo>
                <a:lnTo>
                  <a:pt x="658" y="881"/>
                </a:lnTo>
                <a:lnTo>
                  <a:pt x="658" y="879"/>
                </a:lnTo>
                <a:lnTo>
                  <a:pt x="657" y="876"/>
                </a:lnTo>
                <a:lnTo>
                  <a:pt x="655" y="874"/>
                </a:lnTo>
                <a:lnTo>
                  <a:pt x="654" y="872"/>
                </a:lnTo>
                <a:lnTo>
                  <a:pt x="652" y="870"/>
                </a:lnTo>
                <a:lnTo>
                  <a:pt x="649" y="868"/>
                </a:lnTo>
                <a:lnTo>
                  <a:pt x="647" y="866"/>
                </a:lnTo>
                <a:lnTo>
                  <a:pt x="643" y="866"/>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lt1"/>
              </a:solidFill>
              <a:latin typeface="Segoe UI" panose="020B0502040204020203" pitchFamily="34" charset="0"/>
              <a:cs typeface="Segoe UI" panose="020B0502040204020203" pitchFamily="34" charset="0"/>
            </a:endParaRPr>
          </a:p>
        </p:txBody>
      </p:sp>
      <p:sp>
        <p:nvSpPr>
          <p:cNvPr id="54" name="TextBox 47">
            <a:extLst>
              <a:ext uri="{FF2B5EF4-FFF2-40B4-BE49-F238E27FC236}">
                <a16:creationId xmlns:a16="http://schemas.microsoft.com/office/drawing/2014/main" id="{79911F9E-05AD-025D-92FA-349B7BC22528}"/>
              </a:ext>
            </a:extLst>
          </p:cNvPr>
          <p:cNvSpPr txBox="1"/>
          <p:nvPr/>
        </p:nvSpPr>
        <p:spPr>
          <a:xfrm>
            <a:off x="6989289" y="1893685"/>
            <a:ext cx="4864573" cy="1077218"/>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err="1">
                <a:solidFill>
                  <a:schemeClr val="tx1">
                    <a:lumMod val="75000"/>
                    <a:lumOff val="25000"/>
                  </a:schemeClr>
                </a:solidFill>
                <a:latin typeface="Segoe UI" panose="020B0502040204020203" pitchFamily="34" charset="0"/>
                <a:cs typeface="Segoe UI" panose="020B0502040204020203" pitchFamily="34" charset="0"/>
              </a:rPr>
              <a:t>amet</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elit</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Pellentesque</a:t>
            </a:r>
            <a:r>
              <a:rPr lang="en-US" sz="1400">
                <a:solidFill>
                  <a:schemeClr val="tx1">
                    <a:lumMod val="75000"/>
                    <a:lumOff val="25000"/>
                  </a:schemeClr>
                </a:solidFill>
                <a:latin typeface="Segoe UI" panose="020B0502040204020203" pitchFamily="34" charset="0"/>
                <a:cs typeface="Segoe UI" panose="020B0502040204020203" pitchFamily="34" charset="0"/>
              </a:rPr>
              <a:t> sit </a:t>
            </a:r>
            <a:r>
              <a:rPr lang="en-US" sz="1400" err="1">
                <a:solidFill>
                  <a:schemeClr val="tx1">
                    <a:lumMod val="75000"/>
                    <a:lumOff val="25000"/>
                  </a:schemeClr>
                </a:solidFill>
                <a:latin typeface="Segoe UI" panose="020B0502040204020203" pitchFamily="34" charset="0"/>
                <a:cs typeface="Segoe UI" panose="020B0502040204020203" pitchFamily="34" charset="0"/>
              </a:rPr>
              <a:t>amet</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feugiat</a:t>
            </a:r>
            <a:r>
              <a:rPr lang="en-US" sz="1400">
                <a:solidFill>
                  <a:schemeClr val="tx1">
                    <a:lumMod val="75000"/>
                    <a:lumOff val="25000"/>
                  </a:schemeClr>
                </a:solidFill>
                <a:latin typeface="Segoe UI" panose="020B0502040204020203" pitchFamily="34" charset="0"/>
                <a:cs typeface="Segoe UI" panose="020B0502040204020203" pitchFamily="34" charset="0"/>
              </a:rPr>
              <a:t> mi. Maecenas </a:t>
            </a:r>
            <a:r>
              <a:rPr lang="en-US" sz="1400" err="1">
                <a:solidFill>
                  <a:schemeClr val="tx1">
                    <a:lumMod val="75000"/>
                    <a:lumOff val="25000"/>
                  </a:schemeClr>
                </a:solidFill>
                <a:latin typeface="Segoe UI" panose="020B0502040204020203" pitchFamily="34" charset="0"/>
                <a:cs typeface="Segoe UI" panose="020B0502040204020203" pitchFamily="34" charset="0"/>
              </a:rPr>
              <a:t>volutpat</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hendrerit</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odio</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quis</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mattis</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Quisque</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eget</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leo</a:t>
            </a:r>
            <a:r>
              <a:rPr lang="en-US" sz="1400">
                <a:solidFill>
                  <a:schemeClr val="tx1">
                    <a:lumMod val="75000"/>
                    <a:lumOff val="25000"/>
                  </a:schemeClr>
                </a:solidFill>
                <a:latin typeface="Segoe UI" panose="020B0502040204020203" pitchFamily="34" charset="0"/>
                <a:cs typeface="Segoe UI" panose="020B0502040204020203" pitchFamily="34" charset="0"/>
              </a:rPr>
              <a:t> sit </a:t>
            </a:r>
            <a:r>
              <a:rPr lang="en-US" sz="1400" err="1">
                <a:solidFill>
                  <a:schemeClr val="tx1">
                    <a:lumMod val="75000"/>
                    <a:lumOff val="25000"/>
                  </a:schemeClr>
                </a:solidFill>
                <a:latin typeface="Segoe UI" panose="020B0502040204020203" pitchFamily="34" charset="0"/>
                <a:cs typeface="Segoe UI" panose="020B0502040204020203" pitchFamily="34" charset="0"/>
              </a:rPr>
              <a:t>amet</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nulla</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dapibus</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lobortis</a:t>
            </a:r>
            <a:r>
              <a:rPr lang="en-US" sz="1400">
                <a:solidFill>
                  <a:schemeClr val="tx1">
                    <a:lumMod val="75000"/>
                    <a:lumOff val="25000"/>
                  </a:schemeClr>
                </a:solidFill>
                <a:latin typeface="Segoe UI" panose="020B0502040204020203" pitchFamily="34" charset="0"/>
                <a:cs typeface="Segoe UI" panose="020B0502040204020203" pitchFamily="34" charset="0"/>
              </a:rPr>
              <a:t> id </a:t>
            </a:r>
            <a:r>
              <a:rPr lang="en-US" sz="1400" err="1">
                <a:solidFill>
                  <a:schemeClr val="tx1">
                    <a:lumMod val="75000"/>
                    <a:lumOff val="25000"/>
                  </a:schemeClr>
                </a:solidFill>
                <a:latin typeface="Segoe UI" panose="020B0502040204020203" pitchFamily="34" charset="0"/>
                <a:cs typeface="Segoe UI" panose="020B0502040204020203" pitchFamily="34" charset="0"/>
              </a:rPr>
              <a:t>nec</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felis</a:t>
            </a:r>
            <a:r>
              <a:rPr lang="en-US" sz="1400">
                <a:solidFill>
                  <a:schemeClr val="tx1">
                    <a:lumMod val="75000"/>
                    <a:lumOff val="25000"/>
                  </a:schemeClr>
                </a:solidFill>
                <a:latin typeface="Segoe UI" panose="020B0502040204020203" pitchFamily="34" charset="0"/>
                <a:cs typeface="Segoe UI" panose="020B0502040204020203" pitchFamily="34" charset="0"/>
              </a:rPr>
              <a:t>. Vestibulum </a:t>
            </a:r>
            <a:r>
              <a:rPr lang="en-US" sz="1400" err="1">
                <a:solidFill>
                  <a:schemeClr val="tx1">
                    <a:lumMod val="75000"/>
                    <a:lumOff val="25000"/>
                  </a:schemeClr>
                </a:solidFill>
                <a:latin typeface="Segoe UI" panose="020B0502040204020203" pitchFamily="34" charset="0"/>
                <a:cs typeface="Segoe UI" panose="020B0502040204020203" pitchFamily="34" charset="0"/>
              </a:rPr>
              <a:t>malesuada</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porttitor</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est</a:t>
            </a:r>
            <a:r>
              <a:rPr lang="en-US" sz="1400">
                <a:solidFill>
                  <a:schemeClr val="tx1">
                    <a:lumMod val="75000"/>
                    <a:lumOff val="25000"/>
                  </a:schemeClr>
                </a:solidFill>
                <a:latin typeface="Segoe UI" panose="020B0502040204020203" pitchFamily="34" charset="0"/>
                <a:cs typeface="Segoe UI" panose="020B0502040204020203" pitchFamily="34" charset="0"/>
              </a:rPr>
              <a:t> et pulvinar. </a:t>
            </a:r>
          </a:p>
        </p:txBody>
      </p:sp>
      <p:sp>
        <p:nvSpPr>
          <p:cNvPr id="55" name="Rectangle: Rounded Corners 74">
            <a:extLst>
              <a:ext uri="{FF2B5EF4-FFF2-40B4-BE49-F238E27FC236}">
                <a16:creationId xmlns:a16="http://schemas.microsoft.com/office/drawing/2014/main" id="{065DE4BB-3DE2-D62F-1155-79706E03EA98}"/>
              </a:ext>
            </a:extLst>
          </p:cNvPr>
          <p:cNvSpPr/>
          <p:nvPr/>
        </p:nvSpPr>
        <p:spPr>
          <a:xfrm>
            <a:off x="1584886" y="1625697"/>
            <a:ext cx="3952875" cy="492443"/>
          </a:xfrm>
          <a:prstGeom prst="roundRect">
            <a:avLst>
              <a:gd name="adj" fmla="val 50000"/>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latin typeface="Segoe UI" panose="020B0502040204020203" pitchFamily="34" charset="0"/>
                <a:cs typeface="Segoe UI" panose="020B0502040204020203" pitchFamily="34" charset="0"/>
              </a:rPr>
              <a:t>Lorem Ipsum</a:t>
            </a:r>
          </a:p>
        </p:txBody>
      </p:sp>
      <p:sp>
        <p:nvSpPr>
          <p:cNvPr id="56" name="Oval 55">
            <a:extLst>
              <a:ext uri="{FF2B5EF4-FFF2-40B4-BE49-F238E27FC236}">
                <a16:creationId xmlns:a16="http://schemas.microsoft.com/office/drawing/2014/main" id="{2F7A431B-3E21-9512-6036-E0885B3489D7}"/>
              </a:ext>
              <a:ext uri="{C183D7F6-B498-43B3-948B-1728B52AA6E4}">
                <adec:decorative xmlns:adec="http://schemas.microsoft.com/office/drawing/2017/decorative" val="1"/>
              </a:ext>
            </a:extLst>
          </p:cNvPr>
          <p:cNvSpPr/>
          <p:nvPr/>
        </p:nvSpPr>
        <p:spPr>
          <a:xfrm>
            <a:off x="1642267" y="1674334"/>
            <a:ext cx="385764" cy="3857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grpSp>
        <p:nvGrpSpPr>
          <p:cNvPr id="57" name="Group 56" descr="This is an icon of a bar chart and a line chart. ">
            <a:extLst>
              <a:ext uri="{FF2B5EF4-FFF2-40B4-BE49-F238E27FC236}">
                <a16:creationId xmlns:a16="http://schemas.microsoft.com/office/drawing/2014/main" id="{BC3B27DD-698A-E942-AD8F-7B5290D8E1F8}"/>
              </a:ext>
            </a:extLst>
          </p:cNvPr>
          <p:cNvGrpSpPr/>
          <p:nvPr/>
        </p:nvGrpSpPr>
        <p:grpSpPr>
          <a:xfrm>
            <a:off x="1737022" y="1769089"/>
            <a:ext cx="196255" cy="196255"/>
            <a:chOff x="4319588" y="2492375"/>
            <a:chExt cx="287338" cy="287338"/>
          </a:xfrm>
          <a:solidFill>
            <a:srgbClr val="CE295E"/>
          </a:solidFill>
        </p:grpSpPr>
        <p:sp>
          <p:nvSpPr>
            <p:cNvPr id="58" name="Freeform 372">
              <a:extLst>
                <a:ext uri="{FF2B5EF4-FFF2-40B4-BE49-F238E27FC236}">
                  <a16:creationId xmlns:a16="http://schemas.microsoft.com/office/drawing/2014/main" id="{9B422089-F42F-79D6-DF27-B4D6FE6495DB}"/>
                </a:ext>
              </a:extLst>
            </p:cNvPr>
            <p:cNvSpPr>
              <a:spLocks/>
            </p:cNvSpPr>
            <p:nvPr/>
          </p:nvSpPr>
          <p:spPr bwMode="auto">
            <a:xfrm>
              <a:off x="4319588" y="2587625"/>
              <a:ext cx="287338" cy="192088"/>
            </a:xfrm>
            <a:custGeom>
              <a:avLst/>
              <a:gdLst>
                <a:gd name="T0" fmla="*/ 843 w 904"/>
                <a:gd name="T1" fmla="*/ 572 h 602"/>
                <a:gd name="T2" fmla="*/ 843 w 904"/>
                <a:gd name="T3" fmla="*/ 12 h 602"/>
                <a:gd name="T4" fmla="*/ 841 w 904"/>
                <a:gd name="T5" fmla="*/ 7 h 602"/>
                <a:gd name="T6" fmla="*/ 836 w 904"/>
                <a:gd name="T7" fmla="*/ 3 h 602"/>
                <a:gd name="T8" fmla="*/ 831 w 904"/>
                <a:gd name="T9" fmla="*/ 1 h 602"/>
                <a:gd name="T10" fmla="*/ 708 w 904"/>
                <a:gd name="T11" fmla="*/ 0 h 602"/>
                <a:gd name="T12" fmla="*/ 702 w 904"/>
                <a:gd name="T13" fmla="*/ 2 h 602"/>
                <a:gd name="T14" fmla="*/ 697 w 904"/>
                <a:gd name="T15" fmla="*/ 5 h 602"/>
                <a:gd name="T16" fmla="*/ 694 w 904"/>
                <a:gd name="T17" fmla="*/ 9 h 602"/>
                <a:gd name="T18" fmla="*/ 693 w 904"/>
                <a:gd name="T19" fmla="*/ 16 h 602"/>
                <a:gd name="T20" fmla="*/ 632 w 904"/>
                <a:gd name="T21" fmla="*/ 572 h 602"/>
                <a:gd name="T22" fmla="*/ 632 w 904"/>
                <a:gd name="T23" fmla="*/ 283 h 602"/>
                <a:gd name="T24" fmla="*/ 630 w 904"/>
                <a:gd name="T25" fmla="*/ 277 h 602"/>
                <a:gd name="T26" fmla="*/ 626 w 904"/>
                <a:gd name="T27" fmla="*/ 274 h 602"/>
                <a:gd name="T28" fmla="*/ 621 w 904"/>
                <a:gd name="T29" fmla="*/ 271 h 602"/>
                <a:gd name="T30" fmla="*/ 497 w 904"/>
                <a:gd name="T31" fmla="*/ 271 h 602"/>
                <a:gd name="T32" fmla="*/ 491 w 904"/>
                <a:gd name="T33" fmla="*/ 272 h 602"/>
                <a:gd name="T34" fmla="*/ 487 w 904"/>
                <a:gd name="T35" fmla="*/ 275 h 602"/>
                <a:gd name="T36" fmla="*/ 483 w 904"/>
                <a:gd name="T37" fmla="*/ 281 h 602"/>
                <a:gd name="T38" fmla="*/ 482 w 904"/>
                <a:gd name="T39" fmla="*/ 286 h 602"/>
                <a:gd name="T40" fmla="*/ 421 w 904"/>
                <a:gd name="T41" fmla="*/ 572 h 602"/>
                <a:gd name="T42" fmla="*/ 421 w 904"/>
                <a:gd name="T43" fmla="*/ 193 h 602"/>
                <a:gd name="T44" fmla="*/ 419 w 904"/>
                <a:gd name="T45" fmla="*/ 187 h 602"/>
                <a:gd name="T46" fmla="*/ 415 w 904"/>
                <a:gd name="T47" fmla="*/ 183 h 602"/>
                <a:gd name="T48" fmla="*/ 409 w 904"/>
                <a:gd name="T49" fmla="*/ 181 h 602"/>
                <a:gd name="T50" fmla="*/ 286 w 904"/>
                <a:gd name="T51" fmla="*/ 181 h 602"/>
                <a:gd name="T52" fmla="*/ 281 w 904"/>
                <a:gd name="T53" fmla="*/ 182 h 602"/>
                <a:gd name="T54" fmla="*/ 275 w 904"/>
                <a:gd name="T55" fmla="*/ 185 h 602"/>
                <a:gd name="T56" fmla="*/ 272 w 904"/>
                <a:gd name="T57" fmla="*/ 190 h 602"/>
                <a:gd name="T58" fmla="*/ 271 w 904"/>
                <a:gd name="T59" fmla="*/ 196 h 602"/>
                <a:gd name="T60" fmla="*/ 211 w 904"/>
                <a:gd name="T61" fmla="*/ 572 h 602"/>
                <a:gd name="T62" fmla="*/ 211 w 904"/>
                <a:gd name="T63" fmla="*/ 404 h 602"/>
                <a:gd name="T64" fmla="*/ 209 w 904"/>
                <a:gd name="T65" fmla="*/ 399 h 602"/>
                <a:gd name="T66" fmla="*/ 205 w 904"/>
                <a:gd name="T67" fmla="*/ 394 h 602"/>
                <a:gd name="T68" fmla="*/ 199 w 904"/>
                <a:gd name="T69" fmla="*/ 392 h 602"/>
                <a:gd name="T70" fmla="*/ 76 w 904"/>
                <a:gd name="T71" fmla="*/ 391 h 602"/>
                <a:gd name="T72" fmla="*/ 69 w 904"/>
                <a:gd name="T73" fmla="*/ 392 h 602"/>
                <a:gd name="T74" fmla="*/ 65 w 904"/>
                <a:gd name="T75" fmla="*/ 396 h 602"/>
                <a:gd name="T76" fmla="*/ 62 w 904"/>
                <a:gd name="T77" fmla="*/ 401 h 602"/>
                <a:gd name="T78" fmla="*/ 61 w 904"/>
                <a:gd name="T79" fmla="*/ 406 h 602"/>
                <a:gd name="T80" fmla="*/ 15 w 904"/>
                <a:gd name="T81" fmla="*/ 572 h 602"/>
                <a:gd name="T82" fmla="*/ 9 w 904"/>
                <a:gd name="T83" fmla="*/ 573 h 602"/>
                <a:gd name="T84" fmla="*/ 5 w 904"/>
                <a:gd name="T85" fmla="*/ 577 h 602"/>
                <a:gd name="T86" fmla="*/ 2 w 904"/>
                <a:gd name="T87" fmla="*/ 581 h 602"/>
                <a:gd name="T88" fmla="*/ 0 w 904"/>
                <a:gd name="T89" fmla="*/ 587 h 602"/>
                <a:gd name="T90" fmla="*/ 2 w 904"/>
                <a:gd name="T91" fmla="*/ 593 h 602"/>
                <a:gd name="T92" fmla="*/ 5 w 904"/>
                <a:gd name="T93" fmla="*/ 598 h 602"/>
                <a:gd name="T94" fmla="*/ 9 w 904"/>
                <a:gd name="T95" fmla="*/ 601 h 602"/>
                <a:gd name="T96" fmla="*/ 15 w 904"/>
                <a:gd name="T97" fmla="*/ 602 h 602"/>
                <a:gd name="T98" fmla="*/ 196 w 904"/>
                <a:gd name="T99" fmla="*/ 602 h 602"/>
                <a:gd name="T100" fmla="*/ 406 w 904"/>
                <a:gd name="T101" fmla="*/ 602 h 602"/>
                <a:gd name="T102" fmla="*/ 617 w 904"/>
                <a:gd name="T103" fmla="*/ 602 h 602"/>
                <a:gd name="T104" fmla="*/ 828 w 904"/>
                <a:gd name="T105" fmla="*/ 602 h 602"/>
                <a:gd name="T106" fmla="*/ 891 w 904"/>
                <a:gd name="T107" fmla="*/ 602 h 602"/>
                <a:gd name="T108" fmla="*/ 896 w 904"/>
                <a:gd name="T109" fmla="*/ 600 h 602"/>
                <a:gd name="T110" fmla="*/ 901 w 904"/>
                <a:gd name="T111" fmla="*/ 596 h 602"/>
                <a:gd name="T112" fmla="*/ 903 w 904"/>
                <a:gd name="T113" fmla="*/ 591 h 602"/>
                <a:gd name="T114" fmla="*/ 903 w 904"/>
                <a:gd name="T115" fmla="*/ 584 h 602"/>
                <a:gd name="T116" fmla="*/ 901 w 904"/>
                <a:gd name="T117" fmla="*/ 579 h 602"/>
                <a:gd name="T118" fmla="*/ 896 w 904"/>
                <a:gd name="T119" fmla="*/ 575 h 602"/>
                <a:gd name="T120" fmla="*/ 891 w 904"/>
                <a:gd name="T121" fmla="*/ 572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4" h="602">
                  <a:moveTo>
                    <a:pt x="889" y="572"/>
                  </a:moveTo>
                  <a:lnTo>
                    <a:pt x="843" y="572"/>
                  </a:lnTo>
                  <a:lnTo>
                    <a:pt x="843" y="16"/>
                  </a:lnTo>
                  <a:lnTo>
                    <a:pt x="843" y="12"/>
                  </a:lnTo>
                  <a:lnTo>
                    <a:pt x="842" y="9"/>
                  </a:lnTo>
                  <a:lnTo>
                    <a:pt x="841" y="7"/>
                  </a:lnTo>
                  <a:lnTo>
                    <a:pt x="838" y="5"/>
                  </a:lnTo>
                  <a:lnTo>
                    <a:pt x="836" y="3"/>
                  </a:lnTo>
                  <a:lnTo>
                    <a:pt x="834" y="2"/>
                  </a:lnTo>
                  <a:lnTo>
                    <a:pt x="831" y="1"/>
                  </a:lnTo>
                  <a:lnTo>
                    <a:pt x="828" y="1"/>
                  </a:lnTo>
                  <a:lnTo>
                    <a:pt x="708" y="0"/>
                  </a:lnTo>
                  <a:lnTo>
                    <a:pt x="704" y="1"/>
                  </a:lnTo>
                  <a:lnTo>
                    <a:pt x="702" y="2"/>
                  </a:lnTo>
                  <a:lnTo>
                    <a:pt x="699" y="3"/>
                  </a:lnTo>
                  <a:lnTo>
                    <a:pt x="697" y="5"/>
                  </a:lnTo>
                  <a:lnTo>
                    <a:pt x="695" y="7"/>
                  </a:lnTo>
                  <a:lnTo>
                    <a:pt x="694" y="9"/>
                  </a:lnTo>
                  <a:lnTo>
                    <a:pt x="693" y="12"/>
                  </a:lnTo>
                  <a:lnTo>
                    <a:pt x="693" y="16"/>
                  </a:lnTo>
                  <a:lnTo>
                    <a:pt x="693" y="572"/>
                  </a:lnTo>
                  <a:lnTo>
                    <a:pt x="632" y="572"/>
                  </a:lnTo>
                  <a:lnTo>
                    <a:pt x="632" y="286"/>
                  </a:lnTo>
                  <a:lnTo>
                    <a:pt x="632" y="283"/>
                  </a:lnTo>
                  <a:lnTo>
                    <a:pt x="631" y="281"/>
                  </a:lnTo>
                  <a:lnTo>
                    <a:pt x="630" y="277"/>
                  </a:lnTo>
                  <a:lnTo>
                    <a:pt x="628" y="275"/>
                  </a:lnTo>
                  <a:lnTo>
                    <a:pt x="626" y="274"/>
                  </a:lnTo>
                  <a:lnTo>
                    <a:pt x="623" y="272"/>
                  </a:lnTo>
                  <a:lnTo>
                    <a:pt x="621" y="271"/>
                  </a:lnTo>
                  <a:lnTo>
                    <a:pt x="617" y="271"/>
                  </a:lnTo>
                  <a:lnTo>
                    <a:pt x="497" y="271"/>
                  </a:lnTo>
                  <a:lnTo>
                    <a:pt x="494" y="271"/>
                  </a:lnTo>
                  <a:lnTo>
                    <a:pt x="491" y="272"/>
                  </a:lnTo>
                  <a:lnTo>
                    <a:pt x="489" y="274"/>
                  </a:lnTo>
                  <a:lnTo>
                    <a:pt x="487" y="275"/>
                  </a:lnTo>
                  <a:lnTo>
                    <a:pt x="484" y="277"/>
                  </a:lnTo>
                  <a:lnTo>
                    <a:pt x="483" y="281"/>
                  </a:lnTo>
                  <a:lnTo>
                    <a:pt x="482" y="283"/>
                  </a:lnTo>
                  <a:lnTo>
                    <a:pt x="482" y="286"/>
                  </a:lnTo>
                  <a:lnTo>
                    <a:pt x="482" y="572"/>
                  </a:lnTo>
                  <a:lnTo>
                    <a:pt x="421" y="572"/>
                  </a:lnTo>
                  <a:lnTo>
                    <a:pt x="421" y="196"/>
                  </a:lnTo>
                  <a:lnTo>
                    <a:pt x="421" y="193"/>
                  </a:lnTo>
                  <a:lnTo>
                    <a:pt x="420" y="190"/>
                  </a:lnTo>
                  <a:lnTo>
                    <a:pt x="419" y="187"/>
                  </a:lnTo>
                  <a:lnTo>
                    <a:pt x="417" y="185"/>
                  </a:lnTo>
                  <a:lnTo>
                    <a:pt x="415" y="183"/>
                  </a:lnTo>
                  <a:lnTo>
                    <a:pt x="413" y="182"/>
                  </a:lnTo>
                  <a:lnTo>
                    <a:pt x="409" y="181"/>
                  </a:lnTo>
                  <a:lnTo>
                    <a:pt x="406" y="181"/>
                  </a:lnTo>
                  <a:lnTo>
                    <a:pt x="286" y="181"/>
                  </a:lnTo>
                  <a:lnTo>
                    <a:pt x="283" y="181"/>
                  </a:lnTo>
                  <a:lnTo>
                    <a:pt x="281" y="182"/>
                  </a:lnTo>
                  <a:lnTo>
                    <a:pt x="277" y="183"/>
                  </a:lnTo>
                  <a:lnTo>
                    <a:pt x="275" y="185"/>
                  </a:lnTo>
                  <a:lnTo>
                    <a:pt x="273" y="187"/>
                  </a:lnTo>
                  <a:lnTo>
                    <a:pt x="272" y="190"/>
                  </a:lnTo>
                  <a:lnTo>
                    <a:pt x="271" y="193"/>
                  </a:lnTo>
                  <a:lnTo>
                    <a:pt x="271" y="196"/>
                  </a:lnTo>
                  <a:lnTo>
                    <a:pt x="271" y="572"/>
                  </a:lnTo>
                  <a:lnTo>
                    <a:pt x="211" y="572"/>
                  </a:lnTo>
                  <a:lnTo>
                    <a:pt x="211" y="406"/>
                  </a:lnTo>
                  <a:lnTo>
                    <a:pt x="211" y="404"/>
                  </a:lnTo>
                  <a:lnTo>
                    <a:pt x="210" y="401"/>
                  </a:lnTo>
                  <a:lnTo>
                    <a:pt x="209" y="399"/>
                  </a:lnTo>
                  <a:lnTo>
                    <a:pt x="207" y="396"/>
                  </a:lnTo>
                  <a:lnTo>
                    <a:pt x="205" y="394"/>
                  </a:lnTo>
                  <a:lnTo>
                    <a:pt x="201" y="393"/>
                  </a:lnTo>
                  <a:lnTo>
                    <a:pt x="199" y="392"/>
                  </a:lnTo>
                  <a:lnTo>
                    <a:pt x="196" y="391"/>
                  </a:lnTo>
                  <a:lnTo>
                    <a:pt x="76" y="391"/>
                  </a:lnTo>
                  <a:lnTo>
                    <a:pt x="73" y="392"/>
                  </a:lnTo>
                  <a:lnTo>
                    <a:pt x="69" y="392"/>
                  </a:lnTo>
                  <a:lnTo>
                    <a:pt x="67" y="394"/>
                  </a:lnTo>
                  <a:lnTo>
                    <a:pt x="65" y="396"/>
                  </a:lnTo>
                  <a:lnTo>
                    <a:pt x="63" y="399"/>
                  </a:lnTo>
                  <a:lnTo>
                    <a:pt x="62" y="401"/>
                  </a:lnTo>
                  <a:lnTo>
                    <a:pt x="61" y="404"/>
                  </a:lnTo>
                  <a:lnTo>
                    <a:pt x="61" y="406"/>
                  </a:lnTo>
                  <a:lnTo>
                    <a:pt x="61" y="572"/>
                  </a:lnTo>
                  <a:lnTo>
                    <a:pt x="15" y="572"/>
                  </a:lnTo>
                  <a:lnTo>
                    <a:pt x="13" y="572"/>
                  </a:lnTo>
                  <a:lnTo>
                    <a:pt x="9" y="573"/>
                  </a:lnTo>
                  <a:lnTo>
                    <a:pt x="7" y="575"/>
                  </a:lnTo>
                  <a:lnTo>
                    <a:pt x="5" y="577"/>
                  </a:lnTo>
                  <a:lnTo>
                    <a:pt x="3" y="579"/>
                  </a:lnTo>
                  <a:lnTo>
                    <a:pt x="2" y="581"/>
                  </a:lnTo>
                  <a:lnTo>
                    <a:pt x="1" y="584"/>
                  </a:lnTo>
                  <a:lnTo>
                    <a:pt x="0" y="587"/>
                  </a:lnTo>
                  <a:lnTo>
                    <a:pt x="1" y="591"/>
                  </a:lnTo>
                  <a:lnTo>
                    <a:pt x="2" y="593"/>
                  </a:lnTo>
                  <a:lnTo>
                    <a:pt x="3" y="596"/>
                  </a:lnTo>
                  <a:lnTo>
                    <a:pt x="5" y="598"/>
                  </a:lnTo>
                  <a:lnTo>
                    <a:pt x="7" y="600"/>
                  </a:lnTo>
                  <a:lnTo>
                    <a:pt x="9" y="601"/>
                  </a:lnTo>
                  <a:lnTo>
                    <a:pt x="13" y="602"/>
                  </a:lnTo>
                  <a:lnTo>
                    <a:pt x="15" y="602"/>
                  </a:lnTo>
                  <a:lnTo>
                    <a:pt x="76" y="602"/>
                  </a:lnTo>
                  <a:lnTo>
                    <a:pt x="196" y="602"/>
                  </a:lnTo>
                  <a:lnTo>
                    <a:pt x="286" y="602"/>
                  </a:lnTo>
                  <a:lnTo>
                    <a:pt x="406" y="602"/>
                  </a:lnTo>
                  <a:lnTo>
                    <a:pt x="497" y="602"/>
                  </a:lnTo>
                  <a:lnTo>
                    <a:pt x="617" y="602"/>
                  </a:lnTo>
                  <a:lnTo>
                    <a:pt x="708" y="602"/>
                  </a:lnTo>
                  <a:lnTo>
                    <a:pt x="828" y="602"/>
                  </a:lnTo>
                  <a:lnTo>
                    <a:pt x="889" y="602"/>
                  </a:lnTo>
                  <a:lnTo>
                    <a:pt x="891" y="602"/>
                  </a:lnTo>
                  <a:lnTo>
                    <a:pt x="894" y="601"/>
                  </a:lnTo>
                  <a:lnTo>
                    <a:pt x="896" y="600"/>
                  </a:lnTo>
                  <a:lnTo>
                    <a:pt x="898" y="598"/>
                  </a:lnTo>
                  <a:lnTo>
                    <a:pt x="901" y="596"/>
                  </a:lnTo>
                  <a:lnTo>
                    <a:pt x="902" y="593"/>
                  </a:lnTo>
                  <a:lnTo>
                    <a:pt x="903" y="591"/>
                  </a:lnTo>
                  <a:lnTo>
                    <a:pt x="904" y="587"/>
                  </a:lnTo>
                  <a:lnTo>
                    <a:pt x="903" y="584"/>
                  </a:lnTo>
                  <a:lnTo>
                    <a:pt x="902" y="581"/>
                  </a:lnTo>
                  <a:lnTo>
                    <a:pt x="901" y="579"/>
                  </a:lnTo>
                  <a:lnTo>
                    <a:pt x="898" y="577"/>
                  </a:lnTo>
                  <a:lnTo>
                    <a:pt x="896" y="575"/>
                  </a:lnTo>
                  <a:lnTo>
                    <a:pt x="894" y="573"/>
                  </a:lnTo>
                  <a:lnTo>
                    <a:pt x="891" y="572"/>
                  </a:lnTo>
                  <a:lnTo>
                    <a:pt x="889" y="572"/>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59" name="Freeform 373">
              <a:extLst>
                <a:ext uri="{FF2B5EF4-FFF2-40B4-BE49-F238E27FC236}">
                  <a16:creationId xmlns:a16="http://schemas.microsoft.com/office/drawing/2014/main" id="{5887CAAE-5C47-B87E-2ABA-F2102817C94C}"/>
                </a:ext>
              </a:extLst>
            </p:cNvPr>
            <p:cNvSpPr>
              <a:spLocks/>
            </p:cNvSpPr>
            <p:nvPr/>
          </p:nvSpPr>
          <p:spPr bwMode="auto">
            <a:xfrm>
              <a:off x="4338638" y="2492375"/>
              <a:ext cx="252413" cy="157163"/>
            </a:xfrm>
            <a:custGeom>
              <a:avLst/>
              <a:gdLst>
                <a:gd name="T0" fmla="*/ 77 w 797"/>
                <a:gd name="T1" fmla="*/ 494 h 497"/>
                <a:gd name="T2" fmla="*/ 97 w 797"/>
                <a:gd name="T3" fmla="*/ 483 h 497"/>
                <a:gd name="T4" fmla="*/ 112 w 797"/>
                <a:gd name="T5" fmla="*/ 466 h 497"/>
                <a:gd name="T6" fmla="*/ 120 w 797"/>
                <a:gd name="T7" fmla="*/ 443 h 497"/>
                <a:gd name="T8" fmla="*/ 116 w 797"/>
                <a:gd name="T9" fmla="*/ 416 h 497"/>
                <a:gd name="T10" fmla="*/ 267 w 797"/>
                <a:gd name="T11" fmla="*/ 298 h 497"/>
                <a:gd name="T12" fmla="*/ 300 w 797"/>
                <a:gd name="T13" fmla="*/ 299 h 497"/>
                <a:gd name="T14" fmla="*/ 325 w 797"/>
                <a:gd name="T15" fmla="*/ 287 h 497"/>
                <a:gd name="T16" fmla="*/ 451 w 797"/>
                <a:gd name="T17" fmla="*/ 327 h 497"/>
                <a:gd name="T18" fmla="*/ 454 w 797"/>
                <a:gd name="T19" fmla="*/ 349 h 497"/>
                <a:gd name="T20" fmla="*/ 464 w 797"/>
                <a:gd name="T21" fmla="*/ 369 h 497"/>
                <a:gd name="T22" fmla="*/ 482 w 797"/>
                <a:gd name="T23" fmla="*/ 384 h 497"/>
                <a:gd name="T24" fmla="*/ 505 w 797"/>
                <a:gd name="T25" fmla="*/ 391 h 497"/>
                <a:gd name="T26" fmla="*/ 529 w 797"/>
                <a:gd name="T27" fmla="*/ 389 h 497"/>
                <a:gd name="T28" fmla="*/ 550 w 797"/>
                <a:gd name="T29" fmla="*/ 378 h 497"/>
                <a:gd name="T30" fmla="*/ 564 w 797"/>
                <a:gd name="T31" fmla="*/ 360 h 497"/>
                <a:gd name="T32" fmla="*/ 571 w 797"/>
                <a:gd name="T33" fmla="*/ 337 h 497"/>
                <a:gd name="T34" fmla="*/ 565 w 797"/>
                <a:gd name="T35" fmla="*/ 304 h 497"/>
                <a:gd name="T36" fmla="*/ 724 w 797"/>
                <a:gd name="T37" fmla="*/ 119 h 497"/>
                <a:gd name="T38" fmla="*/ 750 w 797"/>
                <a:gd name="T39" fmla="*/ 119 h 497"/>
                <a:gd name="T40" fmla="*/ 771 w 797"/>
                <a:gd name="T41" fmla="*/ 110 h 497"/>
                <a:gd name="T42" fmla="*/ 787 w 797"/>
                <a:gd name="T43" fmla="*/ 94 h 497"/>
                <a:gd name="T44" fmla="*/ 796 w 797"/>
                <a:gd name="T45" fmla="*/ 72 h 497"/>
                <a:gd name="T46" fmla="*/ 796 w 797"/>
                <a:gd name="T47" fmla="*/ 48 h 497"/>
                <a:gd name="T48" fmla="*/ 787 w 797"/>
                <a:gd name="T49" fmla="*/ 27 h 497"/>
                <a:gd name="T50" fmla="*/ 771 w 797"/>
                <a:gd name="T51" fmla="*/ 10 h 497"/>
                <a:gd name="T52" fmla="*/ 750 w 797"/>
                <a:gd name="T53" fmla="*/ 1 h 497"/>
                <a:gd name="T54" fmla="*/ 725 w 797"/>
                <a:gd name="T55" fmla="*/ 1 h 497"/>
                <a:gd name="T56" fmla="*/ 703 w 797"/>
                <a:gd name="T57" fmla="*/ 10 h 497"/>
                <a:gd name="T58" fmla="*/ 687 w 797"/>
                <a:gd name="T59" fmla="*/ 27 h 497"/>
                <a:gd name="T60" fmla="*/ 678 w 797"/>
                <a:gd name="T61" fmla="*/ 48 h 497"/>
                <a:gd name="T62" fmla="*/ 680 w 797"/>
                <a:gd name="T63" fmla="*/ 79 h 497"/>
                <a:gd name="T64" fmla="*/ 531 w 797"/>
                <a:gd name="T65" fmla="*/ 275 h 497"/>
                <a:gd name="T66" fmla="*/ 504 w 797"/>
                <a:gd name="T67" fmla="*/ 272 h 497"/>
                <a:gd name="T68" fmla="*/ 478 w 797"/>
                <a:gd name="T69" fmla="*/ 281 h 497"/>
                <a:gd name="T70" fmla="*/ 345 w 797"/>
                <a:gd name="T71" fmla="*/ 248 h 497"/>
                <a:gd name="T72" fmla="*/ 344 w 797"/>
                <a:gd name="T73" fmla="*/ 229 h 497"/>
                <a:gd name="T74" fmla="*/ 336 w 797"/>
                <a:gd name="T75" fmla="*/ 207 h 497"/>
                <a:gd name="T76" fmla="*/ 319 w 797"/>
                <a:gd name="T77" fmla="*/ 191 h 497"/>
                <a:gd name="T78" fmla="*/ 298 w 797"/>
                <a:gd name="T79" fmla="*/ 181 h 497"/>
                <a:gd name="T80" fmla="*/ 273 w 797"/>
                <a:gd name="T81" fmla="*/ 181 h 497"/>
                <a:gd name="T82" fmla="*/ 252 w 797"/>
                <a:gd name="T83" fmla="*/ 191 h 497"/>
                <a:gd name="T84" fmla="*/ 236 w 797"/>
                <a:gd name="T85" fmla="*/ 207 h 497"/>
                <a:gd name="T86" fmla="*/ 226 w 797"/>
                <a:gd name="T87" fmla="*/ 229 h 497"/>
                <a:gd name="T88" fmla="*/ 227 w 797"/>
                <a:gd name="T89" fmla="*/ 254 h 497"/>
                <a:gd name="T90" fmla="*/ 86 w 797"/>
                <a:gd name="T91" fmla="*/ 382 h 497"/>
                <a:gd name="T92" fmla="*/ 53 w 797"/>
                <a:gd name="T93" fmla="*/ 377 h 497"/>
                <a:gd name="T94" fmla="*/ 31 w 797"/>
                <a:gd name="T95" fmla="*/ 383 h 497"/>
                <a:gd name="T96" fmla="*/ 13 w 797"/>
                <a:gd name="T97" fmla="*/ 398 h 497"/>
                <a:gd name="T98" fmla="*/ 2 w 797"/>
                <a:gd name="T99" fmla="*/ 419 h 497"/>
                <a:gd name="T100" fmla="*/ 0 w 797"/>
                <a:gd name="T101" fmla="*/ 443 h 497"/>
                <a:gd name="T102" fmla="*/ 6 w 797"/>
                <a:gd name="T103" fmla="*/ 466 h 497"/>
                <a:gd name="T104" fmla="*/ 21 w 797"/>
                <a:gd name="T105" fmla="*/ 483 h 497"/>
                <a:gd name="T106" fmla="*/ 42 w 797"/>
                <a:gd name="T107" fmla="*/ 494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497">
                  <a:moveTo>
                    <a:pt x="60" y="497"/>
                  </a:moveTo>
                  <a:lnTo>
                    <a:pt x="65" y="497"/>
                  </a:lnTo>
                  <a:lnTo>
                    <a:pt x="72" y="496"/>
                  </a:lnTo>
                  <a:lnTo>
                    <a:pt x="77" y="494"/>
                  </a:lnTo>
                  <a:lnTo>
                    <a:pt x="83" y="493"/>
                  </a:lnTo>
                  <a:lnTo>
                    <a:pt x="89" y="489"/>
                  </a:lnTo>
                  <a:lnTo>
                    <a:pt x="93" y="486"/>
                  </a:lnTo>
                  <a:lnTo>
                    <a:pt x="97" y="483"/>
                  </a:lnTo>
                  <a:lnTo>
                    <a:pt x="102" y="480"/>
                  </a:lnTo>
                  <a:lnTo>
                    <a:pt x="106" y="475"/>
                  </a:lnTo>
                  <a:lnTo>
                    <a:pt x="109" y="470"/>
                  </a:lnTo>
                  <a:lnTo>
                    <a:pt x="112" y="466"/>
                  </a:lnTo>
                  <a:lnTo>
                    <a:pt x="115" y="460"/>
                  </a:lnTo>
                  <a:lnTo>
                    <a:pt x="117" y="455"/>
                  </a:lnTo>
                  <a:lnTo>
                    <a:pt x="119" y="449"/>
                  </a:lnTo>
                  <a:lnTo>
                    <a:pt x="120" y="443"/>
                  </a:lnTo>
                  <a:lnTo>
                    <a:pt x="120" y="437"/>
                  </a:lnTo>
                  <a:lnTo>
                    <a:pt x="119" y="429"/>
                  </a:lnTo>
                  <a:lnTo>
                    <a:pt x="118" y="423"/>
                  </a:lnTo>
                  <a:lnTo>
                    <a:pt x="116" y="416"/>
                  </a:lnTo>
                  <a:lnTo>
                    <a:pt x="114" y="410"/>
                  </a:lnTo>
                  <a:lnTo>
                    <a:pt x="251" y="290"/>
                  </a:lnTo>
                  <a:lnTo>
                    <a:pt x="259" y="295"/>
                  </a:lnTo>
                  <a:lnTo>
                    <a:pt x="267" y="298"/>
                  </a:lnTo>
                  <a:lnTo>
                    <a:pt x="277" y="301"/>
                  </a:lnTo>
                  <a:lnTo>
                    <a:pt x="285" y="302"/>
                  </a:lnTo>
                  <a:lnTo>
                    <a:pt x="293" y="301"/>
                  </a:lnTo>
                  <a:lnTo>
                    <a:pt x="300" y="299"/>
                  </a:lnTo>
                  <a:lnTo>
                    <a:pt x="307" y="297"/>
                  </a:lnTo>
                  <a:lnTo>
                    <a:pt x="313" y="294"/>
                  </a:lnTo>
                  <a:lnTo>
                    <a:pt x="318" y="291"/>
                  </a:lnTo>
                  <a:lnTo>
                    <a:pt x="325" y="287"/>
                  </a:lnTo>
                  <a:lnTo>
                    <a:pt x="329" y="282"/>
                  </a:lnTo>
                  <a:lnTo>
                    <a:pt x="333" y="277"/>
                  </a:lnTo>
                  <a:lnTo>
                    <a:pt x="451" y="324"/>
                  </a:lnTo>
                  <a:lnTo>
                    <a:pt x="451" y="327"/>
                  </a:lnTo>
                  <a:lnTo>
                    <a:pt x="451" y="332"/>
                  </a:lnTo>
                  <a:lnTo>
                    <a:pt x="451" y="337"/>
                  </a:lnTo>
                  <a:lnTo>
                    <a:pt x="452" y="343"/>
                  </a:lnTo>
                  <a:lnTo>
                    <a:pt x="454" y="349"/>
                  </a:lnTo>
                  <a:lnTo>
                    <a:pt x="456" y="354"/>
                  </a:lnTo>
                  <a:lnTo>
                    <a:pt x="458" y="360"/>
                  </a:lnTo>
                  <a:lnTo>
                    <a:pt x="461" y="365"/>
                  </a:lnTo>
                  <a:lnTo>
                    <a:pt x="464" y="369"/>
                  </a:lnTo>
                  <a:lnTo>
                    <a:pt x="469" y="374"/>
                  </a:lnTo>
                  <a:lnTo>
                    <a:pt x="473" y="378"/>
                  </a:lnTo>
                  <a:lnTo>
                    <a:pt x="477" y="381"/>
                  </a:lnTo>
                  <a:lnTo>
                    <a:pt x="482" y="384"/>
                  </a:lnTo>
                  <a:lnTo>
                    <a:pt x="488" y="386"/>
                  </a:lnTo>
                  <a:lnTo>
                    <a:pt x="493" y="389"/>
                  </a:lnTo>
                  <a:lnTo>
                    <a:pt x="499" y="391"/>
                  </a:lnTo>
                  <a:lnTo>
                    <a:pt x="505" y="391"/>
                  </a:lnTo>
                  <a:lnTo>
                    <a:pt x="511" y="392"/>
                  </a:lnTo>
                  <a:lnTo>
                    <a:pt x="518" y="391"/>
                  </a:lnTo>
                  <a:lnTo>
                    <a:pt x="523" y="391"/>
                  </a:lnTo>
                  <a:lnTo>
                    <a:pt x="529" y="389"/>
                  </a:lnTo>
                  <a:lnTo>
                    <a:pt x="535" y="386"/>
                  </a:lnTo>
                  <a:lnTo>
                    <a:pt x="540" y="384"/>
                  </a:lnTo>
                  <a:lnTo>
                    <a:pt x="545" y="381"/>
                  </a:lnTo>
                  <a:lnTo>
                    <a:pt x="550" y="378"/>
                  </a:lnTo>
                  <a:lnTo>
                    <a:pt x="553" y="374"/>
                  </a:lnTo>
                  <a:lnTo>
                    <a:pt x="558" y="369"/>
                  </a:lnTo>
                  <a:lnTo>
                    <a:pt x="561" y="365"/>
                  </a:lnTo>
                  <a:lnTo>
                    <a:pt x="564" y="360"/>
                  </a:lnTo>
                  <a:lnTo>
                    <a:pt x="567" y="354"/>
                  </a:lnTo>
                  <a:lnTo>
                    <a:pt x="568" y="349"/>
                  </a:lnTo>
                  <a:lnTo>
                    <a:pt x="570" y="343"/>
                  </a:lnTo>
                  <a:lnTo>
                    <a:pt x="571" y="337"/>
                  </a:lnTo>
                  <a:lnTo>
                    <a:pt x="571" y="332"/>
                  </a:lnTo>
                  <a:lnTo>
                    <a:pt x="570" y="322"/>
                  </a:lnTo>
                  <a:lnTo>
                    <a:pt x="568" y="312"/>
                  </a:lnTo>
                  <a:lnTo>
                    <a:pt x="565" y="304"/>
                  </a:lnTo>
                  <a:lnTo>
                    <a:pt x="560" y="296"/>
                  </a:lnTo>
                  <a:lnTo>
                    <a:pt x="711" y="114"/>
                  </a:lnTo>
                  <a:lnTo>
                    <a:pt x="717" y="117"/>
                  </a:lnTo>
                  <a:lnTo>
                    <a:pt x="724" y="119"/>
                  </a:lnTo>
                  <a:lnTo>
                    <a:pt x="730" y="120"/>
                  </a:lnTo>
                  <a:lnTo>
                    <a:pt x="737" y="120"/>
                  </a:lnTo>
                  <a:lnTo>
                    <a:pt x="743" y="120"/>
                  </a:lnTo>
                  <a:lnTo>
                    <a:pt x="750" y="119"/>
                  </a:lnTo>
                  <a:lnTo>
                    <a:pt x="755" y="118"/>
                  </a:lnTo>
                  <a:lnTo>
                    <a:pt x="760" y="116"/>
                  </a:lnTo>
                  <a:lnTo>
                    <a:pt x="766" y="113"/>
                  </a:lnTo>
                  <a:lnTo>
                    <a:pt x="771" y="110"/>
                  </a:lnTo>
                  <a:lnTo>
                    <a:pt x="775" y="106"/>
                  </a:lnTo>
                  <a:lnTo>
                    <a:pt x="780" y="103"/>
                  </a:lnTo>
                  <a:lnTo>
                    <a:pt x="784" y="99"/>
                  </a:lnTo>
                  <a:lnTo>
                    <a:pt x="787" y="94"/>
                  </a:lnTo>
                  <a:lnTo>
                    <a:pt x="790" y="89"/>
                  </a:lnTo>
                  <a:lnTo>
                    <a:pt x="792" y="84"/>
                  </a:lnTo>
                  <a:lnTo>
                    <a:pt x="795" y="79"/>
                  </a:lnTo>
                  <a:lnTo>
                    <a:pt x="796" y="72"/>
                  </a:lnTo>
                  <a:lnTo>
                    <a:pt x="797" y="67"/>
                  </a:lnTo>
                  <a:lnTo>
                    <a:pt x="797" y="60"/>
                  </a:lnTo>
                  <a:lnTo>
                    <a:pt x="797" y="54"/>
                  </a:lnTo>
                  <a:lnTo>
                    <a:pt x="796" y="48"/>
                  </a:lnTo>
                  <a:lnTo>
                    <a:pt x="795" y="42"/>
                  </a:lnTo>
                  <a:lnTo>
                    <a:pt x="792" y="37"/>
                  </a:lnTo>
                  <a:lnTo>
                    <a:pt x="790" y="31"/>
                  </a:lnTo>
                  <a:lnTo>
                    <a:pt x="787" y="27"/>
                  </a:lnTo>
                  <a:lnTo>
                    <a:pt x="784" y="22"/>
                  </a:lnTo>
                  <a:lnTo>
                    <a:pt x="780" y="17"/>
                  </a:lnTo>
                  <a:lnTo>
                    <a:pt x="775" y="14"/>
                  </a:lnTo>
                  <a:lnTo>
                    <a:pt x="771" y="10"/>
                  </a:lnTo>
                  <a:lnTo>
                    <a:pt x="766" y="8"/>
                  </a:lnTo>
                  <a:lnTo>
                    <a:pt x="760" y="5"/>
                  </a:lnTo>
                  <a:lnTo>
                    <a:pt x="755" y="2"/>
                  </a:lnTo>
                  <a:lnTo>
                    <a:pt x="750" y="1"/>
                  </a:lnTo>
                  <a:lnTo>
                    <a:pt x="743" y="0"/>
                  </a:lnTo>
                  <a:lnTo>
                    <a:pt x="737" y="0"/>
                  </a:lnTo>
                  <a:lnTo>
                    <a:pt x="731" y="0"/>
                  </a:lnTo>
                  <a:lnTo>
                    <a:pt x="725" y="1"/>
                  </a:lnTo>
                  <a:lnTo>
                    <a:pt x="719" y="2"/>
                  </a:lnTo>
                  <a:lnTo>
                    <a:pt x="713" y="5"/>
                  </a:lnTo>
                  <a:lnTo>
                    <a:pt x="709" y="8"/>
                  </a:lnTo>
                  <a:lnTo>
                    <a:pt x="703" y="10"/>
                  </a:lnTo>
                  <a:lnTo>
                    <a:pt x="699" y="14"/>
                  </a:lnTo>
                  <a:lnTo>
                    <a:pt x="695" y="17"/>
                  </a:lnTo>
                  <a:lnTo>
                    <a:pt x="691" y="22"/>
                  </a:lnTo>
                  <a:lnTo>
                    <a:pt x="687" y="27"/>
                  </a:lnTo>
                  <a:lnTo>
                    <a:pt x="684" y="31"/>
                  </a:lnTo>
                  <a:lnTo>
                    <a:pt x="682" y="37"/>
                  </a:lnTo>
                  <a:lnTo>
                    <a:pt x="680" y="42"/>
                  </a:lnTo>
                  <a:lnTo>
                    <a:pt x="678" y="48"/>
                  </a:lnTo>
                  <a:lnTo>
                    <a:pt x="677" y="54"/>
                  </a:lnTo>
                  <a:lnTo>
                    <a:pt x="677" y="60"/>
                  </a:lnTo>
                  <a:lnTo>
                    <a:pt x="678" y="70"/>
                  </a:lnTo>
                  <a:lnTo>
                    <a:pt x="680" y="79"/>
                  </a:lnTo>
                  <a:lnTo>
                    <a:pt x="683" y="87"/>
                  </a:lnTo>
                  <a:lnTo>
                    <a:pt x="688" y="96"/>
                  </a:lnTo>
                  <a:lnTo>
                    <a:pt x="537" y="277"/>
                  </a:lnTo>
                  <a:lnTo>
                    <a:pt x="531" y="275"/>
                  </a:lnTo>
                  <a:lnTo>
                    <a:pt x="524" y="273"/>
                  </a:lnTo>
                  <a:lnTo>
                    <a:pt x="518" y="272"/>
                  </a:lnTo>
                  <a:lnTo>
                    <a:pt x="511" y="271"/>
                  </a:lnTo>
                  <a:lnTo>
                    <a:pt x="504" y="272"/>
                  </a:lnTo>
                  <a:lnTo>
                    <a:pt x="496" y="273"/>
                  </a:lnTo>
                  <a:lnTo>
                    <a:pt x="490" y="275"/>
                  </a:lnTo>
                  <a:lnTo>
                    <a:pt x="484" y="278"/>
                  </a:lnTo>
                  <a:lnTo>
                    <a:pt x="478" y="281"/>
                  </a:lnTo>
                  <a:lnTo>
                    <a:pt x="472" y="286"/>
                  </a:lnTo>
                  <a:lnTo>
                    <a:pt x="467" y="291"/>
                  </a:lnTo>
                  <a:lnTo>
                    <a:pt x="463" y="295"/>
                  </a:lnTo>
                  <a:lnTo>
                    <a:pt x="345" y="248"/>
                  </a:lnTo>
                  <a:lnTo>
                    <a:pt x="345" y="245"/>
                  </a:lnTo>
                  <a:lnTo>
                    <a:pt x="345" y="240"/>
                  </a:lnTo>
                  <a:lnTo>
                    <a:pt x="345" y="235"/>
                  </a:lnTo>
                  <a:lnTo>
                    <a:pt x="344" y="229"/>
                  </a:lnTo>
                  <a:lnTo>
                    <a:pt x="343" y="223"/>
                  </a:lnTo>
                  <a:lnTo>
                    <a:pt x="341" y="218"/>
                  </a:lnTo>
                  <a:lnTo>
                    <a:pt x="339" y="213"/>
                  </a:lnTo>
                  <a:lnTo>
                    <a:pt x="336" y="207"/>
                  </a:lnTo>
                  <a:lnTo>
                    <a:pt x="332" y="203"/>
                  </a:lnTo>
                  <a:lnTo>
                    <a:pt x="328" y="199"/>
                  </a:lnTo>
                  <a:lnTo>
                    <a:pt x="324" y="194"/>
                  </a:lnTo>
                  <a:lnTo>
                    <a:pt x="319" y="191"/>
                  </a:lnTo>
                  <a:lnTo>
                    <a:pt x="314" y="188"/>
                  </a:lnTo>
                  <a:lnTo>
                    <a:pt x="309" y="186"/>
                  </a:lnTo>
                  <a:lnTo>
                    <a:pt x="303" y="184"/>
                  </a:lnTo>
                  <a:lnTo>
                    <a:pt x="298" y="181"/>
                  </a:lnTo>
                  <a:lnTo>
                    <a:pt x="292" y="181"/>
                  </a:lnTo>
                  <a:lnTo>
                    <a:pt x="285" y="180"/>
                  </a:lnTo>
                  <a:lnTo>
                    <a:pt x="280" y="181"/>
                  </a:lnTo>
                  <a:lnTo>
                    <a:pt x="273" y="181"/>
                  </a:lnTo>
                  <a:lnTo>
                    <a:pt x="268" y="184"/>
                  </a:lnTo>
                  <a:lnTo>
                    <a:pt x="262" y="186"/>
                  </a:lnTo>
                  <a:lnTo>
                    <a:pt x="257" y="188"/>
                  </a:lnTo>
                  <a:lnTo>
                    <a:pt x="252" y="191"/>
                  </a:lnTo>
                  <a:lnTo>
                    <a:pt x="248" y="194"/>
                  </a:lnTo>
                  <a:lnTo>
                    <a:pt x="243" y="199"/>
                  </a:lnTo>
                  <a:lnTo>
                    <a:pt x="239" y="203"/>
                  </a:lnTo>
                  <a:lnTo>
                    <a:pt x="236" y="207"/>
                  </a:lnTo>
                  <a:lnTo>
                    <a:pt x="233" y="213"/>
                  </a:lnTo>
                  <a:lnTo>
                    <a:pt x="230" y="218"/>
                  </a:lnTo>
                  <a:lnTo>
                    <a:pt x="228" y="223"/>
                  </a:lnTo>
                  <a:lnTo>
                    <a:pt x="226" y="229"/>
                  </a:lnTo>
                  <a:lnTo>
                    <a:pt x="225" y="235"/>
                  </a:lnTo>
                  <a:lnTo>
                    <a:pt x="225" y="240"/>
                  </a:lnTo>
                  <a:lnTo>
                    <a:pt x="226" y="248"/>
                  </a:lnTo>
                  <a:lnTo>
                    <a:pt x="227" y="254"/>
                  </a:lnTo>
                  <a:lnTo>
                    <a:pt x="229" y="261"/>
                  </a:lnTo>
                  <a:lnTo>
                    <a:pt x="231" y="267"/>
                  </a:lnTo>
                  <a:lnTo>
                    <a:pt x="94" y="387"/>
                  </a:lnTo>
                  <a:lnTo>
                    <a:pt x="86" y="382"/>
                  </a:lnTo>
                  <a:lnTo>
                    <a:pt x="78" y="379"/>
                  </a:lnTo>
                  <a:lnTo>
                    <a:pt x="68" y="377"/>
                  </a:lnTo>
                  <a:lnTo>
                    <a:pt x="60" y="377"/>
                  </a:lnTo>
                  <a:lnTo>
                    <a:pt x="53" y="377"/>
                  </a:lnTo>
                  <a:lnTo>
                    <a:pt x="47" y="378"/>
                  </a:lnTo>
                  <a:lnTo>
                    <a:pt x="42" y="379"/>
                  </a:lnTo>
                  <a:lnTo>
                    <a:pt x="36" y="381"/>
                  </a:lnTo>
                  <a:lnTo>
                    <a:pt x="31" y="383"/>
                  </a:lnTo>
                  <a:lnTo>
                    <a:pt x="26" y="386"/>
                  </a:lnTo>
                  <a:lnTo>
                    <a:pt x="21" y="391"/>
                  </a:lnTo>
                  <a:lnTo>
                    <a:pt x="17" y="394"/>
                  </a:lnTo>
                  <a:lnTo>
                    <a:pt x="13" y="398"/>
                  </a:lnTo>
                  <a:lnTo>
                    <a:pt x="9" y="402"/>
                  </a:lnTo>
                  <a:lnTo>
                    <a:pt x="6" y="408"/>
                  </a:lnTo>
                  <a:lnTo>
                    <a:pt x="4" y="413"/>
                  </a:lnTo>
                  <a:lnTo>
                    <a:pt x="2" y="419"/>
                  </a:lnTo>
                  <a:lnTo>
                    <a:pt x="1" y="425"/>
                  </a:lnTo>
                  <a:lnTo>
                    <a:pt x="0" y="430"/>
                  </a:lnTo>
                  <a:lnTo>
                    <a:pt x="0" y="437"/>
                  </a:lnTo>
                  <a:lnTo>
                    <a:pt x="0" y="443"/>
                  </a:lnTo>
                  <a:lnTo>
                    <a:pt x="1" y="449"/>
                  </a:lnTo>
                  <a:lnTo>
                    <a:pt x="2" y="455"/>
                  </a:lnTo>
                  <a:lnTo>
                    <a:pt x="4" y="460"/>
                  </a:lnTo>
                  <a:lnTo>
                    <a:pt x="6" y="466"/>
                  </a:lnTo>
                  <a:lnTo>
                    <a:pt x="9" y="470"/>
                  </a:lnTo>
                  <a:lnTo>
                    <a:pt x="13" y="475"/>
                  </a:lnTo>
                  <a:lnTo>
                    <a:pt x="17" y="480"/>
                  </a:lnTo>
                  <a:lnTo>
                    <a:pt x="21" y="483"/>
                  </a:lnTo>
                  <a:lnTo>
                    <a:pt x="26" y="486"/>
                  </a:lnTo>
                  <a:lnTo>
                    <a:pt x="31" y="489"/>
                  </a:lnTo>
                  <a:lnTo>
                    <a:pt x="36" y="493"/>
                  </a:lnTo>
                  <a:lnTo>
                    <a:pt x="42" y="494"/>
                  </a:lnTo>
                  <a:lnTo>
                    <a:pt x="47" y="496"/>
                  </a:lnTo>
                  <a:lnTo>
                    <a:pt x="53" y="497"/>
                  </a:lnTo>
                  <a:lnTo>
                    <a:pt x="60" y="4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grpSp>
      <p:sp>
        <p:nvSpPr>
          <p:cNvPr id="60" name="Footer Placeholder 59">
            <a:extLst>
              <a:ext uri="{FF2B5EF4-FFF2-40B4-BE49-F238E27FC236}">
                <a16:creationId xmlns:a16="http://schemas.microsoft.com/office/drawing/2014/main" id="{61241693-036B-BB78-242E-05564FA3611C}"/>
              </a:ext>
            </a:extLst>
          </p:cNvPr>
          <p:cNvSpPr>
            <a:spLocks noGrp="1"/>
          </p:cNvSpPr>
          <p:nvPr>
            <p:ph type="ftr" sz="quarter" idx="11"/>
          </p:nvPr>
        </p:nvSpPr>
        <p:spPr/>
        <p:txBody>
          <a:bodyPr/>
          <a:lstStyle/>
          <a:p>
            <a:r>
              <a:rPr lang="en-US"/>
              <a:t>© 2024 Mobiz. All rights reserved</a:t>
            </a:r>
            <a:endParaRPr lang="en-BR"/>
          </a:p>
        </p:txBody>
      </p:sp>
      <p:sp>
        <p:nvSpPr>
          <p:cNvPr id="61" name="Slide Number Placeholder 60">
            <a:extLst>
              <a:ext uri="{FF2B5EF4-FFF2-40B4-BE49-F238E27FC236}">
                <a16:creationId xmlns:a16="http://schemas.microsoft.com/office/drawing/2014/main" id="{09EB4F66-92F2-EE49-0C01-A215C818D631}"/>
              </a:ext>
            </a:extLst>
          </p:cNvPr>
          <p:cNvSpPr>
            <a:spLocks noGrp="1"/>
          </p:cNvSpPr>
          <p:nvPr>
            <p:ph type="sldNum" sz="quarter" idx="12"/>
          </p:nvPr>
        </p:nvSpPr>
        <p:spPr/>
        <p:txBody>
          <a:bodyPr/>
          <a:lstStyle/>
          <a:p>
            <a:fld id="{A8DDC45B-7265-3747-B738-ED29642119D9}" type="slidenum">
              <a:rPr lang="en-BR" smtClean="0"/>
              <a:pPr/>
              <a:t>56</a:t>
            </a:fld>
            <a:endParaRPr lang="en-BR"/>
          </a:p>
        </p:txBody>
      </p:sp>
    </p:spTree>
    <p:extLst>
      <p:ext uri="{BB962C8B-B14F-4D97-AF65-F5344CB8AC3E}">
        <p14:creationId xmlns:p14="http://schemas.microsoft.com/office/powerpoint/2010/main" val="233825992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DD927-8D90-E945-37F1-9AAC6F41A9AA}"/>
              </a:ext>
            </a:extLst>
          </p:cNvPr>
          <p:cNvSpPr>
            <a:spLocks noGrp="1"/>
          </p:cNvSpPr>
          <p:nvPr>
            <p:ph type="title"/>
          </p:nvPr>
        </p:nvSpPr>
        <p:spPr/>
        <p:txBody>
          <a:bodyPr/>
          <a:lstStyle/>
          <a:p>
            <a:r>
              <a:rPr lang="en-BR"/>
              <a:t>Dashboard</a:t>
            </a:r>
          </a:p>
        </p:txBody>
      </p:sp>
      <p:sp>
        <p:nvSpPr>
          <p:cNvPr id="3" name="Text Placeholder 2">
            <a:extLst>
              <a:ext uri="{FF2B5EF4-FFF2-40B4-BE49-F238E27FC236}">
                <a16:creationId xmlns:a16="http://schemas.microsoft.com/office/drawing/2014/main" id="{9939CFA7-EB7E-2F59-CDE2-792C7253A5FD}"/>
              </a:ext>
            </a:extLst>
          </p:cNvPr>
          <p:cNvSpPr>
            <a:spLocks noGrp="1"/>
          </p:cNvSpPr>
          <p:nvPr>
            <p:ph type="body" sz="quarter" idx="13"/>
          </p:nvPr>
        </p:nvSpPr>
        <p:spPr/>
        <p:txBody>
          <a:bodyPr/>
          <a:lstStyle/>
          <a:p>
            <a:endParaRPr lang="en-BR"/>
          </a:p>
        </p:txBody>
      </p:sp>
      <p:graphicFrame>
        <p:nvGraphicFramePr>
          <p:cNvPr id="4" name="Chart 3" descr="This is a chart. ">
            <a:extLst>
              <a:ext uri="{FF2B5EF4-FFF2-40B4-BE49-F238E27FC236}">
                <a16:creationId xmlns:a16="http://schemas.microsoft.com/office/drawing/2014/main" id="{F348E63F-D188-D0DC-50AA-3C1F9ED358CD}"/>
              </a:ext>
            </a:extLst>
          </p:cNvPr>
          <p:cNvGraphicFramePr/>
          <p:nvPr>
            <p:extLst>
              <p:ext uri="{D42A27DB-BD31-4B8C-83A1-F6EECF244321}">
                <p14:modId xmlns:p14="http://schemas.microsoft.com/office/powerpoint/2010/main" val="3996540131"/>
              </p:ext>
            </p:extLst>
          </p:nvPr>
        </p:nvGraphicFramePr>
        <p:xfrm>
          <a:off x="513354" y="1516346"/>
          <a:ext cx="11162399" cy="3213100"/>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a:extLst>
              <a:ext uri="{FF2B5EF4-FFF2-40B4-BE49-F238E27FC236}">
                <a16:creationId xmlns:a16="http://schemas.microsoft.com/office/drawing/2014/main" id="{B2C8EC87-C024-8C90-BA08-BA3EEB8ADFB4}"/>
              </a:ext>
              <a:ext uri="{C183D7F6-B498-43B3-948B-1728B52AA6E4}">
                <adec:decorative xmlns:adec="http://schemas.microsoft.com/office/drawing/2017/decorative" val="1"/>
              </a:ext>
            </a:extLst>
          </p:cNvPr>
          <p:cNvSpPr/>
          <p:nvPr/>
        </p:nvSpPr>
        <p:spPr>
          <a:xfrm>
            <a:off x="334963" y="4918073"/>
            <a:ext cx="11522075" cy="1574801"/>
          </a:xfrm>
          <a:prstGeom prst="rect">
            <a:avLst/>
          </a:prstGeom>
          <a:pattFill prst="ltDnDiag">
            <a:fgClr>
              <a:schemeClr val="bg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6" name="TextBox 47">
            <a:extLst>
              <a:ext uri="{FF2B5EF4-FFF2-40B4-BE49-F238E27FC236}">
                <a16:creationId xmlns:a16="http://schemas.microsoft.com/office/drawing/2014/main" id="{9358EAFE-442D-9ACF-730B-C3D7E0CDDB40}"/>
              </a:ext>
            </a:extLst>
          </p:cNvPr>
          <p:cNvSpPr txBox="1"/>
          <p:nvPr/>
        </p:nvSpPr>
        <p:spPr>
          <a:xfrm>
            <a:off x="448622" y="5243807"/>
            <a:ext cx="3450278" cy="923330"/>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a:solidFill>
                  <a:schemeClr val="tx1">
                    <a:lumMod val="65000"/>
                    <a:lumOff val="35000"/>
                  </a:schemeClr>
                </a:solidFill>
                <a:latin typeface="Segoe UI" panose="020B0502040204020203" pitchFamily="34" charset="0"/>
                <a:cs typeface="Segoe UI" panose="020B0502040204020203" pitchFamily="34" charset="0"/>
              </a:rPr>
              <a:t>Lorem ipsum dolor sit amet, consectetur adipiscing elit. Pellentesque sit amet feugiat mi. Maecenas volutpat hendrerit odio quis mattis. Quisque eget leo sit amet nulla dapibus lobortis id nec felis. Vestibulum malesuada porttitor est et pulvinar. </a:t>
            </a:r>
          </a:p>
        </p:txBody>
      </p:sp>
      <p:cxnSp>
        <p:nvCxnSpPr>
          <p:cNvPr id="7" name="Straight Connector 6">
            <a:extLst>
              <a:ext uri="{FF2B5EF4-FFF2-40B4-BE49-F238E27FC236}">
                <a16:creationId xmlns:a16="http://schemas.microsoft.com/office/drawing/2014/main" id="{0652465E-6A90-6F24-0E29-15B51EE0215C}"/>
              </a:ext>
              <a:ext uri="{C183D7F6-B498-43B3-948B-1728B52AA6E4}">
                <adec:decorative xmlns:adec="http://schemas.microsoft.com/office/drawing/2017/decorative" val="1"/>
              </a:ext>
            </a:extLst>
          </p:cNvPr>
          <p:cNvCxnSpPr/>
          <p:nvPr/>
        </p:nvCxnSpPr>
        <p:spPr>
          <a:xfrm>
            <a:off x="4177952" y="5059142"/>
            <a:ext cx="0" cy="129266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8D67853-B3E2-3F57-4B8B-568FAB92D88D}"/>
              </a:ext>
              <a:ext uri="{C183D7F6-B498-43B3-948B-1728B52AA6E4}">
                <adec:decorative xmlns:adec="http://schemas.microsoft.com/office/drawing/2017/decorative" val="1"/>
              </a:ext>
            </a:extLst>
          </p:cNvPr>
          <p:cNvCxnSpPr/>
          <p:nvPr/>
        </p:nvCxnSpPr>
        <p:spPr>
          <a:xfrm>
            <a:off x="6870557" y="5059142"/>
            <a:ext cx="0" cy="129266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B4F8C27-91F0-4C73-8EF9-A2999FD71F42}"/>
              </a:ext>
              <a:ext uri="{C183D7F6-B498-43B3-948B-1728B52AA6E4}">
                <adec:decorative xmlns:adec="http://schemas.microsoft.com/office/drawing/2017/decorative" val="1"/>
              </a:ext>
            </a:extLst>
          </p:cNvPr>
          <p:cNvCxnSpPr/>
          <p:nvPr/>
        </p:nvCxnSpPr>
        <p:spPr>
          <a:xfrm>
            <a:off x="9675897" y="5059142"/>
            <a:ext cx="0" cy="129266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 name="Group 9" descr="This is an icon of a human being. ">
            <a:extLst>
              <a:ext uri="{FF2B5EF4-FFF2-40B4-BE49-F238E27FC236}">
                <a16:creationId xmlns:a16="http://schemas.microsoft.com/office/drawing/2014/main" id="{A873CE7E-FDAD-5894-42C8-11945A370F9F}"/>
              </a:ext>
            </a:extLst>
          </p:cNvPr>
          <p:cNvGrpSpPr/>
          <p:nvPr/>
        </p:nvGrpSpPr>
        <p:grpSpPr>
          <a:xfrm>
            <a:off x="7116643" y="5099529"/>
            <a:ext cx="142875" cy="285750"/>
            <a:chOff x="8243888" y="5922963"/>
            <a:chExt cx="142875" cy="285750"/>
          </a:xfrm>
          <a:solidFill>
            <a:srgbClr val="C00000"/>
          </a:solidFill>
        </p:grpSpPr>
        <p:sp>
          <p:nvSpPr>
            <p:cNvPr id="11" name="Freeform 3404">
              <a:extLst>
                <a:ext uri="{FF2B5EF4-FFF2-40B4-BE49-F238E27FC236}">
                  <a16:creationId xmlns:a16="http://schemas.microsoft.com/office/drawing/2014/main" id="{3FC6D313-F99C-8824-135C-F5D0BA0305B1}"/>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2" name="Freeform 3405">
              <a:extLst>
                <a:ext uri="{FF2B5EF4-FFF2-40B4-BE49-F238E27FC236}">
                  <a16:creationId xmlns:a16="http://schemas.microsoft.com/office/drawing/2014/main" id="{E71FF5E8-D015-4159-144A-83384299D2DD}"/>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13" name="Group 12" descr="This is an icon of a human being. ">
            <a:extLst>
              <a:ext uri="{FF2B5EF4-FFF2-40B4-BE49-F238E27FC236}">
                <a16:creationId xmlns:a16="http://schemas.microsoft.com/office/drawing/2014/main" id="{853EAF1E-AE1E-274B-B95D-E025BB7EC3DC}"/>
              </a:ext>
            </a:extLst>
          </p:cNvPr>
          <p:cNvGrpSpPr/>
          <p:nvPr/>
        </p:nvGrpSpPr>
        <p:grpSpPr>
          <a:xfrm>
            <a:off x="7357787" y="5099529"/>
            <a:ext cx="142875" cy="285750"/>
            <a:chOff x="8243888" y="5922963"/>
            <a:chExt cx="142875" cy="285750"/>
          </a:xfrm>
          <a:solidFill>
            <a:srgbClr val="C00000"/>
          </a:solidFill>
        </p:grpSpPr>
        <p:sp>
          <p:nvSpPr>
            <p:cNvPr id="14" name="Freeform 3404">
              <a:extLst>
                <a:ext uri="{FF2B5EF4-FFF2-40B4-BE49-F238E27FC236}">
                  <a16:creationId xmlns:a16="http://schemas.microsoft.com/office/drawing/2014/main" id="{B620CABA-B4AE-E733-5085-74FF5B56620D}"/>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5" name="Freeform 3405">
              <a:extLst>
                <a:ext uri="{FF2B5EF4-FFF2-40B4-BE49-F238E27FC236}">
                  <a16:creationId xmlns:a16="http://schemas.microsoft.com/office/drawing/2014/main" id="{8D02F505-7B4C-051B-DE69-439E0727516E}"/>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16" name="Group 15" descr="This is an icon of a human being. ">
            <a:extLst>
              <a:ext uri="{FF2B5EF4-FFF2-40B4-BE49-F238E27FC236}">
                <a16:creationId xmlns:a16="http://schemas.microsoft.com/office/drawing/2014/main" id="{3070241D-5466-8148-DC43-4A2C17BE0881}"/>
              </a:ext>
            </a:extLst>
          </p:cNvPr>
          <p:cNvGrpSpPr/>
          <p:nvPr/>
        </p:nvGrpSpPr>
        <p:grpSpPr>
          <a:xfrm>
            <a:off x="7598931" y="5099529"/>
            <a:ext cx="142875" cy="285750"/>
            <a:chOff x="8243888" y="5922963"/>
            <a:chExt cx="142875" cy="285750"/>
          </a:xfrm>
          <a:solidFill>
            <a:srgbClr val="C00000"/>
          </a:solidFill>
        </p:grpSpPr>
        <p:sp>
          <p:nvSpPr>
            <p:cNvPr id="17" name="Freeform 3404">
              <a:extLst>
                <a:ext uri="{FF2B5EF4-FFF2-40B4-BE49-F238E27FC236}">
                  <a16:creationId xmlns:a16="http://schemas.microsoft.com/office/drawing/2014/main" id="{88AF8FB2-A960-E3AC-B332-D8EA24ACE616}"/>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8" name="Freeform 3405">
              <a:extLst>
                <a:ext uri="{FF2B5EF4-FFF2-40B4-BE49-F238E27FC236}">
                  <a16:creationId xmlns:a16="http://schemas.microsoft.com/office/drawing/2014/main" id="{13605D79-9D75-5CDE-3BF4-CDD442D4C737}"/>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19" name="Group 18" descr="This is an icon of a human being. ">
            <a:extLst>
              <a:ext uri="{FF2B5EF4-FFF2-40B4-BE49-F238E27FC236}">
                <a16:creationId xmlns:a16="http://schemas.microsoft.com/office/drawing/2014/main" id="{68A88504-924F-DEAA-FD17-F2074F0117E5}"/>
              </a:ext>
            </a:extLst>
          </p:cNvPr>
          <p:cNvGrpSpPr/>
          <p:nvPr/>
        </p:nvGrpSpPr>
        <p:grpSpPr>
          <a:xfrm>
            <a:off x="7840075" y="5099529"/>
            <a:ext cx="142875" cy="285750"/>
            <a:chOff x="8243888" y="5922963"/>
            <a:chExt cx="142875" cy="285750"/>
          </a:xfrm>
          <a:solidFill>
            <a:srgbClr val="C00000"/>
          </a:solidFill>
        </p:grpSpPr>
        <p:sp>
          <p:nvSpPr>
            <p:cNvPr id="20" name="Freeform 3404">
              <a:extLst>
                <a:ext uri="{FF2B5EF4-FFF2-40B4-BE49-F238E27FC236}">
                  <a16:creationId xmlns:a16="http://schemas.microsoft.com/office/drawing/2014/main" id="{C35C6E5D-8953-B090-B83D-695729E66C21}"/>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21" name="Freeform 3405">
              <a:extLst>
                <a:ext uri="{FF2B5EF4-FFF2-40B4-BE49-F238E27FC236}">
                  <a16:creationId xmlns:a16="http://schemas.microsoft.com/office/drawing/2014/main" id="{C6300BA7-9B5A-75E7-71A3-9AAB9EBA4EC1}"/>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22" name="Group 21" descr="This is an icon of a human being. ">
            <a:extLst>
              <a:ext uri="{FF2B5EF4-FFF2-40B4-BE49-F238E27FC236}">
                <a16:creationId xmlns:a16="http://schemas.microsoft.com/office/drawing/2014/main" id="{EE188A82-4AC8-A866-E9AD-7FE2ABB54CB1}"/>
              </a:ext>
            </a:extLst>
          </p:cNvPr>
          <p:cNvGrpSpPr/>
          <p:nvPr/>
        </p:nvGrpSpPr>
        <p:grpSpPr>
          <a:xfrm>
            <a:off x="8081219" y="5099529"/>
            <a:ext cx="142875" cy="285750"/>
            <a:chOff x="8243888" y="5922963"/>
            <a:chExt cx="142875" cy="285750"/>
          </a:xfrm>
          <a:solidFill>
            <a:srgbClr val="C00000"/>
          </a:solidFill>
        </p:grpSpPr>
        <p:sp>
          <p:nvSpPr>
            <p:cNvPr id="23" name="Freeform 3404">
              <a:extLst>
                <a:ext uri="{FF2B5EF4-FFF2-40B4-BE49-F238E27FC236}">
                  <a16:creationId xmlns:a16="http://schemas.microsoft.com/office/drawing/2014/main" id="{58875805-D3AA-4529-698E-820C4C3A552C}"/>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24" name="Freeform 3405">
              <a:extLst>
                <a:ext uri="{FF2B5EF4-FFF2-40B4-BE49-F238E27FC236}">
                  <a16:creationId xmlns:a16="http://schemas.microsoft.com/office/drawing/2014/main" id="{CEF93EDC-1330-5D4D-65B7-032A0FEB5006}"/>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25" name="Group 24" descr="This is an icon of a human being. ">
            <a:extLst>
              <a:ext uri="{FF2B5EF4-FFF2-40B4-BE49-F238E27FC236}">
                <a16:creationId xmlns:a16="http://schemas.microsoft.com/office/drawing/2014/main" id="{BECB9978-2F39-B732-15D8-FDCB4EB3EF2F}"/>
              </a:ext>
            </a:extLst>
          </p:cNvPr>
          <p:cNvGrpSpPr/>
          <p:nvPr/>
        </p:nvGrpSpPr>
        <p:grpSpPr>
          <a:xfrm>
            <a:off x="8322363" y="5099529"/>
            <a:ext cx="142875" cy="285750"/>
            <a:chOff x="8243888" y="5922963"/>
            <a:chExt cx="142875" cy="285750"/>
          </a:xfrm>
          <a:solidFill>
            <a:srgbClr val="C00000"/>
          </a:solidFill>
        </p:grpSpPr>
        <p:sp>
          <p:nvSpPr>
            <p:cNvPr id="26" name="Freeform 3404">
              <a:extLst>
                <a:ext uri="{FF2B5EF4-FFF2-40B4-BE49-F238E27FC236}">
                  <a16:creationId xmlns:a16="http://schemas.microsoft.com/office/drawing/2014/main" id="{08459498-BD2E-65FD-7D6E-E0A067CC90B1}"/>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27" name="Freeform 3405">
              <a:extLst>
                <a:ext uri="{FF2B5EF4-FFF2-40B4-BE49-F238E27FC236}">
                  <a16:creationId xmlns:a16="http://schemas.microsoft.com/office/drawing/2014/main" id="{08F7B546-AF29-94B9-2992-892A5A59E943}"/>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28" name="Group 27" descr="This is an icon of a human being. ">
            <a:extLst>
              <a:ext uri="{FF2B5EF4-FFF2-40B4-BE49-F238E27FC236}">
                <a16:creationId xmlns:a16="http://schemas.microsoft.com/office/drawing/2014/main" id="{29B0F97E-2766-0811-EBF7-1AEAECA17B7E}"/>
              </a:ext>
            </a:extLst>
          </p:cNvPr>
          <p:cNvGrpSpPr/>
          <p:nvPr/>
        </p:nvGrpSpPr>
        <p:grpSpPr>
          <a:xfrm>
            <a:off x="8563507" y="5099529"/>
            <a:ext cx="142875" cy="285750"/>
            <a:chOff x="8243888" y="5922963"/>
            <a:chExt cx="142875" cy="285750"/>
          </a:xfrm>
          <a:solidFill>
            <a:srgbClr val="C00000"/>
          </a:solidFill>
        </p:grpSpPr>
        <p:sp>
          <p:nvSpPr>
            <p:cNvPr id="29" name="Freeform 3404">
              <a:extLst>
                <a:ext uri="{FF2B5EF4-FFF2-40B4-BE49-F238E27FC236}">
                  <a16:creationId xmlns:a16="http://schemas.microsoft.com/office/drawing/2014/main" id="{9942DBB9-DD2D-A9D3-66C2-9FE9D581F961}"/>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30" name="Freeform 3405">
              <a:extLst>
                <a:ext uri="{FF2B5EF4-FFF2-40B4-BE49-F238E27FC236}">
                  <a16:creationId xmlns:a16="http://schemas.microsoft.com/office/drawing/2014/main" id="{79300DF2-99D0-774E-66D6-9960C2515F56}"/>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31" name="Group 30" descr="This is an icon of a human being. ">
            <a:extLst>
              <a:ext uri="{FF2B5EF4-FFF2-40B4-BE49-F238E27FC236}">
                <a16:creationId xmlns:a16="http://schemas.microsoft.com/office/drawing/2014/main" id="{26E0C21C-51AB-1E29-A374-B70C36868207}"/>
              </a:ext>
            </a:extLst>
          </p:cNvPr>
          <p:cNvGrpSpPr/>
          <p:nvPr/>
        </p:nvGrpSpPr>
        <p:grpSpPr>
          <a:xfrm>
            <a:off x="8804651" y="5099529"/>
            <a:ext cx="142875" cy="285750"/>
            <a:chOff x="8243888" y="5922963"/>
            <a:chExt cx="142875" cy="285750"/>
          </a:xfrm>
          <a:solidFill>
            <a:srgbClr val="404040"/>
          </a:solidFill>
        </p:grpSpPr>
        <p:sp>
          <p:nvSpPr>
            <p:cNvPr id="32" name="Freeform 3404">
              <a:extLst>
                <a:ext uri="{FF2B5EF4-FFF2-40B4-BE49-F238E27FC236}">
                  <a16:creationId xmlns:a16="http://schemas.microsoft.com/office/drawing/2014/main" id="{6CE498F6-CF58-9539-3111-480A00726D48}"/>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33" name="Freeform 3405">
              <a:extLst>
                <a:ext uri="{FF2B5EF4-FFF2-40B4-BE49-F238E27FC236}">
                  <a16:creationId xmlns:a16="http://schemas.microsoft.com/office/drawing/2014/main" id="{C82B0892-B191-4C0A-0A98-91D39D943C37}"/>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34" name="Group 33" descr="This is an icon of a human being. ">
            <a:extLst>
              <a:ext uri="{FF2B5EF4-FFF2-40B4-BE49-F238E27FC236}">
                <a16:creationId xmlns:a16="http://schemas.microsoft.com/office/drawing/2014/main" id="{5605F168-AED0-7F3E-3A03-0554E7AC6500}"/>
              </a:ext>
            </a:extLst>
          </p:cNvPr>
          <p:cNvGrpSpPr/>
          <p:nvPr/>
        </p:nvGrpSpPr>
        <p:grpSpPr>
          <a:xfrm>
            <a:off x="9045795" y="5099529"/>
            <a:ext cx="142875" cy="285750"/>
            <a:chOff x="8243888" y="5922963"/>
            <a:chExt cx="142875" cy="285750"/>
          </a:xfrm>
          <a:solidFill>
            <a:srgbClr val="404040"/>
          </a:solidFill>
        </p:grpSpPr>
        <p:sp>
          <p:nvSpPr>
            <p:cNvPr id="35" name="Freeform 3404">
              <a:extLst>
                <a:ext uri="{FF2B5EF4-FFF2-40B4-BE49-F238E27FC236}">
                  <a16:creationId xmlns:a16="http://schemas.microsoft.com/office/drawing/2014/main" id="{309AFC7D-0BE7-4075-CBFC-DFB48B05D816}"/>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36" name="Freeform 3405">
              <a:extLst>
                <a:ext uri="{FF2B5EF4-FFF2-40B4-BE49-F238E27FC236}">
                  <a16:creationId xmlns:a16="http://schemas.microsoft.com/office/drawing/2014/main" id="{2803CA2A-AC59-A2F5-8E54-4733A4F4311B}"/>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37" name="Group 36" descr="This is an icon of a human being. ">
            <a:extLst>
              <a:ext uri="{FF2B5EF4-FFF2-40B4-BE49-F238E27FC236}">
                <a16:creationId xmlns:a16="http://schemas.microsoft.com/office/drawing/2014/main" id="{53C6E0D0-C674-E8A0-29E2-9665F4C04DB2}"/>
              </a:ext>
            </a:extLst>
          </p:cNvPr>
          <p:cNvGrpSpPr/>
          <p:nvPr/>
        </p:nvGrpSpPr>
        <p:grpSpPr>
          <a:xfrm>
            <a:off x="9286937" y="5099529"/>
            <a:ext cx="142875" cy="285750"/>
            <a:chOff x="8243888" y="5922963"/>
            <a:chExt cx="142875" cy="285750"/>
          </a:xfrm>
          <a:solidFill>
            <a:srgbClr val="404040"/>
          </a:solidFill>
        </p:grpSpPr>
        <p:sp>
          <p:nvSpPr>
            <p:cNvPr id="38" name="Freeform 3404">
              <a:extLst>
                <a:ext uri="{FF2B5EF4-FFF2-40B4-BE49-F238E27FC236}">
                  <a16:creationId xmlns:a16="http://schemas.microsoft.com/office/drawing/2014/main" id="{283DA03D-6672-7C94-A5E4-15BFEF2AEED1}"/>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39" name="Freeform 3405">
              <a:extLst>
                <a:ext uri="{FF2B5EF4-FFF2-40B4-BE49-F238E27FC236}">
                  <a16:creationId xmlns:a16="http://schemas.microsoft.com/office/drawing/2014/main" id="{04B2DF82-7C3F-6278-4568-F7510D606C4B}"/>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40" name="Group 39" descr="This is an icon of a human being. ">
            <a:extLst>
              <a:ext uri="{FF2B5EF4-FFF2-40B4-BE49-F238E27FC236}">
                <a16:creationId xmlns:a16="http://schemas.microsoft.com/office/drawing/2014/main" id="{122BB952-66DB-8D01-0DB3-973EDAADF018}"/>
              </a:ext>
            </a:extLst>
          </p:cNvPr>
          <p:cNvGrpSpPr/>
          <p:nvPr/>
        </p:nvGrpSpPr>
        <p:grpSpPr>
          <a:xfrm>
            <a:off x="7116643" y="5562599"/>
            <a:ext cx="142875" cy="285750"/>
            <a:chOff x="8243888" y="5922963"/>
            <a:chExt cx="142875" cy="285750"/>
          </a:xfrm>
          <a:solidFill>
            <a:srgbClr val="404040"/>
          </a:solidFill>
        </p:grpSpPr>
        <p:sp>
          <p:nvSpPr>
            <p:cNvPr id="41" name="Freeform 3404">
              <a:extLst>
                <a:ext uri="{FF2B5EF4-FFF2-40B4-BE49-F238E27FC236}">
                  <a16:creationId xmlns:a16="http://schemas.microsoft.com/office/drawing/2014/main" id="{64FC8B7B-902B-2B4C-5A4C-0989E1F142A6}"/>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42" name="Freeform 3405">
              <a:extLst>
                <a:ext uri="{FF2B5EF4-FFF2-40B4-BE49-F238E27FC236}">
                  <a16:creationId xmlns:a16="http://schemas.microsoft.com/office/drawing/2014/main" id="{ED4E9EA7-BE0F-8499-1DA2-BF7FBB0C03D6}"/>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43" name="Group 42" descr="This is an icon of a human being. ">
            <a:extLst>
              <a:ext uri="{FF2B5EF4-FFF2-40B4-BE49-F238E27FC236}">
                <a16:creationId xmlns:a16="http://schemas.microsoft.com/office/drawing/2014/main" id="{58219FED-1093-FB61-FEE9-018799D2A2C7}"/>
              </a:ext>
            </a:extLst>
          </p:cNvPr>
          <p:cNvGrpSpPr/>
          <p:nvPr/>
        </p:nvGrpSpPr>
        <p:grpSpPr>
          <a:xfrm>
            <a:off x="7357787" y="5562599"/>
            <a:ext cx="142875" cy="285750"/>
            <a:chOff x="8243888" y="5922963"/>
            <a:chExt cx="142875" cy="285750"/>
          </a:xfrm>
          <a:solidFill>
            <a:srgbClr val="404040"/>
          </a:solidFill>
        </p:grpSpPr>
        <p:sp>
          <p:nvSpPr>
            <p:cNvPr id="44" name="Freeform 3404">
              <a:extLst>
                <a:ext uri="{FF2B5EF4-FFF2-40B4-BE49-F238E27FC236}">
                  <a16:creationId xmlns:a16="http://schemas.microsoft.com/office/drawing/2014/main" id="{9284403E-5E8A-17A6-A752-724E0362ACE4}"/>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45" name="Freeform 3405">
              <a:extLst>
                <a:ext uri="{FF2B5EF4-FFF2-40B4-BE49-F238E27FC236}">
                  <a16:creationId xmlns:a16="http://schemas.microsoft.com/office/drawing/2014/main" id="{2BB93C22-CF86-0876-A58C-63B82B18A0DE}"/>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46" name="Group 45" descr="This is an icon of a human being. ">
            <a:extLst>
              <a:ext uri="{FF2B5EF4-FFF2-40B4-BE49-F238E27FC236}">
                <a16:creationId xmlns:a16="http://schemas.microsoft.com/office/drawing/2014/main" id="{9A1C464C-4D60-BFF5-2529-B95E8A57E04E}"/>
              </a:ext>
            </a:extLst>
          </p:cNvPr>
          <p:cNvGrpSpPr/>
          <p:nvPr/>
        </p:nvGrpSpPr>
        <p:grpSpPr>
          <a:xfrm>
            <a:off x="7598931" y="5562599"/>
            <a:ext cx="142875" cy="285750"/>
            <a:chOff x="8243888" y="5922963"/>
            <a:chExt cx="142875" cy="285750"/>
          </a:xfrm>
          <a:solidFill>
            <a:srgbClr val="7F7F7F"/>
          </a:solidFill>
        </p:grpSpPr>
        <p:sp>
          <p:nvSpPr>
            <p:cNvPr id="47" name="Freeform 3404">
              <a:extLst>
                <a:ext uri="{FF2B5EF4-FFF2-40B4-BE49-F238E27FC236}">
                  <a16:creationId xmlns:a16="http://schemas.microsoft.com/office/drawing/2014/main" id="{004596B8-9F2C-2B0A-C469-B5C4EA31EF4A}"/>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48" name="Freeform 3405">
              <a:extLst>
                <a:ext uri="{FF2B5EF4-FFF2-40B4-BE49-F238E27FC236}">
                  <a16:creationId xmlns:a16="http://schemas.microsoft.com/office/drawing/2014/main" id="{A549E1F6-0A57-620F-103B-6F67F8DB04FB}"/>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49" name="Group 48" descr="This is an icon of a human being. ">
            <a:extLst>
              <a:ext uri="{FF2B5EF4-FFF2-40B4-BE49-F238E27FC236}">
                <a16:creationId xmlns:a16="http://schemas.microsoft.com/office/drawing/2014/main" id="{AAB0FBA4-E918-98F6-3CBD-9149F2289D07}"/>
              </a:ext>
            </a:extLst>
          </p:cNvPr>
          <p:cNvGrpSpPr/>
          <p:nvPr/>
        </p:nvGrpSpPr>
        <p:grpSpPr>
          <a:xfrm>
            <a:off x="7840075" y="5562599"/>
            <a:ext cx="142875" cy="285750"/>
            <a:chOff x="8243888" y="5922963"/>
            <a:chExt cx="142875" cy="285750"/>
          </a:xfrm>
          <a:solidFill>
            <a:srgbClr val="7F7F7F"/>
          </a:solidFill>
        </p:grpSpPr>
        <p:sp>
          <p:nvSpPr>
            <p:cNvPr id="50" name="Freeform 3404">
              <a:extLst>
                <a:ext uri="{FF2B5EF4-FFF2-40B4-BE49-F238E27FC236}">
                  <a16:creationId xmlns:a16="http://schemas.microsoft.com/office/drawing/2014/main" id="{67464C03-B4A1-851E-F248-A8DBB56AC1AA}"/>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51" name="Freeform 3405">
              <a:extLst>
                <a:ext uri="{FF2B5EF4-FFF2-40B4-BE49-F238E27FC236}">
                  <a16:creationId xmlns:a16="http://schemas.microsoft.com/office/drawing/2014/main" id="{A75FC3D1-89B0-B008-C3BA-81EAC1FEEB1E}"/>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52" name="Group 51" descr="This is an icon of a human being. ">
            <a:extLst>
              <a:ext uri="{FF2B5EF4-FFF2-40B4-BE49-F238E27FC236}">
                <a16:creationId xmlns:a16="http://schemas.microsoft.com/office/drawing/2014/main" id="{333B23CD-40A2-19B9-7FAC-88F56CC74DCE}"/>
              </a:ext>
            </a:extLst>
          </p:cNvPr>
          <p:cNvGrpSpPr/>
          <p:nvPr/>
        </p:nvGrpSpPr>
        <p:grpSpPr>
          <a:xfrm>
            <a:off x="8081219" y="5562599"/>
            <a:ext cx="142875" cy="285750"/>
            <a:chOff x="8243888" y="5922963"/>
            <a:chExt cx="142875" cy="285750"/>
          </a:xfrm>
          <a:solidFill>
            <a:srgbClr val="7F7F7F"/>
          </a:solidFill>
        </p:grpSpPr>
        <p:sp>
          <p:nvSpPr>
            <p:cNvPr id="53" name="Freeform 3404">
              <a:extLst>
                <a:ext uri="{FF2B5EF4-FFF2-40B4-BE49-F238E27FC236}">
                  <a16:creationId xmlns:a16="http://schemas.microsoft.com/office/drawing/2014/main" id="{7CD13763-B1C6-B7A5-34E5-0A18081256EB}"/>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54" name="Freeform 3405">
              <a:extLst>
                <a:ext uri="{FF2B5EF4-FFF2-40B4-BE49-F238E27FC236}">
                  <a16:creationId xmlns:a16="http://schemas.microsoft.com/office/drawing/2014/main" id="{B341D67B-F2C0-DC55-7DD1-6AB5CE20426B}"/>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55" name="Group 54" descr="This is an icon of a human being. ">
            <a:extLst>
              <a:ext uri="{FF2B5EF4-FFF2-40B4-BE49-F238E27FC236}">
                <a16:creationId xmlns:a16="http://schemas.microsoft.com/office/drawing/2014/main" id="{D368F407-DFB3-69F3-ACA3-CDD4D180DF2C}"/>
              </a:ext>
            </a:extLst>
          </p:cNvPr>
          <p:cNvGrpSpPr/>
          <p:nvPr/>
        </p:nvGrpSpPr>
        <p:grpSpPr>
          <a:xfrm>
            <a:off x="8322363" y="5562599"/>
            <a:ext cx="142875" cy="285750"/>
            <a:chOff x="8243888" y="5922963"/>
            <a:chExt cx="142875" cy="285750"/>
          </a:xfrm>
          <a:solidFill>
            <a:srgbClr val="7F7F7F"/>
          </a:solidFill>
        </p:grpSpPr>
        <p:sp>
          <p:nvSpPr>
            <p:cNvPr id="56" name="Freeform 3404">
              <a:extLst>
                <a:ext uri="{FF2B5EF4-FFF2-40B4-BE49-F238E27FC236}">
                  <a16:creationId xmlns:a16="http://schemas.microsoft.com/office/drawing/2014/main" id="{7547D0A9-C728-67C6-2468-AC726B88804C}"/>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57" name="Freeform 3405">
              <a:extLst>
                <a:ext uri="{FF2B5EF4-FFF2-40B4-BE49-F238E27FC236}">
                  <a16:creationId xmlns:a16="http://schemas.microsoft.com/office/drawing/2014/main" id="{46345E7A-015A-C36E-607F-813DC2F1DD2C}"/>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58" name="Group 57" descr="This is an icon of a human being. ">
            <a:extLst>
              <a:ext uri="{FF2B5EF4-FFF2-40B4-BE49-F238E27FC236}">
                <a16:creationId xmlns:a16="http://schemas.microsoft.com/office/drawing/2014/main" id="{68825017-8ECF-54D2-A2E0-D0BAEC0C075E}"/>
              </a:ext>
            </a:extLst>
          </p:cNvPr>
          <p:cNvGrpSpPr/>
          <p:nvPr/>
        </p:nvGrpSpPr>
        <p:grpSpPr>
          <a:xfrm>
            <a:off x="8563507" y="5562599"/>
            <a:ext cx="142875" cy="285750"/>
            <a:chOff x="8243888" y="5922963"/>
            <a:chExt cx="142875" cy="285750"/>
          </a:xfrm>
          <a:solidFill>
            <a:srgbClr val="BFBFBF"/>
          </a:solidFill>
        </p:grpSpPr>
        <p:sp>
          <p:nvSpPr>
            <p:cNvPr id="59" name="Freeform 3404">
              <a:extLst>
                <a:ext uri="{FF2B5EF4-FFF2-40B4-BE49-F238E27FC236}">
                  <a16:creationId xmlns:a16="http://schemas.microsoft.com/office/drawing/2014/main" id="{CC022982-A4E0-DFBE-FA86-A5DF333A471A}"/>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60" name="Freeform 3405">
              <a:extLst>
                <a:ext uri="{FF2B5EF4-FFF2-40B4-BE49-F238E27FC236}">
                  <a16:creationId xmlns:a16="http://schemas.microsoft.com/office/drawing/2014/main" id="{65BC8DD8-8FB1-8C48-7FB0-2450B2517EE8}"/>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61" name="Group 60" descr="This is an icon of a human being. ">
            <a:extLst>
              <a:ext uri="{FF2B5EF4-FFF2-40B4-BE49-F238E27FC236}">
                <a16:creationId xmlns:a16="http://schemas.microsoft.com/office/drawing/2014/main" id="{24412A97-7DBB-ABAF-D607-1DAABB1FBBD9}"/>
              </a:ext>
            </a:extLst>
          </p:cNvPr>
          <p:cNvGrpSpPr/>
          <p:nvPr/>
        </p:nvGrpSpPr>
        <p:grpSpPr>
          <a:xfrm>
            <a:off x="8804651" y="5562599"/>
            <a:ext cx="142875" cy="285750"/>
            <a:chOff x="8243888" y="5922963"/>
            <a:chExt cx="142875" cy="285750"/>
          </a:xfrm>
          <a:solidFill>
            <a:srgbClr val="BFBFBF"/>
          </a:solidFill>
        </p:grpSpPr>
        <p:sp>
          <p:nvSpPr>
            <p:cNvPr id="62" name="Freeform 3404">
              <a:extLst>
                <a:ext uri="{FF2B5EF4-FFF2-40B4-BE49-F238E27FC236}">
                  <a16:creationId xmlns:a16="http://schemas.microsoft.com/office/drawing/2014/main" id="{1335A09E-FF44-5FB1-0348-17F52BD3FCCF}"/>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63" name="Freeform 3405">
              <a:extLst>
                <a:ext uri="{FF2B5EF4-FFF2-40B4-BE49-F238E27FC236}">
                  <a16:creationId xmlns:a16="http://schemas.microsoft.com/office/drawing/2014/main" id="{18F5AFCF-4599-4544-0DF4-12578FEF4DE8}"/>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64" name="Group 63" descr="This is an icon of a human being. ">
            <a:extLst>
              <a:ext uri="{FF2B5EF4-FFF2-40B4-BE49-F238E27FC236}">
                <a16:creationId xmlns:a16="http://schemas.microsoft.com/office/drawing/2014/main" id="{5CF95058-96D2-2F4A-6432-021E1EA2AD1B}"/>
              </a:ext>
            </a:extLst>
          </p:cNvPr>
          <p:cNvGrpSpPr/>
          <p:nvPr/>
        </p:nvGrpSpPr>
        <p:grpSpPr>
          <a:xfrm>
            <a:off x="9045795" y="5562599"/>
            <a:ext cx="142875" cy="285750"/>
            <a:chOff x="8243888" y="5922963"/>
            <a:chExt cx="142875" cy="285750"/>
          </a:xfrm>
          <a:solidFill>
            <a:srgbClr val="BFBFBF"/>
          </a:solidFill>
        </p:grpSpPr>
        <p:sp>
          <p:nvSpPr>
            <p:cNvPr id="65" name="Freeform 3404">
              <a:extLst>
                <a:ext uri="{FF2B5EF4-FFF2-40B4-BE49-F238E27FC236}">
                  <a16:creationId xmlns:a16="http://schemas.microsoft.com/office/drawing/2014/main" id="{62829FDF-7E96-D055-9118-0A41A67D9411}"/>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66" name="Freeform 3405">
              <a:extLst>
                <a:ext uri="{FF2B5EF4-FFF2-40B4-BE49-F238E27FC236}">
                  <a16:creationId xmlns:a16="http://schemas.microsoft.com/office/drawing/2014/main" id="{237BB5D6-E8A9-6562-34A4-34A80B87A256}"/>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67" name="Group 66" descr="This is an icon of a human being. ">
            <a:extLst>
              <a:ext uri="{FF2B5EF4-FFF2-40B4-BE49-F238E27FC236}">
                <a16:creationId xmlns:a16="http://schemas.microsoft.com/office/drawing/2014/main" id="{870617A7-EBA0-2A2B-55F3-96267C45F3C3}"/>
              </a:ext>
            </a:extLst>
          </p:cNvPr>
          <p:cNvGrpSpPr/>
          <p:nvPr/>
        </p:nvGrpSpPr>
        <p:grpSpPr>
          <a:xfrm>
            <a:off x="9286937" y="5562599"/>
            <a:ext cx="142875" cy="285750"/>
            <a:chOff x="8243888" y="5922963"/>
            <a:chExt cx="142875" cy="285750"/>
          </a:xfrm>
          <a:solidFill>
            <a:srgbClr val="BFBFBF"/>
          </a:solidFill>
        </p:grpSpPr>
        <p:sp>
          <p:nvSpPr>
            <p:cNvPr id="68" name="Freeform 3404">
              <a:extLst>
                <a:ext uri="{FF2B5EF4-FFF2-40B4-BE49-F238E27FC236}">
                  <a16:creationId xmlns:a16="http://schemas.microsoft.com/office/drawing/2014/main" id="{F814A565-CFBF-D2C0-F13C-0783FA8E25DF}"/>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69" name="Freeform 3405">
              <a:extLst>
                <a:ext uri="{FF2B5EF4-FFF2-40B4-BE49-F238E27FC236}">
                  <a16:creationId xmlns:a16="http://schemas.microsoft.com/office/drawing/2014/main" id="{F1BE05F9-9FD8-60AA-C7F5-5C0CC42982FD}"/>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70" name="Group 69" descr="This is an icon of a human being. ">
            <a:extLst>
              <a:ext uri="{FF2B5EF4-FFF2-40B4-BE49-F238E27FC236}">
                <a16:creationId xmlns:a16="http://schemas.microsoft.com/office/drawing/2014/main" id="{59275A0C-14DF-9EFF-6752-ED060123BBCE}"/>
              </a:ext>
            </a:extLst>
          </p:cNvPr>
          <p:cNvGrpSpPr/>
          <p:nvPr/>
        </p:nvGrpSpPr>
        <p:grpSpPr>
          <a:xfrm>
            <a:off x="7116643" y="6025668"/>
            <a:ext cx="142875" cy="285750"/>
            <a:chOff x="8243888" y="5922963"/>
            <a:chExt cx="142875" cy="285750"/>
          </a:xfrm>
          <a:solidFill>
            <a:srgbClr val="BFBFBF"/>
          </a:solidFill>
        </p:grpSpPr>
        <p:sp>
          <p:nvSpPr>
            <p:cNvPr id="71" name="Freeform 3404">
              <a:extLst>
                <a:ext uri="{FF2B5EF4-FFF2-40B4-BE49-F238E27FC236}">
                  <a16:creationId xmlns:a16="http://schemas.microsoft.com/office/drawing/2014/main" id="{197D83D0-BBEC-8A8D-705E-A3180A98A872}"/>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72" name="Freeform 3405">
              <a:extLst>
                <a:ext uri="{FF2B5EF4-FFF2-40B4-BE49-F238E27FC236}">
                  <a16:creationId xmlns:a16="http://schemas.microsoft.com/office/drawing/2014/main" id="{0722AE42-645B-E9FC-1CC9-480D4FDDEB18}"/>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73" name="Group 72" descr="This is an icon of a human being. ">
            <a:extLst>
              <a:ext uri="{FF2B5EF4-FFF2-40B4-BE49-F238E27FC236}">
                <a16:creationId xmlns:a16="http://schemas.microsoft.com/office/drawing/2014/main" id="{94751F6A-C0C1-87B1-D76E-6B7DD430C179}"/>
              </a:ext>
            </a:extLst>
          </p:cNvPr>
          <p:cNvGrpSpPr/>
          <p:nvPr/>
        </p:nvGrpSpPr>
        <p:grpSpPr>
          <a:xfrm>
            <a:off x="7357787" y="6025668"/>
            <a:ext cx="142875" cy="285750"/>
            <a:chOff x="8243888" y="5922963"/>
            <a:chExt cx="142875" cy="285750"/>
          </a:xfrm>
          <a:solidFill>
            <a:srgbClr val="BFBFBF"/>
          </a:solidFill>
        </p:grpSpPr>
        <p:sp>
          <p:nvSpPr>
            <p:cNvPr id="74" name="Freeform 3404">
              <a:extLst>
                <a:ext uri="{FF2B5EF4-FFF2-40B4-BE49-F238E27FC236}">
                  <a16:creationId xmlns:a16="http://schemas.microsoft.com/office/drawing/2014/main" id="{5EE59CBC-86C9-529D-DC6E-A5033193620B}"/>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75" name="Freeform 3405">
              <a:extLst>
                <a:ext uri="{FF2B5EF4-FFF2-40B4-BE49-F238E27FC236}">
                  <a16:creationId xmlns:a16="http://schemas.microsoft.com/office/drawing/2014/main" id="{5DFB11DE-5FB3-2F56-05C4-23149DAE4A7A}"/>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76" name="Group 75" descr="This is an icon of a human being. ">
            <a:extLst>
              <a:ext uri="{FF2B5EF4-FFF2-40B4-BE49-F238E27FC236}">
                <a16:creationId xmlns:a16="http://schemas.microsoft.com/office/drawing/2014/main" id="{AF1E3588-16AD-85D4-67B6-D87E31225300}"/>
              </a:ext>
            </a:extLst>
          </p:cNvPr>
          <p:cNvGrpSpPr/>
          <p:nvPr/>
        </p:nvGrpSpPr>
        <p:grpSpPr>
          <a:xfrm>
            <a:off x="7598931" y="6025668"/>
            <a:ext cx="142875" cy="285750"/>
            <a:chOff x="8243888" y="5922963"/>
            <a:chExt cx="142875" cy="285750"/>
          </a:xfrm>
          <a:solidFill>
            <a:srgbClr val="BFBFBF"/>
          </a:solidFill>
        </p:grpSpPr>
        <p:sp>
          <p:nvSpPr>
            <p:cNvPr id="77" name="Freeform 3404">
              <a:extLst>
                <a:ext uri="{FF2B5EF4-FFF2-40B4-BE49-F238E27FC236}">
                  <a16:creationId xmlns:a16="http://schemas.microsoft.com/office/drawing/2014/main" id="{EFF3CA5C-6876-A523-1F5C-BE564FDD904C}"/>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78" name="Freeform 3405">
              <a:extLst>
                <a:ext uri="{FF2B5EF4-FFF2-40B4-BE49-F238E27FC236}">
                  <a16:creationId xmlns:a16="http://schemas.microsoft.com/office/drawing/2014/main" id="{008F1137-71DD-D572-2AD6-A1ABF1055FB7}"/>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79" name="Group 78" descr="This is an icon of a human being. ">
            <a:extLst>
              <a:ext uri="{FF2B5EF4-FFF2-40B4-BE49-F238E27FC236}">
                <a16:creationId xmlns:a16="http://schemas.microsoft.com/office/drawing/2014/main" id="{2BAEF184-9741-6130-7ED2-857ECA610976}"/>
              </a:ext>
            </a:extLst>
          </p:cNvPr>
          <p:cNvGrpSpPr/>
          <p:nvPr/>
        </p:nvGrpSpPr>
        <p:grpSpPr>
          <a:xfrm>
            <a:off x="7840075" y="6025668"/>
            <a:ext cx="142875" cy="285750"/>
            <a:chOff x="8243888" y="5922963"/>
            <a:chExt cx="142875" cy="285750"/>
          </a:xfrm>
          <a:solidFill>
            <a:srgbClr val="BFBFBF"/>
          </a:solidFill>
        </p:grpSpPr>
        <p:sp>
          <p:nvSpPr>
            <p:cNvPr id="80" name="Freeform 3404">
              <a:extLst>
                <a:ext uri="{FF2B5EF4-FFF2-40B4-BE49-F238E27FC236}">
                  <a16:creationId xmlns:a16="http://schemas.microsoft.com/office/drawing/2014/main" id="{1A42BA8C-84C7-25D3-8ECE-935F04D876CD}"/>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81" name="Freeform 3405">
              <a:extLst>
                <a:ext uri="{FF2B5EF4-FFF2-40B4-BE49-F238E27FC236}">
                  <a16:creationId xmlns:a16="http://schemas.microsoft.com/office/drawing/2014/main" id="{E9D19EE8-0F3C-8B59-E057-FD185558A2A6}"/>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82" name="Group 81" descr="This is an icon of a human being. ">
            <a:extLst>
              <a:ext uri="{FF2B5EF4-FFF2-40B4-BE49-F238E27FC236}">
                <a16:creationId xmlns:a16="http://schemas.microsoft.com/office/drawing/2014/main" id="{75C5E352-B040-50BD-8104-1EE706B0AF2A}"/>
              </a:ext>
            </a:extLst>
          </p:cNvPr>
          <p:cNvGrpSpPr/>
          <p:nvPr/>
        </p:nvGrpSpPr>
        <p:grpSpPr>
          <a:xfrm>
            <a:off x="8081219" y="6025668"/>
            <a:ext cx="142875" cy="285750"/>
            <a:chOff x="8243888" y="5922963"/>
            <a:chExt cx="142875" cy="285750"/>
          </a:xfrm>
          <a:solidFill>
            <a:srgbClr val="BFBFBF"/>
          </a:solidFill>
        </p:grpSpPr>
        <p:sp>
          <p:nvSpPr>
            <p:cNvPr id="83" name="Freeform 3404">
              <a:extLst>
                <a:ext uri="{FF2B5EF4-FFF2-40B4-BE49-F238E27FC236}">
                  <a16:creationId xmlns:a16="http://schemas.microsoft.com/office/drawing/2014/main" id="{82D8903E-A741-7CC4-B9A4-F3F145D3561E}"/>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84" name="Freeform 3405">
              <a:extLst>
                <a:ext uri="{FF2B5EF4-FFF2-40B4-BE49-F238E27FC236}">
                  <a16:creationId xmlns:a16="http://schemas.microsoft.com/office/drawing/2014/main" id="{EF6A9230-7779-0A89-F1CE-D144FEBCC31A}"/>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85" name="Group 84" descr="This is an icon of a human being. ">
            <a:extLst>
              <a:ext uri="{FF2B5EF4-FFF2-40B4-BE49-F238E27FC236}">
                <a16:creationId xmlns:a16="http://schemas.microsoft.com/office/drawing/2014/main" id="{50CD8281-B6F5-64D7-9C8F-1E6BBFA3952F}"/>
              </a:ext>
            </a:extLst>
          </p:cNvPr>
          <p:cNvGrpSpPr/>
          <p:nvPr/>
        </p:nvGrpSpPr>
        <p:grpSpPr>
          <a:xfrm>
            <a:off x="8322363" y="6025668"/>
            <a:ext cx="142875" cy="285750"/>
            <a:chOff x="8243888" y="5922963"/>
            <a:chExt cx="142875" cy="285750"/>
          </a:xfrm>
          <a:solidFill>
            <a:srgbClr val="BFBFBF"/>
          </a:solidFill>
        </p:grpSpPr>
        <p:sp>
          <p:nvSpPr>
            <p:cNvPr id="86" name="Freeform 3404">
              <a:extLst>
                <a:ext uri="{FF2B5EF4-FFF2-40B4-BE49-F238E27FC236}">
                  <a16:creationId xmlns:a16="http://schemas.microsoft.com/office/drawing/2014/main" id="{3EB51272-2124-4627-DF98-81F822B5847A}"/>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87" name="Freeform 3405">
              <a:extLst>
                <a:ext uri="{FF2B5EF4-FFF2-40B4-BE49-F238E27FC236}">
                  <a16:creationId xmlns:a16="http://schemas.microsoft.com/office/drawing/2014/main" id="{07BCE51B-15CA-2E88-F4D9-232C975B8055}"/>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88" name="Group 87" descr="This is an icon of a human being. ">
            <a:extLst>
              <a:ext uri="{FF2B5EF4-FFF2-40B4-BE49-F238E27FC236}">
                <a16:creationId xmlns:a16="http://schemas.microsoft.com/office/drawing/2014/main" id="{DF738262-968B-F0C6-7713-D83C9B84E3DD}"/>
              </a:ext>
            </a:extLst>
          </p:cNvPr>
          <p:cNvGrpSpPr/>
          <p:nvPr/>
        </p:nvGrpSpPr>
        <p:grpSpPr>
          <a:xfrm>
            <a:off x="8563507" y="6025668"/>
            <a:ext cx="142875" cy="285750"/>
            <a:chOff x="8243888" y="5922963"/>
            <a:chExt cx="142875" cy="285750"/>
          </a:xfrm>
          <a:solidFill>
            <a:srgbClr val="BFBFBF"/>
          </a:solidFill>
        </p:grpSpPr>
        <p:sp>
          <p:nvSpPr>
            <p:cNvPr id="89" name="Freeform 3404">
              <a:extLst>
                <a:ext uri="{FF2B5EF4-FFF2-40B4-BE49-F238E27FC236}">
                  <a16:creationId xmlns:a16="http://schemas.microsoft.com/office/drawing/2014/main" id="{1D4EFEE0-F1B1-FEC0-A924-601AE40B4C5A}"/>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90" name="Freeform 3405">
              <a:extLst>
                <a:ext uri="{FF2B5EF4-FFF2-40B4-BE49-F238E27FC236}">
                  <a16:creationId xmlns:a16="http://schemas.microsoft.com/office/drawing/2014/main" id="{FB26A485-F42D-2601-3155-2BD8949F4C2B}"/>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91" name="Group 90" descr="This is an icon of a human being. ">
            <a:extLst>
              <a:ext uri="{FF2B5EF4-FFF2-40B4-BE49-F238E27FC236}">
                <a16:creationId xmlns:a16="http://schemas.microsoft.com/office/drawing/2014/main" id="{3AF8A3B1-113B-3B15-1B00-8BC6EE136F8C}"/>
              </a:ext>
            </a:extLst>
          </p:cNvPr>
          <p:cNvGrpSpPr/>
          <p:nvPr/>
        </p:nvGrpSpPr>
        <p:grpSpPr>
          <a:xfrm>
            <a:off x="8804651" y="6025668"/>
            <a:ext cx="142875" cy="285750"/>
            <a:chOff x="8243888" y="5922963"/>
            <a:chExt cx="142875" cy="285750"/>
          </a:xfrm>
          <a:solidFill>
            <a:srgbClr val="BFBFBF"/>
          </a:solidFill>
        </p:grpSpPr>
        <p:sp>
          <p:nvSpPr>
            <p:cNvPr id="92" name="Freeform 3404">
              <a:extLst>
                <a:ext uri="{FF2B5EF4-FFF2-40B4-BE49-F238E27FC236}">
                  <a16:creationId xmlns:a16="http://schemas.microsoft.com/office/drawing/2014/main" id="{90E0C901-A855-CB0F-0906-C9E35DE0CE51}"/>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93" name="Freeform 3405">
              <a:extLst>
                <a:ext uri="{FF2B5EF4-FFF2-40B4-BE49-F238E27FC236}">
                  <a16:creationId xmlns:a16="http://schemas.microsoft.com/office/drawing/2014/main" id="{559EF7C8-A354-2776-2A2A-F87E6CD67E2A}"/>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94" name="Group 93" descr="This is an icon of a human being. ">
            <a:extLst>
              <a:ext uri="{FF2B5EF4-FFF2-40B4-BE49-F238E27FC236}">
                <a16:creationId xmlns:a16="http://schemas.microsoft.com/office/drawing/2014/main" id="{CB929611-346F-E3ED-0EE6-484E1FFF3025}"/>
              </a:ext>
            </a:extLst>
          </p:cNvPr>
          <p:cNvGrpSpPr/>
          <p:nvPr/>
        </p:nvGrpSpPr>
        <p:grpSpPr>
          <a:xfrm>
            <a:off x="9045795" y="6025668"/>
            <a:ext cx="142875" cy="285750"/>
            <a:chOff x="8243888" y="5922963"/>
            <a:chExt cx="142875" cy="285750"/>
          </a:xfrm>
          <a:solidFill>
            <a:srgbClr val="BFBFBF"/>
          </a:solidFill>
        </p:grpSpPr>
        <p:sp>
          <p:nvSpPr>
            <p:cNvPr id="95" name="Freeform 3404">
              <a:extLst>
                <a:ext uri="{FF2B5EF4-FFF2-40B4-BE49-F238E27FC236}">
                  <a16:creationId xmlns:a16="http://schemas.microsoft.com/office/drawing/2014/main" id="{89E84711-FA26-A1A7-1797-56F99035E7ED}"/>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96" name="Freeform 3405">
              <a:extLst>
                <a:ext uri="{FF2B5EF4-FFF2-40B4-BE49-F238E27FC236}">
                  <a16:creationId xmlns:a16="http://schemas.microsoft.com/office/drawing/2014/main" id="{DA401CD2-30C5-701D-E854-25384F3D7A4A}"/>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grpSp>
        <p:nvGrpSpPr>
          <p:cNvPr id="97" name="Group 96" descr="This is an icon of a human being. ">
            <a:extLst>
              <a:ext uri="{FF2B5EF4-FFF2-40B4-BE49-F238E27FC236}">
                <a16:creationId xmlns:a16="http://schemas.microsoft.com/office/drawing/2014/main" id="{F686B8C0-CD33-C090-1D52-30BF61D41326}"/>
              </a:ext>
            </a:extLst>
          </p:cNvPr>
          <p:cNvGrpSpPr/>
          <p:nvPr/>
        </p:nvGrpSpPr>
        <p:grpSpPr>
          <a:xfrm>
            <a:off x="9286937" y="6025668"/>
            <a:ext cx="142875" cy="285750"/>
            <a:chOff x="8243888" y="5922963"/>
            <a:chExt cx="142875" cy="285750"/>
          </a:xfrm>
          <a:solidFill>
            <a:srgbClr val="BFBFBF"/>
          </a:solidFill>
        </p:grpSpPr>
        <p:sp>
          <p:nvSpPr>
            <p:cNvPr id="98" name="Freeform 3404">
              <a:extLst>
                <a:ext uri="{FF2B5EF4-FFF2-40B4-BE49-F238E27FC236}">
                  <a16:creationId xmlns:a16="http://schemas.microsoft.com/office/drawing/2014/main" id="{EC7BB9FE-7534-5ADC-1009-5AC3BEC7EC48}"/>
                </a:ext>
              </a:extLst>
            </p:cNvPr>
            <p:cNvSpPr>
              <a:spLocks/>
            </p:cNvSpPr>
            <p:nvPr/>
          </p:nvSpPr>
          <p:spPr bwMode="auto">
            <a:xfrm>
              <a:off x="8280400" y="5922963"/>
              <a:ext cx="68262" cy="66675"/>
            </a:xfrm>
            <a:custGeom>
              <a:avLst/>
              <a:gdLst>
                <a:gd name="T0" fmla="*/ 94 w 168"/>
                <a:gd name="T1" fmla="*/ 167 h 168"/>
                <a:gd name="T2" fmla="*/ 109 w 168"/>
                <a:gd name="T3" fmla="*/ 164 h 168"/>
                <a:gd name="T4" fmla="*/ 125 w 168"/>
                <a:gd name="T5" fmla="*/ 158 h 168"/>
                <a:gd name="T6" fmla="*/ 139 w 168"/>
                <a:gd name="T7" fmla="*/ 149 h 168"/>
                <a:gd name="T8" fmla="*/ 149 w 168"/>
                <a:gd name="T9" fmla="*/ 137 h 168"/>
                <a:gd name="T10" fmla="*/ 158 w 168"/>
                <a:gd name="T11" fmla="*/ 123 h 168"/>
                <a:gd name="T12" fmla="*/ 164 w 168"/>
                <a:gd name="T13" fmla="*/ 109 h 168"/>
                <a:gd name="T14" fmla="*/ 168 w 168"/>
                <a:gd name="T15" fmla="*/ 92 h 168"/>
                <a:gd name="T16" fmla="*/ 168 w 168"/>
                <a:gd name="T17" fmla="*/ 74 h 168"/>
                <a:gd name="T18" fmla="*/ 164 w 168"/>
                <a:gd name="T19" fmla="*/ 59 h 168"/>
                <a:gd name="T20" fmla="*/ 158 w 168"/>
                <a:gd name="T21" fmla="*/ 43 h 168"/>
                <a:gd name="T22" fmla="*/ 149 w 168"/>
                <a:gd name="T23" fmla="*/ 31 h 168"/>
                <a:gd name="T24" fmla="*/ 139 w 168"/>
                <a:gd name="T25" fmla="*/ 19 h 168"/>
                <a:gd name="T26" fmla="*/ 125 w 168"/>
                <a:gd name="T27" fmla="*/ 10 h 168"/>
                <a:gd name="T28" fmla="*/ 109 w 168"/>
                <a:gd name="T29" fmla="*/ 4 h 168"/>
                <a:gd name="T30" fmla="*/ 94 w 168"/>
                <a:gd name="T31" fmla="*/ 0 h 168"/>
                <a:gd name="T32" fmla="*/ 76 w 168"/>
                <a:gd name="T33" fmla="*/ 0 h 168"/>
                <a:gd name="T34" fmla="*/ 59 w 168"/>
                <a:gd name="T35" fmla="*/ 4 h 168"/>
                <a:gd name="T36" fmla="*/ 45 w 168"/>
                <a:gd name="T37" fmla="*/ 10 h 168"/>
                <a:gd name="T38" fmla="*/ 31 w 168"/>
                <a:gd name="T39" fmla="*/ 19 h 168"/>
                <a:gd name="T40" fmla="*/ 19 w 168"/>
                <a:gd name="T41" fmla="*/ 31 h 168"/>
                <a:gd name="T42" fmla="*/ 10 w 168"/>
                <a:gd name="T43" fmla="*/ 43 h 168"/>
                <a:gd name="T44" fmla="*/ 4 w 168"/>
                <a:gd name="T45" fmla="*/ 59 h 168"/>
                <a:gd name="T46" fmla="*/ 1 w 168"/>
                <a:gd name="T47" fmla="*/ 75 h 168"/>
                <a:gd name="T48" fmla="*/ 1 w 168"/>
                <a:gd name="T49" fmla="*/ 92 h 168"/>
                <a:gd name="T50" fmla="*/ 4 w 168"/>
                <a:gd name="T51" fmla="*/ 109 h 168"/>
                <a:gd name="T52" fmla="*/ 10 w 168"/>
                <a:gd name="T53" fmla="*/ 123 h 168"/>
                <a:gd name="T54" fmla="*/ 19 w 168"/>
                <a:gd name="T55" fmla="*/ 137 h 168"/>
                <a:gd name="T56" fmla="*/ 31 w 168"/>
                <a:gd name="T57" fmla="*/ 149 h 168"/>
                <a:gd name="T58" fmla="*/ 45 w 168"/>
                <a:gd name="T59" fmla="*/ 158 h 168"/>
                <a:gd name="T60" fmla="*/ 59 w 168"/>
                <a:gd name="T61" fmla="*/ 164 h 168"/>
                <a:gd name="T62" fmla="*/ 76 w 168"/>
                <a:gd name="T63"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68">
                  <a:moveTo>
                    <a:pt x="85" y="168"/>
                  </a:moveTo>
                  <a:lnTo>
                    <a:pt x="94" y="167"/>
                  </a:lnTo>
                  <a:lnTo>
                    <a:pt x="101" y="165"/>
                  </a:lnTo>
                  <a:lnTo>
                    <a:pt x="109" y="164"/>
                  </a:lnTo>
                  <a:lnTo>
                    <a:pt x="117" y="162"/>
                  </a:lnTo>
                  <a:lnTo>
                    <a:pt x="125" y="158"/>
                  </a:lnTo>
                  <a:lnTo>
                    <a:pt x="132" y="153"/>
                  </a:lnTo>
                  <a:lnTo>
                    <a:pt x="139" y="149"/>
                  </a:lnTo>
                  <a:lnTo>
                    <a:pt x="144" y="142"/>
                  </a:lnTo>
                  <a:lnTo>
                    <a:pt x="149" y="137"/>
                  </a:lnTo>
                  <a:lnTo>
                    <a:pt x="154" y="131"/>
                  </a:lnTo>
                  <a:lnTo>
                    <a:pt x="158" y="123"/>
                  </a:lnTo>
                  <a:lnTo>
                    <a:pt x="162" y="117"/>
                  </a:lnTo>
                  <a:lnTo>
                    <a:pt x="164" y="109"/>
                  </a:lnTo>
                  <a:lnTo>
                    <a:pt x="167" y="100"/>
                  </a:lnTo>
                  <a:lnTo>
                    <a:pt x="168" y="92"/>
                  </a:lnTo>
                  <a:lnTo>
                    <a:pt x="168" y="83"/>
                  </a:lnTo>
                  <a:lnTo>
                    <a:pt x="168" y="74"/>
                  </a:lnTo>
                  <a:lnTo>
                    <a:pt x="167" y="66"/>
                  </a:lnTo>
                  <a:lnTo>
                    <a:pt x="164" y="59"/>
                  </a:lnTo>
                  <a:lnTo>
                    <a:pt x="162" y="51"/>
                  </a:lnTo>
                  <a:lnTo>
                    <a:pt x="158" y="43"/>
                  </a:lnTo>
                  <a:lnTo>
                    <a:pt x="154" y="37"/>
                  </a:lnTo>
                  <a:lnTo>
                    <a:pt x="149" y="31"/>
                  </a:lnTo>
                  <a:lnTo>
                    <a:pt x="144" y="24"/>
                  </a:lnTo>
                  <a:lnTo>
                    <a:pt x="139" y="19"/>
                  </a:lnTo>
                  <a:lnTo>
                    <a:pt x="132" y="14"/>
                  </a:lnTo>
                  <a:lnTo>
                    <a:pt x="125" y="10"/>
                  </a:lnTo>
                  <a:lnTo>
                    <a:pt x="117" y="6"/>
                  </a:lnTo>
                  <a:lnTo>
                    <a:pt x="109" y="4"/>
                  </a:lnTo>
                  <a:lnTo>
                    <a:pt x="101" y="1"/>
                  </a:lnTo>
                  <a:lnTo>
                    <a:pt x="94" y="0"/>
                  </a:lnTo>
                  <a:lnTo>
                    <a:pt x="85" y="0"/>
                  </a:lnTo>
                  <a:lnTo>
                    <a:pt x="76" y="0"/>
                  </a:lnTo>
                  <a:lnTo>
                    <a:pt x="68" y="1"/>
                  </a:lnTo>
                  <a:lnTo>
                    <a:pt x="59" y="4"/>
                  </a:lnTo>
                  <a:lnTo>
                    <a:pt x="51" y="6"/>
                  </a:lnTo>
                  <a:lnTo>
                    <a:pt x="45" y="10"/>
                  </a:lnTo>
                  <a:lnTo>
                    <a:pt x="37" y="14"/>
                  </a:lnTo>
                  <a:lnTo>
                    <a:pt x="31" y="19"/>
                  </a:lnTo>
                  <a:lnTo>
                    <a:pt x="26" y="24"/>
                  </a:lnTo>
                  <a:lnTo>
                    <a:pt x="19" y="31"/>
                  </a:lnTo>
                  <a:lnTo>
                    <a:pt x="15" y="37"/>
                  </a:lnTo>
                  <a:lnTo>
                    <a:pt x="10" y="43"/>
                  </a:lnTo>
                  <a:lnTo>
                    <a:pt x="8" y="51"/>
                  </a:lnTo>
                  <a:lnTo>
                    <a:pt x="4" y="59"/>
                  </a:lnTo>
                  <a:lnTo>
                    <a:pt x="3" y="66"/>
                  </a:lnTo>
                  <a:lnTo>
                    <a:pt x="1" y="75"/>
                  </a:lnTo>
                  <a:lnTo>
                    <a:pt x="0" y="83"/>
                  </a:lnTo>
                  <a:lnTo>
                    <a:pt x="1" y="92"/>
                  </a:lnTo>
                  <a:lnTo>
                    <a:pt x="3" y="100"/>
                  </a:lnTo>
                  <a:lnTo>
                    <a:pt x="4" y="109"/>
                  </a:lnTo>
                  <a:lnTo>
                    <a:pt x="8" y="117"/>
                  </a:lnTo>
                  <a:lnTo>
                    <a:pt x="10" y="123"/>
                  </a:lnTo>
                  <a:lnTo>
                    <a:pt x="15" y="131"/>
                  </a:lnTo>
                  <a:lnTo>
                    <a:pt x="19" y="137"/>
                  </a:lnTo>
                  <a:lnTo>
                    <a:pt x="26" y="142"/>
                  </a:lnTo>
                  <a:lnTo>
                    <a:pt x="31" y="149"/>
                  </a:lnTo>
                  <a:lnTo>
                    <a:pt x="37" y="153"/>
                  </a:lnTo>
                  <a:lnTo>
                    <a:pt x="45" y="158"/>
                  </a:lnTo>
                  <a:lnTo>
                    <a:pt x="51" y="162"/>
                  </a:lnTo>
                  <a:lnTo>
                    <a:pt x="59" y="164"/>
                  </a:lnTo>
                  <a:lnTo>
                    <a:pt x="68" y="165"/>
                  </a:lnTo>
                  <a:lnTo>
                    <a:pt x="76" y="167"/>
                  </a:lnTo>
                  <a:lnTo>
                    <a:pt x="85"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99" name="Freeform 3405">
              <a:extLst>
                <a:ext uri="{FF2B5EF4-FFF2-40B4-BE49-F238E27FC236}">
                  <a16:creationId xmlns:a16="http://schemas.microsoft.com/office/drawing/2014/main" id="{A2D717ED-7549-A4D1-C156-1F3F4EB8186C}"/>
                </a:ext>
              </a:extLst>
            </p:cNvPr>
            <p:cNvSpPr>
              <a:spLocks/>
            </p:cNvSpPr>
            <p:nvPr/>
          </p:nvSpPr>
          <p:spPr bwMode="auto">
            <a:xfrm>
              <a:off x="8243888" y="5999163"/>
              <a:ext cx="142875" cy="209550"/>
            </a:xfrm>
            <a:custGeom>
              <a:avLst/>
              <a:gdLst>
                <a:gd name="T0" fmla="*/ 352 w 360"/>
                <a:gd name="T1" fmla="*/ 37 h 529"/>
                <a:gd name="T2" fmla="*/ 244 w 360"/>
                <a:gd name="T3" fmla="*/ 1 h 529"/>
                <a:gd name="T4" fmla="*/ 239 w 360"/>
                <a:gd name="T5" fmla="*/ 0 h 529"/>
                <a:gd name="T6" fmla="*/ 235 w 360"/>
                <a:gd name="T7" fmla="*/ 1 h 529"/>
                <a:gd name="T8" fmla="*/ 231 w 360"/>
                <a:gd name="T9" fmla="*/ 4 h 529"/>
                <a:gd name="T10" fmla="*/ 229 w 360"/>
                <a:gd name="T11" fmla="*/ 8 h 529"/>
                <a:gd name="T12" fmla="*/ 180 w 360"/>
                <a:gd name="T13" fmla="*/ 116 h 529"/>
                <a:gd name="T14" fmla="*/ 131 w 360"/>
                <a:gd name="T15" fmla="*/ 8 h 529"/>
                <a:gd name="T16" fmla="*/ 128 w 360"/>
                <a:gd name="T17" fmla="*/ 4 h 529"/>
                <a:gd name="T18" fmla="*/ 125 w 360"/>
                <a:gd name="T19" fmla="*/ 1 h 529"/>
                <a:gd name="T20" fmla="*/ 121 w 360"/>
                <a:gd name="T21" fmla="*/ 0 h 529"/>
                <a:gd name="T22" fmla="*/ 116 w 360"/>
                <a:gd name="T23" fmla="*/ 1 h 529"/>
                <a:gd name="T24" fmla="*/ 8 w 360"/>
                <a:gd name="T25" fmla="*/ 37 h 529"/>
                <a:gd name="T26" fmla="*/ 4 w 360"/>
                <a:gd name="T27" fmla="*/ 39 h 529"/>
                <a:gd name="T28" fmla="*/ 1 w 360"/>
                <a:gd name="T29" fmla="*/ 41 h 529"/>
                <a:gd name="T30" fmla="*/ 0 w 360"/>
                <a:gd name="T31" fmla="*/ 45 h 529"/>
                <a:gd name="T32" fmla="*/ 0 w 360"/>
                <a:gd name="T33" fmla="*/ 49 h 529"/>
                <a:gd name="T34" fmla="*/ 0 w 360"/>
                <a:gd name="T35" fmla="*/ 277 h 529"/>
                <a:gd name="T36" fmla="*/ 0 w 360"/>
                <a:gd name="T37" fmla="*/ 281 h 529"/>
                <a:gd name="T38" fmla="*/ 3 w 360"/>
                <a:gd name="T39" fmla="*/ 285 h 529"/>
                <a:gd name="T40" fmla="*/ 6 w 360"/>
                <a:gd name="T41" fmla="*/ 288 h 529"/>
                <a:gd name="T42" fmla="*/ 12 w 360"/>
                <a:gd name="T43" fmla="*/ 289 h 529"/>
                <a:gd name="T44" fmla="*/ 62 w 360"/>
                <a:gd name="T45" fmla="*/ 289 h 529"/>
                <a:gd name="T46" fmla="*/ 95 w 360"/>
                <a:gd name="T47" fmla="*/ 519 h 529"/>
                <a:gd name="T48" fmla="*/ 98 w 360"/>
                <a:gd name="T49" fmla="*/ 523 h 529"/>
                <a:gd name="T50" fmla="*/ 100 w 360"/>
                <a:gd name="T51" fmla="*/ 527 h 529"/>
                <a:gd name="T52" fmla="*/ 103 w 360"/>
                <a:gd name="T53" fmla="*/ 529 h 529"/>
                <a:gd name="T54" fmla="*/ 108 w 360"/>
                <a:gd name="T55" fmla="*/ 529 h 529"/>
                <a:gd name="T56" fmla="*/ 252 w 360"/>
                <a:gd name="T57" fmla="*/ 529 h 529"/>
                <a:gd name="T58" fmla="*/ 256 w 360"/>
                <a:gd name="T59" fmla="*/ 529 h 529"/>
                <a:gd name="T60" fmla="*/ 259 w 360"/>
                <a:gd name="T61" fmla="*/ 527 h 529"/>
                <a:gd name="T62" fmla="*/ 262 w 360"/>
                <a:gd name="T63" fmla="*/ 523 h 529"/>
                <a:gd name="T64" fmla="*/ 263 w 360"/>
                <a:gd name="T65" fmla="*/ 519 h 529"/>
                <a:gd name="T66" fmla="*/ 298 w 360"/>
                <a:gd name="T67" fmla="*/ 289 h 529"/>
                <a:gd name="T68" fmla="*/ 348 w 360"/>
                <a:gd name="T69" fmla="*/ 289 h 529"/>
                <a:gd name="T70" fmla="*/ 353 w 360"/>
                <a:gd name="T71" fmla="*/ 288 h 529"/>
                <a:gd name="T72" fmla="*/ 357 w 360"/>
                <a:gd name="T73" fmla="*/ 285 h 529"/>
                <a:gd name="T74" fmla="*/ 360 w 360"/>
                <a:gd name="T75" fmla="*/ 281 h 529"/>
                <a:gd name="T76" fmla="*/ 360 w 360"/>
                <a:gd name="T77" fmla="*/ 277 h 529"/>
                <a:gd name="T78" fmla="*/ 360 w 360"/>
                <a:gd name="T79" fmla="*/ 49 h 529"/>
                <a:gd name="T80" fmla="*/ 360 w 360"/>
                <a:gd name="T81" fmla="*/ 45 h 529"/>
                <a:gd name="T82" fmla="*/ 358 w 360"/>
                <a:gd name="T83" fmla="*/ 41 h 529"/>
                <a:gd name="T84" fmla="*/ 354 w 360"/>
                <a:gd name="T85" fmla="*/ 39 h 529"/>
                <a:gd name="T86" fmla="*/ 352 w 360"/>
                <a:gd name="T87" fmla="*/ 3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529">
                  <a:moveTo>
                    <a:pt x="352" y="37"/>
                  </a:moveTo>
                  <a:lnTo>
                    <a:pt x="244" y="1"/>
                  </a:lnTo>
                  <a:lnTo>
                    <a:pt x="239" y="0"/>
                  </a:lnTo>
                  <a:lnTo>
                    <a:pt x="235" y="1"/>
                  </a:lnTo>
                  <a:lnTo>
                    <a:pt x="231" y="4"/>
                  </a:lnTo>
                  <a:lnTo>
                    <a:pt x="229" y="8"/>
                  </a:lnTo>
                  <a:lnTo>
                    <a:pt x="180" y="116"/>
                  </a:lnTo>
                  <a:lnTo>
                    <a:pt x="131" y="8"/>
                  </a:lnTo>
                  <a:lnTo>
                    <a:pt x="128" y="4"/>
                  </a:lnTo>
                  <a:lnTo>
                    <a:pt x="125" y="1"/>
                  </a:lnTo>
                  <a:lnTo>
                    <a:pt x="121" y="0"/>
                  </a:lnTo>
                  <a:lnTo>
                    <a:pt x="116" y="1"/>
                  </a:lnTo>
                  <a:lnTo>
                    <a:pt x="8" y="37"/>
                  </a:lnTo>
                  <a:lnTo>
                    <a:pt x="4" y="39"/>
                  </a:lnTo>
                  <a:lnTo>
                    <a:pt x="1" y="41"/>
                  </a:lnTo>
                  <a:lnTo>
                    <a:pt x="0" y="45"/>
                  </a:lnTo>
                  <a:lnTo>
                    <a:pt x="0" y="49"/>
                  </a:lnTo>
                  <a:lnTo>
                    <a:pt x="0" y="277"/>
                  </a:lnTo>
                  <a:lnTo>
                    <a:pt x="0" y="281"/>
                  </a:lnTo>
                  <a:lnTo>
                    <a:pt x="3" y="285"/>
                  </a:lnTo>
                  <a:lnTo>
                    <a:pt x="6" y="288"/>
                  </a:lnTo>
                  <a:lnTo>
                    <a:pt x="12" y="289"/>
                  </a:lnTo>
                  <a:lnTo>
                    <a:pt x="62" y="289"/>
                  </a:lnTo>
                  <a:lnTo>
                    <a:pt x="95" y="519"/>
                  </a:lnTo>
                  <a:lnTo>
                    <a:pt x="98" y="523"/>
                  </a:lnTo>
                  <a:lnTo>
                    <a:pt x="100" y="527"/>
                  </a:lnTo>
                  <a:lnTo>
                    <a:pt x="103" y="529"/>
                  </a:lnTo>
                  <a:lnTo>
                    <a:pt x="108" y="529"/>
                  </a:lnTo>
                  <a:lnTo>
                    <a:pt x="252" y="529"/>
                  </a:lnTo>
                  <a:lnTo>
                    <a:pt x="256" y="529"/>
                  </a:lnTo>
                  <a:lnTo>
                    <a:pt x="259" y="527"/>
                  </a:lnTo>
                  <a:lnTo>
                    <a:pt x="262" y="523"/>
                  </a:lnTo>
                  <a:lnTo>
                    <a:pt x="263" y="519"/>
                  </a:lnTo>
                  <a:lnTo>
                    <a:pt x="298" y="289"/>
                  </a:lnTo>
                  <a:lnTo>
                    <a:pt x="348" y="289"/>
                  </a:lnTo>
                  <a:lnTo>
                    <a:pt x="353" y="288"/>
                  </a:lnTo>
                  <a:lnTo>
                    <a:pt x="357" y="285"/>
                  </a:lnTo>
                  <a:lnTo>
                    <a:pt x="360" y="281"/>
                  </a:lnTo>
                  <a:lnTo>
                    <a:pt x="360" y="277"/>
                  </a:lnTo>
                  <a:lnTo>
                    <a:pt x="360" y="49"/>
                  </a:lnTo>
                  <a:lnTo>
                    <a:pt x="360" y="45"/>
                  </a:lnTo>
                  <a:lnTo>
                    <a:pt x="358" y="41"/>
                  </a:lnTo>
                  <a:lnTo>
                    <a:pt x="354" y="39"/>
                  </a:lnTo>
                  <a:lnTo>
                    <a:pt x="35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sp>
        <p:nvSpPr>
          <p:cNvPr id="100" name="TextBox 47">
            <a:extLst>
              <a:ext uri="{FF2B5EF4-FFF2-40B4-BE49-F238E27FC236}">
                <a16:creationId xmlns:a16="http://schemas.microsoft.com/office/drawing/2014/main" id="{7ABFD8BC-E1A2-7BAF-EE71-3C4D9BE0021A}"/>
              </a:ext>
            </a:extLst>
          </p:cNvPr>
          <p:cNvSpPr txBox="1"/>
          <p:nvPr/>
        </p:nvSpPr>
        <p:spPr>
          <a:xfrm>
            <a:off x="4276725" y="5214812"/>
            <a:ext cx="2561523" cy="738664"/>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4800" b="1">
                <a:solidFill>
                  <a:srgbClr val="C00000"/>
                </a:solidFill>
                <a:latin typeface="Segoe UI" panose="020B0502040204020203" pitchFamily="34" charset="0"/>
                <a:cs typeface="Segoe UI" panose="020B0502040204020203" pitchFamily="34" charset="0"/>
              </a:rPr>
              <a:t>40%</a:t>
            </a:r>
          </a:p>
        </p:txBody>
      </p:sp>
      <p:sp>
        <p:nvSpPr>
          <p:cNvPr id="101" name="TextBox 47">
            <a:extLst>
              <a:ext uri="{FF2B5EF4-FFF2-40B4-BE49-F238E27FC236}">
                <a16:creationId xmlns:a16="http://schemas.microsoft.com/office/drawing/2014/main" id="{A754CD81-887F-BAD7-63DA-234D5200311E}"/>
              </a:ext>
            </a:extLst>
          </p:cNvPr>
          <p:cNvSpPr txBox="1"/>
          <p:nvPr/>
        </p:nvSpPr>
        <p:spPr>
          <a:xfrm>
            <a:off x="4379930" y="5980691"/>
            <a:ext cx="2355112" cy="215444"/>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solidFill>
                  <a:schemeClr val="tx1">
                    <a:lumMod val="65000"/>
                    <a:lumOff val="35000"/>
                  </a:schemeClr>
                </a:solidFill>
                <a:latin typeface="Segoe UI" panose="020B0502040204020203" pitchFamily="34" charset="0"/>
                <a:cs typeface="Segoe UI" panose="020B0502040204020203" pitchFamily="34" charset="0"/>
              </a:rPr>
              <a:t>Lorem ipsum dolor sit amet</a:t>
            </a:r>
          </a:p>
        </p:txBody>
      </p:sp>
      <p:grpSp>
        <p:nvGrpSpPr>
          <p:cNvPr id="102" name="Group 101" descr="This is an icon of a clock. ">
            <a:extLst>
              <a:ext uri="{FF2B5EF4-FFF2-40B4-BE49-F238E27FC236}">
                <a16:creationId xmlns:a16="http://schemas.microsoft.com/office/drawing/2014/main" id="{0216E62A-359E-CDA3-DA8F-F7A6310F0766}"/>
              </a:ext>
            </a:extLst>
          </p:cNvPr>
          <p:cNvGrpSpPr/>
          <p:nvPr/>
        </p:nvGrpSpPr>
        <p:grpSpPr>
          <a:xfrm>
            <a:off x="9917039" y="5457472"/>
            <a:ext cx="525182" cy="496004"/>
            <a:chOff x="333622" y="4212342"/>
            <a:chExt cx="285751" cy="269875"/>
          </a:xfrm>
          <a:solidFill>
            <a:srgbClr val="D6222B"/>
          </a:solidFill>
        </p:grpSpPr>
        <p:sp>
          <p:nvSpPr>
            <p:cNvPr id="103" name="Freeform 4461">
              <a:extLst>
                <a:ext uri="{FF2B5EF4-FFF2-40B4-BE49-F238E27FC236}">
                  <a16:creationId xmlns:a16="http://schemas.microsoft.com/office/drawing/2014/main" id="{A1F77887-67B4-CC34-555B-E53EC096BD31}"/>
                </a:ext>
              </a:extLst>
            </p:cNvPr>
            <p:cNvSpPr>
              <a:spLocks/>
            </p:cNvSpPr>
            <p:nvPr/>
          </p:nvSpPr>
          <p:spPr bwMode="auto">
            <a:xfrm>
              <a:off x="387597" y="4467929"/>
              <a:ext cx="15875" cy="14288"/>
            </a:xfrm>
            <a:custGeom>
              <a:avLst/>
              <a:gdLst>
                <a:gd name="T0" fmla="*/ 4 w 52"/>
                <a:gd name="T1" fmla="*/ 23 h 49"/>
                <a:gd name="T2" fmla="*/ 2 w 52"/>
                <a:gd name="T3" fmla="*/ 25 h 49"/>
                <a:gd name="T4" fmla="*/ 1 w 52"/>
                <a:gd name="T5" fmla="*/ 28 h 49"/>
                <a:gd name="T6" fmla="*/ 0 w 52"/>
                <a:gd name="T7" fmla="*/ 31 h 49"/>
                <a:gd name="T8" fmla="*/ 0 w 52"/>
                <a:gd name="T9" fmla="*/ 33 h 49"/>
                <a:gd name="T10" fmla="*/ 0 w 52"/>
                <a:gd name="T11" fmla="*/ 37 h 49"/>
                <a:gd name="T12" fmla="*/ 1 w 52"/>
                <a:gd name="T13" fmla="*/ 40 h 49"/>
                <a:gd name="T14" fmla="*/ 2 w 52"/>
                <a:gd name="T15" fmla="*/ 43 h 49"/>
                <a:gd name="T16" fmla="*/ 4 w 52"/>
                <a:gd name="T17" fmla="*/ 45 h 49"/>
                <a:gd name="T18" fmla="*/ 6 w 52"/>
                <a:gd name="T19" fmla="*/ 47 h 49"/>
                <a:gd name="T20" fmla="*/ 9 w 52"/>
                <a:gd name="T21" fmla="*/ 48 h 49"/>
                <a:gd name="T22" fmla="*/ 11 w 52"/>
                <a:gd name="T23" fmla="*/ 49 h 49"/>
                <a:gd name="T24" fmla="*/ 15 w 52"/>
                <a:gd name="T25" fmla="*/ 49 h 49"/>
                <a:gd name="T26" fmla="*/ 18 w 52"/>
                <a:gd name="T27" fmla="*/ 49 h 49"/>
                <a:gd name="T28" fmla="*/ 20 w 52"/>
                <a:gd name="T29" fmla="*/ 48 h 49"/>
                <a:gd name="T30" fmla="*/ 23 w 52"/>
                <a:gd name="T31" fmla="*/ 47 h 49"/>
                <a:gd name="T32" fmla="*/ 25 w 52"/>
                <a:gd name="T33" fmla="*/ 45 h 49"/>
                <a:gd name="T34" fmla="*/ 52 w 52"/>
                <a:gd name="T35" fmla="*/ 18 h 49"/>
                <a:gd name="T36" fmla="*/ 39 w 52"/>
                <a:gd name="T37" fmla="*/ 9 h 49"/>
                <a:gd name="T38" fmla="*/ 26 w 52"/>
                <a:gd name="T39" fmla="*/ 0 h 49"/>
                <a:gd name="T40" fmla="*/ 4 w 52"/>
                <a:gd name="T41"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49">
                  <a:moveTo>
                    <a:pt x="4" y="23"/>
                  </a:moveTo>
                  <a:lnTo>
                    <a:pt x="2" y="25"/>
                  </a:lnTo>
                  <a:lnTo>
                    <a:pt x="1" y="28"/>
                  </a:lnTo>
                  <a:lnTo>
                    <a:pt x="0" y="31"/>
                  </a:lnTo>
                  <a:lnTo>
                    <a:pt x="0" y="33"/>
                  </a:lnTo>
                  <a:lnTo>
                    <a:pt x="0" y="37"/>
                  </a:lnTo>
                  <a:lnTo>
                    <a:pt x="1" y="40"/>
                  </a:lnTo>
                  <a:lnTo>
                    <a:pt x="2" y="43"/>
                  </a:lnTo>
                  <a:lnTo>
                    <a:pt x="4" y="45"/>
                  </a:lnTo>
                  <a:lnTo>
                    <a:pt x="6" y="47"/>
                  </a:lnTo>
                  <a:lnTo>
                    <a:pt x="9" y="48"/>
                  </a:lnTo>
                  <a:lnTo>
                    <a:pt x="11" y="49"/>
                  </a:lnTo>
                  <a:lnTo>
                    <a:pt x="15" y="49"/>
                  </a:lnTo>
                  <a:lnTo>
                    <a:pt x="18" y="49"/>
                  </a:lnTo>
                  <a:lnTo>
                    <a:pt x="20" y="48"/>
                  </a:lnTo>
                  <a:lnTo>
                    <a:pt x="23" y="47"/>
                  </a:lnTo>
                  <a:lnTo>
                    <a:pt x="25" y="45"/>
                  </a:lnTo>
                  <a:lnTo>
                    <a:pt x="52" y="18"/>
                  </a:lnTo>
                  <a:lnTo>
                    <a:pt x="39" y="9"/>
                  </a:lnTo>
                  <a:lnTo>
                    <a:pt x="26" y="0"/>
                  </a:lnTo>
                  <a:lnTo>
                    <a:pt x="4"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04" name="Freeform 4462">
              <a:extLst>
                <a:ext uri="{FF2B5EF4-FFF2-40B4-BE49-F238E27FC236}">
                  <a16:creationId xmlns:a16="http://schemas.microsoft.com/office/drawing/2014/main" id="{3995D171-335C-ACA6-E394-B96D2F4273D2}"/>
                </a:ext>
              </a:extLst>
            </p:cNvPr>
            <p:cNvSpPr>
              <a:spLocks/>
            </p:cNvSpPr>
            <p:nvPr/>
          </p:nvSpPr>
          <p:spPr bwMode="auto">
            <a:xfrm>
              <a:off x="544760" y="4464754"/>
              <a:ext cx="19050" cy="17463"/>
            </a:xfrm>
            <a:custGeom>
              <a:avLst/>
              <a:gdLst>
                <a:gd name="T0" fmla="*/ 24 w 61"/>
                <a:gd name="T1" fmla="*/ 0 h 59"/>
                <a:gd name="T2" fmla="*/ 12 w 61"/>
                <a:gd name="T3" fmla="*/ 9 h 59"/>
                <a:gd name="T4" fmla="*/ 0 w 61"/>
                <a:gd name="T5" fmla="*/ 18 h 59"/>
                <a:gd name="T6" fmla="*/ 36 w 61"/>
                <a:gd name="T7" fmla="*/ 55 h 59"/>
                <a:gd name="T8" fmla="*/ 39 w 61"/>
                <a:gd name="T9" fmla="*/ 57 h 59"/>
                <a:gd name="T10" fmla="*/ 41 w 61"/>
                <a:gd name="T11" fmla="*/ 58 h 59"/>
                <a:gd name="T12" fmla="*/ 44 w 61"/>
                <a:gd name="T13" fmla="*/ 59 h 59"/>
                <a:gd name="T14" fmla="*/ 46 w 61"/>
                <a:gd name="T15" fmla="*/ 59 h 59"/>
                <a:gd name="T16" fmla="*/ 49 w 61"/>
                <a:gd name="T17" fmla="*/ 59 h 59"/>
                <a:gd name="T18" fmla="*/ 53 w 61"/>
                <a:gd name="T19" fmla="*/ 58 h 59"/>
                <a:gd name="T20" fmla="*/ 55 w 61"/>
                <a:gd name="T21" fmla="*/ 57 h 59"/>
                <a:gd name="T22" fmla="*/ 57 w 61"/>
                <a:gd name="T23" fmla="*/ 55 h 59"/>
                <a:gd name="T24" fmla="*/ 59 w 61"/>
                <a:gd name="T25" fmla="*/ 53 h 59"/>
                <a:gd name="T26" fmla="*/ 60 w 61"/>
                <a:gd name="T27" fmla="*/ 50 h 59"/>
                <a:gd name="T28" fmla="*/ 61 w 61"/>
                <a:gd name="T29" fmla="*/ 47 h 59"/>
                <a:gd name="T30" fmla="*/ 61 w 61"/>
                <a:gd name="T31" fmla="*/ 43 h 59"/>
                <a:gd name="T32" fmla="*/ 61 w 61"/>
                <a:gd name="T33" fmla="*/ 41 h 59"/>
                <a:gd name="T34" fmla="*/ 60 w 61"/>
                <a:gd name="T35" fmla="*/ 38 h 59"/>
                <a:gd name="T36" fmla="*/ 59 w 61"/>
                <a:gd name="T37" fmla="*/ 35 h 59"/>
                <a:gd name="T38" fmla="*/ 57 w 61"/>
                <a:gd name="T39" fmla="*/ 33 h 59"/>
                <a:gd name="T40" fmla="*/ 24 w 61"/>
                <a:gd name="T4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59">
                  <a:moveTo>
                    <a:pt x="24" y="0"/>
                  </a:moveTo>
                  <a:lnTo>
                    <a:pt x="12" y="9"/>
                  </a:lnTo>
                  <a:lnTo>
                    <a:pt x="0" y="18"/>
                  </a:lnTo>
                  <a:lnTo>
                    <a:pt x="36" y="55"/>
                  </a:lnTo>
                  <a:lnTo>
                    <a:pt x="39" y="57"/>
                  </a:lnTo>
                  <a:lnTo>
                    <a:pt x="41" y="58"/>
                  </a:lnTo>
                  <a:lnTo>
                    <a:pt x="44" y="59"/>
                  </a:lnTo>
                  <a:lnTo>
                    <a:pt x="46" y="59"/>
                  </a:lnTo>
                  <a:lnTo>
                    <a:pt x="49" y="59"/>
                  </a:lnTo>
                  <a:lnTo>
                    <a:pt x="53" y="58"/>
                  </a:lnTo>
                  <a:lnTo>
                    <a:pt x="55" y="57"/>
                  </a:lnTo>
                  <a:lnTo>
                    <a:pt x="57" y="55"/>
                  </a:lnTo>
                  <a:lnTo>
                    <a:pt x="59" y="53"/>
                  </a:lnTo>
                  <a:lnTo>
                    <a:pt x="60" y="50"/>
                  </a:lnTo>
                  <a:lnTo>
                    <a:pt x="61" y="47"/>
                  </a:lnTo>
                  <a:lnTo>
                    <a:pt x="61" y="43"/>
                  </a:lnTo>
                  <a:lnTo>
                    <a:pt x="61" y="41"/>
                  </a:lnTo>
                  <a:lnTo>
                    <a:pt x="60" y="38"/>
                  </a:lnTo>
                  <a:lnTo>
                    <a:pt x="59" y="35"/>
                  </a:lnTo>
                  <a:lnTo>
                    <a:pt x="57" y="33"/>
                  </a:ln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05" name="Freeform 4463">
              <a:extLst>
                <a:ext uri="{FF2B5EF4-FFF2-40B4-BE49-F238E27FC236}">
                  <a16:creationId xmlns:a16="http://schemas.microsoft.com/office/drawing/2014/main" id="{93B93D6F-962F-D2C8-E697-4FBBEA8977A0}"/>
                </a:ext>
              </a:extLst>
            </p:cNvPr>
            <p:cNvSpPr>
              <a:spLocks/>
            </p:cNvSpPr>
            <p:nvPr/>
          </p:nvSpPr>
          <p:spPr bwMode="auto">
            <a:xfrm>
              <a:off x="333622" y="4212342"/>
              <a:ext cx="93663" cy="90488"/>
            </a:xfrm>
            <a:custGeom>
              <a:avLst/>
              <a:gdLst>
                <a:gd name="T0" fmla="*/ 286 w 291"/>
                <a:gd name="T1" fmla="*/ 91 h 283"/>
                <a:gd name="T2" fmla="*/ 276 w 291"/>
                <a:gd name="T3" fmla="*/ 70 h 283"/>
                <a:gd name="T4" fmla="*/ 262 w 291"/>
                <a:gd name="T5" fmla="*/ 52 h 283"/>
                <a:gd name="T6" fmla="*/ 246 w 291"/>
                <a:gd name="T7" fmla="*/ 36 h 283"/>
                <a:gd name="T8" fmla="*/ 228 w 291"/>
                <a:gd name="T9" fmla="*/ 23 h 283"/>
                <a:gd name="T10" fmla="*/ 207 w 291"/>
                <a:gd name="T11" fmla="*/ 13 h 283"/>
                <a:gd name="T12" fmla="*/ 185 w 291"/>
                <a:gd name="T13" fmla="*/ 5 h 283"/>
                <a:gd name="T14" fmla="*/ 161 w 291"/>
                <a:gd name="T15" fmla="*/ 1 h 283"/>
                <a:gd name="T16" fmla="*/ 133 w 291"/>
                <a:gd name="T17" fmla="*/ 1 h 283"/>
                <a:gd name="T18" fmla="*/ 105 w 291"/>
                <a:gd name="T19" fmla="*/ 7 h 283"/>
                <a:gd name="T20" fmla="*/ 78 w 291"/>
                <a:gd name="T21" fmla="*/ 18 h 283"/>
                <a:gd name="T22" fmla="*/ 54 w 291"/>
                <a:gd name="T23" fmla="*/ 34 h 283"/>
                <a:gd name="T24" fmla="*/ 34 w 291"/>
                <a:gd name="T25" fmla="*/ 54 h 283"/>
                <a:gd name="T26" fmla="*/ 18 w 291"/>
                <a:gd name="T27" fmla="*/ 79 h 283"/>
                <a:gd name="T28" fmla="*/ 6 w 291"/>
                <a:gd name="T29" fmla="*/ 106 h 283"/>
                <a:gd name="T30" fmla="*/ 1 w 291"/>
                <a:gd name="T31" fmla="*/ 135 h 283"/>
                <a:gd name="T32" fmla="*/ 0 w 291"/>
                <a:gd name="T33" fmla="*/ 160 h 283"/>
                <a:gd name="T34" fmla="*/ 3 w 291"/>
                <a:gd name="T35" fmla="*/ 182 h 283"/>
                <a:gd name="T36" fmla="*/ 8 w 291"/>
                <a:gd name="T37" fmla="*/ 201 h 283"/>
                <a:gd name="T38" fmla="*/ 17 w 291"/>
                <a:gd name="T39" fmla="*/ 220 h 283"/>
                <a:gd name="T40" fmla="*/ 28 w 291"/>
                <a:gd name="T41" fmla="*/ 237 h 283"/>
                <a:gd name="T42" fmla="*/ 40 w 291"/>
                <a:gd name="T43" fmla="*/ 252 h 283"/>
                <a:gd name="T44" fmla="*/ 55 w 291"/>
                <a:gd name="T45" fmla="*/ 266 h 283"/>
                <a:gd name="T46" fmla="*/ 71 w 291"/>
                <a:gd name="T47" fmla="*/ 278 h 283"/>
                <a:gd name="T48" fmla="*/ 90 w 291"/>
                <a:gd name="T49" fmla="*/ 267 h 283"/>
                <a:gd name="T50" fmla="*/ 110 w 291"/>
                <a:gd name="T51" fmla="*/ 238 h 283"/>
                <a:gd name="T52" fmla="*/ 131 w 291"/>
                <a:gd name="T53" fmla="*/ 212 h 283"/>
                <a:gd name="T54" fmla="*/ 156 w 291"/>
                <a:gd name="T55" fmla="*/ 186 h 283"/>
                <a:gd name="T56" fmla="*/ 183 w 291"/>
                <a:gd name="T57" fmla="*/ 163 h 283"/>
                <a:gd name="T58" fmla="*/ 212 w 291"/>
                <a:gd name="T59" fmla="*/ 142 h 283"/>
                <a:gd name="T60" fmla="*/ 242 w 291"/>
                <a:gd name="T61" fmla="*/ 124 h 283"/>
                <a:gd name="T62" fmla="*/ 274 w 291"/>
                <a:gd name="T63" fmla="*/ 10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1" h="283">
                  <a:moveTo>
                    <a:pt x="291" y="102"/>
                  </a:moveTo>
                  <a:lnTo>
                    <a:pt x="286" y="91"/>
                  </a:lnTo>
                  <a:lnTo>
                    <a:pt x="281" y="81"/>
                  </a:lnTo>
                  <a:lnTo>
                    <a:pt x="276" y="70"/>
                  </a:lnTo>
                  <a:lnTo>
                    <a:pt x="269" y="62"/>
                  </a:lnTo>
                  <a:lnTo>
                    <a:pt x="262" y="52"/>
                  </a:lnTo>
                  <a:lnTo>
                    <a:pt x="254" y="44"/>
                  </a:lnTo>
                  <a:lnTo>
                    <a:pt x="246" y="36"/>
                  </a:lnTo>
                  <a:lnTo>
                    <a:pt x="237" y="30"/>
                  </a:lnTo>
                  <a:lnTo>
                    <a:pt x="228" y="23"/>
                  </a:lnTo>
                  <a:lnTo>
                    <a:pt x="217" y="17"/>
                  </a:lnTo>
                  <a:lnTo>
                    <a:pt x="207" y="13"/>
                  </a:lnTo>
                  <a:lnTo>
                    <a:pt x="196" y="8"/>
                  </a:lnTo>
                  <a:lnTo>
                    <a:pt x="185" y="5"/>
                  </a:lnTo>
                  <a:lnTo>
                    <a:pt x="173" y="2"/>
                  </a:lnTo>
                  <a:lnTo>
                    <a:pt x="161" y="1"/>
                  </a:lnTo>
                  <a:lnTo>
                    <a:pt x="149" y="0"/>
                  </a:lnTo>
                  <a:lnTo>
                    <a:pt x="133" y="1"/>
                  </a:lnTo>
                  <a:lnTo>
                    <a:pt x="120" y="3"/>
                  </a:lnTo>
                  <a:lnTo>
                    <a:pt x="105" y="7"/>
                  </a:lnTo>
                  <a:lnTo>
                    <a:pt x="91" y="12"/>
                  </a:lnTo>
                  <a:lnTo>
                    <a:pt x="78" y="18"/>
                  </a:lnTo>
                  <a:lnTo>
                    <a:pt x="66" y="25"/>
                  </a:lnTo>
                  <a:lnTo>
                    <a:pt x="54" y="34"/>
                  </a:lnTo>
                  <a:lnTo>
                    <a:pt x="44" y="45"/>
                  </a:lnTo>
                  <a:lnTo>
                    <a:pt x="34" y="54"/>
                  </a:lnTo>
                  <a:lnTo>
                    <a:pt x="25" y="66"/>
                  </a:lnTo>
                  <a:lnTo>
                    <a:pt x="18" y="79"/>
                  </a:lnTo>
                  <a:lnTo>
                    <a:pt x="11" y="92"/>
                  </a:lnTo>
                  <a:lnTo>
                    <a:pt x="6" y="106"/>
                  </a:lnTo>
                  <a:lnTo>
                    <a:pt x="3" y="120"/>
                  </a:lnTo>
                  <a:lnTo>
                    <a:pt x="1" y="135"/>
                  </a:lnTo>
                  <a:lnTo>
                    <a:pt x="0" y="150"/>
                  </a:lnTo>
                  <a:lnTo>
                    <a:pt x="0" y="160"/>
                  </a:lnTo>
                  <a:lnTo>
                    <a:pt x="1" y="171"/>
                  </a:lnTo>
                  <a:lnTo>
                    <a:pt x="3" y="182"/>
                  </a:lnTo>
                  <a:lnTo>
                    <a:pt x="5" y="191"/>
                  </a:lnTo>
                  <a:lnTo>
                    <a:pt x="8" y="201"/>
                  </a:lnTo>
                  <a:lnTo>
                    <a:pt x="13" y="211"/>
                  </a:lnTo>
                  <a:lnTo>
                    <a:pt x="17" y="220"/>
                  </a:lnTo>
                  <a:lnTo>
                    <a:pt x="22" y="229"/>
                  </a:lnTo>
                  <a:lnTo>
                    <a:pt x="28" y="237"/>
                  </a:lnTo>
                  <a:lnTo>
                    <a:pt x="34" y="245"/>
                  </a:lnTo>
                  <a:lnTo>
                    <a:pt x="40" y="252"/>
                  </a:lnTo>
                  <a:lnTo>
                    <a:pt x="48" y="260"/>
                  </a:lnTo>
                  <a:lnTo>
                    <a:pt x="55" y="266"/>
                  </a:lnTo>
                  <a:lnTo>
                    <a:pt x="63" y="273"/>
                  </a:lnTo>
                  <a:lnTo>
                    <a:pt x="71" y="278"/>
                  </a:lnTo>
                  <a:lnTo>
                    <a:pt x="81" y="283"/>
                  </a:lnTo>
                  <a:lnTo>
                    <a:pt x="90" y="267"/>
                  </a:lnTo>
                  <a:lnTo>
                    <a:pt x="99" y="253"/>
                  </a:lnTo>
                  <a:lnTo>
                    <a:pt x="110" y="238"/>
                  </a:lnTo>
                  <a:lnTo>
                    <a:pt x="121" y="224"/>
                  </a:lnTo>
                  <a:lnTo>
                    <a:pt x="131" y="212"/>
                  </a:lnTo>
                  <a:lnTo>
                    <a:pt x="144" y="199"/>
                  </a:lnTo>
                  <a:lnTo>
                    <a:pt x="156" y="186"/>
                  </a:lnTo>
                  <a:lnTo>
                    <a:pt x="169" y="174"/>
                  </a:lnTo>
                  <a:lnTo>
                    <a:pt x="183" y="163"/>
                  </a:lnTo>
                  <a:lnTo>
                    <a:pt x="197" y="153"/>
                  </a:lnTo>
                  <a:lnTo>
                    <a:pt x="212" y="142"/>
                  </a:lnTo>
                  <a:lnTo>
                    <a:pt x="227" y="133"/>
                  </a:lnTo>
                  <a:lnTo>
                    <a:pt x="242" y="124"/>
                  </a:lnTo>
                  <a:lnTo>
                    <a:pt x="258" y="116"/>
                  </a:lnTo>
                  <a:lnTo>
                    <a:pt x="274" y="109"/>
                  </a:lnTo>
                  <a:lnTo>
                    <a:pt x="291"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06" name="Freeform 4464">
              <a:extLst>
                <a:ext uri="{FF2B5EF4-FFF2-40B4-BE49-F238E27FC236}">
                  <a16:creationId xmlns:a16="http://schemas.microsoft.com/office/drawing/2014/main" id="{AA47F4A2-FC39-D004-7D69-9B94906AC2C6}"/>
                </a:ext>
              </a:extLst>
            </p:cNvPr>
            <p:cNvSpPr>
              <a:spLocks/>
            </p:cNvSpPr>
            <p:nvPr/>
          </p:nvSpPr>
          <p:spPr bwMode="auto">
            <a:xfrm>
              <a:off x="525710" y="4212342"/>
              <a:ext cx="93663" cy="93663"/>
            </a:xfrm>
            <a:custGeom>
              <a:avLst/>
              <a:gdLst>
                <a:gd name="T0" fmla="*/ 132 w 293"/>
                <a:gd name="T1" fmla="*/ 1 h 293"/>
                <a:gd name="T2" fmla="*/ 106 w 293"/>
                <a:gd name="T3" fmla="*/ 5 h 293"/>
                <a:gd name="T4" fmla="*/ 84 w 293"/>
                <a:gd name="T5" fmla="*/ 14 h 293"/>
                <a:gd name="T6" fmla="*/ 62 w 293"/>
                <a:gd name="T7" fmla="*/ 25 h 293"/>
                <a:gd name="T8" fmla="*/ 43 w 293"/>
                <a:gd name="T9" fmla="*/ 40 h 293"/>
                <a:gd name="T10" fmla="*/ 27 w 293"/>
                <a:gd name="T11" fmla="*/ 58 h 293"/>
                <a:gd name="T12" fmla="*/ 13 w 293"/>
                <a:gd name="T13" fmla="*/ 78 h 293"/>
                <a:gd name="T14" fmla="*/ 3 w 293"/>
                <a:gd name="T15" fmla="*/ 100 h 293"/>
                <a:gd name="T16" fmla="*/ 15 w 293"/>
                <a:gd name="T17" fmla="*/ 120 h 293"/>
                <a:gd name="T18" fmla="*/ 44 w 293"/>
                <a:gd name="T19" fmla="*/ 137 h 293"/>
                <a:gd name="T20" fmla="*/ 71 w 293"/>
                <a:gd name="T21" fmla="*/ 156 h 293"/>
                <a:gd name="T22" fmla="*/ 96 w 293"/>
                <a:gd name="T23" fmla="*/ 176 h 293"/>
                <a:gd name="T24" fmla="*/ 121 w 293"/>
                <a:gd name="T25" fmla="*/ 200 h 293"/>
                <a:gd name="T26" fmla="*/ 142 w 293"/>
                <a:gd name="T27" fmla="*/ 224 h 293"/>
                <a:gd name="T28" fmla="*/ 163 w 293"/>
                <a:gd name="T29" fmla="*/ 250 h 293"/>
                <a:gd name="T30" fmla="*/ 180 w 293"/>
                <a:gd name="T31" fmla="*/ 279 h 293"/>
                <a:gd name="T32" fmla="*/ 199 w 293"/>
                <a:gd name="T33" fmla="*/ 290 h 293"/>
                <a:gd name="T34" fmla="*/ 221 w 293"/>
                <a:gd name="T35" fmla="*/ 279 h 293"/>
                <a:gd name="T36" fmla="*/ 240 w 293"/>
                <a:gd name="T37" fmla="*/ 265 h 293"/>
                <a:gd name="T38" fmla="*/ 257 w 293"/>
                <a:gd name="T39" fmla="*/ 249 h 293"/>
                <a:gd name="T40" fmla="*/ 271 w 293"/>
                <a:gd name="T41" fmla="*/ 230 h 293"/>
                <a:gd name="T42" fmla="*/ 282 w 293"/>
                <a:gd name="T43" fmla="*/ 209 h 293"/>
                <a:gd name="T44" fmla="*/ 289 w 293"/>
                <a:gd name="T45" fmla="*/ 186 h 293"/>
                <a:gd name="T46" fmla="*/ 293 w 293"/>
                <a:gd name="T47" fmla="*/ 162 h 293"/>
                <a:gd name="T48" fmla="*/ 293 w 293"/>
                <a:gd name="T49" fmla="*/ 135 h 293"/>
                <a:gd name="T50" fmla="*/ 287 w 293"/>
                <a:gd name="T51" fmla="*/ 106 h 293"/>
                <a:gd name="T52" fmla="*/ 276 w 293"/>
                <a:gd name="T53" fmla="*/ 79 h 293"/>
                <a:gd name="T54" fmla="*/ 260 w 293"/>
                <a:gd name="T55" fmla="*/ 54 h 293"/>
                <a:gd name="T56" fmla="*/ 240 w 293"/>
                <a:gd name="T57" fmla="*/ 34 h 293"/>
                <a:gd name="T58" fmla="*/ 215 w 293"/>
                <a:gd name="T59" fmla="*/ 18 h 293"/>
                <a:gd name="T60" fmla="*/ 188 w 293"/>
                <a:gd name="T61" fmla="*/ 7 h 293"/>
                <a:gd name="T62" fmla="*/ 160 w 293"/>
                <a:gd name="T63" fmla="*/ 1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3" h="293">
                  <a:moveTo>
                    <a:pt x="145" y="0"/>
                  </a:moveTo>
                  <a:lnTo>
                    <a:pt x="132" y="1"/>
                  </a:lnTo>
                  <a:lnTo>
                    <a:pt x="119" y="3"/>
                  </a:lnTo>
                  <a:lnTo>
                    <a:pt x="106" y="5"/>
                  </a:lnTo>
                  <a:lnTo>
                    <a:pt x="94" y="8"/>
                  </a:lnTo>
                  <a:lnTo>
                    <a:pt x="84" y="14"/>
                  </a:lnTo>
                  <a:lnTo>
                    <a:pt x="72" y="19"/>
                  </a:lnTo>
                  <a:lnTo>
                    <a:pt x="62" y="25"/>
                  </a:lnTo>
                  <a:lnTo>
                    <a:pt x="53" y="32"/>
                  </a:lnTo>
                  <a:lnTo>
                    <a:pt x="43" y="40"/>
                  </a:lnTo>
                  <a:lnTo>
                    <a:pt x="34" y="49"/>
                  </a:lnTo>
                  <a:lnTo>
                    <a:pt x="27" y="58"/>
                  </a:lnTo>
                  <a:lnTo>
                    <a:pt x="19" y="68"/>
                  </a:lnTo>
                  <a:lnTo>
                    <a:pt x="13" y="78"/>
                  </a:lnTo>
                  <a:lnTo>
                    <a:pt x="8" y="90"/>
                  </a:lnTo>
                  <a:lnTo>
                    <a:pt x="3" y="100"/>
                  </a:lnTo>
                  <a:lnTo>
                    <a:pt x="0" y="112"/>
                  </a:lnTo>
                  <a:lnTo>
                    <a:pt x="15" y="120"/>
                  </a:lnTo>
                  <a:lnTo>
                    <a:pt x="29" y="128"/>
                  </a:lnTo>
                  <a:lnTo>
                    <a:pt x="44" y="137"/>
                  </a:lnTo>
                  <a:lnTo>
                    <a:pt x="58" y="146"/>
                  </a:lnTo>
                  <a:lnTo>
                    <a:pt x="71" y="156"/>
                  </a:lnTo>
                  <a:lnTo>
                    <a:pt x="84" y="166"/>
                  </a:lnTo>
                  <a:lnTo>
                    <a:pt x="96" y="176"/>
                  </a:lnTo>
                  <a:lnTo>
                    <a:pt x="109" y="188"/>
                  </a:lnTo>
                  <a:lnTo>
                    <a:pt x="121" y="200"/>
                  </a:lnTo>
                  <a:lnTo>
                    <a:pt x="132" y="212"/>
                  </a:lnTo>
                  <a:lnTo>
                    <a:pt x="142" y="224"/>
                  </a:lnTo>
                  <a:lnTo>
                    <a:pt x="153" y="237"/>
                  </a:lnTo>
                  <a:lnTo>
                    <a:pt x="163" y="250"/>
                  </a:lnTo>
                  <a:lnTo>
                    <a:pt x="171" y="264"/>
                  </a:lnTo>
                  <a:lnTo>
                    <a:pt x="180" y="279"/>
                  </a:lnTo>
                  <a:lnTo>
                    <a:pt x="188" y="293"/>
                  </a:lnTo>
                  <a:lnTo>
                    <a:pt x="199" y="290"/>
                  </a:lnTo>
                  <a:lnTo>
                    <a:pt x="211" y="284"/>
                  </a:lnTo>
                  <a:lnTo>
                    <a:pt x="221" y="279"/>
                  </a:lnTo>
                  <a:lnTo>
                    <a:pt x="230" y="273"/>
                  </a:lnTo>
                  <a:lnTo>
                    <a:pt x="240" y="265"/>
                  </a:lnTo>
                  <a:lnTo>
                    <a:pt x="248" y="258"/>
                  </a:lnTo>
                  <a:lnTo>
                    <a:pt x="257" y="249"/>
                  </a:lnTo>
                  <a:lnTo>
                    <a:pt x="264" y="239"/>
                  </a:lnTo>
                  <a:lnTo>
                    <a:pt x="271" y="230"/>
                  </a:lnTo>
                  <a:lnTo>
                    <a:pt x="276" y="220"/>
                  </a:lnTo>
                  <a:lnTo>
                    <a:pt x="282" y="209"/>
                  </a:lnTo>
                  <a:lnTo>
                    <a:pt x="286" y="198"/>
                  </a:lnTo>
                  <a:lnTo>
                    <a:pt x="289" y="186"/>
                  </a:lnTo>
                  <a:lnTo>
                    <a:pt x="292" y="174"/>
                  </a:lnTo>
                  <a:lnTo>
                    <a:pt x="293" y="162"/>
                  </a:lnTo>
                  <a:lnTo>
                    <a:pt x="293" y="150"/>
                  </a:lnTo>
                  <a:lnTo>
                    <a:pt x="293" y="135"/>
                  </a:lnTo>
                  <a:lnTo>
                    <a:pt x="291" y="120"/>
                  </a:lnTo>
                  <a:lnTo>
                    <a:pt x="287" y="106"/>
                  </a:lnTo>
                  <a:lnTo>
                    <a:pt x="282" y="92"/>
                  </a:lnTo>
                  <a:lnTo>
                    <a:pt x="276" y="79"/>
                  </a:lnTo>
                  <a:lnTo>
                    <a:pt x="269" y="66"/>
                  </a:lnTo>
                  <a:lnTo>
                    <a:pt x="260" y="54"/>
                  </a:lnTo>
                  <a:lnTo>
                    <a:pt x="249" y="45"/>
                  </a:lnTo>
                  <a:lnTo>
                    <a:pt x="240" y="34"/>
                  </a:lnTo>
                  <a:lnTo>
                    <a:pt x="228" y="25"/>
                  </a:lnTo>
                  <a:lnTo>
                    <a:pt x="215" y="18"/>
                  </a:lnTo>
                  <a:lnTo>
                    <a:pt x="202" y="12"/>
                  </a:lnTo>
                  <a:lnTo>
                    <a:pt x="188" y="7"/>
                  </a:lnTo>
                  <a:lnTo>
                    <a:pt x="175" y="3"/>
                  </a:lnTo>
                  <a:lnTo>
                    <a:pt x="160" y="1"/>
                  </a:lnTo>
                  <a:lnTo>
                    <a:pt x="1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07" name="Freeform 4465">
              <a:extLst>
                <a:ext uri="{FF2B5EF4-FFF2-40B4-BE49-F238E27FC236}">
                  <a16:creationId xmlns:a16="http://schemas.microsoft.com/office/drawing/2014/main" id="{3EB79068-64D8-A625-4693-AA4FFC8AB4E1}"/>
                </a:ext>
              </a:extLst>
            </p:cNvPr>
            <p:cNvSpPr>
              <a:spLocks noEditPoints="1"/>
            </p:cNvSpPr>
            <p:nvPr/>
          </p:nvSpPr>
          <p:spPr bwMode="auto">
            <a:xfrm>
              <a:off x="352672" y="4245679"/>
              <a:ext cx="238125" cy="236538"/>
            </a:xfrm>
            <a:custGeom>
              <a:avLst/>
              <a:gdLst>
                <a:gd name="T0" fmla="*/ 418 w 748"/>
                <a:gd name="T1" fmla="*/ 394 h 747"/>
                <a:gd name="T2" fmla="*/ 413 w 748"/>
                <a:gd name="T3" fmla="*/ 401 h 747"/>
                <a:gd name="T4" fmla="*/ 404 w 748"/>
                <a:gd name="T5" fmla="*/ 404 h 747"/>
                <a:gd name="T6" fmla="*/ 248 w 748"/>
                <a:gd name="T7" fmla="*/ 403 h 747"/>
                <a:gd name="T8" fmla="*/ 241 w 748"/>
                <a:gd name="T9" fmla="*/ 398 h 747"/>
                <a:gd name="T10" fmla="*/ 238 w 748"/>
                <a:gd name="T11" fmla="*/ 389 h 747"/>
                <a:gd name="T12" fmla="*/ 241 w 748"/>
                <a:gd name="T13" fmla="*/ 380 h 747"/>
                <a:gd name="T14" fmla="*/ 248 w 748"/>
                <a:gd name="T15" fmla="*/ 375 h 747"/>
                <a:gd name="T16" fmla="*/ 389 w 748"/>
                <a:gd name="T17" fmla="*/ 374 h 747"/>
                <a:gd name="T18" fmla="*/ 391 w 748"/>
                <a:gd name="T19" fmla="*/ 160 h 747"/>
                <a:gd name="T20" fmla="*/ 397 w 748"/>
                <a:gd name="T21" fmla="*/ 154 h 747"/>
                <a:gd name="T22" fmla="*/ 404 w 748"/>
                <a:gd name="T23" fmla="*/ 150 h 747"/>
                <a:gd name="T24" fmla="*/ 413 w 748"/>
                <a:gd name="T25" fmla="*/ 154 h 747"/>
                <a:gd name="T26" fmla="*/ 418 w 748"/>
                <a:gd name="T27" fmla="*/ 160 h 747"/>
                <a:gd name="T28" fmla="*/ 419 w 748"/>
                <a:gd name="T29" fmla="*/ 389 h 747"/>
                <a:gd name="T30" fmla="*/ 336 w 748"/>
                <a:gd name="T31" fmla="*/ 2 h 747"/>
                <a:gd name="T32" fmla="*/ 280 w 748"/>
                <a:gd name="T33" fmla="*/ 11 h 747"/>
                <a:gd name="T34" fmla="*/ 228 w 748"/>
                <a:gd name="T35" fmla="*/ 30 h 747"/>
                <a:gd name="T36" fmla="*/ 179 w 748"/>
                <a:gd name="T37" fmla="*/ 54 h 747"/>
                <a:gd name="T38" fmla="*/ 136 w 748"/>
                <a:gd name="T39" fmla="*/ 86 h 747"/>
                <a:gd name="T40" fmla="*/ 97 w 748"/>
                <a:gd name="T41" fmla="*/ 123 h 747"/>
                <a:gd name="T42" fmla="*/ 64 w 748"/>
                <a:gd name="T43" fmla="*/ 165 h 747"/>
                <a:gd name="T44" fmla="*/ 36 w 748"/>
                <a:gd name="T45" fmla="*/ 212 h 747"/>
                <a:gd name="T46" fmla="*/ 17 w 748"/>
                <a:gd name="T47" fmla="*/ 263 h 747"/>
                <a:gd name="T48" fmla="*/ 4 w 748"/>
                <a:gd name="T49" fmla="*/ 317 h 747"/>
                <a:gd name="T50" fmla="*/ 0 w 748"/>
                <a:gd name="T51" fmla="*/ 374 h 747"/>
                <a:gd name="T52" fmla="*/ 4 w 748"/>
                <a:gd name="T53" fmla="*/ 431 h 747"/>
                <a:gd name="T54" fmla="*/ 17 w 748"/>
                <a:gd name="T55" fmla="*/ 485 h 747"/>
                <a:gd name="T56" fmla="*/ 36 w 748"/>
                <a:gd name="T57" fmla="*/ 536 h 747"/>
                <a:gd name="T58" fmla="*/ 64 w 748"/>
                <a:gd name="T59" fmla="*/ 583 h 747"/>
                <a:gd name="T60" fmla="*/ 97 w 748"/>
                <a:gd name="T61" fmla="*/ 625 h 747"/>
                <a:gd name="T62" fmla="*/ 136 w 748"/>
                <a:gd name="T63" fmla="*/ 662 h 747"/>
                <a:gd name="T64" fmla="*/ 179 w 748"/>
                <a:gd name="T65" fmla="*/ 694 h 747"/>
                <a:gd name="T66" fmla="*/ 228 w 748"/>
                <a:gd name="T67" fmla="*/ 719 h 747"/>
                <a:gd name="T68" fmla="*/ 280 w 748"/>
                <a:gd name="T69" fmla="*/ 736 h 747"/>
                <a:gd name="T70" fmla="*/ 336 w 748"/>
                <a:gd name="T71" fmla="*/ 745 h 747"/>
                <a:gd name="T72" fmla="*/ 392 w 748"/>
                <a:gd name="T73" fmla="*/ 747 h 747"/>
                <a:gd name="T74" fmla="*/ 449 w 748"/>
                <a:gd name="T75" fmla="*/ 740 h 747"/>
                <a:gd name="T76" fmla="*/ 501 w 748"/>
                <a:gd name="T77" fmla="*/ 725 h 747"/>
                <a:gd name="T78" fmla="*/ 552 w 748"/>
                <a:gd name="T79" fmla="*/ 702 h 747"/>
                <a:gd name="T80" fmla="*/ 597 w 748"/>
                <a:gd name="T81" fmla="*/ 674 h 747"/>
                <a:gd name="T82" fmla="*/ 637 w 748"/>
                <a:gd name="T83" fmla="*/ 638 h 747"/>
                <a:gd name="T84" fmla="*/ 673 w 748"/>
                <a:gd name="T85" fmla="*/ 598 h 747"/>
                <a:gd name="T86" fmla="*/ 702 w 748"/>
                <a:gd name="T87" fmla="*/ 552 h 747"/>
                <a:gd name="T88" fmla="*/ 724 w 748"/>
                <a:gd name="T89" fmla="*/ 502 h 747"/>
                <a:gd name="T90" fmla="*/ 739 w 748"/>
                <a:gd name="T91" fmla="*/ 449 h 747"/>
                <a:gd name="T92" fmla="*/ 746 w 748"/>
                <a:gd name="T93" fmla="*/ 393 h 747"/>
                <a:gd name="T94" fmla="*/ 745 w 748"/>
                <a:gd name="T95" fmla="*/ 336 h 747"/>
                <a:gd name="T96" fmla="*/ 736 w 748"/>
                <a:gd name="T97" fmla="*/ 281 h 747"/>
                <a:gd name="T98" fmla="*/ 718 w 748"/>
                <a:gd name="T99" fmla="*/ 229 h 747"/>
                <a:gd name="T100" fmla="*/ 693 w 748"/>
                <a:gd name="T101" fmla="*/ 180 h 747"/>
                <a:gd name="T102" fmla="*/ 662 w 748"/>
                <a:gd name="T103" fmla="*/ 137 h 747"/>
                <a:gd name="T104" fmla="*/ 624 w 748"/>
                <a:gd name="T105" fmla="*/ 98 h 747"/>
                <a:gd name="T106" fmla="*/ 582 w 748"/>
                <a:gd name="T107" fmla="*/ 64 h 747"/>
                <a:gd name="T108" fmla="*/ 536 w 748"/>
                <a:gd name="T109" fmla="*/ 37 h 747"/>
                <a:gd name="T110" fmla="*/ 484 w 748"/>
                <a:gd name="T111" fmla="*/ 17 h 747"/>
                <a:gd name="T112" fmla="*/ 430 w 748"/>
                <a:gd name="T113" fmla="*/ 4 h 747"/>
                <a:gd name="T114" fmla="*/ 373 w 748"/>
                <a:gd name="T115" fmla="*/ 0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48" h="747">
                  <a:moveTo>
                    <a:pt x="419" y="389"/>
                  </a:moveTo>
                  <a:lnTo>
                    <a:pt x="419" y="392"/>
                  </a:lnTo>
                  <a:lnTo>
                    <a:pt x="418" y="394"/>
                  </a:lnTo>
                  <a:lnTo>
                    <a:pt x="417" y="398"/>
                  </a:lnTo>
                  <a:lnTo>
                    <a:pt x="415" y="400"/>
                  </a:lnTo>
                  <a:lnTo>
                    <a:pt x="413" y="401"/>
                  </a:lnTo>
                  <a:lnTo>
                    <a:pt x="410" y="403"/>
                  </a:lnTo>
                  <a:lnTo>
                    <a:pt x="407" y="403"/>
                  </a:lnTo>
                  <a:lnTo>
                    <a:pt x="404" y="404"/>
                  </a:lnTo>
                  <a:lnTo>
                    <a:pt x="253" y="404"/>
                  </a:lnTo>
                  <a:lnTo>
                    <a:pt x="251" y="403"/>
                  </a:lnTo>
                  <a:lnTo>
                    <a:pt x="248" y="403"/>
                  </a:lnTo>
                  <a:lnTo>
                    <a:pt x="246" y="401"/>
                  </a:lnTo>
                  <a:lnTo>
                    <a:pt x="244" y="400"/>
                  </a:lnTo>
                  <a:lnTo>
                    <a:pt x="241" y="398"/>
                  </a:lnTo>
                  <a:lnTo>
                    <a:pt x="240" y="394"/>
                  </a:lnTo>
                  <a:lnTo>
                    <a:pt x="239" y="392"/>
                  </a:lnTo>
                  <a:lnTo>
                    <a:pt x="238" y="389"/>
                  </a:lnTo>
                  <a:lnTo>
                    <a:pt x="239" y="386"/>
                  </a:lnTo>
                  <a:lnTo>
                    <a:pt x="240" y="384"/>
                  </a:lnTo>
                  <a:lnTo>
                    <a:pt x="241" y="380"/>
                  </a:lnTo>
                  <a:lnTo>
                    <a:pt x="244" y="378"/>
                  </a:lnTo>
                  <a:lnTo>
                    <a:pt x="246" y="376"/>
                  </a:lnTo>
                  <a:lnTo>
                    <a:pt x="248" y="375"/>
                  </a:lnTo>
                  <a:lnTo>
                    <a:pt x="251" y="374"/>
                  </a:lnTo>
                  <a:lnTo>
                    <a:pt x="253" y="374"/>
                  </a:lnTo>
                  <a:lnTo>
                    <a:pt x="389" y="374"/>
                  </a:lnTo>
                  <a:lnTo>
                    <a:pt x="389" y="165"/>
                  </a:lnTo>
                  <a:lnTo>
                    <a:pt x="390" y="163"/>
                  </a:lnTo>
                  <a:lnTo>
                    <a:pt x="391" y="160"/>
                  </a:lnTo>
                  <a:lnTo>
                    <a:pt x="392" y="158"/>
                  </a:lnTo>
                  <a:lnTo>
                    <a:pt x="394" y="156"/>
                  </a:lnTo>
                  <a:lnTo>
                    <a:pt x="397" y="154"/>
                  </a:lnTo>
                  <a:lnTo>
                    <a:pt x="399" y="153"/>
                  </a:lnTo>
                  <a:lnTo>
                    <a:pt x="402" y="152"/>
                  </a:lnTo>
                  <a:lnTo>
                    <a:pt x="404" y="150"/>
                  </a:lnTo>
                  <a:lnTo>
                    <a:pt x="407" y="152"/>
                  </a:lnTo>
                  <a:lnTo>
                    <a:pt x="410" y="153"/>
                  </a:lnTo>
                  <a:lnTo>
                    <a:pt x="413" y="154"/>
                  </a:lnTo>
                  <a:lnTo>
                    <a:pt x="415" y="156"/>
                  </a:lnTo>
                  <a:lnTo>
                    <a:pt x="417" y="158"/>
                  </a:lnTo>
                  <a:lnTo>
                    <a:pt x="418" y="160"/>
                  </a:lnTo>
                  <a:lnTo>
                    <a:pt x="419" y="163"/>
                  </a:lnTo>
                  <a:lnTo>
                    <a:pt x="419" y="165"/>
                  </a:lnTo>
                  <a:lnTo>
                    <a:pt x="419" y="389"/>
                  </a:lnTo>
                  <a:close/>
                  <a:moveTo>
                    <a:pt x="373" y="0"/>
                  </a:moveTo>
                  <a:lnTo>
                    <a:pt x="354" y="1"/>
                  </a:lnTo>
                  <a:lnTo>
                    <a:pt x="336" y="2"/>
                  </a:lnTo>
                  <a:lnTo>
                    <a:pt x="316" y="4"/>
                  </a:lnTo>
                  <a:lnTo>
                    <a:pt x="298" y="7"/>
                  </a:lnTo>
                  <a:lnTo>
                    <a:pt x="280" y="11"/>
                  </a:lnTo>
                  <a:lnTo>
                    <a:pt x="262" y="17"/>
                  </a:lnTo>
                  <a:lnTo>
                    <a:pt x="245" y="23"/>
                  </a:lnTo>
                  <a:lnTo>
                    <a:pt x="228" y="30"/>
                  </a:lnTo>
                  <a:lnTo>
                    <a:pt x="211" y="37"/>
                  </a:lnTo>
                  <a:lnTo>
                    <a:pt x="195" y="46"/>
                  </a:lnTo>
                  <a:lnTo>
                    <a:pt x="179" y="54"/>
                  </a:lnTo>
                  <a:lnTo>
                    <a:pt x="164" y="64"/>
                  </a:lnTo>
                  <a:lnTo>
                    <a:pt x="149" y="74"/>
                  </a:lnTo>
                  <a:lnTo>
                    <a:pt x="136" y="86"/>
                  </a:lnTo>
                  <a:lnTo>
                    <a:pt x="122" y="98"/>
                  </a:lnTo>
                  <a:lnTo>
                    <a:pt x="109" y="110"/>
                  </a:lnTo>
                  <a:lnTo>
                    <a:pt x="97" y="123"/>
                  </a:lnTo>
                  <a:lnTo>
                    <a:pt x="85" y="137"/>
                  </a:lnTo>
                  <a:lnTo>
                    <a:pt x="73" y="150"/>
                  </a:lnTo>
                  <a:lnTo>
                    <a:pt x="64" y="165"/>
                  </a:lnTo>
                  <a:lnTo>
                    <a:pt x="53" y="180"/>
                  </a:lnTo>
                  <a:lnTo>
                    <a:pt x="45" y="196"/>
                  </a:lnTo>
                  <a:lnTo>
                    <a:pt x="36" y="212"/>
                  </a:lnTo>
                  <a:lnTo>
                    <a:pt x="29" y="229"/>
                  </a:lnTo>
                  <a:lnTo>
                    <a:pt x="22" y="246"/>
                  </a:lnTo>
                  <a:lnTo>
                    <a:pt x="17" y="263"/>
                  </a:lnTo>
                  <a:lnTo>
                    <a:pt x="11" y="281"/>
                  </a:lnTo>
                  <a:lnTo>
                    <a:pt x="7" y="299"/>
                  </a:lnTo>
                  <a:lnTo>
                    <a:pt x="4" y="317"/>
                  </a:lnTo>
                  <a:lnTo>
                    <a:pt x="2" y="336"/>
                  </a:lnTo>
                  <a:lnTo>
                    <a:pt x="0" y="355"/>
                  </a:lnTo>
                  <a:lnTo>
                    <a:pt x="0" y="374"/>
                  </a:lnTo>
                  <a:lnTo>
                    <a:pt x="0" y="393"/>
                  </a:lnTo>
                  <a:lnTo>
                    <a:pt x="2" y="411"/>
                  </a:lnTo>
                  <a:lnTo>
                    <a:pt x="4" y="431"/>
                  </a:lnTo>
                  <a:lnTo>
                    <a:pt x="7" y="449"/>
                  </a:lnTo>
                  <a:lnTo>
                    <a:pt x="11" y="467"/>
                  </a:lnTo>
                  <a:lnTo>
                    <a:pt x="17" y="485"/>
                  </a:lnTo>
                  <a:lnTo>
                    <a:pt x="22" y="502"/>
                  </a:lnTo>
                  <a:lnTo>
                    <a:pt x="29" y="520"/>
                  </a:lnTo>
                  <a:lnTo>
                    <a:pt x="36" y="536"/>
                  </a:lnTo>
                  <a:lnTo>
                    <a:pt x="45" y="552"/>
                  </a:lnTo>
                  <a:lnTo>
                    <a:pt x="53" y="568"/>
                  </a:lnTo>
                  <a:lnTo>
                    <a:pt x="64" y="583"/>
                  </a:lnTo>
                  <a:lnTo>
                    <a:pt x="73" y="598"/>
                  </a:lnTo>
                  <a:lnTo>
                    <a:pt x="85" y="612"/>
                  </a:lnTo>
                  <a:lnTo>
                    <a:pt x="97" y="625"/>
                  </a:lnTo>
                  <a:lnTo>
                    <a:pt x="109" y="638"/>
                  </a:lnTo>
                  <a:lnTo>
                    <a:pt x="122" y="650"/>
                  </a:lnTo>
                  <a:lnTo>
                    <a:pt x="136" y="662"/>
                  </a:lnTo>
                  <a:lnTo>
                    <a:pt x="149" y="674"/>
                  </a:lnTo>
                  <a:lnTo>
                    <a:pt x="164" y="683"/>
                  </a:lnTo>
                  <a:lnTo>
                    <a:pt x="179" y="694"/>
                  </a:lnTo>
                  <a:lnTo>
                    <a:pt x="195" y="702"/>
                  </a:lnTo>
                  <a:lnTo>
                    <a:pt x="211" y="711"/>
                  </a:lnTo>
                  <a:lnTo>
                    <a:pt x="228" y="719"/>
                  </a:lnTo>
                  <a:lnTo>
                    <a:pt x="245" y="725"/>
                  </a:lnTo>
                  <a:lnTo>
                    <a:pt x="262" y="730"/>
                  </a:lnTo>
                  <a:lnTo>
                    <a:pt x="280" y="736"/>
                  </a:lnTo>
                  <a:lnTo>
                    <a:pt x="298" y="740"/>
                  </a:lnTo>
                  <a:lnTo>
                    <a:pt x="316" y="743"/>
                  </a:lnTo>
                  <a:lnTo>
                    <a:pt x="336" y="745"/>
                  </a:lnTo>
                  <a:lnTo>
                    <a:pt x="354" y="747"/>
                  </a:lnTo>
                  <a:lnTo>
                    <a:pt x="373" y="747"/>
                  </a:lnTo>
                  <a:lnTo>
                    <a:pt x="392" y="747"/>
                  </a:lnTo>
                  <a:lnTo>
                    <a:pt x="412" y="745"/>
                  </a:lnTo>
                  <a:lnTo>
                    <a:pt x="430" y="743"/>
                  </a:lnTo>
                  <a:lnTo>
                    <a:pt x="449" y="740"/>
                  </a:lnTo>
                  <a:lnTo>
                    <a:pt x="466" y="736"/>
                  </a:lnTo>
                  <a:lnTo>
                    <a:pt x="484" y="730"/>
                  </a:lnTo>
                  <a:lnTo>
                    <a:pt x="501" y="725"/>
                  </a:lnTo>
                  <a:lnTo>
                    <a:pt x="519" y="719"/>
                  </a:lnTo>
                  <a:lnTo>
                    <a:pt x="536" y="711"/>
                  </a:lnTo>
                  <a:lnTo>
                    <a:pt x="552" y="702"/>
                  </a:lnTo>
                  <a:lnTo>
                    <a:pt x="567" y="694"/>
                  </a:lnTo>
                  <a:lnTo>
                    <a:pt x="582" y="683"/>
                  </a:lnTo>
                  <a:lnTo>
                    <a:pt x="597" y="674"/>
                  </a:lnTo>
                  <a:lnTo>
                    <a:pt x="611" y="662"/>
                  </a:lnTo>
                  <a:lnTo>
                    <a:pt x="624" y="650"/>
                  </a:lnTo>
                  <a:lnTo>
                    <a:pt x="637" y="638"/>
                  </a:lnTo>
                  <a:lnTo>
                    <a:pt x="650" y="625"/>
                  </a:lnTo>
                  <a:lnTo>
                    <a:pt x="662" y="612"/>
                  </a:lnTo>
                  <a:lnTo>
                    <a:pt x="673" y="598"/>
                  </a:lnTo>
                  <a:lnTo>
                    <a:pt x="683" y="583"/>
                  </a:lnTo>
                  <a:lnTo>
                    <a:pt x="693" y="568"/>
                  </a:lnTo>
                  <a:lnTo>
                    <a:pt x="702" y="552"/>
                  </a:lnTo>
                  <a:lnTo>
                    <a:pt x="710" y="536"/>
                  </a:lnTo>
                  <a:lnTo>
                    <a:pt x="718" y="520"/>
                  </a:lnTo>
                  <a:lnTo>
                    <a:pt x="724" y="502"/>
                  </a:lnTo>
                  <a:lnTo>
                    <a:pt x="730" y="485"/>
                  </a:lnTo>
                  <a:lnTo>
                    <a:pt x="736" y="467"/>
                  </a:lnTo>
                  <a:lnTo>
                    <a:pt x="739" y="449"/>
                  </a:lnTo>
                  <a:lnTo>
                    <a:pt x="743" y="431"/>
                  </a:lnTo>
                  <a:lnTo>
                    <a:pt x="745" y="411"/>
                  </a:lnTo>
                  <a:lnTo>
                    <a:pt x="746" y="393"/>
                  </a:lnTo>
                  <a:lnTo>
                    <a:pt x="748" y="374"/>
                  </a:lnTo>
                  <a:lnTo>
                    <a:pt x="746" y="355"/>
                  </a:lnTo>
                  <a:lnTo>
                    <a:pt x="745" y="336"/>
                  </a:lnTo>
                  <a:lnTo>
                    <a:pt x="743" y="317"/>
                  </a:lnTo>
                  <a:lnTo>
                    <a:pt x="739" y="299"/>
                  </a:lnTo>
                  <a:lnTo>
                    <a:pt x="736" y="281"/>
                  </a:lnTo>
                  <a:lnTo>
                    <a:pt x="730" y="263"/>
                  </a:lnTo>
                  <a:lnTo>
                    <a:pt x="724" y="246"/>
                  </a:lnTo>
                  <a:lnTo>
                    <a:pt x="718" y="229"/>
                  </a:lnTo>
                  <a:lnTo>
                    <a:pt x="710" y="212"/>
                  </a:lnTo>
                  <a:lnTo>
                    <a:pt x="702" y="196"/>
                  </a:lnTo>
                  <a:lnTo>
                    <a:pt x="693" y="180"/>
                  </a:lnTo>
                  <a:lnTo>
                    <a:pt x="683" y="165"/>
                  </a:lnTo>
                  <a:lnTo>
                    <a:pt x="673" y="150"/>
                  </a:lnTo>
                  <a:lnTo>
                    <a:pt x="662" y="137"/>
                  </a:lnTo>
                  <a:lnTo>
                    <a:pt x="650" y="123"/>
                  </a:lnTo>
                  <a:lnTo>
                    <a:pt x="637" y="110"/>
                  </a:lnTo>
                  <a:lnTo>
                    <a:pt x="624" y="98"/>
                  </a:lnTo>
                  <a:lnTo>
                    <a:pt x="611" y="86"/>
                  </a:lnTo>
                  <a:lnTo>
                    <a:pt x="597" y="74"/>
                  </a:lnTo>
                  <a:lnTo>
                    <a:pt x="582" y="64"/>
                  </a:lnTo>
                  <a:lnTo>
                    <a:pt x="567" y="54"/>
                  </a:lnTo>
                  <a:lnTo>
                    <a:pt x="552" y="46"/>
                  </a:lnTo>
                  <a:lnTo>
                    <a:pt x="536" y="37"/>
                  </a:lnTo>
                  <a:lnTo>
                    <a:pt x="519" y="30"/>
                  </a:lnTo>
                  <a:lnTo>
                    <a:pt x="501" y="23"/>
                  </a:lnTo>
                  <a:lnTo>
                    <a:pt x="484" y="17"/>
                  </a:lnTo>
                  <a:lnTo>
                    <a:pt x="466" y="11"/>
                  </a:lnTo>
                  <a:lnTo>
                    <a:pt x="449" y="7"/>
                  </a:lnTo>
                  <a:lnTo>
                    <a:pt x="430" y="4"/>
                  </a:lnTo>
                  <a:lnTo>
                    <a:pt x="412" y="2"/>
                  </a:lnTo>
                  <a:lnTo>
                    <a:pt x="392" y="1"/>
                  </a:lnTo>
                  <a:lnTo>
                    <a:pt x="37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latin typeface="Segoe UI" panose="020B0502040204020203" pitchFamily="34" charset="0"/>
                <a:cs typeface="Segoe UI" panose="020B0502040204020203" pitchFamily="34" charset="0"/>
              </a:endParaRPr>
            </a:p>
          </p:txBody>
        </p:sp>
      </p:grpSp>
      <p:sp>
        <p:nvSpPr>
          <p:cNvPr id="108" name="TextBox 47">
            <a:extLst>
              <a:ext uri="{FF2B5EF4-FFF2-40B4-BE49-F238E27FC236}">
                <a16:creationId xmlns:a16="http://schemas.microsoft.com/office/drawing/2014/main" id="{B04403B5-E4D7-ED8C-38BE-E95D6AB165D1}"/>
              </a:ext>
            </a:extLst>
          </p:cNvPr>
          <p:cNvSpPr txBox="1"/>
          <p:nvPr/>
        </p:nvSpPr>
        <p:spPr>
          <a:xfrm>
            <a:off x="10649374" y="5551583"/>
            <a:ext cx="1196817" cy="307777"/>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a:solidFill>
                  <a:srgbClr val="C00000"/>
                </a:solidFill>
                <a:latin typeface="Segoe UI" panose="020B0502040204020203" pitchFamily="34" charset="0"/>
                <a:cs typeface="Segoe UI" panose="020B0502040204020203" pitchFamily="34" charset="0"/>
              </a:rPr>
              <a:t>1:00 PM</a:t>
            </a:r>
          </a:p>
        </p:txBody>
      </p:sp>
      <p:sp>
        <p:nvSpPr>
          <p:cNvPr id="109" name="Footer Placeholder 108">
            <a:extLst>
              <a:ext uri="{FF2B5EF4-FFF2-40B4-BE49-F238E27FC236}">
                <a16:creationId xmlns:a16="http://schemas.microsoft.com/office/drawing/2014/main" id="{7E7D561C-4C3F-4875-6014-7E8BC961D0F9}"/>
              </a:ext>
            </a:extLst>
          </p:cNvPr>
          <p:cNvSpPr>
            <a:spLocks noGrp="1"/>
          </p:cNvSpPr>
          <p:nvPr>
            <p:ph type="ftr" sz="quarter" idx="11"/>
          </p:nvPr>
        </p:nvSpPr>
        <p:spPr/>
        <p:txBody>
          <a:bodyPr/>
          <a:lstStyle/>
          <a:p>
            <a:r>
              <a:rPr lang="en-US"/>
              <a:t>© 2024 Mobiz. All rights reserved</a:t>
            </a:r>
            <a:endParaRPr lang="en-BR"/>
          </a:p>
        </p:txBody>
      </p:sp>
      <p:sp>
        <p:nvSpPr>
          <p:cNvPr id="110" name="Slide Number Placeholder 109">
            <a:extLst>
              <a:ext uri="{FF2B5EF4-FFF2-40B4-BE49-F238E27FC236}">
                <a16:creationId xmlns:a16="http://schemas.microsoft.com/office/drawing/2014/main" id="{830EAE3D-310B-45C7-0F2A-203C1F0A6533}"/>
              </a:ext>
            </a:extLst>
          </p:cNvPr>
          <p:cNvSpPr>
            <a:spLocks noGrp="1"/>
          </p:cNvSpPr>
          <p:nvPr>
            <p:ph type="sldNum" sz="quarter" idx="12"/>
          </p:nvPr>
        </p:nvSpPr>
        <p:spPr/>
        <p:txBody>
          <a:bodyPr/>
          <a:lstStyle/>
          <a:p>
            <a:fld id="{A8DDC45B-7265-3747-B738-ED29642119D9}" type="slidenum">
              <a:rPr lang="en-BR" smtClean="0"/>
              <a:pPr/>
              <a:t>57</a:t>
            </a:fld>
            <a:endParaRPr lang="en-BR"/>
          </a:p>
        </p:txBody>
      </p:sp>
    </p:spTree>
    <p:extLst>
      <p:ext uri="{BB962C8B-B14F-4D97-AF65-F5344CB8AC3E}">
        <p14:creationId xmlns:p14="http://schemas.microsoft.com/office/powerpoint/2010/main" val="4445258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40A4B-4564-BF08-44AD-A30D7A9A3E55}"/>
              </a:ext>
            </a:extLst>
          </p:cNvPr>
          <p:cNvSpPr>
            <a:spLocks noGrp="1"/>
          </p:cNvSpPr>
          <p:nvPr>
            <p:ph type="title"/>
          </p:nvPr>
        </p:nvSpPr>
        <p:spPr/>
        <p:txBody>
          <a:bodyPr/>
          <a:lstStyle/>
          <a:p>
            <a:r>
              <a:rPr lang="en-BR"/>
              <a:t>Dashboard</a:t>
            </a:r>
          </a:p>
        </p:txBody>
      </p:sp>
      <p:sp>
        <p:nvSpPr>
          <p:cNvPr id="3" name="Text Placeholder 2">
            <a:extLst>
              <a:ext uri="{FF2B5EF4-FFF2-40B4-BE49-F238E27FC236}">
                <a16:creationId xmlns:a16="http://schemas.microsoft.com/office/drawing/2014/main" id="{E0282535-03CF-43D5-7872-2659862A9DD6}"/>
              </a:ext>
            </a:extLst>
          </p:cNvPr>
          <p:cNvSpPr>
            <a:spLocks noGrp="1"/>
          </p:cNvSpPr>
          <p:nvPr>
            <p:ph type="body" sz="quarter" idx="13"/>
          </p:nvPr>
        </p:nvSpPr>
        <p:spPr/>
        <p:txBody>
          <a:bodyPr/>
          <a:lstStyle/>
          <a:p>
            <a:endParaRPr lang="en-BR"/>
          </a:p>
        </p:txBody>
      </p:sp>
      <p:graphicFrame>
        <p:nvGraphicFramePr>
          <p:cNvPr id="4" name="Chart 3" descr="This is a chart.">
            <a:extLst>
              <a:ext uri="{FF2B5EF4-FFF2-40B4-BE49-F238E27FC236}">
                <a16:creationId xmlns:a16="http://schemas.microsoft.com/office/drawing/2014/main" id="{35C0CB4B-063F-7ABD-0C7B-FF8825E2937B}"/>
              </a:ext>
            </a:extLst>
          </p:cNvPr>
          <p:cNvGraphicFramePr/>
          <p:nvPr>
            <p:extLst>
              <p:ext uri="{D42A27DB-BD31-4B8C-83A1-F6EECF244321}">
                <p14:modId xmlns:p14="http://schemas.microsoft.com/office/powerpoint/2010/main" val="3515862322"/>
              </p:ext>
            </p:extLst>
          </p:nvPr>
        </p:nvGraphicFramePr>
        <p:xfrm>
          <a:off x="3188051" y="2335352"/>
          <a:ext cx="5815899" cy="3877266"/>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a:extLst>
              <a:ext uri="{FF2B5EF4-FFF2-40B4-BE49-F238E27FC236}">
                <a16:creationId xmlns:a16="http://schemas.microsoft.com/office/drawing/2014/main" id="{67117AA7-45FD-3CDC-DF6A-BD55F0AE20F1}"/>
              </a:ext>
              <a:ext uri="{C183D7F6-B498-43B3-948B-1728B52AA6E4}">
                <adec:decorative xmlns:adec="http://schemas.microsoft.com/office/drawing/2017/decorative" val="1"/>
              </a:ext>
            </a:extLst>
          </p:cNvPr>
          <p:cNvSpPr/>
          <p:nvPr/>
        </p:nvSpPr>
        <p:spPr>
          <a:xfrm>
            <a:off x="8902700" y="1916863"/>
            <a:ext cx="101600" cy="1002366"/>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A16CB122-9714-5B0E-214D-94029120E33B}"/>
              </a:ext>
              <a:ext uri="{C183D7F6-B498-43B3-948B-1728B52AA6E4}">
                <adec:decorative xmlns:adec="http://schemas.microsoft.com/office/drawing/2017/decorative" val="1"/>
              </a:ext>
            </a:extLst>
          </p:cNvPr>
          <p:cNvSpPr/>
          <p:nvPr/>
        </p:nvSpPr>
        <p:spPr>
          <a:xfrm>
            <a:off x="8902700" y="5210252"/>
            <a:ext cx="101600" cy="1002366"/>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7" name="TextBox 47">
            <a:extLst>
              <a:ext uri="{FF2B5EF4-FFF2-40B4-BE49-F238E27FC236}">
                <a16:creationId xmlns:a16="http://schemas.microsoft.com/office/drawing/2014/main" id="{7D72394C-E42C-0738-D6DD-197D0D2AA117}"/>
              </a:ext>
            </a:extLst>
          </p:cNvPr>
          <p:cNvSpPr txBox="1"/>
          <p:nvPr/>
        </p:nvSpPr>
        <p:spPr>
          <a:xfrm>
            <a:off x="9231878" y="1879437"/>
            <a:ext cx="2693422" cy="1077218"/>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chemeClr val="tx1">
                    <a:lumMod val="75000"/>
                    <a:lumOff val="25000"/>
                  </a:schemeClr>
                </a:solidFill>
                <a:latin typeface="Segoe UI" panose="020B0502040204020203" pitchFamily="34" charset="0"/>
                <a:cs typeface="Segoe UI" panose="020B0502040204020203" pitchFamily="34" charset="0"/>
              </a:rPr>
              <a:t>Lorem ipsum dolor sit amet, consectetur adipiscing elit. Pellentesque sit amet feugiat mi. Maecenas volutpat hendrerit odio quis mattis. </a:t>
            </a:r>
          </a:p>
        </p:txBody>
      </p:sp>
      <p:sp>
        <p:nvSpPr>
          <p:cNvPr id="8" name="TextBox 47">
            <a:extLst>
              <a:ext uri="{FF2B5EF4-FFF2-40B4-BE49-F238E27FC236}">
                <a16:creationId xmlns:a16="http://schemas.microsoft.com/office/drawing/2014/main" id="{A5DCEB5B-DB8A-76BB-20D4-A085F83077C1}"/>
              </a:ext>
            </a:extLst>
          </p:cNvPr>
          <p:cNvSpPr txBox="1"/>
          <p:nvPr/>
        </p:nvSpPr>
        <p:spPr>
          <a:xfrm>
            <a:off x="9231878" y="5172826"/>
            <a:ext cx="2693422" cy="1077218"/>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chemeClr val="tx1">
                    <a:lumMod val="75000"/>
                    <a:lumOff val="25000"/>
                  </a:schemeClr>
                </a:solidFill>
                <a:latin typeface="Segoe UI" panose="020B0502040204020203" pitchFamily="34" charset="0"/>
                <a:cs typeface="Segoe UI" panose="020B0502040204020203" pitchFamily="34" charset="0"/>
              </a:rPr>
              <a:t>Lorem ipsum dolor sit amet, consectetur adipiscing elit. Pellentesque sit amet feugiat mi. Maecenas volutpat hendrerit odio quis mattis. </a:t>
            </a:r>
          </a:p>
        </p:txBody>
      </p:sp>
      <p:sp>
        <p:nvSpPr>
          <p:cNvPr id="9" name="Rectangle 8">
            <a:extLst>
              <a:ext uri="{FF2B5EF4-FFF2-40B4-BE49-F238E27FC236}">
                <a16:creationId xmlns:a16="http://schemas.microsoft.com/office/drawing/2014/main" id="{7E5310C9-8B16-E5A6-7198-D6E49FF93489}"/>
              </a:ext>
              <a:ext uri="{C183D7F6-B498-43B3-948B-1728B52AA6E4}">
                <adec:decorative xmlns:adec="http://schemas.microsoft.com/office/drawing/2017/decorative" val="1"/>
              </a:ext>
            </a:extLst>
          </p:cNvPr>
          <p:cNvSpPr/>
          <p:nvPr/>
        </p:nvSpPr>
        <p:spPr>
          <a:xfrm flipH="1">
            <a:off x="3430022" y="1916863"/>
            <a:ext cx="101600" cy="100236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rgbClr val="D6222B"/>
              </a:solidFill>
              <a:latin typeface="Segoe UI" panose="020B0502040204020203" pitchFamily="34" charset="0"/>
              <a:cs typeface="Segoe UI" panose="020B0502040204020203" pitchFamily="34" charset="0"/>
            </a:endParaRPr>
          </a:p>
        </p:txBody>
      </p:sp>
      <p:sp>
        <p:nvSpPr>
          <p:cNvPr id="10" name="Rectangle 9">
            <a:extLst>
              <a:ext uri="{FF2B5EF4-FFF2-40B4-BE49-F238E27FC236}">
                <a16:creationId xmlns:a16="http://schemas.microsoft.com/office/drawing/2014/main" id="{A16ADF3C-9FF0-4674-255F-990D4665D9E9}"/>
              </a:ext>
              <a:ext uri="{C183D7F6-B498-43B3-948B-1728B52AA6E4}">
                <adec:decorative xmlns:adec="http://schemas.microsoft.com/office/drawing/2017/decorative" val="1"/>
              </a:ext>
            </a:extLst>
          </p:cNvPr>
          <p:cNvSpPr/>
          <p:nvPr/>
        </p:nvSpPr>
        <p:spPr>
          <a:xfrm flipH="1">
            <a:off x="3430022" y="5210252"/>
            <a:ext cx="101600" cy="1002366"/>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latin typeface="Segoe UI" panose="020B0502040204020203" pitchFamily="34" charset="0"/>
              <a:cs typeface="Segoe UI" panose="020B0502040204020203" pitchFamily="34" charset="0"/>
            </a:endParaRPr>
          </a:p>
        </p:txBody>
      </p:sp>
      <p:sp>
        <p:nvSpPr>
          <p:cNvPr id="11" name="TextBox 47">
            <a:extLst>
              <a:ext uri="{FF2B5EF4-FFF2-40B4-BE49-F238E27FC236}">
                <a16:creationId xmlns:a16="http://schemas.microsoft.com/office/drawing/2014/main" id="{10AB9FF6-F35D-04CC-7696-5AA27F55725C}"/>
              </a:ext>
            </a:extLst>
          </p:cNvPr>
          <p:cNvSpPr txBox="1"/>
          <p:nvPr/>
        </p:nvSpPr>
        <p:spPr>
          <a:xfrm flipH="1">
            <a:off x="509022" y="1879437"/>
            <a:ext cx="2693422" cy="1077218"/>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4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err="1">
                <a:solidFill>
                  <a:schemeClr val="tx1">
                    <a:lumMod val="75000"/>
                    <a:lumOff val="25000"/>
                  </a:schemeClr>
                </a:solidFill>
                <a:latin typeface="Segoe UI" panose="020B0502040204020203" pitchFamily="34" charset="0"/>
                <a:cs typeface="Segoe UI" panose="020B0502040204020203" pitchFamily="34" charset="0"/>
              </a:rPr>
              <a:t>amet</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elit</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Pellentesque</a:t>
            </a:r>
            <a:r>
              <a:rPr lang="en-US" sz="1400">
                <a:solidFill>
                  <a:schemeClr val="tx1">
                    <a:lumMod val="75000"/>
                    <a:lumOff val="25000"/>
                  </a:schemeClr>
                </a:solidFill>
                <a:latin typeface="Segoe UI" panose="020B0502040204020203" pitchFamily="34" charset="0"/>
                <a:cs typeface="Segoe UI" panose="020B0502040204020203" pitchFamily="34" charset="0"/>
              </a:rPr>
              <a:t> sit </a:t>
            </a:r>
            <a:r>
              <a:rPr lang="en-US" sz="1400" err="1">
                <a:solidFill>
                  <a:schemeClr val="tx1">
                    <a:lumMod val="75000"/>
                    <a:lumOff val="25000"/>
                  </a:schemeClr>
                </a:solidFill>
                <a:latin typeface="Segoe UI" panose="020B0502040204020203" pitchFamily="34" charset="0"/>
                <a:cs typeface="Segoe UI" panose="020B0502040204020203" pitchFamily="34" charset="0"/>
              </a:rPr>
              <a:t>amet</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feugiat</a:t>
            </a:r>
            <a:r>
              <a:rPr lang="en-US" sz="1400">
                <a:solidFill>
                  <a:schemeClr val="tx1">
                    <a:lumMod val="75000"/>
                    <a:lumOff val="25000"/>
                  </a:schemeClr>
                </a:solidFill>
                <a:latin typeface="Segoe UI" panose="020B0502040204020203" pitchFamily="34" charset="0"/>
                <a:cs typeface="Segoe UI" panose="020B0502040204020203" pitchFamily="34" charset="0"/>
              </a:rPr>
              <a:t> mi. Maecenas </a:t>
            </a:r>
            <a:r>
              <a:rPr lang="en-US" sz="1400" err="1">
                <a:solidFill>
                  <a:schemeClr val="tx1">
                    <a:lumMod val="75000"/>
                    <a:lumOff val="25000"/>
                  </a:schemeClr>
                </a:solidFill>
                <a:latin typeface="Segoe UI" panose="020B0502040204020203" pitchFamily="34" charset="0"/>
                <a:cs typeface="Segoe UI" panose="020B0502040204020203" pitchFamily="34" charset="0"/>
              </a:rPr>
              <a:t>volutpat</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hendrerit</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odio</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quis</a:t>
            </a:r>
            <a:r>
              <a:rPr lang="en-US" sz="1400">
                <a:solidFill>
                  <a:schemeClr val="tx1">
                    <a:lumMod val="75000"/>
                    <a:lumOff val="25000"/>
                  </a:schemeClr>
                </a:solidFill>
                <a:latin typeface="Segoe UI" panose="020B0502040204020203" pitchFamily="34" charset="0"/>
                <a:cs typeface="Segoe UI" panose="020B0502040204020203" pitchFamily="34" charset="0"/>
              </a:rPr>
              <a:t> </a:t>
            </a:r>
            <a:r>
              <a:rPr lang="en-US" sz="1400" err="1">
                <a:solidFill>
                  <a:schemeClr val="tx1">
                    <a:lumMod val="75000"/>
                    <a:lumOff val="25000"/>
                  </a:schemeClr>
                </a:solidFill>
                <a:latin typeface="Segoe UI" panose="020B0502040204020203" pitchFamily="34" charset="0"/>
                <a:cs typeface="Segoe UI" panose="020B0502040204020203" pitchFamily="34" charset="0"/>
              </a:rPr>
              <a:t>mattis</a:t>
            </a:r>
            <a:r>
              <a:rPr lang="en-US" sz="1400">
                <a:solidFill>
                  <a:schemeClr val="tx1">
                    <a:lumMod val="75000"/>
                    <a:lumOff val="25000"/>
                  </a:schemeClr>
                </a:solidFill>
                <a:latin typeface="Segoe UI" panose="020B0502040204020203" pitchFamily="34" charset="0"/>
                <a:cs typeface="Segoe UI" panose="020B0502040204020203" pitchFamily="34" charset="0"/>
              </a:rPr>
              <a:t>. </a:t>
            </a:r>
          </a:p>
        </p:txBody>
      </p:sp>
      <p:sp>
        <p:nvSpPr>
          <p:cNvPr id="12" name="TextBox 47">
            <a:extLst>
              <a:ext uri="{FF2B5EF4-FFF2-40B4-BE49-F238E27FC236}">
                <a16:creationId xmlns:a16="http://schemas.microsoft.com/office/drawing/2014/main" id="{0E188157-ED10-FDA9-7A5B-CBF28769A030}"/>
              </a:ext>
            </a:extLst>
          </p:cNvPr>
          <p:cNvSpPr txBox="1"/>
          <p:nvPr/>
        </p:nvSpPr>
        <p:spPr>
          <a:xfrm flipH="1">
            <a:off x="509022" y="5172826"/>
            <a:ext cx="2693422" cy="1077218"/>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400">
                <a:solidFill>
                  <a:schemeClr val="tx1">
                    <a:lumMod val="75000"/>
                    <a:lumOff val="25000"/>
                  </a:schemeClr>
                </a:solidFill>
                <a:latin typeface="Segoe UI" panose="020B0502040204020203" pitchFamily="34" charset="0"/>
                <a:cs typeface="Segoe UI" panose="020B0502040204020203" pitchFamily="34" charset="0"/>
              </a:rPr>
              <a:t>Lorem ipsum dolor sit amet, consectetur adipiscing elit. Pellentesque sit amet feugiat mi. Maecenas volutpat hendrerit odio quis mattis. </a:t>
            </a:r>
          </a:p>
        </p:txBody>
      </p:sp>
      <p:sp>
        <p:nvSpPr>
          <p:cNvPr id="13" name="TextBox 47">
            <a:extLst>
              <a:ext uri="{FF2B5EF4-FFF2-40B4-BE49-F238E27FC236}">
                <a16:creationId xmlns:a16="http://schemas.microsoft.com/office/drawing/2014/main" id="{D581925C-66E9-A8B7-4ACB-F6906DEA74F0}"/>
              </a:ext>
            </a:extLst>
          </p:cNvPr>
          <p:cNvSpPr txBox="1"/>
          <p:nvPr/>
        </p:nvSpPr>
        <p:spPr>
          <a:xfrm>
            <a:off x="6885744" y="2110270"/>
            <a:ext cx="1903168" cy="615553"/>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4000" b="1">
                <a:solidFill>
                  <a:srgbClr val="7F7F7F"/>
                </a:solidFill>
                <a:latin typeface="Segoe UI" panose="020B0502040204020203" pitchFamily="34" charset="0"/>
                <a:cs typeface="Segoe UI" panose="020B0502040204020203" pitchFamily="34" charset="0"/>
              </a:rPr>
              <a:t>45%</a:t>
            </a:r>
          </a:p>
        </p:txBody>
      </p:sp>
      <p:sp>
        <p:nvSpPr>
          <p:cNvPr id="14" name="TextBox 47">
            <a:extLst>
              <a:ext uri="{FF2B5EF4-FFF2-40B4-BE49-F238E27FC236}">
                <a16:creationId xmlns:a16="http://schemas.microsoft.com/office/drawing/2014/main" id="{C92F5DCA-2376-778F-1855-BDE8D809965E}"/>
              </a:ext>
            </a:extLst>
          </p:cNvPr>
          <p:cNvSpPr txBox="1"/>
          <p:nvPr/>
        </p:nvSpPr>
        <p:spPr>
          <a:xfrm>
            <a:off x="6885744" y="5403659"/>
            <a:ext cx="1903168" cy="615553"/>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4000" b="1">
                <a:solidFill>
                  <a:srgbClr val="A6A6A6"/>
                </a:solidFill>
                <a:latin typeface="Segoe UI" panose="020B0502040204020203" pitchFamily="34" charset="0"/>
                <a:cs typeface="Segoe UI" panose="020B0502040204020203" pitchFamily="34" charset="0"/>
              </a:rPr>
              <a:t>25%</a:t>
            </a:r>
          </a:p>
        </p:txBody>
      </p:sp>
      <p:sp>
        <p:nvSpPr>
          <p:cNvPr id="15" name="TextBox 47">
            <a:extLst>
              <a:ext uri="{FF2B5EF4-FFF2-40B4-BE49-F238E27FC236}">
                <a16:creationId xmlns:a16="http://schemas.microsoft.com/office/drawing/2014/main" id="{C53D284F-A498-382F-1257-0701B9B8F367}"/>
              </a:ext>
            </a:extLst>
          </p:cNvPr>
          <p:cNvSpPr txBox="1"/>
          <p:nvPr/>
        </p:nvSpPr>
        <p:spPr>
          <a:xfrm>
            <a:off x="3643062" y="2110270"/>
            <a:ext cx="1903168" cy="615553"/>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000" b="1">
                <a:solidFill>
                  <a:srgbClr val="D6222B"/>
                </a:solidFill>
                <a:latin typeface="Segoe UI" panose="020B0502040204020203" pitchFamily="34" charset="0"/>
                <a:cs typeface="Segoe UI" panose="020B0502040204020203" pitchFamily="34" charset="0"/>
              </a:rPr>
              <a:t>20%</a:t>
            </a:r>
          </a:p>
        </p:txBody>
      </p:sp>
      <p:sp>
        <p:nvSpPr>
          <p:cNvPr id="16" name="TextBox 47">
            <a:extLst>
              <a:ext uri="{FF2B5EF4-FFF2-40B4-BE49-F238E27FC236}">
                <a16:creationId xmlns:a16="http://schemas.microsoft.com/office/drawing/2014/main" id="{785ECBCE-5019-CE0F-6281-94E404AD5A2D}"/>
              </a:ext>
            </a:extLst>
          </p:cNvPr>
          <p:cNvSpPr txBox="1"/>
          <p:nvPr/>
        </p:nvSpPr>
        <p:spPr>
          <a:xfrm>
            <a:off x="3643062" y="5403659"/>
            <a:ext cx="1903168" cy="615553"/>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000" b="1">
                <a:solidFill>
                  <a:srgbClr val="404040"/>
                </a:solidFill>
                <a:latin typeface="Segoe UI" panose="020B0502040204020203" pitchFamily="34" charset="0"/>
                <a:cs typeface="Segoe UI" panose="020B0502040204020203" pitchFamily="34" charset="0"/>
              </a:rPr>
              <a:t>10%</a:t>
            </a:r>
          </a:p>
        </p:txBody>
      </p:sp>
      <p:sp>
        <p:nvSpPr>
          <p:cNvPr id="17" name="Footer Placeholder 16">
            <a:extLst>
              <a:ext uri="{FF2B5EF4-FFF2-40B4-BE49-F238E27FC236}">
                <a16:creationId xmlns:a16="http://schemas.microsoft.com/office/drawing/2014/main" id="{A28A5DB6-4066-4DEF-0069-3D077E424501}"/>
              </a:ext>
            </a:extLst>
          </p:cNvPr>
          <p:cNvSpPr>
            <a:spLocks noGrp="1"/>
          </p:cNvSpPr>
          <p:nvPr>
            <p:ph type="ftr" sz="quarter" idx="11"/>
          </p:nvPr>
        </p:nvSpPr>
        <p:spPr/>
        <p:txBody>
          <a:bodyPr/>
          <a:lstStyle/>
          <a:p>
            <a:r>
              <a:rPr lang="en-US"/>
              <a:t>© 2024 Mobiz. All rights reserved</a:t>
            </a:r>
            <a:endParaRPr lang="en-BR"/>
          </a:p>
        </p:txBody>
      </p:sp>
      <p:sp>
        <p:nvSpPr>
          <p:cNvPr id="18" name="Slide Number Placeholder 17">
            <a:extLst>
              <a:ext uri="{FF2B5EF4-FFF2-40B4-BE49-F238E27FC236}">
                <a16:creationId xmlns:a16="http://schemas.microsoft.com/office/drawing/2014/main" id="{54B4D67C-8E57-8E58-637A-C7A922886389}"/>
              </a:ext>
            </a:extLst>
          </p:cNvPr>
          <p:cNvSpPr>
            <a:spLocks noGrp="1"/>
          </p:cNvSpPr>
          <p:nvPr>
            <p:ph type="sldNum" sz="quarter" idx="12"/>
          </p:nvPr>
        </p:nvSpPr>
        <p:spPr/>
        <p:txBody>
          <a:bodyPr/>
          <a:lstStyle/>
          <a:p>
            <a:fld id="{A8DDC45B-7265-3747-B738-ED29642119D9}" type="slidenum">
              <a:rPr lang="en-BR" smtClean="0"/>
              <a:pPr/>
              <a:t>58</a:t>
            </a:fld>
            <a:endParaRPr lang="en-BR"/>
          </a:p>
        </p:txBody>
      </p:sp>
    </p:spTree>
    <p:extLst>
      <p:ext uri="{BB962C8B-B14F-4D97-AF65-F5344CB8AC3E}">
        <p14:creationId xmlns:p14="http://schemas.microsoft.com/office/powerpoint/2010/main" val="10593958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C3A29-CFE1-1C06-CB82-8A2DA37D59B1}"/>
              </a:ext>
            </a:extLst>
          </p:cNvPr>
          <p:cNvSpPr>
            <a:spLocks noGrp="1"/>
          </p:cNvSpPr>
          <p:nvPr>
            <p:ph type="title"/>
          </p:nvPr>
        </p:nvSpPr>
        <p:spPr/>
        <p:txBody>
          <a:bodyPr/>
          <a:lstStyle/>
          <a:p>
            <a:r>
              <a:rPr lang="en-BR"/>
              <a:t>Dashboard</a:t>
            </a:r>
          </a:p>
        </p:txBody>
      </p:sp>
      <p:sp>
        <p:nvSpPr>
          <p:cNvPr id="3" name="Text Placeholder 2">
            <a:extLst>
              <a:ext uri="{FF2B5EF4-FFF2-40B4-BE49-F238E27FC236}">
                <a16:creationId xmlns:a16="http://schemas.microsoft.com/office/drawing/2014/main" id="{06F12246-9559-EE38-C583-FBAAF94F368C}"/>
              </a:ext>
            </a:extLst>
          </p:cNvPr>
          <p:cNvSpPr>
            <a:spLocks noGrp="1"/>
          </p:cNvSpPr>
          <p:nvPr>
            <p:ph type="body" sz="quarter" idx="13"/>
          </p:nvPr>
        </p:nvSpPr>
        <p:spPr/>
        <p:txBody>
          <a:bodyPr/>
          <a:lstStyle/>
          <a:p>
            <a:endParaRPr lang="en-BR"/>
          </a:p>
        </p:txBody>
      </p:sp>
      <p:grpSp>
        <p:nvGrpSpPr>
          <p:cNvPr id="311" name="Group 310">
            <a:extLst>
              <a:ext uri="{FF2B5EF4-FFF2-40B4-BE49-F238E27FC236}">
                <a16:creationId xmlns:a16="http://schemas.microsoft.com/office/drawing/2014/main" id="{75044BFC-318C-27A1-AD53-5852281C6786}"/>
              </a:ext>
            </a:extLst>
          </p:cNvPr>
          <p:cNvGrpSpPr/>
          <p:nvPr/>
        </p:nvGrpSpPr>
        <p:grpSpPr>
          <a:xfrm>
            <a:off x="831237" y="1813672"/>
            <a:ext cx="10528733" cy="4575643"/>
            <a:chOff x="304800" y="1242245"/>
            <a:chExt cx="11581606" cy="5033207"/>
          </a:xfrm>
        </p:grpSpPr>
        <p:grpSp>
          <p:nvGrpSpPr>
            <p:cNvPr id="156" name="Group 155">
              <a:extLst>
                <a:ext uri="{FF2B5EF4-FFF2-40B4-BE49-F238E27FC236}">
                  <a16:creationId xmlns:a16="http://schemas.microsoft.com/office/drawing/2014/main" id="{FBDDAB59-EA2A-68CE-138D-BB57C2A722A4}"/>
                </a:ext>
                <a:ext uri="{C183D7F6-B498-43B3-948B-1728B52AA6E4}">
                  <adec:decorative xmlns:adec="http://schemas.microsoft.com/office/drawing/2017/decorative" val="1"/>
                </a:ext>
              </a:extLst>
            </p:cNvPr>
            <p:cNvGrpSpPr/>
            <p:nvPr/>
          </p:nvGrpSpPr>
          <p:grpSpPr>
            <a:xfrm>
              <a:off x="4386490" y="4060864"/>
              <a:ext cx="3419021" cy="2214588"/>
              <a:chOff x="304800" y="4060864"/>
              <a:chExt cx="3419021" cy="2214588"/>
            </a:xfrm>
            <a:effectLst>
              <a:outerShdw blurRad="50800" dist="38100" dir="2700000" algn="tl" rotWithShape="0">
                <a:prstClr val="black">
                  <a:alpha val="20000"/>
                </a:prstClr>
              </a:outerShdw>
            </a:effectLst>
          </p:grpSpPr>
          <p:sp>
            <p:nvSpPr>
              <p:cNvPr id="157" name="Rectangle 156">
                <a:extLst>
                  <a:ext uri="{FF2B5EF4-FFF2-40B4-BE49-F238E27FC236}">
                    <a16:creationId xmlns:a16="http://schemas.microsoft.com/office/drawing/2014/main" id="{58045535-2C4B-3C72-8081-2AC8883B1586}"/>
                  </a:ext>
                </a:extLst>
              </p:cNvPr>
              <p:cNvSpPr/>
              <p:nvPr/>
            </p:nvSpPr>
            <p:spPr>
              <a:xfrm>
                <a:off x="304800" y="4060864"/>
                <a:ext cx="3419021" cy="2214588"/>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en-US" sz="3200" b="1">
                  <a:latin typeface="Segoe UI" panose="020B0502040204020203" pitchFamily="34" charset="0"/>
                  <a:cs typeface="Segoe UI" panose="020B0502040204020203" pitchFamily="34" charset="0"/>
                </a:endParaRPr>
              </a:p>
            </p:txBody>
          </p:sp>
          <p:sp>
            <p:nvSpPr>
              <p:cNvPr id="158" name="Rectangle 157">
                <a:extLst>
                  <a:ext uri="{FF2B5EF4-FFF2-40B4-BE49-F238E27FC236}">
                    <a16:creationId xmlns:a16="http://schemas.microsoft.com/office/drawing/2014/main" id="{434A7770-806F-33E9-FA60-979E09F3DC65}"/>
                  </a:ext>
                </a:extLst>
              </p:cNvPr>
              <p:cNvSpPr/>
              <p:nvPr/>
            </p:nvSpPr>
            <p:spPr>
              <a:xfrm>
                <a:off x="304800" y="4060864"/>
                <a:ext cx="3419021" cy="419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lumMod val="75000"/>
                        <a:lumOff val="25000"/>
                      </a:schemeClr>
                    </a:solidFill>
                    <a:latin typeface="Segoe UI" panose="020B0502040204020203" pitchFamily="34" charset="0"/>
                    <a:cs typeface="Segoe UI" panose="020B0502040204020203" pitchFamily="34" charset="0"/>
                  </a:rPr>
                  <a:t>Data Market</a:t>
                </a:r>
              </a:p>
            </p:txBody>
          </p:sp>
        </p:grpSp>
        <p:grpSp>
          <p:nvGrpSpPr>
            <p:cNvPr id="159" name="Group 158">
              <a:extLst>
                <a:ext uri="{FF2B5EF4-FFF2-40B4-BE49-F238E27FC236}">
                  <a16:creationId xmlns:a16="http://schemas.microsoft.com/office/drawing/2014/main" id="{CE2BA295-C682-25D1-E0EC-8A12DAC6F2EE}"/>
                </a:ext>
                <a:ext uri="{C183D7F6-B498-43B3-948B-1728B52AA6E4}">
                  <adec:decorative xmlns:adec="http://schemas.microsoft.com/office/drawing/2017/decorative" val="1"/>
                </a:ext>
              </a:extLst>
            </p:cNvPr>
            <p:cNvGrpSpPr/>
            <p:nvPr/>
          </p:nvGrpSpPr>
          <p:grpSpPr>
            <a:xfrm>
              <a:off x="304800" y="4060864"/>
              <a:ext cx="3419021" cy="2214588"/>
              <a:chOff x="304800" y="4060864"/>
              <a:chExt cx="3419021" cy="2214588"/>
            </a:xfrm>
            <a:effectLst>
              <a:outerShdw blurRad="50800" dist="38100" dir="2700000" algn="tl" rotWithShape="0">
                <a:prstClr val="black">
                  <a:alpha val="20000"/>
                </a:prstClr>
              </a:outerShdw>
            </a:effectLst>
          </p:grpSpPr>
          <p:sp>
            <p:nvSpPr>
              <p:cNvPr id="160" name="Rectangle 159">
                <a:extLst>
                  <a:ext uri="{FF2B5EF4-FFF2-40B4-BE49-F238E27FC236}">
                    <a16:creationId xmlns:a16="http://schemas.microsoft.com/office/drawing/2014/main" id="{385E5723-7ABE-0805-3353-80C4F1F99B6A}"/>
                  </a:ext>
                </a:extLst>
              </p:cNvPr>
              <p:cNvSpPr/>
              <p:nvPr/>
            </p:nvSpPr>
            <p:spPr>
              <a:xfrm>
                <a:off x="304800" y="4060864"/>
                <a:ext cx="3419021" cy="221458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en-US" sz="3200" b="1">
                  <a:latin typeface="Segoe UI" panose="020B0502040204020203" pitchFamily="34" charset="0"/>
                  <a:cs typeface="Segoe UI" panose="020B0502040204020203" pitchFamily="34" charset="0"/>
                </a:endParaRPr>
              </a:p>
            </p:txBody>
          </p:sp>
          <p:sp>
            <p:nvSpPr>
              <p:cNvPr id="161" name="Rectangle 160">
                <a:extLst>
                  <a:ext uri="{FF2B5EF4-FFF2-40B4-BE49-F238E27FC236}">
                    <a16:creationId xmlns:a16="http://schemas.microsoft.com/office/drawing/2014/main" id="{877DFF27-5283-AD9F-286E-F51990884200}"/>
                  </a:ext>
                </a:extLst>
              </p:cNvPr>
              <p:cNvSpPr/>
              <p:nvPr/>
            </p:nvSpPr>
            <p:spPr>
              <a:xfrm>
                <a:off x="304800" y="4060864"/>
                <a:ext cx="3419021" cy="419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lumMod val="75000"/>
                        <a:lumOff val="25000"/>
                      </a:schemeClr>
                    </a:solidFill>
                    <a:latin typeface="Segoe UI" panose="020B0502040204020203" pitchFamily="34" charset="0"/>
                    <a:cs typeface="Segoe UI" panose="020B0502040204020203" pitchFamily="34" charset="0"/>
                  </a:rPr>
                  <a:t>Market Location</a:t>
                </a:r>
              </a:p>
            </p:txBody>
          </p:sp>
        </p:grpSp>
        <p:grpSp>
          <p:nvGrpSpPr>
            <p:cNvPr id="162" name="Group 161">
              <a:extLst>
                <a:ext uri="{FF2B5EF4-FFF2-40B4-BE49-F238E27FC236}">
                  <a16:creationId xmlns:a16="http://schemas.microsoft.com/office/drawing/2014/main" id="{0E5C3ED7-118D-6ABE-5910-6B9132B3AD53}"/>
                </a:ext>
                <a:ext uri="{C183D7F6-B498-43B3-948B-1728B52AA6E4}">
                  <adec:decorative xmlns:adec="http://schemas.microsoft.com/office/drawing/2017/decorative" val="1"/>
                </a:ext>
              </a:extLst>
            </p:cNvPr>
            <p:cNvGrpSpPr/>
            <p:nvPr/>
          </p:nvGrpSpPr>
          <p:grpSpPr>
            <a:xfrm>
              <a:off x="304800" y="1577182"/>
              <a:ext cx="3419021" cy="2214588"/>
              <a:chOff x="304800" y="1577182"/>
              <a:chExt cx="3419021" cy="2214588"/>
            </a:xfrm>
            <a:solidFill>
              <a:srgbClr val="D6222B"/>
            </a:solidFill>
            <a:effectLst>
              <a:outerShdw blurRad="50800" dist="38100" dir="5400000" algn="t" rotWithShape="0">
                <a:prstClr val="black">
                  <a:alpha val="20000"/>
                </a:prstClr>
              </a:outerShdw>
            </a:effectLst>
          </p:grpSpPr>
          <p:sp>
            <p:nvSpPr>
              <p:cNvPr id="163" name="Rectangle 162">
                <a:extLst>
                  <a:ext uri="{FF2B5EF4-FFF2-40B4-BE49-F238E27FC236}">
                    <a16:creationId xmlns:a16="http://schemas.microsoft.com/office/drawing/2014/main" id="{4E1E156E-F0AA-E58B-C521-FBD925539267}"/>
                  </a:ext>
                </a:extLst>
              </p:cNvPr>
              <p:cNvSpPr/>
              <p:nvPr/>
            </p:nvSpPr>
            <p:spPr>
              <a:xfrm>
                <a:off x="304800" y="1577182"/>
                <a:ext cx="3419021" cy="17954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lang="en-US" sz="3200" b="1">
                    <a:latin typeface="Segoe UI" panose="020B0502040204020203" pitchFamily="34" charset="0"/>
                    <a:cs typeface="Segoe UI" panose="020B0502040204020203" pitchFamily="34" charset="0"/>
                  </a:rPr>
                  <a:t>$ 1,373.68</a:t>
                </a:r>
              </a:p>
            </p:txBody>
          </p:sp>
          <p:sp>
            <p:nvSpPr>
              <p:cNvPr id="164" name="Rectangle 163">
                <a:extLst>
                  <a:ext uri="{FF2B5EF4-FFF2-40B4-BE49-F238E27FC236}">
                    <a16:creationId xmlns:a16="http://schemas.microsoft.com/office/drawing/2014/main" id="{1E8CED8D-B251-5334-A865-51935B0CE3FE}"/>
                  </a:ext>
                </a:extLst>
              </p:cNvPr>
              <p:cNvSpPr/>
              <p:nvPr/>
            </p:nvSpPr>
            <p:spPr>
              <a:xfrm>
                <a:off x="304800" y="3372670"/>
                <a:ext cx="3419021" cy="419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Segoe UI" panose="020B0502040204020203" pitchFamily="34" charset="0"/>
                    <a:cs typeface="Segoe UI" panose="020B0502040204020203" pitchFamily="34" charset="0"/>
                  </a:rPr>
                  <a:t>Last Deposit: $1,566.34 </a:t>
                </a:r>
              </a:p>
            </p:txBody>
          </p:sp>
        </p:grpSp>
        <p:sp>
          <p:nvSpPr>
            <p:cNvPr id="165" name="Oval 164">
              <a:extLst>
                <a:ext uri="{FF2B5EF4-FFF2-40B4-BE49-F238E27FC236}">
                  <a16:creationId xmlns:a16="http://schemas.microsoft.com/office/drawing/2014/main" id="{7C77EE34-804E-54AA-9DF5-E85E5155B92B}"/>
                </a:ext>
                <a:ext uri="{C183D7F6-B498-43B3-948B-1728B52AA6E4}">
                  <adec:decorative xmlns:adec="http://schemas.microsoft.com/office/drawing/2017/decorative" val="1"/>
                </a:ext>
              </a:extLst>
            </p:cNvPr>
            <p:cNvSpPr/>
            <p:nvPr/>
          </p:nvSpPr>
          <p:spPr>
            <a:xfrm>
              <a:off x="1685698" y="1242245"/>
              <a:ext cx="657225" cy="657225"/>
            </a:xfrm>
            <a:prstGeom prst="ellipse">
              <a:avLst/>
            </a:prstGeom>
            <a:solidFill>
              <a:srgbClr val="D6222B"/>
            </a:solidFill>
            <a:ln w="28575">
              <a:solidFill>
                <a:schemeClr val="bg1"/>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Segoe UI" panose="020B0502040204020203" pitchFamily="34" charset="0"/>
                <a:cs typeface="Segoe UI" panose="020B0502040204020203" pitchFamily="34" charset="0"/>
              </a:endParaRPr>
            </a:p>
          </p:txBody>
        </p:sp>
        <p:grpSp>
          <p:nvGrpSpPr>
            <p:cNvPr id="166" name="Group 165" descr="This is an icon of coins.">
              <a:extLst>
                <a:ext uri="{FF2B5EF4-FFF2-40B4-BE49-F238E27FC236}">
                  <a16:creationId xmlns:a16="http://schemas.microsoft.com/office/drawing/2014/main" id="{43782DA7-4D62-BC84-A3E2-3A14E0E70C45}"/>
                </a:ext>
              </a:extLst>
            </p:cNvPr>
            <p:cNvGrpSpPr/>
            <p:nvPr/>
          </p:nvGrpSpPr>
          <p:grpSpPr>
            <a:xfrm>
              <a:off x="1870641" y="1439094"/>
              <a:ext cx="287338" cy="263526"/>
              <a:chOff x="3171825" y="1368425"/>
              <a:chExt cx="287338" cy="263526"/>
            </a:xfrm>
            <a:solidFill>
              <a:schemeClr val="bg1"/>
            </a:solidFill>
          </p:grpSpPr>
          <p:sp>
            <p:nvSpPr>
              <p:cNvPr id="167" name="Freeform 466">
                <a:extLst>
                  <a:ext uri="{FF2B5EF4-FFF2-40B4-BE49-F238E27FC236}">
                    <a16:creationId xmlns:a16="http://schemas.microsoft.com/office/drawing/2014/main" id="{459D0E67-3EE7-75CE-7857-6C7EC0CA6990}"/>
                  </a:ext>
                </a:extLst>
              </p:cNvPr>
              <p:cNvSpPr>
                <a:spLocks/>
              </p:cNvSpPr>
              <p:nvPr/>
            </p:nvSpPr>
            <p:spPr bwMode="auto">
              <a:xfrm>
                <a:off x="3219450" y="1598613"/>
                <a:ext cx="49213" cy="33338"/>
              </a:xfrm>
              <a:custGeom>
                <a:avLst/>
                <a:gdLst>
                  <a:gd name="T0" fmla="*/ 0 w 151"/>
                  <a:gd name="T1" fmla="*/ 0 h 106"/>
                  <a:gd name="T2" fmla="*/ 0 w 151"/>
                  <a:gd name="T3" fmla="*/ 106 h 106"/>
                  <a:gd name="T4" fmla="*/ 151 w 151"/>
                  <a:gd name="T5" fmla="*/ 106 h 106"/>
                  <a:gd name="T6" fmla="*/ 151 w 151"/>
                  <a:gd name="T7" fmla="*/ 0 h 106"/>
                  <a:gd name="T8" fmla="*/ 136 w 151"/>
                  <a:gd name="T9" fmla="*/ 0 h 106"/>
                  <a:gd name="T10" fmla="*/ 0 w 151"/>
                  <a:gd name="T11" fmla="*/ 0 h 106"/>
                </a:gdLst>
                <a:ahLst/>
                <a:cxnLst>
                  <a:cxn ang="0">
                    <a:pos x="T0" y="T1"/>
                  </a:cxn>
                  <a:cxn ang="0">
                    <a:pos x="T2" y="T3"/>
                  </a:cxn>
                  <a:cxn ang="0">
                    <a:pos x="T4" y="T5"/>
                  </a:cxn>
                  <a:cxn ang="0">
                    <a:pos x="T6" y="T7"/>
                  </a:cxn>
                  <a:cxn ang="0">
                    <a:pos x="T8" y="T9"/>
                  </a:cxn>
                  <a:cxn ang="0">
                    <a:pos x="T10" y="T11"/>
                  </a:cxn>
                </a:cxnLst>
                <a:rect l="0" t="0" r="r" b="b"/>
                <a:pathLst>
                  <a:path w="151" h="106">
                    <a:moveTo>
                      <a:pt x="0" y="0"/>
                    </a:moveTo>
                    <a:lnTo>
                      <a:pt x="0" y="106"/>
                    </a:lnTo>
                    <a:lnTo>
                      <a:pt x="151" y="106"/>
                    </a:lnTo>
                    <a:lnTo>
                      <a:pt x="151" y="0"/>
                    </a:lnTo>
                    <a:lnTo>
                      <a:pt x="13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68" name="Freeform 467">
                <a:extLst>
                  <a:ext uri="{FF2B5EF4-FFF2-40B4-BE49-F238E27FC236}">
                    <a16:creationId xmlns:a16="http://schemas.microsoft.com/office/drawing/2014/main" id="{BB307F05-FF61-03E7-C680-1C73912A939E}"/>
                  </a:ext>
                </a:extLst>
              </p:cNvPr>
              <p:cNvSpPr>
                <a:spLocks/>
              </p:cNvSpPr>
              <p:nvPr/>
            </p:nvSpPr>
            <p:spPr bwMode="auto">
              <a:xfrm>
                <a:off x="3278188" y="1598613"/>
                <a:ext cx="28575" cy="33338"/>
              </a:xfrm>
              <a:custGeom>
                <a:avLst/>
                <a:gdLst>
                  <a:gd name="T0" fmla="*/ 75 w 90"/>
                  <a:gd name="T1" fmla="*/ 0 h 106"/>
                  <a:gd name="T2" fmla="*/ 0 w 90"/>
                  <a:gd name="T3" fmla="*/ 0 h 106"/>
                  <a:gd name="T4" fmla="*/ 0 w 90"/>
                  <a:gd name="T5" fmla="*/ 106 h 106"/>
                  <a:gd name="T6" fmla="*/ 75 w 90"/>
                  <a:gd name="T7" fmla="*/ 106 h 106"/>
                  <a:gd name="T8" fmla="*/ 78 w 90"/>
                  <a:gd name="T9" fmla="*/ 106 h 106"/>
                  <a:gd name="T10" fmla="*/ 80 w 90"/>
                  <a:gd name="T11" fmla="*/ 104 h 106"/>
                  <a:gd name="T12" fmla="*/ 84 w 90"/>
                  <a:gd name="T13" fmla="*/ 103 h 106"/>
                  <a:gd name="T14" fmla="*/ 86 w 90"/>
                  <a:gd name="T15" fmla="*/ 101 h 106"/>
                  <a:gd name="T16" fmla="*/ 88 w 90"/>
                  <a:gd name="T17" fmla="*/ 99 h 106"/>
                  <a:gd name="T18" fmla="*/ 89 w 90"/>
                  <a:gd name="T19" fmla="*/ 97 h 106"/>
                  <a:gd name="T20" fmla="*/ 90 w 90"/>
                  <a:gd name="T21" fmla="*/ 94 h 106"/>
                  <a:gd name="T22" fmla="*/ 90 w 90"/>
                  <a:gd name="T23" fmla="*/ 91 h 106"/>
                  <a:gd name="T24" fmla="*/ 90 w 90"/>
                  <a:gd name="T25" fmla="*/ 15 h 106"/>
                  <a:gd name="T26" fmla="*/ 90 w 90"/>
                  <a:gd name="T27" fmla="*/ 12 h 106"/>
                  <a:gd name="T28" fmla="*/ 89 w 90"/>
                  <a:gd name="T29" fmla="*/ 10 h 106"/>
                  <a:gd name="T30" fmla="*/ 88 w 90"/>
                  <a:gd name="T31" fmla="*/ 7 h 106"/>
                  <a:gd name="T32" fmla="*/ 86 w 90"/>
                  <a:gd name="T33" fmla="*/ 5 h 106"/>
                  <a:gd name="T34" fmla="*/ 84 w 90"/>
                  <a:gd name="T35" fmla="*/ 4 h 106"/>
                  <a:gd name="T36" fmla="*/ 80 w 90"/>
                  <a:gd name="T37" fmla="*/ 2 h 106"/>
                  <a:gd name="T38" fmla="*/ 78 w 90"/>
                  <a:gd name="T39" fmla="*/ 2 h 106"/>
                  <a:gd name="T40" fmla="*/ 75 w 90"/>
                  <a:gd name="T41" fmla="*/ 0 h 106"/>
                  <a:gd name="T42" fmla="*/ 75 w 90"/>
                  <a:gd name="T4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 h="106">
                    <a:moveTo>
                      <a:pt x="75" y="0"/>
                    </a:moveTo>
                    <a:lnTo>
                      <a:pt x="0" y="0"/>
                    </a:lnTo>
                    <a:lnTo>
                      <a:pt x="0" y="106"/>
                    </a:lnTo>
                    <a:lnTo>
                      <a:pt x="75" y="106"/>
                    </a:lnTo>
                    <a:lnTo>
                      <a:pt x="78" y="106"/>
                    </a:lnTo>
                    <a:lnTo>
                      <a:pt x="80" y="104"/>
                    </a:lnTo>
                    <a:lnTo>
                      <a:pt x="84" y="103"/>
                    </a:lnTo>
                    <a:lnTo>
                      <a:pt x="86" y="101"/>
                    </a:lnTo>
                    <a:lnTo>
                      <a:pt x="88" y="99"/>
                    </a:lnTo>
                    <a:lnTo>
                      <a:pt x="89" y="97"/>
                    </a:lnTo>
                    <a:lnTo>
                      <a:pt x="90" y="94"/>
                    </a:lnTo>
                    <a:lnTo>
                      <a:pt x="90" y="91"/>
                    </a:lnTo>
                    <a:lnTo>
                      <a:pt x="90" y="15"/>
                    </a:lnTo>
                    <a:lnTo>
                      <a:pt x="90" y="12"/>
                    </a:lnTo>
                    <a:lnTo>
                      <a:pt x="89" y="10"/>
                    </a:lnTo>
                    <a:lnTo>
                      <a:pt x="88" y="7"/>
                    </a:lnTo>
                    <a:lnTo>
                      <a:pt x="86" y="5"/>
                    </a:lnTo>
                    <a:lnTo>
                      <a:pt x="84" y="4"/>
                    </a:lnTo>
                    <a:lnTo>
                      <a:pt x="80" y="2"/>
                    </a:lnTo>
                    <a:lnTo>
                      <a:pt x="78" y="2"/>
                    </a:lnTo>
                    <a:lnTo>
                      <a:pt x="75"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69" name="Freeform 468">
                <a:extLst>
                  <a:ext uri="{FF2B5EF4-FFF2-40B4-BE49-F238E27FC236}">
                    <a16:creationId xmlns:a16="http://schemas.microsoft.com/office/drawing/2014/main" id="{CD7B5C8E-8A13-937D-EB18-AD6A58026740}"/>
                  </a:ext>
                </a:extLst>
              </p:cNvPr>
              <p:cNvSpPr>
                <a:spLocks/>
              </p:cNvSpPr>
              <p:nvPr/>
            </p:nvSpPr>
            <p:spPr bwMode="auto">
              <a:xfrm>
                <a:off x="3181350" y="1598613"/>
                <a:ext cx="28575" cy="33338"/>
              </a:xfrm>
              <a:custGeom>
                <a:avLst/>
                <a:gdLst>
                  <a:gd name="T0" fmla="*/ 15 w 90"/>
                  <a:gd name="T1" fmla="*/ 0 h 106"/>
                  <a:gd name="T2" fmla="*/ 11 w 90"/>
                  <a:gd name="T3" fmla="*/ 0 h 106"/>
                  <a:gd name="T4" fmla="*/ 9 w 90"/>
                  <a:gd name="T5" fmla="*/ 2 h 106"/>
                  <a:gd name="T6" fmla="*/ 6 w 90"/>
                  <a:gd name="T7" fmla="*/ 4 h 106"/>
                  <a:gd name="T8" fmla="*/ 4 w 90"/>
                  <a:gd name="T9" fmla="*/ 5 h 106"/>
                  <a:gd name="T10" fmla="*/ 3 w 90"/>
                  <a:gd name="T11" fmla="*/ 7 h 106"/>
                  <a:gd name="T12" fmla="*/ 1 w 90"/>
                  <a:gd name="T13" fmla="*/ 10 h 106"/>
                  <a:gd name="T14" fmla="*/ 0 w 90"/>
                  <a:gd name="T15" fmla="*/ 12 h 106"/>
                  <a:gd name="T16" fmla="*/ 0 w 90"/>
                  <a:gd name="T17" fmla="*/ 15 h 106"/>
                  <a:gd name="T18" fmla="*/ 0 w 90"/>
                  <a:gd name="T19" fmla="*/ 91 h 106"/>
                  <a:gd name="T20" fmla="*/ 0 w 90"/>
                  <a:gd name="T21" fmla="*/ 94 h 106"/>
                  <a:gd name="T22" fmla="*/ 1 w 90"/>
                  <a:gd name="T23" fmla="*/ 97 h 106"/>
                  <a:gd name="T24" fmla="*/ 3 w 90"/>
                  <a:gd name="T25" fmla="*/ 99 h 106"/>
                  <a:gd name="T26" fmla="*/ 4 w 90"/>
                  <a:gd name="T27" fmla="*/ 101 h 106"/>
                  <a:gd name="T28" fmla="*/ 6 w 90"/>
                  <a:gd name="T29" fmla="*/ 103 h 106"/>
                  <a:gd name="T30" fmla="*/ 9 w 90"/>
                  <a:gd name="T31" fmla="*/ 104 h 106"/>
                  <a:gd name="T32" fmla="*/ 11 w 90"/>
                  <a:gd name="T33" fmla="*/ 106 h 106"/>
                  <a:gd name="T34" fmla="*/ 15 w 90"/>
                  <a:gd name="T35" fmla="*/ 106 h 106"/>
                  <a:gd name="T36" fmla="*/ 90 w 90"/>
                  <a:gd name="T37" fmla="*/ 106 h 106"/>
                  <a:gd name="T38" fmla="*/ 90 w 90"/>
                  <a:gd name="T39" fmla="*/ 0 h 106"/>
                  <a:gd name="T40" fmla="*/ 75 w 90"/>
                  <a:gd name="T41" fmla="*/ 0 h 106"/>
                  <a:gd name="T42" fmla="*/ 15 w 90"/>
                  <a:gd name="T4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 h="106">
                    <a:moveTo>
                      <a:pt x="15" y="0"/>
                    </a:moveTo>
                    <a:lnTo>
                      <a:pt x="11" y="0"/>
                    </a:lnTo>
                    <a:lnTo>
                      <a:pt x="9" y="2"/>
                    </a:lnTo>
                    <a:lnTo>
                      <a:pt x="6" y="4"/>
                    </a:lnTo>
                    <a:lnTo>
                      <a:pt x="4" y="5"/>
                    </a:lnTo>
                    <a:lnTo>
                      <a:pt x="3" y="7"/>
                    </a:lnTo>
                    <a:lnTo>
                      <a:pt x="1" y="10"/>
                    </a:lnTo>
                    <a:lnTo>
                      <a:pt x="0" y="12"/>
                    </a:lnTo>
                    <a:lnTo>
                      <a:pt x="0" y="15"/>
                    </a:lnTo>
                    <a:lnTo>
                      <a:pt x="0" y="91"/>
                    </a:lnTo>
                    <a:lnTo>
                      <a:pt x="0" y="94"/>
                    </a:lnTo>
                    <a:lnTo>
                      <a:pt x="1" y="97"/>
                    </a:lnTo>
                    <a:lnTo>
                      <a:pt x="3" y="99"/>
                    </a:lnTo>
                    <a:lnTo>
                      <a:pt x="4" y="101"/>
                    </a:lnTo>
                    <a:lnTo>
                      <a:pt x="6" y="103"/>
                    </a:lnTo>
                    <a:lnTo>
                      <a:pt x="9" y="104"/>
                    </a:lnTo>
                    <a:lnTo>
                      <a:pt x="11" y="106"/>
                    </a:lnTo>
                    <a:lnTo>
                      <a:pt x="15" y="106"/>
                    </a:lnTo>
                    <a:lnTo>
                      <a:pt x="90" y="106"/>
                    </a:lnTo>
                    <a:lnTo>
                      <a:pt x="90" y="0"/>
                    </a:lnTo>
                    <a:lnTo>
                      <a:pt x="7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70" name="Freeform 469">
                <a:extLst>
                  <a:ext uri="{FF2B5EF4-FFF2-40B4-BE49-F238E27FC236}">
                    <a16:creationId xmlns:a16="http://schemas.microsoft.com/office/drawing/2014/main" id="{6A299914-B567-FA9A-2606-56499BE6E526}"/>
                  </a:ext>
                </a:extLst>
              </p:cNvPr>
              <p:cNvSpPr>
                <a:spLocks/>
              </p:cNvSpPr>
              <p:nvPr/>
            </p:nvSpPr>
            <p:spPr bwMode="auto">
              <a:xfrm>
                <a:off x="3219450" y="1522413"/>
                <a:ext cx="49213" cy="33338"/>
              </a:xfrm>
              <a:custGeom>
                <a:avLst/>
                <a:gdLst>
                  <a:gd name="T0" fmla="*/ 151 w 151"/>
                  <a:gd name="T1" fmla="*/ 105 h 105"/>
                  <a:gd name="T2" fmla="*/ 151 w 151"/>
                  <a:gd name="T3" fmla="*/ 0 h 105"/>
                  <a:gd name="T4" fmla="*/ 136 w 151"/>
                  <a:gd name="T5" fmla="*/ 0 h 105"/>
                  <a:gd name="T6" fmla="*/ 0 w 151"/>
                  <a:gd name="T7" fmla="*/ 0 h 105"/>
                  <a:gd name="T8" fmla="*/ 0 w 151"/>
                  <a:gd name="T9" fmla="*/ 105 h 105"/>
                  <a:gd name="T10" fmla="*/ 136 w 151"/>
                  <a:gd name="T11" fmla="*/ 105 h 105"/>
                  <a:gd name="T12" fmla="*/ 151 w 151"/>
                  <a:gd name="T13" fmla="*/ 105 h 105"/>
                </a:gdLst>
                <a:ahLst/>
                <a:cxnLst>
                  <a:cxn ang="0">
                    <a:pos x="T0" y="T1"/>
                  </a:cxn>
                  <a:cxn ang="0">
                    <a:pos x="T2" y="T3"/>
                  </a:cxn>
                  <a:cxn ang="0">
                    <a:pos x="T4" y="T5"/>
                  </a:cxn>
                  <a:cxn ang="0">
                    <a:pos x="T6" y="T7"/>
                  </a:cxn>
                  <a:cxn ang="0">
                    <a:pos x="T8" y="T9"/>
                  </a:cxn>
                  <a:cxn ang="0">
                    <a:pos x="T10" y="T11"/>
                  </a:cxn>
                  <a:cxn ang="0">
                    <a:pos x="T12" y="T13"/>
                  </a:cxn>
                </a:cxnLst>
                <a:rect l="0" t="0" r="r" b="b"/>
                <a:pathLst>
                  <a:path w="151" h="105">
                    <a:moveTo>
                      <a:pt x="151" y="105"/>
                    </a:moveTo>
                    <a:lnTo>
                      <a:pt x="151" y="0"/>
                    </a:lnTo>
                    <a:lnTo>
                      <a:pt x="136" y="0"/>
                    </a:lnTo>
                    <a:lnTo>
                      <a:pt x="0" y="0"/>
                    </a:lnTo>
                    <a:lnTo>
                      <a:pt x="0" y="105"/>
                    </a:lnTo>
                    <a:lnTo>
                      <a:pt x="136" y="105"/>
                    </a:lnTo>
                    <a:lnTo>
                      <a:pt x="151"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71" name="Freeform 470">
                <a:extLst>
                  <a:ext uri="{FF2B5EF4-FFF2-40B4-BE49-F238E27FC236}">
                    <a16:creationId xmlns:a16="http://schemas.microsoft.com/office/drawing/2014/main" id="{61DE0372-0F34-45BD-EB05-0850564B7F95}"/>
                  </a:ext>
                </a:extLst>
              </p:cNvPr>
              <p:cNvSpPr>
                <a:spLocks/>
              </p:cNvSpPr>
              <p:nvPr/>
            </p:nvSpPr>
            <p:spPr bwMode="auto">
              <a:xfrm>
                <a:off x="3181350" y="1522413"/>
                <a:ext cx="28575" cy="33338"/>
              </a:xfrm>
              <a:custGeom>
                <a:avLst/>
                <a:gdLst>
                  <a:gd name="T0" fmla="*/ 15 w 90"/>
                  <a:gd name="T1" fmla="*/ 0 h 105"/>
                  <a:gd name="T2" fmla="*/ 11 w 90"/>
                  <a:gd name="T3" fmla="*/ 0 h 105"/>
                  <a:gd name="T4" fmla="*/ 9 w 90"/>
                  <a:gd name="T5" fmla="*/ 1 h 105"/>
                  <a:gd name="T6" fmla="*/ 6 w 90"/>
                  <a:gd name="T7" fmla="*/ 2 h 105"/>
                  <a:gd name="T8" fmla="*/ 4 w 90"/>
                  <a:gd name="T9" fmla="*/ 4 h 105"/>
                  <a:gd name="T10" fmla="*/ 3 w 90"/>
                  <a:gd name="T11" fmla="*/ 7 h 105"/>
                  <a:gd name="T12" fmla="*/ 1 w 90"/>
                  <a:gd name="T13" fmla="*/ 9 h 105"/>
                  <a:gd name="T14" fmla="*/ 0 w 90"/>
                  <a:gd name="T15" fmla="*/ 12 h 105"/>
                  <a:gd name="T16" fmla="*/ 0 w 90"/>
                  <a:gd name="T17" fmla="*/ 15 h 105"/>
                  <a:gd name="T18" fmla="*/ 0 w 90"/>
                  <a:gd name="T19" fmla="*/ 90 h 105"/>
                  <a:gd name="T20" fmla="*/ 0 w 90"/>
                  <a:gd name="T21" fmla="*/ 93 h 105"/>
                  <a:gd name="T22" fmla="*/ 1 w 90"/>
                  <a:gd name="T23" fmla="*/ 96 h 105"/>
                  <a:gd name="T24" fmla="*/ 3 w 90"/>
                  <a:gd name="T25" fmla="*/ 99 h 105"/>
                  <a:gd name="T26" fmla="*/ 4 w 90"/>
                  <a:gd name="T27" fmla="*/ 101 h 105"/>
                  <a:gd name="T28" fmla="*/ 6 w 90"/>
                  <a:gd name="T29" fmla="*/ 102 h 105"/>
                  <a:gd name="T30" fmla="*/ 9 w 90"/>
                  <a:gd name="T31" fmla="*/ 104 h 105"/>
                  <a:gd name="T32" fmla="*/ 11 w 90"/>
                  <a:gd name="T33" fmla="*/ 105 h 105"/>
                  <a:gd name="T34" fmla="*/ 15 w 90"/>
                  <a:gd name="T35" fmla="*/ 105 h 105"/>
                  <a:gd name="T36" fmla="*/ 75 w 90"/>
                  <a:gd name="T37" fmla="*/ 105 h 105"/>
                  <a:gd name="T38" fmla="*/ 90 w 90"/>
                  <a:gd name="T39" fmla="*/ 105 h 105"/>
                  <a:gd name="T40" fmla="*/ 90 w 90"/>
                  <a:gd name="T41" fmla="*/ 0 h 105"/>
                  <a:gd name="T42" fmla="*/ 75 w 90"/>
                  <a:gd name="T43" fmla="*/ 0 h 105"/>
                  <a:gd name="T44" fmla="*/ 15 w 90"/>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105">
                    <a:moveTo>
                      <a:pt x="15" y="0"/>
                    </a:moveTo>
                    <a:lnTo>
                      <a:pt x="11" y="0"/>
                    </a:lnTo>
                    <a:lnTo>
                      <a:pt x="9" y="1"/>
                    </a:lnTo>
                    <a:lnTo>
                      <a:pt x="6" y="2"/>
                    </a:lnTo>
                    <a:lnTo>
                      <a:pt x="4" y="4"/>
                    </a:lnTo>
                    <a:lnTo>
                      <a:pt x="3" y="7"/>
                    </a:lnTo>
                    <a:lnTo>
                      <a:pt x="1" y="9"/>
                    </a:lnTo>
                    <a:lnTo>
                      <a:pt x="0" y="12"/>
                    </a:lnTo>
                    <a:lnTo>
                      <a:pt x="0" y="15"/>
                    </a:lnTo>
                    <a:lnTo>
                      <a:pt x="0" y="90"/>
                    </a:lnTo>
                    <a:lnTo>
                      <a:pt x="0" y="93"/>
                    </a:lnTo>
                    <a:lnTo>
                      <a:pt x="1" y="96"/>
                    </a:lnTo>
                    <a:lnTo>
                      <a:pt x="3" y="99"/>
                    </a:lnTo>
                    <a:lnTo>
                      <a:pt x="4" y="101"/>
                    </a:lnTo>
                    <a:lnTo>
                      <a:pt x="6" y="102"/>
                    </a:lnTo>
                    <a:lnTo>
                      <a:pt x="9" y="104"/>
                    </a:lnTo>
                    <a:lnTo>
                      <a:pt x="11" y="105"/>
                    </a:lnTo>
                    <a:lnTo>
                      <a:pt x="15" y="105"/>
                    </a:lnTo>
                    <a:lnTo>
                      <a:pt x="75" y="105"/>
                    </a:lnTo>
                    <a:lnTo>
                      <a:pt x="90" y="105"/>
                    </a:lnTo>
                    <a:lnTo>
                      <a:pt x="90" y="0"/>
                    </a:lnTo>
                    <a:lnTo>
                      <a:pt x="7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72" name="Freeform 471">
                <a:extLst>
                  <a:ext uri="{FF2B5EF4-FFF2-40B4-BE49-F238E27FC236}">
                    <a16:creationId xmlns:a16="http://schemas.microsoft.com/office/drawing/2014/main" id="{7254A8D5-9307-FA03-5D92-0D4EFE72AFF4}"/>
                  </a:ext>
                </a:extLst>
              </p:cNvPr>
              <p:cNvSpPr>
                <a:spLocks/>
              </p:cNvSpPr>
              <p:nvPr/>
            </p:nvSpPr>
            <p:spPr bwMode="auto">
              <a:xfrm>
                <a:off x="3278188" y="1522413"/>
                <a:ext cx="28575" cy="33338"/>
              </a:xfrm>
              <a:custGeom>
                <a:avLst/>
                <a:gdLst>
                  <a:gd name="T0" fmla="*/ 75 w 90"/>
                  <a:gd name="T1" fmla="*/ 0 h 105"/>
                  <a:gd name="T2" fmla="*/ 0 w 90"/>
                  <a:gd name="T3" fmla="*/ 0 h 105"/>
                  <a:gd name="T4" fmla="*/ 0 w 90"/>
                  <a:gd name="T5" fmla="*/ 105 h 105"/>
                  <a:gd name="T6" fmla="*/ 75 w 90"/>
                  <a:gd name="T7" fmla="*/ 105 h 105"/>
                  <a:gd name="T8" fmla="*/ 78 w 90"/>
                  <a:gd name="T9" fmla="*/ 105 h 105"/>
                  <a:gd name="T10" fmla="*/ 80 w 90"/>
                  <a:gd name="T11" fmla="*/ 104 h 105"/>
                  <a:gd name="T12" fmla="*/ 84 w 90"/>
                  <a:gd name="T13" fmla="*/ 102 h 105"/>
                  <a:gd name="T14" fmla="*/ 86 w 90"/>
                  <a:gd name="T15" fmla="*/ 101 h 105"/>
                  <a:gd name="T16" fmla="*/ 88 w 90"/>
                  <a:gd name="T17" fmla="*/ 99 h 105"/>
                  <a:gd name="T18" fmla="*/ 89 w 90"/>
                  <a:gd name="T19" fmla="*/ 96 h 105"/>
                  <a:gd name="T20" fmla="*/ 90 w 90"/>
                  <a:gd name="T21" fmla="*/ 93 h 105"/>
                  <a:gd name="T22" fmla="*/ 90 w 90"/>
                  <a:gd name="T23" fmla="*/ 90 h 105"/>
                  <a:gd name="T24" fmla="*/ 90 w 90"/>
                  <a:gd name="T25" fmla="*/ 15 h 105"/>
                  <a:gd name="T26" fmla="*/ 90 w 90"/>
                  <a:gd name="T27" fmla="*/ 12 h 105"/>
                  <a:gd name="T28" fmla="*/ 89 w 90"/>
                  <a:gd name="T29" fmla="*/ 9 h 105"/>
                  <a:gd name="T30" fmla="*/ 88 w 90"/>
                  <a:gd name="T31" fmla="*/ 7 h 105"/>
                  <a:gd name="T32" fmla="*/ 86 w 90"/>
                  <a:gd name="T33" fmla="*/ 4 h 105"/>
                  <a:gd name="T34" fmla="*/ 84 w 90"/>
                  <a:gd name="T35" fmla="*/ 2 h 105"/>
                  <a:gd name="T36" fmla="*/ 80 w 90"/>
                  <a:gd name="T37" fmla="*/ 1 h 105"/>
                  <a:gd name="T38" fmla="*/ 78 w 90"/>
                  <a:gd name="T39" fmla="*/ 0 h 105"/>
                  <a:gd name="T40" fmla="*/ 75 w 90"/>
                  <a:gd name="T41"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5">
                    <a:moveTo>
                      <a:pt x="75" y="0"/>
                    </a:moveTo>
                    <a:lnTo>
                      <a:pt x="0" y="0"/>
                    </a:lnTo>
                    <a:lnTo>
                      <a:pt x="0" y="105"/>
                    </a:lnTo>
                    <a:lnTo>
                      <a:pt x="75" y="105"/>
                    </a:lnTo>
                    <a:lnTo>
                      <a:pt x="78" y="105"/>
                    </a:lnTo>
                    <a:lnTo>
                      <a:pt x="80" y="104"/>
                    </a:lnTo>
                    <a:lnTo>
                      <a:pt x="84" y="102"/>
                    </a:lnTo>
                    <a:lnTo>
                      <a:pt x="86" y="101"/>
                    </a:lnTo>
                    <a:lnTo>
                      <a:pt x="88" y="99"/>
                    </a:lnTo>
                    <a:lnTo>
                      <a:pt x="89" y="96"/>
                    </a:lnTo>
                    <a:lnTo>
                      <a:pt x="90" y="93"/>
                    </a:lnTo>
                    <a:lnTo>
                      <a:pt x="90" y="90"/>
                    </a:lnTo>
                    <a:lnTo>
                      <a:pt x="90" y="15"/>
                    </a:lnTo>
                    <a:lnTo>
                      <a:pt x="90" y="12"/>
                    </a:lnTo>
                    <a:lnTo>
                      <a:pt x="89" y="9"/>
                    </a:lnTo>
                    <a:lnTo>
                      <a:pt x="88" y="7"/>
                    </a:lnTo>
                    <a:lnTo>
                      <a:pt x="86" y="4"/>
                    </a:lnTo>
                    <a:lnTo>
                      <a:pt x="84" y="2"/>
                    </a:lnTo>
                    <a:lnTo>
                      <a:pt x="80" y="1"/>
                    </a:lnTo>
                    <a:lnTo>
                      <a:pt x="78"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73" name="Freeform 472">
                <a:extLst>
                  <a:ext uri="{FF2B5EF4-FFF2-40B4-BE49-F238E27FC236}">
                    <a16:creationId xmlns:a16="http://schemas.microsoft.com/office/drawing/2014/main" id="{C42D01A1-AFCD-213D-8773-5E9FE8071C87}"/>
                  </a:ext>
                </a:extLst>
              </p:cNvPr>
              <p:cNvSpPr>
                <a:spLocks/>
              </p:cNvSpPr>
              <p:nvPr/>
            </p:nvSpPr>
            <p:spPr bwMode="auto">
              <a:xfrm>
                <a:off x="3190875" y="1446213"/>
                <a:ext cx="28575" cy="33338"/>
              </a:xfrm>
              <a:custGeom>
                <a:avLst/>
                <a:gdLst>
                  <a:gd name="T0" fmla="*/ 90 w 90"/>
                  <a:gd name="T1" fmla="*/ 0 h 105"/>
                  <a:gd name="T2" fmla="*/ 15 w 90"/>
                  <a:gd name="T3" fmla="*/ 0 h 105"/>
                  <a:gd name="T4" fmla="*/ 11 w 90"/>
                  <a:gd name="T5" fmla="*/ 0 h 105"/>
                  <a:gd name="T6" fmla="*/ 9 w 90"/>
                  <a:gd name="T7" fmla="*/ 1 h 105"/>
                  <a:gd name="T8" fmla="*/ 6 w 90"/>
                  <a:gd name="T9" fmla="*/ 2 h 105"/>
                  <a:gd name="T10" fmla="*/ 4 w 90"/>
                  <a:gd name="T11" fmla="*/ 4 h 105"/>
                  <a:gd name="T12" fmla="*/ 3 w 90"/>
                  <a:gd name="T13" fmla="*/ 6 h 105"/>
                  <a:gd name="T14" fmla="*/ 1 w 90"/>
                  <a:gd name="T15" fmla="*/ 9 h 105"/>
                  <a:gd name="T16" fmla="*/ 0 w 90"/>
                  <a:gd name="T17" fmla="*/ 12 h 105"/>
                  <a:gd name="T18" fmla="*/ 0 w 90"/>
                  <a:gd name="T19" fmla="*/ 15 h 105"/>
                  <a:gd name="T20" fmla="*/ 0 w 90"/>
                  <a:gd name="T21" fmla="*/ 90 h 105"/>
                  <a:gd name="T22" fmla="*/ 0 w 90"/>
                  <a:gd name="T23" fmla="*/ 93 h 105"/>
                  <a:gd name="T24" fmla="*/ 1 w 90"/>
                  <a:gd name="T25" fmla="*/ 96 h 105"/>
                  <a:gd name="T26" fmla="*/ 3 w 90"/>
                  <a:gd name="T27" fmla="*/ 99 h 105"/>
                  <a:gd name="T28" fmla="*/ 4 w 90"/>
                  <a:gd name="T29" fmla="*/ 101 h 105"/>
                  <a:gd name="T30" fmla="*/ 6 w 90"/>
                  <a:gd name="T31" fmla="*/ 103 h 105"/>
                  <a:gd name="T32" fmla="*/ 9 w 90"/>
                  <a:gd name="T33" fmla="*/ 104 h 105"/>
                  <a:gd name="T34" fmla="*/ 11 w 90"/>
                  <a:gd name="T35" fmla="*/ 105 h 105"/>
                  <a:gd name="T36" fmla="*/ 15 w 90"/>
                  <a:gd name="T37" fmla="*/ 105 h 105"/>
                  <a:gd name="T38" fmla="*/ 45 w 90"/>
                  <a:gd name="T39" fmla="*/ 105 h 105"/>
                  <a:gd name="T40" fmla="*/ 90 w 90"/>
                  <a:gd name="T41" fmla="*/ 105 h 105"/>
                  <a:gd name="T42" fmla="*/ 90 w 90"/>
                  <a:gd name="T4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 h="105">
                    <a:moveTo>
                      <a:pt x="90" y="0"/>
                    </a:moveTo>
                    <a:lnTo>
                      <a:pt x="15" y="0"/>
                    </a:lnTo>
                    <a:lnTo>
                      <a:pt x="11" y="0"/>
                    </a:lnTo>
                    <a:lnTo>
                      <a:pt x="9" y="1"/>
                    </a:lnTo>
                    <a:lnTo>
                      <a:pt x="6" y="2"/>
                    </a:lnTo>
                    <a:lnTo>
                      <a:pt x="4" y="4"/>
                    </a:lnTo>
                    <a:lnTo>
                      <a:pt x="3" y="6"/>
                    </a:lnTo>
                    <a:lnTo>
                      <a:pt x="1" y="9"/>
                    </a:lnTo>
                    <a:lnTo>
                      <a:pt x="0" y="12"/>
                    </a:lnTo>
                    <a:lnTo>
                      <a:pt x="0" y="15"/>
                    </a:lnTo>
                    <a:lnTo>
                      <a:pt x="0" y="90"/>
                    </a:lnTo>
                    <a:lnTo>
                      <a:pt x="0" y="93"/>
                    </a:lnTo>
                    <a:lnTo>
                      <a:pt x="1" y="96"/>
                    </a:lnTo>
                    <a:lnTo>
                      <a:pt x="3" y="99"/>
                    </a:lnTo>
                    <a:lnTo>
                      <a:pt x="4" y="101"/>
                    </a:lnTo>
                    <a:lnTo>
                      <a:pt x="6" y="103"/>
                    </a:lnTo>
                    <a:lnTo>
                      <a:pt x="9" y="104"/>
                    </a:lnTo>
                    <a:lnTo>
                      <a:pt x="11" y="105"/>
                    </a:lnTo>
                    <a:lnTo>
                      <a:pt x="15" y="105"/>
                    </a:lnTo>
                    <a:lnTo>
                      <a:pt x="45" y="105"/>
                    </a:lnTo>
                    <a:lnTo>
                      <a:pt x="90" y="105"/>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74" name="Freeform 473">
                <a:extLst>
                  <a:ext uri="{FF2B5EF4-FFF2-40B4-BE49-F238E27FC236}">
                    <a16:creationId xmlns:a16="http://schemas.microsoft.com/office/drawing/2014/main" id="{36C78840-1491-75E6-90D6-09BB01EB9481}"/>
                  </a:ext>
                </a:extLst>
              </p:cNvPr>
              <p:cNvSpPr>
                <a:spLocks/>
              </p:cNvSpPr>
              <p:nvPr/>
            </p:nvSpPr>
            <p:spPr bwMode="auto">
              <a:xfrm>
                <a:off x="3228975" y="1446213"/>
                <a:ext cx="49213" cy="33338"/>
              </a:xfrm>
              <a:custGeom>
                <a:avLst/>
                <a:gdLst>
                  <a:gd name="T0" fmla="*/ 151 w 151"/>
                  <a:gd name="T1" fmla="*/ 0 h 105"/>
                  <a:gd name="T2" fmla="*/ 46 w 151"/>
                  <a:gd name="T3" fmla="*/ 0 h 105"/>
                  <a:gd name="T4" fmla="*/ 0 w 151"/>
                  <a:gd name="T5" fmla="*/ 0 h 105"/>
                  <a:gd name="T6" fmla="*/ 0 w 151"/>
                  <a:gd name="T7" fmla="*/ 105 h 105"/>
                  <a:gd name="T8" fmla="*/ 106 w 151"/>
                  <a:gd name="T9" fmla="*/ 105 h 105"/>
                  <a:gd name="T10" fmla="*/ 151 w 151"/>
                  <a:gd name="T11" fmla="*/ 105 h 105"/>
                  <a:gd name="T12" fmla="*/ 151 w 151"/>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151" h="105">
                    <a:moveTo>
                      <a:pt x="151" y="0"/>
                    </a:moveTo>
                    <a:lnTo>
                      <a:pt x="46" y="0"/>
                    </a:lnTo>
                    <a:lnTo>
                      <a:pt x="0" y="0"/>
                    </a:lnTo>
                    <a:lnTo>
                      <a:pt x="0" y="105"/>
                    </a:lnTo>
                    <a:lnTo>
                      <a:pt x="106" y="105"/>
                    </a:lnTo>
                    <a:lnTo>
                      <a:pt x="151" y="105"/>
                    </a:lnTo>
                    <a:lnTo>
                      <a:pt x="1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75" name="Freeform 474">
                <a:extLst>
                  <a:ext uri="{FF2B5EF4-FFF2-40B4-BE49-F238E27FC236}">
                    <a16:creationId xmlns:a16="http://schemas.microsoft.com/office/drawing/2014/main" id="{49507C05-3864-E1BE-7959-0F28589EFE8E}"/>
                  </a:ext>
                </a:extLst>
              </p:cNvPr>
              <p:cNvSpPr>
                <a:spLocks/>
              </p:cNvSpPr>
              <p:nvPr/>
            </p:nvSpPr>
            <p:spPr bwMode="auto">
              <a:xfrm>
                <a:off x="3287713" y="1446213"/>
                <a:ext cx="28575" cy="33338"/>
              </a:xfrm>
              <a:custGeom>
                <a:avLst/>
                <a:gdLst>
                  <a:gd name="T0" fmla="*/ 90 w 90"/>
                  <a:gd name="T1" fmla="*/ 15 h 105"/>
                  <a:gd name="T2" fmla="*/ 90 w 90"/>
                  <a:gd name="T3" fmla="*/ 12 h 105"/>
                  <a:gd name="T4" fmla="*/ 89 w 90"/>
                  <a:gd name="T5" fmla="*/ 9 h 105"/>
                  <a:gd name="T6" fmla="*/ 88 w 90"/>
                  <a:gd name="T7" fmla="*/ 6 h 105"/>
                  <a:gd name="T8" fmla="*/ 86 w 90"/>
                  <a:gd name="T9" fmla="*/ 4 h 105"/>
                  <a:gd name="T10" fmla="*/ 84 w 90"/>
                  <a:gd name="T11" fmla="*/ 2 h 105"/>
                  <a:gd name="T12" fmla="*/ 81 w 90"/>
                  <a:gd name="T13" fmla="*/ 1 h 105"/>
                  <a:gd name="T14" fmla="*/ 78 w 90"/>
                  <a:gd name="T15" fmla="*/ 0 h 105"/>
                  <a:gd name="T16" fmla="*/ 75 w 90"/>
                  <a:gd name="T17" fmla="*/ 0 h 105"/>
                  <a:gd name="T18" fmla="*/ 45 w 90"/>
                  <a:gd name="T19" fmla="*/ 0 h 105"/>
                  <a:gd name="T20" fmla="*/ 0 w 90"/>
                  <a:gd name="T21" fmla="*/ 0 h 105"/>
                  <a:gd name="T22" fmla="*/ 0 w 90"/>
                  <a:gd name="T23" fmla="*/ 105 h 105"/>
                  <a:gd name="T24" fmla="*/ 75 w 90"/>
                  <a:gd name="T25" fmla="*/ 105 h 105"/>
                  <a:gd name="T26" fmla="*/ 78 w 90"/>
                  <a:gd name="T27" fmla="*/ 105 h 105"/>
                  <a:gd name="T28" fmla="*/ 81 w 90"/>
                  <a:gd name="T29" fmla="*/ 104 h 105"/>
                  <a:gd name="T30" fmla="*/ 84 w 90"/>
                  <a:gd name="T31" fmla="*/ 103 h 105"/>
                  <a:gd name="T32" fmla="*/ 86 w 90"/>
                  <a:gd name="T33" fmla="*/ 101 h 105"/>
                  <a:gd name="T34" fmla="*/ 88 w 90"/>
                  <a:gd name="T35" fmla="*/ 99 h 105"/>
                  <a:gd name="T36" fmla="*/ 89 w 90"/>
                  <a:gd name="T37" fmla="*/ 96 h 105"/>
                  <a:gd name="T38" fmla="*/ 90 w 90"/>
                  <a:gd name="T39" fmla="*/ 93 h 105"/>
                  <a:gd name="T40" fmla="*/ 90 w 90"/>
                  <a:gd name="T41" fmla="*/ 90 h 105"/>
                  <a:gd name="T42" fmla="*/ 90 w 90"/>
                  <a:gd name="T43" fmla="*/ 1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 h="105">
                    <a:moveTo>
                      <a:pt x="90" y="15"/>
                    </a:moveTo>
                    <a:lnTo>
                      <a:pt x="90" y="12"/>
                    </a:lnTo>
                    <a:lnTo>
                      <a:pt x="89" y="9"/>
                    </a:lnTo>
                    <a:lnTo>
                      <a:pt x="88" y="6"/>
                    </a:lnTo>
                    <a:lnTo>
                      <a:pt x="86" y="4"/>
                    </a:lnTo>
                    <a:lnTo>
                      <a:pt x="84" y="2"/>
                    </a:lnTo>
                    <a:lnTo>
                      <a:pt x="81" y="1"/>
                    </a:lnTo>
                    <a:lnTo>
                      <a:pt x="78" y="0"/>
                    </a:lnTo>
                    <a:lnTo>
                      <a:pt x="75" y="0"/>
                    </a:lnTo>
                    <a:lnTo>
                      <a:pt x="45" y="0"/>
                    </a:lnTo>
                    <a:lnTo>
                      <a:pt x="0" y="0"/>
                    </a:lnTo>
                    <a:lnTo>
                      <a:pt x="0" y="105"/>
                    </a:lnTo>
                    <a:lnTo>
                      <a:pt x="75" y="105"/>
                    </a:lnTo>
                    <a:lnTo>
                      <a:pt x="78" y="105"/>
                    </a:lnTo>
                    <a:lnTo>
                      <a:pt x="81" y="104"/>
                    </a:lnTo>
                    <a:lnTo>
                      <a:pt x="84" y="103"/>
                    </a:lnTo>
                    <a:lnTo>
                      <a:pt x="86" y="101"/>
                    </a:lnTo>
                    <a:lnTo>
                      <a:pt x="88" y="99"/>
                    </a:lnTo>
                    <a:lnTo>
                      <a:pt x="89" y="96"/>
                    </a:lnTo>
                    <a:lnTo>
                      <a:pt x="90" y="93"/>
                    </a:lnTo>
                    <a:lnTo>
                      <a:pt x="90" y="90"/>
                    </a:lnTo>
                    <a:lnTo>
                      <a:pt x="9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76" name="Freeform 475">
                <a:extLst>
                  <a:ext uri="{FF2B5EF4-FFF2-40B4-BE49-F238E27FC236}">
                    <a16:creationId xmlns:a16="http://schemas.microsoft.com/office/drawing/2014/main" id="{8F1DDFA5-2AEC-FD50-6C19-5CA9BB2D93B8}"/>
                  </a:ext>
                </a:extLst>
              </p:cNvPr>
              <p:cNvSpPr>
                <a:spLocks/>
              </p:cNvSpPr>
              <p:nvPr/>
            </p:nvSpPr>
            <p:spPr bwMode="auto">
              <a:xfrm>
                <a:off x="3209925" y="1408113"/>
                <a:ext cx="30163" cy="33338"/>
              </a:xfrm>
              <a:custGeom>
                <a:avLst/>
                <a:gdLst>
                  <a:gd name="T0" fmla="*/ 0 w 91"/>
                  <a:gd name="T1" fmla="*/ 90 h 105"/>
                  <a:gd name="T2" fmla="*/ 1 w 91"/>
                  <a:gd name="T3" fmla="*/ 93 h 105"/>
                  <a:gd name="T4" fmla="*/ 1 w 91"/>
                  <a:gd name="T5" fmla="*/ 95 h 105"/>
                  <a:gd name="T6" fmla="*/ 3 w 91"/>
                  <a:gd name="T7" fmla="*/ 98 h 105"/>
                  <a:gd name="T8" fmla="*/ 4 w 91"/>
                  <a:gd name="T9" fmla="*/ 101 h 105"/>
                  <a:gd name="T10" fmla="*/ 7 w 91"/>
                  <a:gd name="T11" fmla="*/ 103 h 105"/>
                  <a:gd name="T12" fmla="*/ 9 w 91"/>
                  <a:gd name="T13" fmla="*/ 104 h 105"/>
                  <a:gd name="T14" fmla="*/ 13 w 91"/>
                  <a:gd name="T15" fmla="*/ 105 h 105"/>
                  <a:gd name="T16" fmla="*/ 15 w 91"/>
                  <a:gd name="T17" fmla="*/ 105 h 105"/>
                  <a:gd name="T18" fmla="*/ 45 w 91"/>
                  <a:gd name="T19" fmla="*/ 105 h 105"/>
                  <a:gd name="T20" fmla="*/ 91 w 91"/>
                  <a:gd name="T21" fmla="*/ 105 h 105"/>
                  <a:gd name="T22" fmla="*/ 91 w 91"/>
                  <a:gd name="T23" fmla="*/ 0 h 105"/>
                  <a:gd name="T24" fmla="*/ 15 w 91"/>
                  <a:gd name="T25" fmla="*/ 0 h 105"/>
                  <a:gd name="T26" fmla="*/ 13 w 91"/>
                  <a:gd name="T27" fmla="*/ 0 h 105"/>
                  <a:gd name="T28" fmla="*/ 9 w 91"/>
                  <a:gd name="T29" fmla="*/ 1 h 105"/>
                  <a:gd name="T30" fmla="*/ 7 w 91"/>
                  <a:gd name="T31" fmla="*/ 2 h 105"/>
                  <a:gd name="T32" fmla="*/ 4 w 91"/>
                  <a:gd name="T33" fmla="*/ 4 h 105"/>
                  <a:gd name="T34" fmla="*/ 3 w 91"/>
                  <a:gd name="T35" fmla="*/ 6 h 105"/>
                  <a:gd name="T36" fmla="*/ 1 w 91"/>
                  <a:gd name="T37" fmla="*/ 8 h 105"/>
                  <a:gd name="T38" fmla="*/ 1 w 91"/>
                  <a:gd name="T39" fmla="*/ 11 h 105"/>
                  <a:gd name="T40" fmla="*/ 0 w 91"/>
                  <a:gd name="T41" fmla="*/ 15 h 105"/>
                  <a:gd name="T42" fmla="*/ 0 w 91"/>
                  <a:gd name="T43" fmla="*/ 9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1" h="105">
                    <a:moveTo>
                      <a:pt x="0" y="90"/>
                    </a:moveTo>
                    <a:lnTo>
                      <a:pt x="1" y="93"/>
                    </a:lnTo>
                    <a:lnTo>
                      <a:pt x="1" y="95"/>
                    </a:lnTo>
                    <a:lnTo>
                      <a:pt x="3" y="98"/>
                    </a:lnTo>
                    <a:lnTo>
                      <a:pt x="4" y="101"/>
                    </a:lnTo>
                    <a:lnTo>
                      <a:pt x="7" y="103"/>
                    </a:lnTo>
                    <a:lnTo>
                      <a:pt x="9" y="104"/>
                    </a:lnTo>
                    <a:lnTo>
                      <a:pt x="13" y="105"/>
                    </a:lnTo>
                    <a:lnTo>
                      <a:pt x="15" y="105"/>
                    </a:lnTo>
                    <a:lnTo>
                      <a:pt x="45" y="105"/>
                    </a:lnTo>
                    <a:lnTo>
                      <a:pt x="91" y="105"/>
                    </a:lnTo>
                    <a:lnTo>
                      <a:pt x="91" y="0"/>
                    </a:lnTo>
                    <a:lnTo>
                      <a:pt x="15" y="0"/>
                    </a:lnTo>
                    <a:lnTo>
                      <a:pt x="13" y="0"/>
                    </a:lnTo>
                    <a:lnTo>
                      <a:pt x="9" y="1"/>
                    </a:lnTo>
                    <a:lnTo>
                      <a:pt x="7" y="2"/>
                    </a:lnTo>
                    <a:lnTo>
                      <a:pt x="4" y="4"/>
                    </a:lnTo>
                    <a:lnTo>
                      <a:pt x="3" y="6"/>
                    </a:lnTo>
                    <a:lnTo>
                      <a:pt x="1" y="8"/>
                    </a:lnTo>
                    <a:lnTo>
                      <a:pt x="1" y="11"/>
                    </a:lnTo>
                    <a:lnTo>
                      <a:pt x="0" y="15"/>
                    </a:lnTo>
                    <a:lnTo>
                      <a:pt x="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77" name="Freeform 476">
                <a:extLst>
                  <a:ext uri="{FF2B5EF4-FFF2-40B4-BE49-F238E27FC236}">
                    <a16:creationId xmlns:a16="http://schemas.microsoft.com/office/drawing/2014/main" id="{680CC7E5-A86B-4B29-E6F0-F2D50CF49CC5}"/>
                  </a:ext>
                </a:extLst>
              </p:cNvPr>
              <p:cNvSpPr>
                <a:spLocks/>
              </p:cNvSpPr>
              <p:nvPr/>
            </p:nvSpPr>
            <p:spPr bwMode="auto">
              <a:xfrm>
                <a:off x="3249613" y="1408113"/>
                <a:ext cx="47625" cy="33338"/>
              </a:xfrm>
              <a:custGeom>
                <a:avLst/>
                <a:gdLst>
                  <a:gd name="T0" fmla="*/ 0 w 150"/>
                  <a:gd name="T1" fmla="*/ 105 h 105"/>
                  <a:gd name="T2" fmla="*/ 105 w 150"/>
                  <a:gd name="T3" fmla="*/ 105 h 105"/>
                  <a:gd name="T4" fmla="*/ 150 w 150"/>
                  <a:gd name="T5" fmla="*/ 105 h 105"/>
                  <a:gd name="T6" fmla="*/ 150 w 150"/>
                  <a:gd name="T7" fmla="*/ 0 h 105"/>
                  <a:gd name="T8" fmla="*/ 75 w 150"/>
                  <a:gd name="T9" fmla="*/ 0 h 105"/>
                  <a:gd name="T10" fmla="*/ 0 w 150"/>
                  <a:gd name="T11" fmla="*/ 0 h 105"/>
                  <a:gd name="T12" fmla="*/ 0 w 150"/>
                  <a:gd name="T13" fmla="*/ 105 h 105"/>
                </a:gdLst>
                <a:ahLst/>
                <a:cxnLst>
                  <a:cxn ang="0">
                    <a:pos x="T0" y="T1"/>
                  </a:cxn>
                  <a:cxn ang="0">
                    <a:pos x="T2" y="T3"/>
                  </a:cxn>
                  <a:cxn ang="0">
                    <a:pos x="T4" y="T5"/>
                  </a:cxn>
                  <a:cxn ang="0">
                    <a:pos x="T6" y="T7"/>
                  </a:cxn>
                  <a:cxn ang="0">
                    <a:pos x="T8" y="T9"/>
                  </a:cxn>
                  <a:cxn ang="0">
                    <a:pos x="T10" y="T11"/>
                  </a:cxn>
                  <a:cxn ang="0">
                    <a:pos x="T12" y="T13"/>
                  </a:cxn>
                </a:cxnLst>
                <a:rect l="0" t="0" r="r" b="b"/>
                <a:pathLst>
                  <a:path w="150" h="105">
                    <a:moveTo>
                      <a:pt x="0" y="105"/>
                    </a:moveTo>
                    <a:lnTo>
                      <a:pt x="105" y="105"/>
                    </a:lnTo>
                    <a:lnTo>
                      <a:pt x="150" y="105"/>
                    </a:lnTo>
                    <a:lnTo>
                      <a:pt x="150" y="0"/>
                    </a:lnTo>
                    <a:lnTo>
                      <a:pt x="75" y="0"/>
                    </a:lnTo>
                    <a:lnTo>
                      <a:pt x="0" y="0"/>
                    </a:lnTo>
                    <a:lnTo>
                      <a:pt x="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78" name="Freeform 478">
                <a:extLst>
                  <a:ext uri="{FF2B5EF4-FFF2-40B4-BE49-F238E27FC236}">
                    <a16:creationId xmlns:a16="http://schemas.microsoft.com/office/drawing/2014/main" id="{95C141BC-CFC1-362E-C0D7-E5EA884D5C94}"/>
                  </a:ext>
                </a:extLst>
              </p:cNvPr>
              <p:cNvSpPr>
                <a:spLocks/>
              </p:cNvSpPr>
              <p:nvPr/>
            </p:nvSpPr>
            <p:spPr bwMode="auto">
              <a:xfrm>
                <a:off x="3306763" y="1408113"/>
                <a:ext cx="28575" cy="33338"/>
              </a:xfrm>
              <a:custGeom>
                <a:avLst/>
                <a:gdLst>
                  <a:gd name="T0" fmla="*/ 0 w 90"/>
                  <a:gd name="T1" fmla="*/ 105 h 105"/>
                  <a:gd name="T2" fmla="*/ 75 w 90"/>
                  <a:gd name="T3" fmla="*/ 105 h 105"/>
                  <a:gd name="T4" fmla="*/ 78 w 90"/>
                  <a:gd name="T5" fmla="*/ 105 h 105"/>
                  <a:gd name="T6" fmla="*/ 82 w 90"/>
                  <a:gd name="T7" fmla="*/ 104 h 105"/>
                  <a:gd name="T8" fmla="*/ 84 w 90"/>
                  <a:gd name="T9" fmla="*/ 103 h 105"/>
                  <a:gd name="T10" fmla="*/ 86 w 90"/>
                  <a:gd name="T11" fmla="*/ 101 h 105"/>
                  <a:gd name="T12" fmla="*/ 88 w 90"/>
                  <a:gd name="T13" fmla="*/ 98 h 105"/>
                  <a:gd name="T14" fmla="*/ 89 w 90"/>
                  <a:gd name="T15" fmla="*/ 95 h 105"/>
                  <a:gd name="T16" fmla="*/ 90 w 90"/>
                  <a:gd name="T17" fmla="*/ 93 h 105"/>
                  <a:gd name="T18" fmla="*/ 90 w 90"/>
                  <a:gd name="T19" fmla="*/ 90 h 105"/>
                  <a:gd name="T20" fmla="*/ 90 w 90"/>
                  <a:gd name="T21" fmla="*/ 15 h 105"/>
                  <a:gd name="T22" fmla="*/ 90 w 90"/>
                  <a:gd name="T23" fmla="*/ 11 h 105"/>
                  <a:gd name="T24" fmla="*/ 89 w 90"/>
                  <a:gd name="T25" fmla="*/ 8 h 105"/>
                  <a:gd name="T26" fmla="*/ 88 w 90"/>
                  <a:gd name="T27" fmla="*/ 6 h 105"/>
                  <a:gd name="T28" fmla="*/ 86 w 90"/>
                  <a:gd name="T29" fmla="*/ 4 h 105"/>
                  <a:gd name="T30" fmla="*/ 84 w 90"/>
                  <a:gd name="T31" fmla="*/ 2 h 105"/>
                  <a:gd name="T32" fmla="*/ 82 w 90"/>
                  <a:gd name="T33" fmla="*/ 1 h 105"/>
                  <a:gd name="T34" fmla="*/ 78 w 90"/>
                  <a:gd name="T35" fmla="*/ 0 h 105"/>
                  <a:gd name="T36" fmla="*/ 75 w 90"/>
                  <a:gd name="T37" fmla="*/ 0 h 105"/>
                  <a:gd name="T38" fmla="*/ 0 w 90"/>
                  <a:gd name="T39" fmla="*/ 0 h 105"/>
                  <a:gd name="T40" fmla="*/ 0 w 90"/>
                  <a:gd name="T41"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5">
                    <a:moveTo>
                      <a:pt x="0" y="105"/>
                    </a:moveTo>
                    <a:lnTo>
                      <a:pt x="75" y="105"/>
                    </a:lnTo>
                    <a:lnTo>
                      <a:pt x="78" y="105"/>
                    </a:lnTo>
                    <a:lnTo>
                      <a:pt x="82" y="104"/>
                    </a:lnTo>
                    <a:lnTo>
                      <a:pt x="84" y="103"/>
                    </a:lnTo>
                    <a:lnTo>
                      <a:pt x="86" y="101"/>
                    </a:lnTo>
                    <a:lnTo>
                      <a:pt x="88" y="98"/>
                    </a:lnTo>
                    <a:lnTo>
                      <a:pt x="89" y="95"/>
                    </a:lnTo>
                    <a:lnTo>
                      <a:pt x="90" y="93"/>
                    </a:lnTo>
                    <a:lnTo>
                      <a:pt x="90" y="90"/>
                    </a:lnTo>
                    <a:lnTo>
                      <a:pt x="90" y="15"/>
                    </a:lnTo>
                    <a:lnTo>
                      <a:pt x="90" y="11"/>
                    </a:lnTo>
                    <a:lnTo>
                      <a:pt x="89" y="8"/>
                    </a:lnTo>
                    <a:lnTo>
                      <a:pt x="88" y="6"/>
                    </a:lnTo>
                    <a:lnTo>
                      <a:pt x="86" y="4"/>
                    </a:lnTo>
                    <a:lnTo>
                      <a:pt x="84" y="2"/>
                    </a:lnTo>
                    <a:lnTo>
                      <a:pt x="82" y="1"/>
                    </a:lnTo>
                    <a:lnTo>
                      <a:pt x="78" y="0"/>
                    </a:lnTo>
                    <a:lnTo>
                      <a:pt x="75" y="0"/>
                    </a:lnTo>
                    <a:lnTo>
                      <a:pt x="0" y="0"/>
                    </a:lnTo>
                    <a:lnTo>
                      <a:pt x="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79" name="Freeform 479">
                <a:extLst>
                  <a:ext uri="{FF2B5EF4-FFF2-40B4-BE49-F238E27FC236}">
                    <a16:creationId xmlns:a16="http://schemas.microsoft.com/office/drawing/2014/main" id="{DF8E2913-61B6-265A-FCD0-C164D6E842A7}"/>
                  </a:ext>
                </a:extLst>
              </p:cNvPr>
              <p:cNvSpPr>
                <a:spLocks/>
              </p:cNvSpPr>
              <p:nvPr/>
            </p:nvSpPr>
            <p:spPr bwMode="auto">
              <a:xfrm>
                <a:off x="3268663" y="1560513"/>
                <a:ext cx="28575" cy="33338"/>
              </a:xfrm>
              <a:custGeom>
                <a:avLst/>
                <a:gdLst>
                  <a:gd name="T0" fmla="*/ 90 w 90"/>
                  <a:gd name="T1" fmla="*/ 90 h 105"/>
                  <a:gd name="T2" fmla="*/ 90 w 90"/>
                  <a:gd name="T3" fmla="*/ 15 h 105"/>
                  <a:gd name="T4" fmla="*/ 90 w 90"/>
                  <a:gd name="T5" fmla="*/ 12 h 105"/>
                  <a:gd name="T6" fmla="*/ 89 w 90"/>
                  <a:gd name="T7" fmla="*/ 9 h 105"/>
                  <a:gd name="T8" fmla="*/ 88 w 90"/>
                  <a:gd name="T9" fmla="*/ 7 h 105"/>
                  <a:gd name="T10" fmla="*/ 86 w 90"/>
                  <a:gd name="T11" fmla="*/ 5 h 105"/>
                  <a:gd name="T12" fmla="*/ 84 w 90"/>
                  <a:gd name="T13" fmla="*/ 2 h 105"/>
                  <a:gd name="T14" fmla="*/ 80 w 90"/>
                  <a:gd name="T15" fmla="*/ 1 h 105"/>
                  <a:gd name="T16" fmla="*/ 78 w 90"/>
                  <a:gd name="T17" fmla="*/ 0 h 105"/>
                  <a:gd name="T18" fmla="*/ 75 w 90"/>
                  <a:gd name="T19" fmla="*/ 0 h 105"/>
                  <a:gd name="T20" fmla="*/ 15 w 90"/>
                  <a:gd name="T21" fmla="*/ 0 h 105"/>
                  <a:gd name="T22" fmla="*/ 0 w 90"/>
                  <a:gd name="T23" fmla="*/ 0 h 105"/>
                  <a:gd name="T24" fmla="*/ 0 w 90"/>
                  <a:gd name="T25" fmla="*/ 105 h 105"/>
                  <a:gd name="T26" fmla="*/ 15 w 90"/>
                  <a:gd name="T27" fmla="*/ 105 h 105"/>
                  <a:gd name="T28" fmla="*/ 75 w 90"/>
                  <a:gd name="T29" fmla="*/ 105 h 105"/>
                  <a:gd name="T30" fmla="*/ 78 w 90"/>
                  <a:gd name="T31" fmla="*/ 105 h 105"/>
                  <a:gd name="T32" fmla="*/ 80 w 90"/>
                  <a:gd name="T33" fmla="*/ 104 h 105"/>
                  <a:gd name="T34" fmla="*/ 84 w 90"/>
                  <a:gd name="T35" fmla="*/ 103 h 105"/>
                  <a:gd name="T36" fmla="*/ 86 w 90"/>
                  <a:gd name="T37" fmla="*/ 101 h 105"/>
                  <a:gd name="T38" fmla="*/ 88 w 90"/>
                  <a:gd name="T39" fmla="*/ 99 h 105"/>
                  <a:gd name="T40" fmla="*/ 89 w 90"/>
                  <a:gd name="T41" fmla="*/ 97 h 105"/>
                  <a:gd name="T42" fmla="*/ 90 w 90"/>
                  <a:gd name="T43" fmla="*/ 94 h 105"/>
                  <a:gd name="T44" fmla="*/ 90 w 90"/>
                  <a:gd name="T45" fmla="*/ 90 h 105"/>
                  <a:gd name="T46" fmla="*/ 90 w 90"/>
                  <a:gd name="T47" fmla="*/ 9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0" h="105">
                    <a:moveTo>
                      <a:pt x="90" y="90"/>
                    </a:moveTo>
                    <a:lnTo>
                      <a:pt x="90" y="15"/>
                    </a:lnTo>
                    <a:lnTo>
                      <a:pt x="90" y="12"/>
                    </a:lnTo>
                    <a:lnTo>
                      <a:pt x="89" y="9"/>
                    </a:lnTo>
                    <a:lnTo>
                      <a:pt x="88" y="7"/>
                    </a:lnTo>
                    <a:lnTo>
                      <a:pt x="86" y="5"/>
                    </a:lnTo>
                    <a:lnTo>
                      <a:pt x="84" y="2"/>
                    </a:lnTo>
                    <a:lnTo>
                      <a:pt x="80" y="1"/>
                    </a:lnTo>
                    <a:lnTo>
                      <a:pt x="78" y="0"/>
                    </a:lnTo>
                    <a:lnTo>
                      <a:pt x="75" y="0"/>
                    </a:lnTo>
                    <a:lnTo>
                      <a:pt x="15" y="0"/>
                    </a:lnTo>
                    <a:lnTo>
                      <a:pt x="0" y="0"/>
                    </a:lnTo>
                    <a:lnTo>
                      <a:pt x="0" y="105"/>
                    </a:lnTo>
                    <a:lnTo>
                      <a:pt x="15" y="105"/>
                    </a:lnTo>
                    <a:lnTo>
                      <a:pt x="75" y="105"/>
                    </a:lnTo>
                    <a:lnTo>
                      <a:pt x="78" y="105"/>
                    </a:lnTo>
                    <a:lnTo>
                      <a:pt x="80" y="104"/>
                    </a:lnTo>
                    <a:lnTo>
                      <a:pt x="84" y="103"/>
                    </a:lnTo>
                    <a:lnTo>
                      <a:pt x="86" y="101"/>
                    </a:lnTo>
                    <a:lnTo>
                      <a:pt x="88" y="99"/>
                    </a:lnTo>
                    <a:lnTo>
                      <a:pt x="89" y="97"/>
                    </a:lnTo>
                    <a:lnTo>
                      <a:pt x="90" y="94"/>
                    </a:lnTo>
                    <a:lnTo>
                      <a:pt x="90" y="90"/>
                    </a:lnTo>
                    <a:lnTo>
                      <a:pt x="9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80" name="Freeform 480">
                <a:extLst>
                  <a:ext uri="{FF2B5EF4-FFF2-40B4-BE49-F238E27FC236}">
                    <a16:creationId xmlns:a16="http://schemas.microsoft.com/office/drawing/2014/main" id="{8566386D-5C32-0581-9B2B-201A112B5EA1}"/>
                  </a:ext>
                </a:extLst>
              </p:cNvPr>
              <p:cNvSpPr>
                <a:spLocks/>
              </p:cNvSpPr>
              <p:nvPr/>
            </p:nvSpPr>
            <p:spPr bwMode="auto">
              <a:xfrm>
                <a:off x="3209925" y="1560513"/>
                <a:ext cx="49213" cy="33338"/>
              </a:xfrm>
              <a:custGeom>
                <a:avLst/>
                <a:gdLst>
                  <a:gd name="T0" fmla="*/ 151 w 151"/>
                  <a:gd name="T1" fmla="*/ 0 h 105"/>
                  <a:gd name="T2" fmla="*/ 15 w 151"/>
                  <a:gd name="T3" fmla="*/ 0 h 105"/>
                  <a:gd name="T4" fmla="*/ 0 w 151"/>
                  <a:gd name="T5" fmla="*/ 0 h 105"/>
                  <a:gd name="T6" fmla="*/ 0 w 151"/>
                  <a:gd name="T7" fmla="*/ 105 h 105"/>
                  <a:gd name="T8" fmla="*/ 15 w 151"/>
                  <a:gd name="T9" fmla="*/ 105 h 105"/>
                  <a:gd name="T10" fmla="*/ 151 w 151"/>
                  <a:gd name="T11" fmla="*/ 105 h 105"/>
                  <a:gd name="T12" fmla="*/ 151 w 151"/>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151" h="105">
                    <a:moveTo>
                      <a:pt x="151" y="0"/>
                    </a:moveTo>
                    <a:lnTo>
                      <a:pt x="15" y="0"/>
                    </a:lnTo>
                    <a:lnTo>
                      <a:pt x="0" y="0"/>
                    </a:lnTo>
                    <a:lnTo>
                      <a:pt x="0" y="105"/>
                    </a:lnTo>
                    <a:lnTo>
                      <a:pt x="15" y="105"/>
                    </a:lnTo>
                    <a:lnTo>
                      <a:pt x="151" y="105"/>
                    </a:lnTo>
                    <a:lnTo>
                      <a:pt x="1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81" name="Freeform 481">
                <a:extLst>
                  <a:ext uri="{FF2B5EF4-FFF2-40B4-BE49-F238E27FC236}">
                    <a16:creationId xmlns:a16="http://schemas.microsoft.com/office/drawing/2014/main" id="{C583F58C-F80B-99BF-F0EA-79A0ED6557E1}"/>
                  </a:ext>
                </a:extLst>
              </p:cNvPr>
              <p:cNvSpPr>
                <a:spLocks/>
              </p:cNvSpPr>
              <p:nvPr/>
            </p:nvSpPr>
            <p:spPr bwMode="auto">
              <a:xfrm>
                <a:off x="3171825" y="1560513"/>
                <a:ext cx="28575" cy="33338"/>
              </a:xfrm>
              <a:custGeom>
                <a:avLst/>
                <a:gdLst>
                  <a:gd name="T0" fmla="*/ 90 w 90"/>
                  <a:gd name="T1" fmla="*/ 0 h 105"/>
                  <a:gd name="T2" fmla="*/ 15 w 90"/>
                  <a:gd name="T3" fmla="*/ 0 h 105"/>
                  <a:gd name="T4" fmla="*/ 11 w 90"/>
                  <a:gd name="T5" fmla="*/ 0 h 105"/>
                  <a:gd name="T6" fmla="*/ 9 w 90"/>
                  <a:gd name="T7" fmla="*/ 1 h 105"/>
                  <a:gd name="T8" fmla="*/ 6 w 90"/>
                  <a:gd name="T9" fmla="*/ 2 h 105"/>
                  <a:gd name="T10" fmla="*/ 4 w 90"/>
                  <a:gd name="T11" fmla="*/ 5 h 105"/>
                  <a:gd name="T12" fmla="*/ 2 w 90"/>
                  <a:gd name="T13" fmla="*/ 7 h 105"/>
                  <a:gd name="T14" fmla="*/ 1 w 90"/>
                  <a:gd name="T15" fmla="*/ 10 h 105"/>
                  <a:gd name="T16" fmla="*/ 0 w 90"/>
                  <a:gd name="T17" fmla="*/ 12 h 105"/>
                  <a:gd name="T18" fmla="*/ 0 w 90"/>
                  <a:gd name="T19" fmla="*/ 15 h 105"/>
                  <a:gd name="T20" fmla="*/ 0 w 90"/>
                  <a:gd name="T21" fmla="*/ 90 h 105"/>
                  <a:gd name="T22" fmla="*/ 0 w 90"/>
                  <a:gd name="T23" fmla="*/ 94 h 105"/>
                  <a:gd name="T24" fmla="*/ 1 w 90"/>
                  <a:gd name="T25" fmla="*/ 97 h 105"/>
                  <a:gd name="T26" fmla="*/ 2 w 90"/>
                  <a:gd name="T27" fmla="*/ 99 h 105"/>
                  <a:gd name="T28" fmla="*/ 4 w 90"/>
                  <a:gd name="T29" fmla="*/ 101 h 105"/>
                  <a:gd name="T30" fmla="*/ 6 w 90"/>
                  <a:gd name="T31" fmla="*/ 103 h 105"/>
                  <a:gd name="T32" fmla="*/ 9 w 90"/>
                  <a:gd name="T33" fmla="*/ 104 h 105"/>
                  <a:gd name="T34" fmla="*/ 11 w 90"/>
                  <a:gd name="T35" fmla="*/ 105 h 105"/>
                  <a:gd name="T36" fmla="*/ 15 w 90"/>
                  <a:gd name="T37" fmla="*/ 105 h 105"/>
                  <a:gd name="T38" fmla="*/ 90 w 90"/>
                  <a:gd name="T39" fmla="*/ 105 h 105"/>
                  <a:gd name="T40" fmla="*/ 90 w 90"/>
                  <a:gd name="T41"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5">
                    <a:moveTo>
                      <a:pt x="90" y="0"/>
                    </a:moveTo>
                    <a:lnTo>
                      <a:pt x="15" y="0"/>
                    </a:lnTo>
                    <a:lnTo>
                      <a:pt x="11" y="0"/>
                    </a:lnTo>
                    <a:lnTo>
                      <a:pt x="9" y="1"/>
                    </a:lnTo>
                    <a:lnTo>
                      <a:pt x="6" y="2"/>
                    </a:lnTo>
                    <a:lnTo>
                      <a:pt x="4" y="5"/>
                    </a:lnTo>
                    <a:lnTo>
                      <a:pt x="2" y="7"/>
                    </a:lnTo>
                    <a:lnTo>
                      <a:pt x="1" y="10"/>
                    </a:lnTo>
                    <a:lnTo>
                      <a:pt x="0" y="12"/>
                    </a:lnTo>
                    <a:lnTo>
                      <a:pt x="0" y="15"/>
                    </a:lnTo>
                    <a:lnTo>
                      <a:pt x="0" y="90"/>
                    </a:lnTo>
                    <a:lnTo>
                      <a:pt x="0" y="94"/>
                    </a:lnTo>
                    <a:lnTo>
                      <a:pt x="1" y="97"/>
                    </a:lnTo>
                    <a:lnTo>
                      <a:pt x="2" y="99"/>
                    </a:lnTo>
                    <a:lnTo>
                      <a:pt x="4" y="101"/>
                    </a:lnTo>
                    <a:lnTo>
                      <a:pt x="6" y="103"/>
                    </a:lnTo>
                    <a:lnTo>
                      <a:pt x="9" y="104"/>
                    </a:lnTo>
                    <a:lnTo>
                      <a:pt x="11" y="105"/>
                    </a:lnTo>
                    <a:lnTo>
                      <a:pt x="15" y="105"/>
                    </a:lnTo>
                    <a:lnTo>
                      <a:pt x="90" y="105"/>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82" name="Freeform 482">
                <a:extLst>
                  <a:ext uri="{FF2B5EF4-FFF2-40B4-BE49-F238E27FC236}">
                    <a16:creationId xmlns:a16="http://schemas.microsoft.com/office/drawing/2014/main" id="{8D97D53D-4207-EC4E-83AC-C1C64E8593CE}"/>
                  </a:ext>
                </a:extLst>
              </p:cNvPr>
              <p:cNvSpPr>
                <a:spLocks/>
              </p:cNvSpPr>
              <p:nvPr/>
            </p:nvSpPr>
            <p:spPr bwMode="auto">
              <a:xfrm>
                <a:off x="3209925" y="1484313"/>
                <a:ext cx="49213" cy="33338"/>
              </a:xfrm>
              <a:custGeom>
                <a:avLst/>
                <a:gdLst>
                  <a:gd name="T0" fmla="*/ 151 w 151"/>
                  <a:gd name="T1" fmla="*/ 106 h 106"/>
                  <a:gd name="T2" fmla="*/ 151 w 151"/>
                  <a:gd name="T3" fmla="*/ 0 h 106"/>
                  <a:gd name="T4" fmla="*/ 45 w 151"/>
                  <a:gd name="T5" fmla="*/ 0 h 106"/>
                  <a:gd name="T6" fmla="*/ 0 w 151"/>
                  <a:gd name="T7" fmla="*/ 0 h 106"/>
                  <a:gd name="T8" fmla="*/ 0 w 151"/>
                  <a:gd name="T9" fmla="*/ 106 h 106"/>
                  <a:gd name="T10" fmla="*/ 15 w 151"/>
                  <a:gd name="T11" fmla="*/ 106 h 106"/>
                  <a:gd name="T12" fmla="*/ 151 w 151"/>
                  <a:gd name="T13" fmla="*/ 106 h 106"/>
                </a:gdLst>
                <a:ahLst/>
                <a:cxnLst>
                  <a:cxn ang="0">
                    <a:pos x="T0" y="T1"/>
                  </a:cxn>
                  <a:cxn ang="0">
                    <a:pos x="T2" y="T3"/>
                  </a:cxn>
                  <a:cxn ang="0">
                    <a:pos x="T4" y="T5"/>
                  </a:cxn>
                  <a:cxn ang="0">
                    <a:pos x="T6" y="T7"/>
                  </a:cxn>
                  <a:cxn ang="0">
                    <a:pos x="T8" y="T9"/>
                  </a:cxn>
                  <a:cxn ang="0">
                    <a:pos x="T10" y="T11"/>
                  </a:cxn>
                  <a:cxn ang="0">
                    <a:pos x="T12" y="T13"/>
                  </a:cxn>
                </a:cxnLst>
                <a:rect l="0" t="0" r="r" b="b"/>
                <a:pathLst>
                  <a:path w="151" h="106">
                    <a:moveTo>
                      <a:pt x="151" y="106"/>
                    </a:moveTo>
                    <a:lnTo>
                      <a:pt x="151" y="0"/>
                    </a:lnTo>
                    <a:lnTo>
                      <a:pt x="45" y="0"/>
                    </a:lnTo>
                    <a:lnTo>
                      <a:pt x="0" y="0"/>
                    </a:lnTo>
                    <a:lnTo>
                      <a:pt x="0" y="106"/>
                    </a:lnTo>
                    <a:lnTo>
                      <a:pt x="15" y="106"/>
                    </a:lnTo>
                    <a:lnTo>
                      <a:pt x="151"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83" name="Freeform 483">
                <a:extLst>
                  <a:ext uri="{FF2B5EF4-FFF2-40B4-BE49-F238E27FC236}">
                    <a16:creationId xmlns:a16="http://schemas.microsoft.com/office/drawing/2014/main" id="{0638D718-402E-8F21-D8BC-4FDF1CDDDF3C}"/>
                  </a:ext>
                </a:extLst>
              </p:cNvPr>
              <p:cNvSpPr>
                <a:spLocks/>
              </p:cNvSpPr>
              <p:nvPr/>
            </p:nvSpPr>
            <p:spPr bwMode="auto">
              <a:xfrm>
                <a:off x="3268663" y="1484313"/>
                <a:ext cx="28575" cy="33338"/>
              </a:xfrm>
              <a:custGeom>
                <a:avLst/>
                <a:gdLst>
                  <a:gd name="T0" fmla="*/ 75 w 90"/>
                  <a:gd name="T1" fmla="*/ 106 h 106"/>
                  <a:gd name="T2" fmla="*/ 78 w 90"/>
                  <a:gd name="T3" fmla="*/ 105 h 106"/>
                  <a:gd name="T4" fmla="*/ 80 w 90"/>
                  <a:gd name="T5" fmla="*/ 104 h 106"/>
                  <a:gd name="T6" fmla="*/ 84 w 90"/>
                  <a:gd name="T7" fmla="*/ 103 h 106"/>
                  <a:gd name="T8" fmla="*/ 86 w 90"/>
                  <a:gd name="T9" fmla="*/ 101 h 106"/>
                  <a:gd name="T10" fmla="*/ 88 w 90"/>
                  <a:gd name="T11" fmla="*/ 99 h 106"/>
                  <a:gd name="T12" fmla="*/ 89 w 90"/>
                  <a:gd name="T13" fmla="*/ 96 h 106"/>
                  <a:gd name="T14" fmla="*/ 90 w 90"/>
                  <a:gd name="T15" fmla="*/ 93 h 106"/>
                  <a:gd name="T16" fmla="*/ 90 w 90"/>
                  <a:gd name="T17" fmla="*/ 91 h 106"/>
                  <a:gd name="T18" fmla="*/ 90 w 90"/>
                  <a:gd name="T19" fmla="*/ 15 h 106"/>
                  <a:gd name="T20" fmla="*/ 90 w 90"/>
                  <a:gd name="T21" fmla="*/ 13 h 106"/>
                  <a:gd name="T22" fmla="*/ 89 w 90"/>
                  <a:gd name="T23" fmla="*/ 10 h 106"/>
                  <a:gd name="T24" fmla="*/ 88 w 90"/>
                  <a:gd name="T25" fmla="*/ 7 h 106"/>
                  <a:gd name="T26" fmla="*/ 86 w 90"/>
                  <a:gd name="T27" fmla="*/ 4 h 106"/>
                  <a:gd name="T28" fmla="*/ 84 w 90"/>
                  <a:gd name="T29" fmla="*/ 3 h 106"/>
                  <a:gd name="T30" fmla="*/ 80 w 90"/>
                  <a:gd name="T31" fmla="*/ 1 h 106"/>
                  <a:gd name="T32" fmla="*/ 78 w 90"/>
                  <a:gd name="T33" fmla="*/ 1 h 106"/>
                  <a:gd name="T34" fmla="*/ 75 w 90"/>
                  <a:gd name="T35" fmla="*/ 0 h 106"/>
                  <a:gd name="T36" fmla="*/ 45 w 90"/>
                  <a:gd name="T37" fmla="*/ 0 h 106"/>
                  <a:gd name="T38" fmla="*/ 0 w 90"/>
                  <a:gd name="T39" fmla="*/ 0 h 106"/>
                  <a:gd name="T40" fmla="*/ 0 w 90"/>
                  <a:gd name="T41" fmla="*/ 106 h 106"/>
                  <a:gd name="T42" fmla="*/ 15 w 90"/>
                  <a:gd name="T43" fmla="*/ 106 h 106"/>
                  <a:gd name="T44" fmla="*/ 75 w 90"/>
                  <a:gd name="T4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106">
                    <a:moveTo>
                      <a:pt x="75" y="106"/>
                    </a:moveTo>
                    <a:lnTo>
                      <a:pt x="78" y="105"/>
                    </a:lnTo>
                    <a:lnTo>
                      <a:pt x="80" y="104"/>
                    </a:lnTo>
                    <a:lnTo>
                      <a:pt x="84" y="103"/>
                    </a:lnTo>
                    <a:lnTo>
                      <a:pt x="86" y="101"/>
                    </a:lnTo>
                    <a:lnTo>
                      <a:pt x="88" y="99"/>
                    </a:lnTo>
                    <a:lnTo>
                      <a:pt x="89" y="96"/>
                    </a:lnTo>
                    <a:lnTo>
                      <a:pt x="90" y="93"/>
                    </a:lnTo>
                    <a:lnTo>
                      <a:pt x="90" y="91"/>
                    </a:lnTo>
                    <a:lnTo>
                      <a:pt x="90" y="15"/>
                    </a:lnTo>
                    <a:lnTo>
                      <a:pt x="90" y="13"/>
                    </a:lnTo>
                    <a:lnTo>
                      <a:pt x="89" y="10"/>
                    </a:lnTo>
                    <a:lnTo>
                      <a:pt x="88" y="7"/>
                    </a:lnTo>
                    <a:lnTo>
                      <a:pt x="86" y="4"/>
                    </a:lnTo>
                    <a:lnTo>
                      <a:pt x="84" y="3"/>
                    </a:lnTo>
                    <a:lnTo>
                      <a:pt x="80" y="1"/>
                    </a:lnTo>
                    <a:lnTo>
                      <a:pt x="78" y="1"/>
                    </a:lnTo>
                    <a:lnTo>
                      <a:pt x="75" y="0"/>
                    </a:lnTo>
                    <a:lnTo>
                      <a:pt x="45" y="0"/>
                    </a:lnTo>
                    <a:lnTo>
                      <a:pt x="0" y="0"/>
                    </a:lnTo>
                    <a:lnTo>
                      <a:pt x="0" y="106"/>
                    </a:lnTo>
                    <a:lnTo>
                      <a:pt x="15" y="106"/>
                    </a:lnTo>
                    <a:lnTo>
                      <a:pt x="75"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84" name="Freeform 484">
                <a:extLst>
                  <a:ext uri="{FF2B5EF4-FFF2-40B4-BE49-F238E27FC236}">
                    <a16:creationId xmlns:a16="http://schemas.microsoft.com/office/drawing/2014/main" id="{491F1F2B-E3AC-9D79-F34A-60491AB3E62B}"/>
                  </a:ext>
                </a:extLst>
              </p:cNvPr>
              <p:cNvSpPr>
                <a:spLocks/>
              </p:cNvSpPr>
              <p:nvPr/>
            </p:nvSpPr>
            <p:spPr bwMode="auto">
              <a:xfrm>
                <a:off x="3171825" y="1484313"/>
                <a:ext cx="28575" cy="33338"/>
              </a:xfrm>
              <a:custGeom>
                <a:avLst/>
                <a:gdLst>
                  <a:gd name="T0" fmla="*/ 15 w 90"/>
                  <a:gd name="T1" fmla="*/ 106 h 106"/>
                  <a:gd name="T2" fmla="*/ 90 w 90"/>
                  <a:gd name="T3" fmla="*/ 106 h 106"/>
                  <a:gd name="T4" fmla="*/ 90 w 90"/>
                  <a:gd name="T5" fmla="*/ 0 h 106"/>
                  <a:gd name="T6" fmla="*/ 15 w 90"/>
                  <a:gd name="T7" fmla="*/ 0 h 106"/>
                  <a:gd name="T8" fmla="*/ 11 w 90"/>
                  <a:gd name="T9" fmla="*/ 1 h 106"/>
                  <a:gd name="T10" fmla="*/ 9 w 90"/>
                  <a:gd name="T11" fmla="*/ 1 h 106"/>
                  <a:gd name="T12" fmla="*/ 6 w 90"/>
                  <a:gd name="T13" fmla="*/ 3 h 106"/>
                  <a:gd name="T14" fmla="*/ 4 w 90"/>
                  <a:gd name="T15" fmla="*/ 4 h 106"/>
                  <a:gd name="T16" fmla="*/ 2 w 90"/>
                  <a:gd name="T17" fmla="*/ 7 h 106"/>
                  <a:gd name="T18" fmla="*/ 1 w 90"/>
                  <a:gd name="T19" fmla="*/ 10 h 106"/>
                  <a:gd name="T20" fmla="*/ 0 w 90"/>
                  <a:gd name="T21" fmla="*/ 13 h 106"/>
                  <a:gd name="T22" fmla="*/ 0 w 90"/>
                  <a:gd name="T23" fmla="*/ 15 h 106"/>
                  <a:gd name="T24" fmla="*/ 0 w 90"/>
                  <a:gd name="T25" fmla="*/ 90 h 106"/>
                  <a:gd name="T26" fmla="*/ 0 w 90"/>
                  <a:gd name="T27" fmla="*/ 93 h 106"/>
                  <a:gd name="T28" fmla="*/ 1 w 90"/>
                  <a:gd name="T29" fmla="*/ 96 h 106"/>
                  <a:gd name="T30" fmla="*/ 2 w 90"/>
                  <a:gd name="T31" fmla="*/ 99 h 106"/>
                  <a:gd name="T32" fmla="*/ 4 w 90"/>
                  <a:gd name="T33" fmla="*/ 101 h 106"/>
                  <a:gd name="T34" fmla="*/ 6 w 90"/>
                  <a:gd name="T35" fmla="*/ 103 h 106"/>
                  <a:gd name="T36" fmla="*/ 9 w 90"/>
                  <a:gd name="T37" fmla="*/ 104 h 106"/>
                  <a:gd name="T38" fmla="*/ 11 w 90"/>
                  <a:gd name="T39" fmla="*/ 105 h 106"/>
                  <a:gd name="T40" fmla="*/ 15 w 90"/>
                  <a:gd name="T4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6">
                    <a:moveTo>
                      <a:pt x="15" y="106"/>
                    </a:moveTo>
                    <a:lnTo>
                      <a:pt x="90" y="106"/>
                    </a:lnTo>
                    <a:lnTo>
                      <a:pt x="90" y="0"/>
                    </a:lnTo>
                    <a:lnTo>
                      <a:pt x="15" y="0"/>
                    </a:lnTo>
                    <a:lnTo>
                      <a:pt x="11" y="1"/>
                    </a:lnTo>
                    <a:lnTo>
                      <a:pt x="9" y="1"/>
                    </a:lnTo>
                    <a:lnTo>
                      <a:pt x="6" y="3"/>
                    </a:lnTo>
                    <a:lnTo>
                      <a:pt x="4" y="4"/>
                    </a:lnTo>
                    <a:lnTo>
                      <a:pt x="2" y="7"/>
                    </a:lnTo>
                    <a:lnTo>
                      <a:pt x="1" y="10"/>
                    </a:lnTo>
                    <a:lnTo>
                      <a:pt x="0" y="13"/>
                    </a:lnTo>
                    <a:lnTo>
                      <a:pt x="0" y="15"/>
                    </a:lnTo>
                    <a:lnTo>
                      <a:pt x="0" y="90"/>
                    </a:lnTo>
                    <a:lnTo>
                      <a:pt x="0" y="93"/>
                    </a:lnTo>
                    <a:lnTo>
                      <a:pt x="1" y="96"/>
                    </a:lnTo>
                    <a:lnTo>
                      <a:pt x="2" y="99"/>
                    </a:lnTo>
                    <a:lnTo>
                      <a:pt x="4" y="101"/>
                    </a:lnTo>
                    <a:lnTo>
                      <a:pt x="6" y="103"/>
                    </a:lnTo>
                    <a:lnTo>
                      <a:pt x="9" y="104"/>
                    </a:lnTo>
                    <a:lnTo>
                      <a:pt x="11" y="105"/>
                    </a:lnTo>
                    <a:lnTo>
                      <a:pt x="15"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85" name="Freeform 485">
                <a:extLst>
                  <a:ext uri="{FF2B5EF4-FFF2-40B4-BE49-F238E27FC236}">
                    <a16:creationId xmlns:a16="http://schemas.microsoft.com/office/drawing/2014/main" id="{C470B24D-79F8-D2F6-B19C-FFAD45AE307B}"/>
                  </a:ext>
                </a:extLst>
              </p:cNvPr>
              <p:cNvSpPr>
                <a:spLocks/>
              </p:cNvSpPr>
              <p:nvPr/>
            </p:nvSpPr>
            <p:spPr bwMode="auto">
              <a:xfrm>
                <a:off x="3278188" y="1368425"/>
                <a:ext cx="28575" cy="34925"/>
              </a:xfrm>
              <a:custGeom>
                <a:avLst/>
                <a:gdLst>
                  <a:gd name="T0" fmla="*/ 90 w 90"/>
                  <a:gd name="T1" fmla="*/ 92 h 107"/>
                  <a:gd name="T2" fmla="*/ 90 w 90"/>
                  <a:gd name="T3" fmla="*/ 15 h 107"/>
                  <a:gd name="T4" fmla="*/ 90 w 90"/>
                  <a:gd name="T5" fmla="*/ 13 h 107"/>
                  <a:gd name="T6" fmla="*/ 89 w 90"/>
                  <a:gd name="T7" fmla="*/ 10 h 107"/>
                  <a:gd name="T8" fmla="*/ 88 w 90"/>
                  <a:gd name="T9" fmla="*/ 8 h 107"/>
                  <a:gd name="T10" fmla="*/ 86 w 90"/>
                  <a:gd name="T11" fmla="*/ 6 h 107"/>
                  <a:gd name="T12" fmla="*/ 84 w 90"/>
                  <a:gd name="T13" fmla="*/ 4 h 107"/>
                  <a:gd name="T14" fmla="*/ 80 w 90"/>
                  <a:gd name="T15" fmla="*/ 3 h 107"/>
                  <a:gd name="T16" fmla="*/ 78 w 90"/>
                  <a:gd name="T17" fmla="*/ 2 h 107"/>
                  <a:gd name="T18" fmla="*/ 75 w 90"/>
                  <a:gd name="T19" fmla="*/ 2 h 107"/>
                  <a:gd name="T20" fmla="*/ 0 w 90"/>
                  <a:gd name="T21" fmla="*/ 0 h 107"/>
                  <a:gd name="T22" fmla="*/ 0 w 90"/>
                  <a:gd name="T23" fmla="*/ 107 h 107"/>
                  <a:gd name="T24" fmla="*/ 75 w 90"/>
                  <a:gd name="T25" fmla="*/ 107 h 107"/>
                  <a:gd name="T26" fmla="*/ 78 w 90"/>
                  <a:gd name="T27" fmla="*/ 106 h 107"/>
                  <a:gd name="T28" fmla="*/ 80 w 90"/>
                  <a:gd name="T29" fmla="*/ 106 h 107"/>
                  <a:gd name="T30" fmla="*/ 84 w 90"/>
                  <a:gd name="T31" fmla="*/ 103 h 107"/>
                  <a:gd name="T32" fmla="*/ 86 w 90"/>
                  <a:gd name="T33" fmla="*/ 102 h 107"/>
                  <a:gd name="T34" fmla="*/ 88 w 90"/>
                  <a:gd name="T35" fmla="*/ 100 h 107"/>
                  <a:gd name="T36" fmla="*/ 89 w 90"/>
                  <a:gd name="T37" fmla="*/ 97 h 107"/>
                  <a:gd name="T38" fmla="*/ 90 w 90"/>
                  <a:gd name="T39" fmla="*/ 95 h 107"/>
                  <a:gd name="T40" fmla="*/ 90 w 90"/>
                  <a:gd name="T41" fmla="*/ 9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7">
                    <a:moveTo>
                      <a:pt x="90" y="92"/>
                    </a:moveTo>
                    <a:lnTo>
                      <a:pt x="90" y="15"/>
                    </a:lnTo>
                    <a:lnTo>
                      <a:pt x="90" y="13"/>
                    </a:lnTo>
                    <a:lnTo>
                      <a:pt x="89" y="10"/>
                    </a:lnTo>
                    <a:lnTo>
                      <a:pt x="88" y="8"/>
                    </a:lnTo>
                    <a:lnTo>
                      <a:pt x="86" y="6"/>
                    </a:lnTo>
                    <a:lnTo>
                      <a:pt x="84" y="4"/>
                    </a:lnTo>
                    <a:lnTo>
                      <a:pt x="80" y="3"/>
                    </a:lnTo>
                    <a:lnTo>
                      <a:pt x="78" y="2"/>
                    </a:lnTo>
                    <a:lnTo>
                      <a:pt x="75" y="2"/>
                    </a:lnTo>
                    <a:lnTo>
                      <a:pt x="0" y="0"/>
                    </a:lnTo>
                    <a:lnTo>
                      <a:pt x="0" y="107"/>
                    </a:lnTo>
                    <a:lnTo>
                      <a:pt x="75" y="107"/>
                    </a:lnTo>
                    <a:lnTo>
                      <a:pt x="78" y="106"/>
                    </a:lnTo>
                    <a:lnTo>
                      <a:pt x="80" y="106"/>
                    </a:lnTo>
                    <a:lnTo>
                      <a:pt x="84" y="103"/>
                    </a:lnTo>
                    <a:lnTo>
                      <a:pt x="86" y="102"/>
                    </a:lnTo>
                    <a:lnTo>
                      <a:pt x="88" y="100"/>
                    </a:lnTo>
                    <a:lnTo>
                      <a:pt x="89" y="97"/>
                    </a:lnTo>
                    <a:lnTo>
                      <a:pt x="90" y="95"/>
                    </a:lnTo>
                    <a:lnTo>
                      <a:pt x="9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86" name="Freeform 486">
                <a:extLst>
                  <a:ext uri="{FF2B5EF4-FFF2-40B4-BE49-F238E27FC236}">
                    <a16:creationId xmlns:a16="http://schemas.microsoft.com/office/drawing/2014/main" id="{5B205225-2C47-395A-6589-AEE6017F87A6}"/>
                  </a:ext>
                </a:extLst>
              </p:cNvPr>
              <p:cNvSpPr>
                <a:spLocks/>
              </p:cNvSpPr>
              <p:nvPr/>
            </p:nvSpPr>
            <p:spPr bwMode="auto">
              <a:xfrm>
                <a:off x="3181350" y="1368425"/>
                <a:ext cx="28575" cy="34925"/>
              </a:xfrm>
              <a:custGeom>
                <a:avLst/>
                <a:gdLst>
                  <a:gd name="T0" fmla="*/ 15 w 90"/>
                  <a:gd name="T1" fmla="*/ 107 h 107"/>
                  <a:gd name="T2" fmla="*/ 90 w 90"/>
                  <a:gd name="T3" fmla="*/ 107 h 107"/>
                  <a:gd name="T4" fmla="*/ 90 w 90"/>
                  <a:gd name="T5" fmla="*/ 0 h 107"/>
                  <a:gd name="T6" fmla="*/ 15 w 90"/>
                  <a:gd name="T7" fmla="*/ 0 h 107"/>
                  <a:gd name="T8" fmla="*/ 11 w 90"/>
                  <a:gd name="T9" fmla="*/ 2 h 107"/>
                  <a:gd name="T10" fmla="*/ 9 w 90"/>
                  <a:gd name="T11" fmla="*/ 3 h 107"/>
                  <a:gd name="T12" fmla="*/ 6 w 90"/>
                  <a:gd name="T13" fmla="*/ 4 h 107"/>
                  <a:gd name="T14" fmla="*/ 4 w 90"/>
                  <a:gd name="T15" fmla="*/ 6 h 107"/>
                  <a:gd name="T16" fmla="*/ 3 w 90"/>
                  <a:gd name="T17" fmla="*/ 8 h 107"/>
                  <a:gd name="T18" fmla="*/ 1 w 90"/>
                  <a:gd name="T19" fmla="*/ 10 h 107"/>
                  <a:gd name="T20" fmla="*/ 0 w 90"/>
                  <a:gd name="T21" fmla="*/ 13 h 107"/>
                  <a:gd name="T22" fmla="*/ 0 w 90"/>
                  <a:gd name="T23" fmla="*/ 17 h 107"/>
                  <a:gd name="T24" fmla="*/ 0 w 90"/>
                  <a:gd name="T25" fmla="*/ 92 h 107"/>
                  <a:gd name="T26" fmla="*/ 0 w 90"/>
                  <a:gd name="T27" fmla="*/ 95 h 107"/>
                  <a:gd name="T28" fmla="*/ 1 w 90"/>
                  <a:gd name="T29" fmla="*/ 97 h 107"/>
                  <a:gd name="T30" fmla="*/ 3 w 90"/>
                  <a:gd name="T31" fmla="*/ 100 h 107"/>
                  <a:gd name="T32" fmla="*/ 4 w 90"/>
                  <a:gd name="T33" fmla="*/ 102 h 107"/>
                  <a:gd name="T34" fmla="*/ 6 w 90"/>
                  <a:gd name="T35" fmla="*/ 103 h 107"/>
                  <a:gd name="T36" fmla="*/ 9 w 90"/>
                  <a:gd name="T37" fmla="*/ 106 h 107"/>
                  <a:gd name="T38" fmla="*/ 11 w 90"/>
                  <a:gd name="T39" fmla="*/ 106 h 107"/>
                  <a:gd name="T40" fmla="*/ 15 w 90"/>
                  <a:gd name="T4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7">
                    <a:moveTo>
                      <a:pt x="15" y="107"/>
                    </a:moveTo>
                    <a:lnTo>
                      <a:pt x="90" y="107"/>
                    </a:lnTo>
                    <a:lnTo>
                      <a:pt x="90" y="0"/>
                    </a:lnTo>
                    <a:lnTo>
                      <a:pt x="15" y="0"/>
                    </a:lnTo>
                    <a:lnTo>
                      <a:pt x="11" y="2"/>
                    </a:lnTo>
                    <a:lnTo>
                      <a:pt x="9" y="3"/>
                    </a:lnTo>
                    <a:lnTo>
                      <a:pt x="6" y="4"/>
                    </a:lnTo>
                    <a:lnTo>
                      <a:pt x="4" y="6"/>
                    </a:lnTo>
                    <a:lnTo>
                      <a:pt x="3" y="8"/>
                    </a:lnTo>
                    <a:lnTo>
                      <a:pt x="1" y="10"/>
                    </a:lnTo>
                    <a:lnTo>
                      <a:pt x="0" y="13"/>
                    </a:lnTo>
                    <a:lnTo>
                      <a:pt x="0" y="17"/>
                    </a:lnTo>
                    <a:lnTo>
                      <a:pt x="0" y="92"/>
                    </a:lnTo>
                    <a:lnTo>
                      <a:pt x="0" y="95"/>
                    </a:lnTo>
                    <a:lnTo>
                      <a:pt x="1" y="97"/>
                    </a:lnTo>
                    <a:lnTo>
                      <a:pt x="3" y="100"/>
                    </a:lnTo>
                    <a:lnTo>
                      <a:pt x="4" y="102"/>
                    </a:lnTo>
                    <a:lnTo>
                      <a:pt x="6" y="103"/>
                    </a:lnTo>
                    <a:lnTo>
                      <a:pt x="9" y="106"/>
                    </a:lnTo>
                    <a:lnTo>
                      <a:pt x="11" y="106"/>
                    </a:lnTo>
                    <a:lnTo>
                      <a:pt x="15"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87" name="Freeform 487">
                <a:extLst>
                  <a:ext uri="{FF2B5EF4-FFF2-40B4-BE49-F238E27FC236}">
                    <a16:creationId xmlns:a16="http://schemas.microsoft.com/office/drawing/2014/main" id="{E84B67FC-6F6D-AE35-ADFE-523001134B27}"/>
                  </a:ext>
                </a:extLst>
              </p:cNvPr>
              <p:cNvSpPr>
                <a:spLocks/>
              </p:cNvSpPr>
              <p:nvPr/>
            </p:nvSpPr>
            <p:spPr bwMode="auto">
              <a:xfrm>
                <a:off x="3219450" y="1368425"/>
                <a:ext cx="49213" cy="34925"/>
              </a:xfrm>
              <a:custGeom>
                <a:avLst/>
                <a:gdLst>
                  <a:gd name="T0" fmla="*/ 151 w 151"/>
                  <a:gd name="T1" fmla="*/ 107 h 107"/>
                  <a:gd name="T2" fmla="*/ 151 w 151"/>
                  <a:gd name="T3" fmla="*/ 0 h 107"/>
                  <a:gd name="T4" fmla="*/ 0 w 151"/>
                  <a:gd name="T5" fmla="*/ 0 h 107"/>
                  <a:gd name="T6" fmla="*/ 0 w 151"/>
                  <a:gd name="T7" fmla="*/ 107 h 107"/>
                  <a:gd name="T8" fmla="*/ 76 w 151"/>
                  <a:gd name="T9" fmla="*/ 107 h 107"/>
                  <a:gd name="T10" fmla="*/ 151 w 151"/>
                  <a:gd name="T11" fmla="*/ 107 h 107"/>
                </a:gdLst>
                <a:ahLst/>
                <a:cxnLst>
                  <a:cxn ang="0">
                    <a:pos x="T0" y="T1"/>
                  </a:cxn>
                  <a:cxn ang="0">
                    <a:pos x="T2" y="T3"/>
                  </a:cxn>
                  <a:cxn ang="0">
                    <a:pos x="T4" y="T5"/>
                  </a:cxn>
                  <a:cxn ang="0">
                    <a:pos x="T6" y="T7"/>
                  </a:cxn>
                  <a:cxn ang="0">
                    <a:pos x="T8" y="T9"/>
                  </a:cxn>
                  <a:cxn ang="0">
                    <a:pos x="T10" y="T11"/>
                  </a:cxn>
                </a:cxnLst>
                <a:rect l="0" t="0" r="r" b="b"/>
                <a:pathLst>
                  <a:path w="151" h="107">
                    <a:moveTo>
                      <a:pt x="151" y="107"/>
                    </a:moveTo>
                    <a:lnTo>
                      <a:pt x="151" y="0"/>
                    </a:lnTo>
                    <a:lnTo>
                      <a:pt x="0" y="0"/>
                    </a:lnTo>
                    <a:lnTo>
                      <a:pt x="0" y="107"/>
                    </a:lnTo>
                    <a:lnTo>
                      <a:pt x="76" y="107"/>
                    </a:lnTo>
                    <a:lnTo>
                      <a:pt x="151"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88" name="Freeform 488">
                <a:extLst>
                  <a:ext uri="{FF2B5EF4-FFF2-40B4-BE49-F238E27FC236}">
                    <a16:creationId xmlns:a16="http://schemas.microsoft.com/office/drawing/2014/main" id="{7F496789-FB4A-5B1C-697D-7CFD45BE759D}"/>
                  </a:ext>
                </a:extLst>
              </p:cNvPr>
              <p:cNvSpPr>
                <a:spLocks/>
              </p:cNvSpPr>
              <p:nvPr/>
            </p:nvSpPr>
            <p:spPr bwMode="auto">
              <a:xfrm>
                <a:off x="3411538" y="1598613"/>
                <a:ext cx="28575" cy="33338"/>
              </a:xfrm>
              <a:custGeom>
                <a:avLst/>
                <a:gdLst>
                  <a:gd name="T0" fmla="*/ 75 w 91"/>
                  <a:gd name="T1" fmla="*/ 0 h 106"/>
                  <a:gd name="T2" fmla="*/ 45 w 91"/>
                  <a:gd name="T3" fmla="*/ 0 h 106"/>
                  <a:gd name="T4" fmla="*/ 0 w 91"/>
                  <a:gd name="T5" fmla="*/ 0 h 106"/>
                  <a:gd name="T6" fmla="*/ 0 w 91"/>
                  <a:gd name="T7" fmla="*/ 106 h 106"/>
                  <a:gd name="T8" fmla="*/ 75 w 91"/>
                  <a:gd name="T9" fmla="*/ 106 h 106"/>
                  <a:gd name="T10" fmla="*/ 79 w 91"/>
                  <a:gd name="T11" fmla="*/ 106 h 106"/>
                  <a:gd name="T12" fmla="*/ 81 w 91"/>
                  <a:gd name="T13" fmla="*/ 104 h 106"/>
                  <a:gd name="T14" fmla="*/ 84 w 91"/>
                  <a:gd name="T15" fmla="*/ 103 h 106"/>
                  <a:gd name="T16" fmla="*/ 86 w 91"/>
                  <a:gd name="T17" fmla="*/ 101 h 106"/>
                  <a:gd name="T18" fmla="*/ 88 w 91"/>
                  <a:gd name="T19" fmla="*/ 99 h 106"/>
                  <a:gd name="T20" fmla="*/ 89 w 91"/>
                  <a:gd name="T21" fmla="*/ 97 h 106"/>
                  <a:gd name="T22" fmla="*/ 91 w 91"/>
                  <a:gd name="T23" fmla="*/ 94 h 106"/>
                  <a:gd name="T24" fmla="*/ 91 w 91"/>
                  <a:gd name="T25" fmla="*/ 91 h 106"/>
                  <a:gd name="T26" fmla="*/ 91 w 91"/>
                  <a:gd name="T27" fmla="*/ 15 h 106"/>
                  <a:gd name="T28" fmla="*/ 91 w 91"/>
                  <a:gd name="T29" fmla="*/ 12 h 106"/>
                  <a:gd name="T30" fmla="*/ 89 w 91"/>
                  <a:gd name="T31" fmla="*/ 10 h 106"/>
                  <a:gd name="T32" fmla="*/ 88 w 91"/>
                  <a:gd name="T33" fmla="*/ 7 h 106"/>
                  <a:gd name="T34" fmla="*/ 86 w 91"/>
                  <a:gd name="T35" fmla="*/ 5 h 106"/>
                  <a:gd name="T36" fmla="*/ 84 w 91"/>
                  <a:gd name="T37" fmla="*/ 4 h 106"/>
                  <a:gd name="T38" fmla="*/ 81 w 91"/>
                  <a:gd name="T39" fmla="*/ 2 h 106"/>
                  <a:gd name="T40" fmla="*/ 79 w 91"/>
                  <a:gd name="T41" fmla="*/ 2 h 106"/>
                  <a:gd name="T42" fmla="*/ 75 w 91"/>
                  <a:gd name="T43" fmla="*/ 0 h 106"/>
                  <a:gd name="T44" fmla="*/ 75 w 91"/>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1" h="106">
                    <a:moveTo>
                      <a:pt x="75" y="0"/>
                    </a:moveTo>
                    <a:lnTo>
                      <a:pt x="45" y="0"/>
                    </a:lnTo>
                    <a:lnTo>
                      <a:pt x="0" y="0"/>
                    </a:lnTo>
                    <a:lnTo>
                      <a:pt x="0" y="106"/>
                    </a:lnTo>
                    <a:lnTo>
                      <a:pt x="75" y="106"/>
                    </a:lnTo>
                    <a:lnTo>
                      <a:pt x="79" y="106"/>
                    </a:lnTo>
                    <a:lnTo>
                      <a:pt x="81" y="104"/>
                    </a:lnTo>
                    <a:lnTo>
                      <a:pt x="84" y="103"/>
                    </a:lnTo>
                    <a:lnTo>
                      <a:pt x="86" y="101"/>
                    </a:lnTo>
                    <a:lnTo>
                      <a:pt x="88" y="99"/>
                    </a:lnTo>
                    <a:lnTo>
                      <a:pt x="89" y="97"/>
                    </a:lnTo>
                    <a:lnTo>
                      <a:pt x="91" y="94"/>
                    </a:lnTo>
                    <a:lnTo>
                      <a:pt x="91" y="91"/>
                    </a:lnTo>
                    <a:lnTo>
                      <a:pt x="91" y="15"/>
                    </a:lnTo>
                    <a:lnTo>
                      <a:pt x="91" y="12"/>
                    </a:lnTo>
                    <a:lnTo>
                      <a:pt x="89" y="10"/>
                    </a:lnTo>
                    <a:lnTo>
                      <a:pt x="88" y="7"/>
                    </a:lnTo>
                    <a:lnTo>
                      <a:pt x="86" y="5"/>
                    </a:lnTo>
                    <a:lnTo>
                      <a:pt x="84" y="4"/>
                    </a:lnTo>
                    <a:lnTo>
                      <a:pt x="81" y="2"/>
                    </a:lnTo>
                    <a:lnTo>
                      <a:pt x="79" y="2"/>
                    </a:lnTo>
                    <a:lnTo>
                      <a:pt x="75"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89" name="Freeform 489">
                <a:extLst>
                  <a:ext uri="{FF2B5EF4-FFF2-40B4-BE49-F238E27FC236}">
                    <a16:creationId xmlns:a16="http://schemas.microsoft.com/office/drawing/2014/main" id="{31F7442F-C531-E2E6-1E88-F037018AE96A}"/>
                  </a:ext>
                </a:extLst>
              </p:cNvPr>
              <p:cNvSpPr>
                <a:spLocks/>
              </p:cNvSpPr>
              <p:nvPr/>
            </p:nvSpPr>
            <p:spPr bwMode="auto">
              <a:xfrm>
                <a:off x="3316288" y="1598613"/>
                <a:ext cx="28575" cy="33338"/>
              </a:xfrm>
              <a:custGeom>
                <a:avLst/>
                <a:gdLst>
                  <a:gd name="T0" fmla="*/ 0 w 90"/>
                  <a:gd name="T1" fmla="*/ 15 h 106"/>
                  <a:gd name="T2" fmla="*/ 0 w 90"/>
                  <a:gd name="T3" fmla="*/ 91 h 106"/>
                  <a:gd name="T4" fmla="*/ 0 w 90"/>
                  <a:gd name="T5" fmla="*/ 94 h 106"/>
                  <a:gd name="T6" fmla="*/ 1 w 90"/>
                  <a:gd name="T7" fmla="*/ 97 h 106"/>
                  <a:gd name="T8" fmla="*/ 3 w 90"/>
                  <a:gd name="T9" fmla="*/ 99 h 106"/>
                  <a:gd name="T10" fmla="*/ 4 w 90"/>
                  <a:gd name="T11" fmla="*/ 101 h 106"/>
                  <a:gd name="T12" fmla="*/ 6 w 90"/>
                  <a:gd name="T13" fmla="*/ 103 h 106"/>
                  <a:gd name="T14" fmla="*/ 10 w 90"/>
                  <a:gd name="T15" fmla="*/ 104 h 106"/>
                  <a:gd name="T16" fmla="*/ 12 w 90"/>
                  <a:gd name="T17" fmla="*/ 106 h 106"/>
                  <a:gd name="T18" fmla="*/ 15 w 90"/>
                  <a:gd name="T19" fmla="*/ 106 h 106"/>
                  <a:gd name="T20" fmla="*/ 90 w 90"/>
                  <a:gd name="T21" fmla="*/ 106 h 106"/>
                  <a:gd name="T22" fmla="*/ 90 w 90"/>
                  <a:gd name="T23" fmla="*/ 0 h 106"/>
                  <a:gd name="T24" fmla="*/ 15 w 90"/>
                  <a:gd name="T25" fmla="*/ 0 h 106"/>
                  <a:gd name="T26" fmla="*/ 12 w 90"/>
                  <a:gd name="T27" fmla="*/ 0 h 106"/>
                  <a:gd name="T28" fmla="*/ 10 w 90"/>
                  <a:gd name="T29" fmla="*/ 2 h 106"/>
                  <a:gd name="T30" fmla="*/ 6 w 90"/>
                  <a:gd name="T31" fmla="*/ 4 h 106"/>
                  <a:gd name="T32" fmla="*/ 4 w 90"/>
                  <a:gd name="T33" fmla="*/ 5 h 106"/>
                  <a:gd name="T34" fmla="*/ 3 w 90"/>
                  <a:gd name="T35" fmla="*/ 7 h 106"/>
                  <a:gd name="T36" fmla="*/ 1 w 90"/>
                  <a:gd name="T37" fmla="*/ 10 h 106"/>
                  <a:gd name="T38" fmla="*/ 0 w 90"/>
                  <a:gd name="T39" fmla="*/ 12 h 106"/>
                  <a:gd name="T40" fmla="*/ 0 w 90"/>
                  <a:gd name="T41" fmla="*/ 1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6">
                    <a:moveTo>
                      <a:pt x="0" y="15"/>
                    </a:moveTo>
                    <a:lnTo>
                      <a:pt x="0" y="91"/>
                    </a:lnTo>
                    <a:lnTo>
                      <a:pt x="0" y="94"/>
                    </a:lnTo>
                    <a:lnTo>
                      <a:pt x="1" y="97"/>
                    </a:lnTo>
                    <a:lnTo>
                      <a:pt x="3" y="99"/>
                    </a:lnTo>
                    <a:lnTo>
                      <a:pt x="4" y="101"/>
                    </a:lnTo>
                    <a:lnTo>
                      <a:pt x="6" y="103"/>
                    </a:lnTo>
                    <a:lnTo>
                      <a:pt x="10" y="104"/>
                    </a:lnTo>
                    <a:lnTo>
                      <a:pt x="12" y="106"/>
                    </a:lnTo>
                    <a:lnTo>
                      <a:pt x="15" y="106"/>
                    </a:lnTo>
                    <a:lnTo>
                      <a:pt x="90" y="106"/>
                    </a:lnTo>
                    <a:lnTo>
                      <a:pt x="90" y="0"/>
                    </a:lnTo>
                    <a:lnTo>
                      <a:pt x="15" y="0"/>
                    </a:lnTo>
                    <a:lnTo>
                      <a:pt x="12" y="0"/>
                    </a:lnTo>
                    <a:lnTo>
                      <a:pt x="10" y="2"/>
                    </a:lnTo>
                    <a:lnTo>
                      <a:pt x="6" y="4"/>
                    </a:lnTo>
                    <a:lnTo>
                      <a:pt x="4" y="5"/>
                    </a:lnTo>
                    <a:lnTo>
                      <a:pt x="3" y="7"/>
                    </a:lnTo>
                    <a:lnTo>
                      <a:pt x="1" y="10"/>
                    </a:lnTo>
                    <a:lnTo>
                      <a:pt x="0" y="12"/>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90" name="Freeform 490">
                <a:extLst>
                  <a:ext uri="{FF2B5EF4-FFF2-40B4-BE49-F238E27FC236}">
                    <a16:creationId xmlns:a16="http://schemas.microsoft.com/office/drawing/2014/main" id="{6516E60A-DB94-5097-1A6B-63CDC7550D3D}"/>
                  </a:ext>
                </a:extLst>
              </p:cNvPr>
              <p:cNvSpPr>
                <a:spLocks/>
              </p:cNvSpPr>
              <p:nvPr/>
            </p:nvSpPr>
            <p:spPr bwMode="auto">
              <a:xfrm>
                <a:off x="3354388" y="1598613"/>
                <a:ext cx="47625" cy="33338"/>
              </a:xfrm>
              <a:custGeom>
                <a:avLst/>
                <a:gdLst>
                  <a:gd name="T0" fmla="*/ 0 w 151"/>
                  <a:gd name="T1" fmla="*/ 0 h 106"/>
                  <a:gd name="T2" fmla="*/ 0 w 151"/>
                  <a:gd name="T3" fmla="*/ 106 h 106"/>
                  <a:gd name="T4" fmla="*/ 151 w 151"/>
                  <a:gd name="T5" fmla="*/ 106 h 106"/>
                  <a:gd name="T6" fmla="*/ 151 w 151"/>
                  <a:gd name="T7" fmla="*/ 0 h 106"/>
                  <a:gd name="T8" fmla="*/ 45 w 151"/>
                  <a:gd name="T9" fmla="*/ 0 h 106"/>
                  <a:gd name="T10" fmla="*/ 0 w 151"/>
                  <a:gd name="T11" fmla="*/ 0 h 106"/>
                </a:gdLst>
                <a:ahLst/>
                <a:cxnLst>
                  <a:cxn ang="0">
                    <a:pos x="T0" y="T1"/>
                  </a:cxn>
                  <a:cxn ang="0">
                    <a:pos x="T2" y="T3"/>
                  </a:cxn>
                  <a:cxn ang="0">
                    <a:pos x="T4" y="T5"/>
                  </a:cxn>
                  <a:cxn ang="0">
                    <a:pos x="T6" y="T7"/>
                  </a:cxn>
                  <a:cxn ang="0">
                    <a:pos x="T8" y="T9"/>
                  </a:cxn>
                  <a:cxn ang="0">
                    <a:pos x="T10" y="T11"/>
                  </a:cxn>
                </a:cxnLst>
                <a:rect l="0" t="0" r="r" b="b"/>
                <a:pathLst>
                  <a:path w="151" h="106">
                    <a:moveTo>
                      <a:pt x="0" y="0"/>
                    </a:moveTo>
                    <a:lnTo>
                      <a:pt x="0" y="106"/>
                    </a:lnTo>
                    <a:lnTo>
                      <a:pt x="151" y="106"/>
                    </a:lnTo>
                    <a:lnTo>
                      <a:pt x="151" y="0"/>
                    </a:lnTo>
                    <a:lnTo>
                      <a:pt x="4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91" name="Freeform 491">
                <a:extLst>
                  <a:ext uri="{FF2B5EF4-FFF2-40B4-BE49-F238E27FC236}">
                    <a16:creationId xmlns:a16="http://schemas.microsoft.com/office/drawing/2014/main" id="{862EAAD3-33A3-0251-8CD2-EDD67A5B1A4E}"/>
                  </a:ext>
                </a:extLst>
              </p:cNvPr>
              <p:cNvSpPr>
                <a:spLocks/>
              </p:cNvSpPr>
              <p:nvPr/>
            </p:nvSpPr>
            <p:spPr bwMode="auto">
              <a:xfrm>
                <a:off x="3373438" y="1560513"/>
                <a:ext cx="47625" cy="33338"/>
              </a:xfrm>
              <a:custGeom>
                <a:avLst/>
                <a:gdLst>
                  <a:gd name="T0" fmla="*/ 150 w 150"/>
                  <a:gd name="T1" fmla="*/ 0 h 105"/>
                  <a:gd name="T2" fmla="*/ 105 w 150"/>
                  <a:gd name="T3" fmla="*/ 0 h 105"/>
                  <a:gd name="T4" fmla="*/ 0 w 150"/>
                  <a:gd name="T5" fmla="*/ 0 h 105"/>
                  <a:gd name="T6" fmla="*/ 0 w 150"/>
                  <a:gd name="T7" fmla="*/ 105 h 105"/>
                  <a:gd name="T8" fmla="*/ 105 w 150"/>
                  <a:gd name="T9" fmla="*/ 105 h 105"/>
                  <a:gd name="T10" fmla="*/ 150 w 150"/>
                  <a:gd name="T11" fmla="*/ 105 h 105"/>
                  <a:gd name="T12" fmla="*/ 150 w 150"/>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150" h="105">
                    <a:moveTo>
                      <a:pt x="150" y="0"/>
                    </a:moveTo>
                    <a:lnTo>
                      <a:pt x="105" y="0"/>
                    </a:lnTo>
                    <a:lnTo>
                      <a:pt x="0" y="0"/>
                    </a:lnTo>
                    <a:lnTo>
                      <a:pt x="0" y="105"/>
                    </a:lnTo>
                    <a:lnTo>
                      <a:pt x="105" y="105"/>
                    </a:lnTo>
                    <a:lnTo>
                      <a:pt x="150" y="105"/>
                    </a:lnTo>
                    <a:lnTo>
                      <a:pt x="1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92" name="Freeform 492">
                <a:extLst>
                  <a:ext uri="{FF2B5EF4-FFF2-40B4-BE49-F238E27FC236}">
                    <a16:creationId xmlns:a16="http://schemas.microsoft.com/office/drawing/2014/main" id="{B3B2390D-2536-5AC1-D86A-AF2DBF4C4344}"/>
                  </a:ext>
                </a:extLst>
              </p:cNvPr>
              <p:cNvSpPr>
                <a:spLocks/>
              </p:cNvSpPr>
              <p:nvPr/>
            </p:nvSpPr>
            <p:spPr bwMode="auto">
              <a:xfrm>
                <a:off x="3335338" y="1560513"/>
                <a:ext cx="28575" cy="33338"/>
              </a:xfrm>
              <a:custGeom>
                <a:avLst/>
                <a:gdLst>
                  <a:gd name="T0" fmla="*/ 90 w 90"/>
                  <a:gd name="T1" fmla="*/ 0 h 105"/>
                  <a:gd name="T2" fmla="*/ 45 w 90"/>
                  <a:gd name="T3" fmla="*/ 0 h 105"/>
                  <a:gd name="T4" fmla="*/ 15 w 90"/>
                  <a:gd name="T5" fmla="*/ 0 h 105"/>
                  <a:gd name="T6" fmla="*/ 12 w 90"/>
                  <a:gd name="T7" fmla="*/ 0 h 105"/>
                  <a:gd name="T8" fmla="*/ 10 w 90"/>
                  <a:gd name="T9" fmla="*/ 1 h 105"/>
                  <a:gd name="T10" fmla="*/ 7 w 90"/>
                  <a:gd name="T11" fmla="*/ 2 h 105"/>
                  <a:gd name="T12" fmla="*/ 4 w 90"/>
                  <a:gd name="T13" fmla="*/ 5 h 105"/>
                  <a:gd name="T14" fmla="*/ 3 w 90"/>
                  <a:gd name="T15" fmla="*/ 7 h 105"/>
                  <a:gd name="T16" fmla="*/ 1 w 90"/>
                  <a:gd name="T17" fmla="*/ 10 h 105"/>
                  <a:gd name="T18" fmla="*/ 1 w 90"/>
                  <a:gd name="T19" fmla="*/ 12 h 105"/>
                  <a:gd name="T20" fmla="*/ 0 w 90"/>
                  <a:gd name="T21" fmla="*/ 15 h 105"/>
                  <a:gd name="T22" fmla="*/ 0 w 90"/>
                  <a:gd name="T23" fmla="*/ 90 h 105"/>
                  <a:gd name="T24" fmla="*/ 1 w 90"/>
                  <a:gd name="T25" fmla="*/ 94 h 105"/>
                  <a:gd name="T26" fmla="*/ 1 w 90"/>
                  <a:gd name="T27" fmla="*/ 97 h 105"/>
                  <a:gd name="T28" fmla="*/ 3 w 90"/>
                  <a:gd name="T29" fmla="*/ 99 h 105"/>
                  <a:gd name="T30" fmla="*/ 4 w 90"/>
                  <a:gd name="T31" fmla="*/ 101 h 105"/>
                  <a:gd name="T32" fmla="*/ 7 w 90"/>
                  <a:gd name="T33" fmla="*/ 103 h 105"/>
                  <a:gd name="T34" fmla="*/ 10 w 90"/>
                  <a:gd name="T35" fmla="*/ 104 h 105"/>
                  <a:gd name="T36" fmla="*/ 12 w 90"/>
                  <a:gd name="T37" fmla="*/ 105 h 105"/>
                  <a:gd name="T38" fmla="*/ 15 w 90"/>
                  <a:gd name="T39" fmla="*/ 105 h 105"/>
                  <a:gd name="T40" fmla="*/ 45 w 90"/>
                  <a:gd name="T41" fmla="*/ 105 h 105"/>
                  <a:gd name="T42" fmla="*/ 90 w 90"/>
                  <a:gd name="T43" fmla="*/ 105 h 105"/>
                  <a:gd name="T44" fmla="*/ 90 w 90"/>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105">
                    <a:moveTo>
                      <a:pt x="90" y="0"/>
                    </a:moveTo>
                    <a:lnTo>
                      <a:pt x="45" y="0"/>
                    </a:lnTo>
                    <a:lnTo>
                      <a:pt x="15" y="0"/>
                    </a:lnTo>
                    <a:lnTo>
                      <a:pt x="12" y="0"/>
                    </a:lnTo>
                    <a:lnTo>
                      <a:pt x="10" y="1"/>
                    </a:lnTo>
                    <a:lnTo>
                      <a:pt x="7" y="2"/>
                    </a:lnTo>
                    <a:lnTo>
                      <a:pt x="4" y="5"/>
                    </a:lnTo>
                    <a:lnTo>
                      <a:pt x="3" y="7"/>
                    </a:lnTo>
                    <a:lnTo>
                      <a:pt x="1" y="10"/>
                    </a:lnTo>
                    <a:lnTo>
                      <a:pt x="1" y="12"/>
                    </a:lnTo>
                    <a:lnTo>
                      <a:pt x="0" y="15"/>
                    </a:lnTo>
                    <a:lnTo>
                      <a:pt x="0" y="90"/>
                    </a:lnTo>
                    <a:lnTo>
                      <a:pt x="1" y="94"/>
                    </a:lnTo>
                    <a:lnTo>
                      <a:pt x="1" y="97"/>
                    </a:lnTo>
                    <a:lnTo>
                      <a:pt x="3" y="99"/>
                    </a:lnTo>
                    <a:lnTo>
                      <a:pt x="4" y="101"/>
                    </a:lnTo>
                    <a:lnTo>
                      <a:pt x="7" y="103"/>
                    </a:lnTo>
                    <a:lnTo>
                      <a:pt x="10" y="104"/>
                    </a:lnTo>
                    <a:lnTo>
                      <a:pt x="12" y="105"/>
                    </a:lnTo>
                    <a:lnTo>
                      <a:pt x="15" y="105"/>
                    </a:lnTo>
                    <a:lnTo>
                      <a:pt x="45" y="105"/>
                    </a:lnTo>
                    <a:lnTo>
                      <a:pt x="90" y="105"/>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93" name="Freeform 493">
                <a:extLst>
                  <a:ext uri="{FF2B5EF4-FFF2-40B4-BE49-F238E27FC236}">
                    <a16:creationId xmlns:a16="http://schemas.microsoft.com/office/drawing/2014/main" id="{DCCAF1E4-CFD6-45A4-5BE8-B2D59F7E715C}"/>
                  </a:ext>
                </a:extLst>
              </p:cNvPr>
              <p:cNvSpPr>
                <a:spLocks/>
              </p:cNvSpPr>
              <p:nvPr/>
            </p:nvSpPr>
            <p:spPr bwMode="auto">
              <a:xfrm>
                <a:off x="3430588" y="1560513"/>
                <a:ext cx="28575" cy="33338"/>
              </a:xfrm>
              <a:custGeom>
                <a:avLst/>
                <a:gdLst>
                  <a:gd name="T0" fmla="*/ 76 w 91"/>
                  <a:gd name="T1" fmla="*/ 0 h 105"/>
                  <a:gd name="T2" fmla="*/ 0 w 91"/>
                  <a:gd name="T3" fmla="*/ 0 h 105"/>
                  <a:gd name="T4" fmla="*/ 0 w 91"/>
                  <a:gd name="T5" fmla="*/ 105 h 105"/>
                  <a:gd name="T6" fmla="*/ 76 w 91"/>
                  <a:gd name="T7" fmla="*/ 105 h 105"/>
                  <a:gd name="T8" fmla="*/ 79 w 91"/>
                  <a:gd name="T9" fmla="*/ 105 h 105"/>
                  <a:gd name="T10" fmla="*/ 82 w 91"/>
                  <a:gd name="T11" fmla="*/ 104 h 105"/>
                  <a:gd name="T12" fmla="*/ 84 w 91"/>
                  <a:gd name="T13" fmla="*/ 103 h 105"/>
                  <a:gd name="T14" fmla="*/ 86 w 91"/>
                  <a:gd name="T15" fmla="*/ 101 h 105"/>
                  <a:gd name="T16" fmla="*/ 88 w 91"/>
                  <a:gd name="T17" fmla="*/ 99 h 105"/>
                  <a:gd name="T18" fmla="*/ 89 w 91"/>
                  <a:gd name="T19" fmla="*/ 97 h 105"/>
                  <a:gd name="T20" fmla="*/ 91 w 91"/>
                  <a:gd name="T21" fmla="*/ 94 h 105"/>
                  <a:gd name="T22" fmla="*/ 91 w 91"/>
                  <a:gd name="T23" fmla="*/ 90 h 105"/>
                  <a:gd name="T24" fmla="*/ 91 w 91"/>
                  <a:gd name="T25" fmla="*/ 15 h 105"/>
                  <a:gd name="T26" fmla="*/ 91 w 91"/>
                  <a:gd name="T27" fmla="*/ 12 h 105"/>
                  <a:gd name="T28" fmla="*/ 89 w 91"/>
                  <a:gd name="T29" fmla="*/ 9 h 105"/>
                  <a:gd name="T30" fmla="*/ 88 w 91"/>
                  <a:gd name="T31" fmla="*/ 7 h 105"/>
                  <a:gd name="T32" fmla="*/ 86 w 91"/>
                  <a:gd name="T33" fmla="*/ 5 h 105"/>
                  <a:gd name="T34" fmla="*/ 84 w 91"/>
                  <a:gd name="T35" fmla="*/ 2 h 105"/>
                  <a:gd name="T36" fmla="*/ 82 w 91"/>
                  <a:gd name="T37" fmla="*/ 1 h 105"/>
                  <a:gd name="T38" fmla="*/ 79 w 91"/>
                  <a:gd name="T39" fmla="*/ 0 h 105"/>
                  <a:gd name="T40" fmla="*/ 76 w 91"/>
                  <a:gd name="T41"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 h="105">
                    <a:moveTo>
                      <a:pt x="76" y="0"/>
                    </a:moveTo>
                    <a:lnTo>
                      <a:pt x="0" y="0"/>
                    </a:lnTo>
                    <a:lnTo>
                      <a:pt x="0" y="105"/>
                    </a:lnTo>
                    <a:lnTo>
                      <a:pt x="76" y="105"/>
                    </a:lnTo>
                    <a:lnTo>
                      <a:pt x="79" y="105"/>
                    </a:lnTo>
                    <a:lnTo>
                      <a:pt x="82" y="104"/>
                    </a:lnTo>
                    <a:lnTo>
                      <a:pt x="84" y="103"/>
                    </a:lnTo>
                    <a:lnTo>
                      <a:pt x="86" y="101"/>
                    </a:lnTo>
                    <a:lnTo>
                      <a:pt x="88" y="99"/>
                    </a:lnTo>
                    <a:lnTo>
                      <a:pt x="89" y="97"/>
                    </a:lnTo>
                    <a:lnTo>
                      <a:pt x="91" y="94"/>
                    </a:lnTo>
                    <a:lnTo>
                      <a:pt x="91" y="90"/>
                    </a:lnTo>
                    <a:lnTo>
                      <a:pt x="91" y="15"/>
                    </a:lnTo>
                    <a:lnTo>
                      <a:pt x="91" y="12"/>
                    </a:lnTo>
                    <a:lnTo>
                      <a:pt x="89" y="9"/>
                    </a:lnTo>
                    <a:lnTo>
                      <a:pt x="88" y="7"/>
                    </a:lnTo>
                    <a:lnTo>
                      <a:pt x="86" y="5"/>
                    </a:lnTo>
                    <a:lnTo>
                      <a:pt x="84" y="2"/>
                    </a:lnTo>
                    <a:lnTo>
                      <a:pt x="82" y="1"/>
                    </a:lnTo>
                    <a:lnTo>
                      <a:pt x="79"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94" name="Freeform 494">
                <a:extLst>
                  <a:ext uri="{FF2B5EF4-FFF2-40B4-BE49-F238E27FC236}">
                    <a16:creationId xmlns:a16="http://schemas.microsoft.com/office/drawing/2014/main" id="{E18660F8-ED0C-D9AE-2CA5-7AA84D5A3EDC}"/>
                  </a:ext>
                </a:extLst>
              </p:cNvPr>
              <p:cNvSpPr>
                <a:spLocks/>
              </p:cNvSpPr>
              <p:nvPr/>
            </p:nvSpPr>
            <p:spPr bwMode="auto">
              <a:xfrm>
                <a:off x="3411538" y="1522413"/>
                <a:ext cx="28575" cy="33338"/>
              </a:xfrm>
              <a:custGeom>
                <a:avLst/>
                <a:gdLst>
                  <a:gd name="T0" fmla="*/ 75 w 91"/>
                  <a:gd name="T1" fmla="*/ 105 h 105"/>
                  <a:gd name="T2" fmla="*/ 79 w 91"/>
                  <a:gd name="T3" fmla="*/ 105 h 105"/>
                  <a:gd name="T4" fmla="*/ 81 w 91"/>
                  <a:gd name="T5" fmla="*/ 104 h 105"/>
                  <a:gd name="T6" fmla="*/ 84 w 91"/>
                  <a:gd name="T7" fmla="*/ 102 h 105"/>
                  <a:gd name="T8" fmla="*/ 86 w 91"/>
                  <a:gd name="T9" fmla="*/ 101 h 105"/>
                  <a:gd name="T10" fmla="*/ 88 w 91"/>
                  <a:gd name="T11" fmla="*/ 99 h 105"/>
                  <a:gd name="T12" fmla="*/ 89 w 91"/>
                  <a:gd name="T13" fmla="*/ 96 h 105"/>
                  <a:gd name="T14" fmla="*/ 91 w 91"/>
                  <a:gd name="T15" fmla="*/ 93 h 105"/>
                  <a:gd name="T16" fmla="*/ 91 w 91"/>
                  <a:gd name="T17" fmla="*/ 90 h 105"/>
                  <a:gd name="T18" fmla="*/ 91 w 91"/>
                  <a:gd name="T19" fmla="*/ 15 h 105"/>
                  <a:gd name="T20" fmla="*/ 91 w 91"/>
                  <a:gd name="T21" fmla="*/ 12 h 105"/>
                  <a:gd name="T22" fmla="*/ 89 w 91"/>
                  <a:gd name="T23" fmla="*/ 9 h 105"/>
                  <a:gd name="T24" fmla="*/ 88 w 91"/>
                  <a:gd name="T25" fmla="*/ 7 h 105"/>
                  <a:gd name="T26" fmla="*/ 86 w 91"/>
                  <a:gd name="T27" fmla="*/ 4 h 105"/>
                  <a:gd name="T28" fmla="*/ 84 w 91"/>
                  <a:gd name="T29" fmla="*/ 2 h 105"/>
                  <a:gd name="T30" fmla="*/ 81 w 91"/>
                  <a:gd name="T31" fmla="*/ 1 h 105"/>
                  <a:gd name="T32" fmla="*/ 79 w 91"/>
                  <a:gd name="T33" fmla="*/ 0 h 105"/>
                  <a:gd name="T34" fmla="*/ 75 w 91"/>
                  <a:gd name="T35" fmla="*/ 0 h 105"/>
                  <a:gd name="T36" fmla="*/ 0 w 91"/>
                  <a:gd name="T37" fmla="*/ 0 h 105"/>
                  <a:gd name="T38" fmla="*/ 0 w 91"/>
                  <a:gd name="T39" fmla="*/ 105 h 105"/>
                  <a:gd name="T40" fmla="*/ 45 w 91"/>
                  <a:gd name="T41" fmla="*/ 105 h 105"/>
                  <a:gd name="T42" fmla="*/ 75 w 91"/>
                  <a:gd name="T4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1" h="105">
                    <a:moveTo>
                      <a:pt x="75" y="105"/>
                    </a:moveTo>
                    <a:lnTo>
                      <a:pt x="79" y="105"/>
                    </a:lnTo>
                    <a:lnTo>
                      <a:pt x="81" y="104"/>
                    </a:lnTo>
                    <a:lnTo>
                      <a:pt x="84" y="102"/>
                    </a:lnTo>
                    <a:lnTo>
                      <a:pt x="86" y="101"/>
                    </a:lnTo>
                    <a:lnTo>
                      <a:pt x="88" y="99"/>
                    </a:lnTo>
                    <a:lnTo>
                      <a:pt x="89" y="96"/>
                    </a:lnTo>
                    <a:lnTo>
                      <a:pt x="91" y="93"/>
                    </a:lnTo>
                    <a:lnTo>
                      <a:pt x="91" y="90"/>
                    </a:lnTo>
                    <a:lnTo>
                      <a:pt x="91" y="15"/>
                    </a:lnTo>
                    <a:lnTo>
                      <a:pt x="91" y="12"/>
                    </a:lnTo>
                    <a:lnTo>
                      <a:pt x="89" y="9"/>
                    </a:lnTo>
                    <a:lnTo>
                      <a:pt x="88" y="7"/>
                    </a:lnTo>
                    <a:lnTo>
                      <a:pt x="86" y="4"/>
                    </a:lnTo>
                    <a:lnTo>
                      <a:pt x="84" y="2"/>
                    </a:lnTo>
                    <a:lnTo>
                      <a:pt x="81" y="1"/>
                    </a:lnTo>
                    <a:lnTo>
                      <a:pt x="79" y="0"/>
                    </a:lnTo>
                    <a:lnTo>
                      <a:pt x="75" y="0"/>
                    </a:lnTo>
                    <a:lnTo>
                      <a:pt x="0" y="0"/>
                    </a:lnTo>
                    <a:lnTo>
                      <a:pt x="0" y="105"/>
                    </a:lnTo>
                    <a:lnTo>
                      <a:pt x="45" y="105"/>
                    </a:lnTo>
                    <a:lnTo>
                      <a:pt x="75"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95" name="Freeform 495">
                <a:extLst>
                  <a:ext uri="{FF2B5EF4-FFF2-40B4-BE49-F238E27FC236}">
                    <a16:creationId xmlns:a16="http://schemas.microsoft.com/office/drawing/2014/main" id="{08D5E7E0-CC9B-469C-79B2-302191B58C75}"/>
                  </a:ext>
                </a:extLst>
              </p:cNvPr>
              <p:cNvSpPr>
                <a:spLocks/>
              </p:cNvSpPr>
              <p:nvPr/>
            </p:nvSpPr>
            <p:spPr bwMode="auto">
              <a:xfrm>
                <a:off x="3354388" y="1522413"/>
                <a:ext cx="47625" cy="33338"/>
              </a:xfrm>
              <a:custGeom>
                <a:avLst/>
                <a:gdLst>
                  <a:gd name="T0" fmla="*/ 151 w 151"/>
                  <a:gd name="T1" fmla="*/ 105 h 105"/>
                  <a:gd name="T2" fmla="*/ 151 w 151"/>
                  <a:gd name="T3" fmla="*/ 0 h 105"/>
                  <a:gd name="T4" fmla="*/ 0 w 151"/>
                  <a:gd name="T5" fmla="*/ 0 h 105"/>
                  <a:gd name="T6" fmla="*/ 0 w 151"/>
                  <a:gd name="T7" fmla="*/ 105 h 105"/>
                  <a:gd name="T8" fmla="*/ 45 w 151"/>
                  <a:gd name="T9" fmla="*/ 105 h 105"/>
                  <a:gd name="T10" fmla="*/ 151 w 151"/>
                  <a:gd name="T11" fmla="*/ 105 h 105"/>
                </a:gdLst>
                <a:ahLst/>
                <a:cxnLst>
                  <a:cxn ang="0">
                    <a:pos x="T0" y="T1"/>
                  </a:cxn>
                  <a:cxn ang="0">
                    <a:pos x="T2" y="T3"/>
                  </a:cxn>
                  <a:cxn ang="0">
                    <a:pos x="T4" y="T5"/>
                  </a:cxn>
                  <a:cxn ang="0">
                    <a:pos x="T6" y="T7"/>
                  </a:cxn>
                  <a:cxn ang="0">
                    <a:pos x="T8" y="T9"/>
                  </a:cxn>
                  <a:cxn ang="0">
                    <a:pos x="T10" y="T11"/>
                  </a:cxn>
                </a:cxnLst>
                <a:rect l="0" t="0" r="r" b="b"/>
                <a:pathLst>
                  <a:path w="151" h="105">
                    <a:moveTo>
                      <a:pt x="151" y="105"/>
                    </a:moveTo>
                    <a:lnTo>
                      <a:pt x="151" y="0"/>
                    </a:lnTo>
                    <a:lnTo>
                      <a:pt x="0" y="0"/>
                    </a:lnTo>
                    <a:lnTo>
                      <a:pt x="0" y="105"/>
                    </a:lnTo>
                    <a:lnTo>
                      <a:pt x="45" y="105"/>
                    </a:lnTo>
                    <a:lnTo>
                      <a:pt x="151"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196" name="Freeform 496">
                <a:extLst>
                  <a:ext uri="{FF2B5EF4-FFF2-40B4-BE49-F238E27FC236}">
                    <a16:creationId xmlns:a16="http://schemas.microsoft.com/office/drawing/2014/main" id="{0C51F527-DA22-082B-DBDD-DA1B4604477A}"/>
                  </a:ext>
                </a:extLst>
              </p:cNvPr>
              <p:cNvSpPr>
                <a:spLocks/>
              </p:cNvSpPr>
              <p:nvPr/>
            </p:nvSpPr>
            <p:spPr bwMode="auto">
              <a:xfrm>
                <a:off x="3316288" y="1522413"/>
                <a:ext cx="28575" cy="33338"/>
              </a:xfrm>
              <a:custGeom>
                <a:avLst/>
                <a:gdLst>
                  <a:gd name="T0" fmla="*/ 0 w 90"/>
                  <a:gd name="T1" fmla="*/ 15 h 105"/>
                  <a:gd name="T2" fmla="*/ 0 w 90"/>
                  <a:gd name="T3" fmla="*/ 90 h 105"/>
                  <a:gd name="T4" fmla="*/ 0 w 90"/>
                  <a:gd name="T5" fmla="*/ 93 h 105"/>
                  <a:gd name="T6" fmla="*/ 1 w 90"/>
                  <a:gd name="T7" fmla="*/ 96 h 105"/>
                  <a:gd name="T8" fmla="*/ 3 w 90"/>
                  <a:gd name="T9" fmla="*/ 99 h 105"/>
                  <a:gd name="T10" fmla="*/ 4 w 90"/>
                  <a:gd name="T11" fmla="*/ 101 h 105"/>
                  <a:gd name="T12" fmla="*/ 6 w 90"/>
                  <a:gd name="T13" fmla="*/ 102 h 105"/>
                  <a:gd name="T14" fmla="*/ 10 w 90"/>
                  <a:gd name="T15" fmla="*/ 104 h 105"/>
                  <a:gd name="T16" fmla="*/ 12 w 90"/>
                  <a:gd name="T17" fmla="*/ 105 h 105"/>
                  <a:gd name="T18" fmla="*/ 15 w 90"/>
                  <a:gd name="T19" fmla="*/ 105 h 105"/>
                  <a:gd name="T20" fmla="*/ 90 w 90"/>
                  <a:gd name="T21" fmla="*/ 105 h 105"/>
                  <a:gd name="T22" fmla="*/ 90 w 90"/>
                  <a:gd name="T23" fmla="*/ 0 h 105"/>
                  <a:gd name="T24" fmla="*/ 15 w 90"/>
                  <a:gd name="T25" fmla="*/ 0 h 105"/>
                  <a:gd name="T26" fmla="*/ 12 w 90"/>
                  <a:gd name="T27" fmla="*/ 0 h 105"/>
                  <a:gd name="T28" fmla="*/ 10 w 90"/>
                  <a:gd name="T29" fmla="*/ 1 h 105"/>
                  <a:gd name="T30" fmla="*/ 6 w 90"/>
                  <a:gd name="T31" fmla="*/ 2 h 105"/>
                  <a:gd name="T32" fmla="*/ 4 w 90"/>
                  <a:gd name="T33" fmla="*/ 4 h 105"/>
                  <a:gd name="T34" fmla="*/ 3 w 90"/>
                  <a:gd name="T35" fmla="*/ 7 h 105"/>
                  <a:gd name="T36" fmla="*/ 1 w 90"/>
                  <a:gd name="T37" fmla="*/ 9 h 105"/>
                  <a:gd name="T38" fmla="*/ 0 w 90"/>
                  <a:gd name="T39" fmla="*/ 12 h 105"/>
                  <a:gd name="T40" fmla="*/ 0 w 90"/>
                  <a:gd name="T41" fmla="*/ 1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5">
                    <a:moveTo>
                      <a:pt x="0" y="15"/>
                    </a:moveTo>
                    <a:lnTo>
                      <a:pt x="0" y="90"/>
                    </a:lnTo>
                    <a:lnTo>
                      <a:pt x="0" y="93"/>
                    </a:lnTo>
                    <a:lnTo>
                      <a:pt x="1" y="96"/>
                    </a:lnTo>
                    <a:lnTo>
                      <a:pt x="3" y="99"/>
                    </a:lnTo>
                    <a:lnTo>
                      <a:pt x="4" y="101"/>
                    </a:lnTo>
                    <a:lnTo>
                      <a:pt x="6" y="102"/>
                    </a:lnTo>
                    <a:lnTo>
                      <a:pt x="10" y="104"/>
                    </a:lnTo>
                    <a:lnTo>
                      <a:pt x="12" y="105"/>
                    </a:lnTo>
                    <a:lnTo>
                      <a:pt x="15" y="105"/>
                    </a:lnTo>
                    <a:lnTo>
                      <a:pt x="90" y="105"/>
                    </a:lnTo>
                    <a:lnTo>
                      <a:pt x="90" y="0"/>
                    </a:lnTo>
                    <a:lnTo>
                      <a:pt x="15" y="0"/>
                    </a:lnTo>
                    <a:lnTo>
                      <a:pt x="12" y="0"/>
                    </a:lnTo>
                    <a:lnTo>
                      <a:pt x="10" y="1"/>
                    </a:lnTo>
                    <a:lnTo>
                      <a:pt x="6" y="2"/>
                    </a:lnTo>
                    <a:lnTo>
                      <a:pt x="4" y="4"/>
                    </a:lnTo>
                    <a:lnTo>
                      <a:pt x="3" y="7"/>
                    </a:lnTo>
                    <a:lnTo>
                      <a:pt x="1" y="9"/>
                    </a:lnTo>
                    <a:lnTo>
                      <a:pt x="0" y="12"/>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grpSp>
        <p:grpSp>
          <p:nvGrpSpPr>
            <p:cNvPr id="197" name="Group 196">
              <a:extLst>
                <a:ext uri="{FF2B5EF4-FFF2-40B4-BE49-F238E27FC236}">
                  <a16:creationId xmlns:a16="http://schemas.microsoft.com/office/drawing/2014/main" id="{B9FED4F5-F244-EAB3-C56A-555E6C387756}"/>
                </a:ext>
                <a:ext uri="{C183D7F6-B498-43B3-948B-1728B52AA6E4}">
                  <adec:decorative xmlns:adec="http://schemas.microsoft.com/office/drawing/2017/decorative" val="1"/>
                </a:ext>
              </a:extLst>
            </p:cNvPr>
            <p:cNvGrpSpPr/>
            <p:nvPr/>
          </p:nvGrpSpPr>
          <p:grpSpPr>
            <a:xfrm>
              <a:off x="4386489" y="1577182"/>
              <a:ext cx="3419021" cy="2214588"/>
              <a:chOff x="304800" y="1577182"/>
              <a:chExt cx="3419021" cy="2214588"/>
            </a:xfrm>
            <a:effectLst>
              <a:outerShdw blurRad="50800" dist="38100" dir="5400000" algn="t" rotWithShape="0">
                <a:prstClr val="black">
                  <a:alpha val="20000"/>
                </a:prstClr>
              </a:outerShdw>
            </a:effectLst>
          </p:grpSpPr>
          <p:sp>
            <p:nvSpPr>
              <p:cNvPr id="198" name="Rectangle 197">
                <a:extLst>
                  <a:ext uri="{FF2B5EF4-FFF2-40B4-BE49-F238E27FC236}">
                    <a16:creationId xmlns:a16="http://schemas.microsoft.com/office/drawing/2014/main" id="{4F64952D-3F8B-CB92-8781-511AF8B7F5BD}"/>
                  </a:ext>
                </a:extLst>
              </p:cNvPr>
              <p:cNvSpPr/>
              <p:nvPr/>
            </p:nvSpPr>
            <p:spPr>
              <a:xfrm>
                <a:off x="304800" y="1577182"/>
                <a:ext cx="3419021" cy="1795488"/>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lang="en-US" sz="3200" b="1">
                    <a:latin typeface="Segoe UI" panose="020B0502040204020203" pitchFamily="34" charset="0"/>
                    <a:cs typeface="Segoe UI" panose="020B0502040204020203" pitchFamily="34" charset="0"/>
                  </a:rPr>
                  <a:t>$ 1,237.55</a:t>
                </a:r>
              </a:p>
            </p:txBody>
          </p:sp>
          <p:sp>
            <p:nvSpPr>
              <p:cNvPr id="199" name="Rectangle 198">
                <a:extLst>
                  <a:ext uri="{FF2B5EF4-FFF2-40B4-BE49-F238E27FC236}">
                    <a16:creationId xmlns:a16="http://schemas.microsoft.com/office/drawing/2014/main" id="{3C040457-4FB8-FE72-BA42-068C7F478A94}"/>
                  </a:ext>
                </a:extLst>
              </p:cNvPr>
              <p:cNvSpPr/>
              <p:nvPr/>
            </p:nvSpPr>
            <p:spPr>
              <a:xfrm>
                <a:off x="304800" y="3372670"/>
                <a:ext cx="3419021" cy="419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lumMod val="75000"/>
                        <a:lumOff val="25000"/>
                      </a:schemeClr>
                    </a:solidFill>
                    <a:latin typeface="Segoe UI" panose="020B0502040204020203" pitchFamily="34" charset="0"/>
                    <a:cs typeface="Segoe UI" panose="020B0502040204020203" pitchFamily="34" charset="0"/>
                  </a:rPr>
                  <a:t>Transactions: 134</a:t>
                </a:r>
              </a:p>
            </p:txBody>
          </p:sp>
        </p:grpSp>
        <p:sp>
          <p:nvSpPr>
            <p:cNvPr id="200" name="Oval 199">
              <a:extLst>
                <a:ext uri="{FF2B5EF4-FFF2-40B4-BE49-F238E27FC236}">
                  <a16:creationId xmlns:a16="http://schemas.microsoft.com/office/drawing/2014/main" id="{DA9026C5-9FC7-BAC7-E58D-5ED869E0E0CA}"/>
                </a:ext>
                <a:ext uri="{C183D7F6-B498-43B3-948B-1728B52AA6E4}">
                  <adec:decorative xmlns:adec="http://schemas.microsoft.com/office/drawing/2017/decorative" val="1"/>
                </a:ext>
              </a:extLst>
            </p:cNvPr>
            <p:cNvSpPr/>
            <p:nvPr/>
          </p:nvSpPr>
          <p:spPr>
            <a:xfrm>
              <a:off x="5767387" y="1242245"/>
              <a:ext cx="657225" cy="657225"/>
            </a:xfrm>
            <a:prstGeom prst="ellipse">
              <a:avLst/>
            </a:prstGeom>
            <a:solidFill>
              <a:srgbClr val="404040"/>
            </a:solidFill>
            <a:ln w="28575">
              <a:solidFill>
                <a:schemeClr val="bg1"/>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Segoe UI" panose="020B0502040204020203" pitchFamily="34" charset="0"/>
                <a:cs typeface="Segoe UI" panose="020B0502040204020203" pitchFamily="34" charset="0"/>
              </a:endParaRPr>
            </a:p>
          </p:txBody>
        </p:sp>
        <p:sp>
          <p:nvSpPr>
            <p:cNvPr id="201" name="Rectangle 200">
              <a:extLst>
                <a:ext uri="{FF2B5EF4-FFF2-40B4-BE49-F238E27FC236}">
                  <a16:creationId xmlns:a16="http://schemas.microsoft.com/office/drawing/2014/main" id="{0132DA8E-D840-D994-89EF-6D003CA012E6}"/>
                </a:ext>
              </a:extLst>
            </p:cNvPr>
            <p:cNvSpPr/>
            <p:nvPr/>
          </p:nvSpPr>
          <p:spPr>
            <a:xfrm>
              <a:off x="4686300" y="2768999"/>
              <a:ext cx="2819400" cy="600164"/>
            </a:xfrm>
            <a:prstGeom prst="rect">
              <a:avLst/>
            </a:prstGeom>
          </p:spPr>
          <p:txBody>
            <a:bodyPr wrap="square">
              <a:spAutoFit/>
            </a:bodyPr>
            <a:lstStyle/>
            <a:p>
              <a:pPr marL="174625" indent="-174625">
                <a:spcBef>
                  <a:spcPts val="600"/>
                </a:spcBef>
                <a:buFont typeface="Segoe UI Light" panose="020B0502040204020203" pitchFamily="34" charset="0"/>
                <a:buChar char="›"/>
              </a:pPr>
              <a:r>
                <a:rPr lang="en-US" sz="1200">
                  <a:solidFill>
                    <a:schemeClr val="bg1"/>
                  </a:solidFill>
                  <a:latin typeface="Segoe UI" panose="020B0502040204020203" pitchFamily="34" charset="0"/>
                  <a:cs typeface="Segoe UI" panose="020B0502040204020203" pitchFamily="34" charset="0"/>
                </a:rPr>
                <a:t>35.41% from last week</a:t>
              </a:r>
            </a:p>
            <a:p>
              <a:pPr marL="174625" indent="-174625">
                <a:spcBef>
                  <a:spcPts val="600"/>
                </a:spcBef>
                <a:buFont typeface="Segoe UI Light" panose="020B0502040204020203" pitchFamily="34" charset="0"/>
                <a:buChar char="›"/>
              </a:pPr>
              <a:r>
                <a:rPr lang="en-US" sz="1200">
                  <a:solidFill>
                    <a:schemeClr val="bg1"/>
                  </a:solidFill>
                  <a:latin typeface="Segoe UI" panose="020B0502040204020203" pitchFamily="34" charset="0"/>
                  <a:cs typeface="Segoe UI" panose="020B0502040204020203" pitchFamily="34" charset="0"/>
                </a:rPr>
                <a:t>29.47% from 6 months ago</a:t>
              </a:r>
            </a:p>
          </p:txBody>
        </p:sp>
        <p:sp>
          <p:nvSpPr>
            <p:cNvPr id="202" name="Rectangle 201">
              <a:extLst>
                <a:ext uri="{FF2B5EF4-FFF2-40B4-BE49-F238E27FC236}">
                  <a16:creationId xmlns:a16="http://schemas.microsoft.com/office/drawing/2014/main" id="{0A343531-AD59-FFBD-632D-F833524E51DA}"/>
                </a:ext>
              </a:extLst>
            </p:cNvPr>
            <p:cNvSpPr/>
            <p:nvPr/>
          </p:nvSpPr>
          <p:spPr>
            <a:xfrm>
              <a:off x="1179208" y="2768999"/>
              <a:ext cx="1670200" cy="304699"/>
            </a:xfrm>
            <a:prstGeom prst="rect">
              <a:avLst/>
            </a:prstGeom>
          </p:spPr>
          <p:txBody>
            <a:bodyPr wrap="none">
              <a:spAutoFit/>
            </a:bodyPr>
            <a:lstStyle/>
            <a:p>
              <a:pPr algn="ctr">
                <a:spcBef>
                  <a:spcPts val="600"/>
                </a:spcBef>
              </a:pPr>
              <a:r>
                <a:rPr lang="en-US" sz="1200">
                  <a:solidFill>
                    <a:schemeClr val="bg1"/>
                  </a:solidFill>
                  <a:latin typeface="Segoe UI" panose="020B0502040204020203" pitchFamily="34" charset="0"/>
                  <a:cs typeface="Segoe UI" panose="020B0502040204020203" pitchFamily="34" charset="0"/>
                </a:rPr>
                <a:t>Upcoming Deposits</a:t>
              </a:r>
            </a:p>
          </p:txBody>
        </p:sp>
        <p:grpSp>
          <p:nvGrpSpPr>
            <p:cNvPr id="203" name="Group 202" descr="This is an icon of a cash register.">
              <a:extLst>
                <a:ext uri="{FF2B5EF4-FFF2-40B4-BE49-F238E27FC236}">
                  <a16:creationId xmlns:a16="http://schemas.microsoft.com/office/drawing/2014/main" id="{B29AF5F0-04E8-CF91-E920-DC5ADA9C344E}"/>
                </a:ext>
              </a:extLst>
            </p:cNvPr>
            <p:cNvGrpSpPr/>
            <p:nvPr/>
          </p:nvGrpSpPr>
          <p:grpSpPr>
            <a:xfrm>
              <a:off x="5952331" y="1427188"/>
              <a:ext cx="287338" cy="287338"/>
              <a:chOff x="304800" y="771525"/>
              <a:chExt cx="287338" cy="287338"/>
            </a:xfrm>
            <a:solidFill>
              <a:schemeClr val="bg1"/>
            </a:solidFill>
          </p:grpSpPr>
          <p:sp>
            <p:nvSpPr>
              <p:cNvPr id="204" name="Freeform 321">
                <a:extLst>
                  <a:ext uri="{FF2B5EF4-FFF2-40B4-BE49-F238E27FC236}">
                    <a16:creationId xmlns:a16="http://schemas.microsoft.com/office/drawing/2014/main" id="{EAF7A4B5-10B9-67EA-47FE-F6F6679A26AD}"/>
                  </a:ext>
                </a:extLst>
              </p:cNvPr>
              <p:cNvSpPr>
                <a:spLocks noEditPoints="1"/>
              </p:cNvSpPr>
              <p:nvPr/>
            </p:nvSpPr>
            <p:spPr bwMode="auto">
              <a:xfrm>
                <a:off x="306388" y="923925"/>
                <a:ext cx="284163" cy="68263"/>
              </a:xfrm>
              <a:custGeom>
                <a:avLst/>
                <a:gdLst>
                  <a:gd name="T0" fmla="*/ 694 w 895"/>
                  <a:gd name="T1" fmla="*/ 159 h 211"/>
                  <a:gd name="T2" fmla="*/ 657 w 895"/>
                  <a:gd name="T3" fmla="*/ 159 h 211"/>
                  <a:gd name="T4" fmla="*/ 657 w 895"/>
                  <a:gd name="T5" fmla="*/ 122 h 211"/>
                  <a:gd name="T6" fmla="*/ 694 w 895"/>
                  <a:gd name="T7" fmla="*/ 122 h 211"/>
                  <a:gd name="T8" fmla="*/ 694 w 895"/>
                  <a:gd name="T9" fmla="*/ 159 h 211"/>
                  <a:gd name="T10" fmla="*/ 637 w 895"/>
                  <a:gd name="T11" fmla="*/ 103 h 211"/>
                  <a:gd name="T12" fmla="*/ 600 w 895"/>
                  <a:gd name="T13" fmla="*/ 103 h 211"/>
                  <a:gd name="T14" fmla="*/ 600 w 895"/>
                  <a:gd name="T15" fmla="*/ 65 h 211"/>
                  <a:gd name="T16" fmla="*/ 637 w 895"/>
                  <a:gd name="T17" fmla="*/ 65 h 211"/>
                  <a:gd name="T18" fmla="*/ 637 w 895"/>
                  <a:gd name="T19" fmla="*/ 103 h 211"/>
                  <a:gd name="T20" fmla="*/ 581 w 895"/>
                  <a:gd name="T21" fmla="*/ 159 h 211"/>
                  <a:gd name="T22" fmla="*/ 543 w 895"/>
                  <a:gd name="T23" fmla="*/ 159 h 211"/>
                  <a:gd name="T24" fmla="*/ 543 w 895"/>
                  <a:gd name="T25" fmla="*/ 122 h 211"/>
                  <a:gd name="T26" fmla="*/ 581 w 895"/>
                  <a:gd name="T27" fmla="*/ 122 h 211"/>
                  <a:gd name="T28" fmla="*/ 581 w 895"/>
                  <a:gd name="T29" fmla="*/ 159 h 211"/>
                  <a:gd name="T30" fmla="*/ 524 w 895"/>
                  <a:gd name="T31" fmla="*/ 103 h 211"/>
                  <a:gd name="T32" fmla="*/ 485 w 895"/>
                  <a:gd name="T33" fmla="*/ 103 h 211"/>
                  <a:gd name="T34" fmla="*/ 485 w 895"/>
                  <a:gd name="T35" fmla="*/ 65 h 211"/>
                  <a:gd name="T36" fmla="*/ 524 w 895"/>
                  <a:gd name="T37" fmla="*/ 65 h 211"/>
                  <a:gd name="T38" fmla="*/ 524 w 895"/>
                  <a:gd name="T39" fmla="*/ 103 h 211"/>
                  <a:gd name="T40" fmla="*/ 467 w 895"/>
                  <a:gd name="T41" fmla="*/ 159 h 211"/>
                  <a:gd name="T42" fmla="*/ 428 w 895"/>
                  <a:gd name="T43" fmla="*/ 159 h 211"/>
                  <a:gd name="T44" fmla="*/ 428 w 895"/>
                  <a:gd name="T45" fmla="*/ 122 h 211"/>
                  <a:gd name="T46" fmla="*/ 467 w 895"/>
                  <a:gd name="T47" fmla="*/ 122 h 211"/>
                  <a:gd name="T48" fmla="*/ 467 w 895"/>
                  <a:gd name="T49" fmla="*/ 159 h 211"/>
                  <a:gd name="T50" fmla="*/ 410 w 895"/>
                  <a:gd name="T51" fmla="*/ 103 h 211"/>
                  <a:gd name="T52" fmla="*/ 371 w 895"/>
                  <a:gd name="T53" fmla="*/ 103 h 211"/>
                  <a:gd name="T54" fmla="*/ 371 w 895"/>
                  <a:gd name="T55" fmla="*/ 65 h 211"/>
                  <a:gd name="T56" fmla="*/ 410 w 895"/>
                  <a:gd name="T57" fmla="*/ 65 h 211"/>
                  <a:gd name="T58" fmla="*/ 410 w 895"/>
                  <a:gd name="T59" fmla="*/ 103 h 211"/>
                  <a:gd name="T60" fmla="*/ 353 w 895"/>
                  <a:gd name="T61" fmla="*/ 159 h 211"/>
                  <a:gd name="T62" fmla="*/ 315 w 895"/>
                  <a:gd name="T63" fmla="*/ 159 h 211"/>
                  <a:gd name="T64" fmla="*/ 315 w 895"/>
                  <a:gd name="T65" fmla="*/ 122 h 211"/>
                  <a:gd name="T66" fmla="*/ 353 w 895"/>
                  <a:gd name="T67" fmla="*/ 122 h 211"/>
                  <a:gd name="T68" fmla="*/ 353 w 895"/>
                  <a:gd name="T69" fmla="*/ 159 h 211"/>
                  <a:gd name="T70" fmla="*/ 295 w 895"/>
                  <a:gd name="T71" fmla="*/ 103 h 211"/>
                  <a:gd name="T72" fmla="*/ 258 w 895"/>
                  <a:gd name="T73" fmla="*/ 103 h 211"/>
                  <a:gd name="T74" fmla="*/ 258 w 895"/>
                  <a:gd name="T75" fmla="*/ 65 h 211"/>
                  <a:gd name="T76" fmla="*/ 295 w 895"/>
                  <a:gd name="T77" fmla="*/ 65 h 211"/>
                  <a:gd name="T78" fmla="*/ 295 w 895"/>
                  <a:gd name="T79" fmla="*/ 103 h 211"/>
                  <a:gd name="T80" fmla="*/ 238 w 895"/>
                  <a:gd name="T81" fmla="*/ 159 h 211"/>
                  <a:gd name="T82" fmla="*/ 201 w 895"/>
                  <a:gd name="T83" fmla="*/ 159 h 211"/>
                  <a:gd name="T84" fmla="*/ 201 w 895"/>
                  <a:gd name="T85" fmla="*/ 122 h 211"/>
                  <a:gd name="T86" fmla="*/ 238 w 895"/>
                  <a:gd name="T87" fmla="*/ 122 h 211"/>
                  <a:gd name="T88" fmla="*/ 238 w 895"/>
                  <a:gd name="T89" fmla="*/ 159 h 211"/>
                  <a:gd name="T90" fmla="*/ 815 w 895"/>
                  <a:gd name="T91" fmla="*/ 0 h 211"/>
                  <a:gd name="T92" fmla="*/ 80 w 895"/>
                  <a:gd name="T93" fmla="*/ 0 h 211"/>
                  <a:gd name="T94" fmla="*/ 0 w 895"/>
                  <a:gd name="T95" fmla="*/ 211 h 211"/>
                  <a:gd name="T96" fmla="*/ 895 w 895"/>
                  <a:gd name="T97" fmla="*/ 211 h 211"/>
                  <a:gd name="T98" fmla="*/ 815 w 895"/>
                  <a:gd name="T9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95" h="211">
                    <a:moveTo>
                      <a:pt x="694" y="159"/>
                    </a:moveTo>
                    <a:lnTo>
                      <a:pt x="657" y="159"/>
                    </a:lnTo>
                    <a:lnTo>
                      <a:pt x="657" y="122"/>
                    </a:lnTo>
                    <a:lnTo>
                      <a:pt x="694" y="122"/>
                    </a:lnTo>
                    <a:lnTo>
                      <a:pt x="694" y="159"/>
                    </a:lnTo>
                    <a:close/>
                    <a:moveTo>
                      <a:pt x="637" y="103"/>
                    </a:moveTo>
                    <a:lnTo>
                      <a:pt x="600" y="103"/>
                    </a:lnTo>
                    <a:lnTo>
                      <a:pt x="600" y="65"/>
                    </a:lnTo>
                    <a:lnTo>
                      <a:pt x="637" y="65"/>
                    </a:lnTo>
                    <a:lnTo>
                      <a:pt x="637" y="103"/>
                    </a:lnTo>
                    <a:close/>
                    <a:moveTo>
                      <a:pt x="581" y="159"/>
                    </a:moveTo>
                    <a:lnTo>
                      <a:pt x="543" y="159"/>
                    </a:lnTo>
                    <a:lnTo>
                      <a:pt x="543" y="122"/>
                    </a:lnTo>
                    <a:lnTo>
                      <a:pt x="581" y="122"/>
                    </a:lnTo>
                    <a:lnTo>
                      <a:pt x="581" y="159"/>
                    </a:lnTo>
                    <a:close/>
                    <a:moveTo>
                      <a:pt x="524" y="103"/>
                    </a:moveTo>
                    <a:lnTo>
                      <a:pt x="485" y="103"/>
                    </a:lnTo>
                    <a:lnTo>
                      <a:pt x="485" y="65"/>
                    </a:lnTo>
                    <a:lnTo>
                      <a:pt x="524" y="65"/>
                    </a:lnTo>
                    <a:lnTo>
                      <a:pt x="524" y="103"/>
                    </a:lnTo>
                    <a:close/>
                    <a:moveTo>
                      <a:pt x="467" y="159"/>
                    </a:moveTo>
                    <a:lnTo>
                      <a:pt x="428" y="159"/>
                    </a:lnTo>
                    <a:lnTo>
                      <a:pt x="428" y="122"/>
                    </a:lnTo>
                    <a:lnTo>
                      <a:pt x="467" y="122"/>
                    </a:lnTo>
                    <a:lnTo>
                      <a:pt x="467" y="159"/>
                    </a:lnTo>
                    <a:close/>
                    <a:moveTo>
                      <a:pt x="410" y="103"/>
                    </a:moveTo>
                    <a:lnTo>
                      <a:pt x="371" y="103"/>
                    </a:lnTo>
                    <a:lnTo>
                      <a:pt x="371" y="65"/>
                    </a:lnTo>
                    <a:lnTo>
                      <a:pt x="410" y="65"/>
                    </a:lnTo>
                    <a:lnTo>
                      <a:pt x="410" y="103"/>
                    </a:lnTo>
                    <a:close/>
                    <a:moveTo>
                      <a:pt x="353" y="159"/>
                    </a:moveTo>
                    <a:lnTo>
                      <a:pt x="315" y="159"/>
                    </a:lnTo>
                    <a:lnTo>
                      <a:pt x="315" y="122"/>
                    </a:lnTo>
                    <a:lnTo>
                      <a:pt x="353" y="122"/>
                    </a:lnTo>
                    <a:lnTo>
                      <a:pt x="353" y="159"/>
                    </a:lnTo>
                    <a:close/>
                    <a:moveTo>
                      <a:pt x="295" y="103"/>
                    </a:moveTo>
                    <a:lnTo>
                      <a:pt x="258" y="103"/>
                    </a:lnTo>
                    <a:lnTo>
                      <a:pt x="258" y="65"/>
                    </a:lnTo>
                    <a:lnTo>
                      <a:pt x="295" y="65"/>
                    </a:lnTo>
                    <a:lnTo>
                      <a:pt x="295" y="103"/>
                    </a:lnTo>
                    <a:close/>
                    <a:moveTo>
                      <a:pt x="238" y="159"/>
                    </a:moveTo>
                    <a:lnTo>
                      <a:pt x="201" y="159"/>
                    </a:lnTo>
                    <a:lnTo>
                      <a:pt x="201" y="122"/>
                    </a:lnTo>
                    <a:lnTo>
                      <a:pt x="238" y="122"/>
                    </a:lnTo>
                    <a:lnTo>
                      <a:pt x="238" y="159"/>
                    </a:lnTo>
                    <a:close/>
                    <a:moveTo>
                      <a:pt x="815" y="0"/>
                    </a:moveTo>
                    <a:lnTo>
                      <a:pt x="80" y="0"/>
                    </a:lnTo>
                    <a:lnTo>
                      <a:pt x="0" y="211"/>
                    </a:lnTo>
                    <a:lnTo>
                      <a:pt x="895" y="211"/>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205" name="Freeform 322">
                <a:extLst>
                  <a:ext uri="{FF2B5EF4-FFF2-40B4-BE49-F238E27FC236}">
                    <a16:creationId xmlns:a16="http://schemas.microsoft.com/office/drawing/2014/main" id="{F1E78DB9-EF56-DCF5-4F51-6C096AFF9B8E}"/>
                  </a:ext>
                </a:extLst>
              </p:cNvPr>
              <p:cNvSpPr>
                <a:spLocks noEditPoints="1"/>
              </p:cNvSpPr>
              <p:nvPr/>
            </p:nvSpPr>
            <p:spPr bwMode="auto">
              <a:xfrm>
                <a:off x="304800" y="1001713"/>
                <a:ext cx="287338" cy="57150"/>
              </a:xfrm>
              <a:custGeom>
                <a:avLst/>
                <a:gdLst>
                  <a:gd name="T0" fmla="*/ 572 w 903"/>
                  <a:gd name="T1" fmla="*/ 78 h 180"/>
                  <a:gd name="T2" fmla="*/ 569 w 903"/>
                  <a:gd name="T3" fmla="*/ 84 h 180"/>
                  <a:gd name="T4" fmla="*/ 565 w 903"/>
                  <a:gd name="T5" fmla="*/ 88 h 180"/>
                  <a:gd name="T6" fmla="*/ 560 w 903"/>
                  <a:gd name="T7" fmla="*/ 90 h 180"/>
                  <a:gd name="T8" fmla="*/ 554 w 903"/>
                  <a:gd name="T9" fmla="*/ 90 h 180"/>
                  <a:gd name="T10" fmla="*/ 548 w 903"/>
                  <a:gd name="T11" fmla="*/ 88 h 180"/>
                  <a:gd name="T12" fmla="*/ 545 w 903"/>
                  <a:gd name="T13" fmla="*/ 84 h 180"/>
                  <a:gd name="T14" fmla="*/ 543 w 903"/>
                  <a:gd name="T15" fmla="*/ 78 h 180"/>
                  <a:gd name="T16" fmla="*/ 542 w 903"/>
                  <a:gd name="T17" fmla="*/ 60 h 180"/>
                  <a:gd name="T18" fmla="*/ 331 w 903"/>
                  <a:gd name="T19" fmla="*/ 75 h 180"/>
                  <a:gd name="T20" fmla="*/ 330 w 903"/>
                  <a:gd name="T21" fmla="*/ 80 h 180"/>
                  <a:gd name="T22" fmla="*/ 327 w 903"/>
                  <a:gd name="T23" fmla="*/ 86 h 180"/>
                  <a:gd name="T24" fmla="*/ 322 w 903"/>
                  <a:gd name="T25" fmla="*/ 89 h 180"/>
                  <a:gd name="T26" fmla="*/ 316 w 903"/>
                  <a:gd name="T27" fmla="*/ 90 h 180"/>
                  <a:gd name="T28" fmla="*/ 310 w 903"/>
                  <a:gd name="T29" fmla="*/ 89 h 180"/>
                  <a:gd name="T30" fmla="*/ 306 w 903"/>
                  <a:gd name="T31" fmla="*/ 86 h 180"/>
                  <a:gd name="T32" fmla="*/ 302 w 903"/>
                  <a:gd name="T33" fmla="*/ 80 h 180"/>
                  <a:gd name="T34" fmla="*/ 301 w 903"/>
                  <a:gd name="T35" fmla="*/ 75 h 180"/>
                  <a:gd name="T36" fmla="*/ 301 w 903"/>
                  <a:gd name="T37" fmla="*/ 42 h 180"/>
                  <a:gd name="T38" fmla="*/ 304 w 903"/>
                  <a:gd name="T39" fmla="*/ 36 h 180"/>
                  <a:gd name="T40" fmla="*/ 308 w 903"/>
                  <a:gd name="T41" fmla="*/ 32 h 180"/>
                  <a:gd name="T42" fmla="*/ 313 w 903"/>
                  <a:gd name="T43" fmla="*/ 30 h 180"/>
                  <a:gd name="T44" fmla="*/ 557 w 903"/>
                  <a:gd name="T45" fmla="*/ 30 h 180"/>
                  <a:gd name="T46" fmla="*/ 563 w 903"/>
                  <a:gd name="T47" fmla="*/ 31 h 180"/>
                  <a:gd name="T48" fmla="*/ 567 w 903"/>
                  <a:gd name="T49" fmla="*/ 34 h 180"/>
                  <a:gd name="T50" fmla="*/ 571 w 903"/>
                  <a:gd name="T51" fmla="*/ 39 h 180"/>
                  <a:gd name="T52" fmla="*/ 572 w 903"/>
                  <a:gd name="T53" fmla="*/ 45 h 180"/>
                  <a:gd name="T54" fmla="*/ 0 w 903"/>
                  <a:gd name="T55" fmla="*/ 0 h 180"/>
                  <a:gd name="T56" fmla="*/ 0 w 903"/>
                  <a:gd name="T57" fmla="*/ 168 h 180"/>
                  <a:gd name="T58" fmla="*/ 2 w 903"/>
                  <a:gd name="T59" fmla="*/ 174 h 180"/>
                  <a:gd name="T60" fmla="*/ 6 w 903"/>
                  <a:gd name="T61" fmla="*/ 178 h 180"/>
                  <a:gd name="T62" fmla="*/ 12 w 903"/>
                  <a:gd name="T63" fmla="*/ 180 h 180"/>
                  <a:gd name="T64" fmla="*/ 888 w 903"/>
                  <a:gd name="T65" fmla="*/ 180 h 180"/>
                  <a:gd name="T66" fmla="*/ 894 w 903"/>
                  <a:gd name="T67" fmla="*/ 179 h 180"/>
                  <a:gd name="T68" fmla="*/ 899 w 903"/>
                  <a:gd name="T69" fmla="*/ 176 h 180"/>
                  <a:gd name="T70" fmla="*/ 902 w 903"/>
                  <a:gd name="T71" fmla="*/ 172 h 180"/>
                  <a:gd name="T72" fmla="*/ 903 w 903"/>
                  <a:gd name="T73" fmla="*/ 165 h 180"/>
                  <a:gd name="T74" fmla="*/ 0 w 903"/>
                  <a:gd name="T75"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3" h="180">
                    <a:moveTo>
                      <a:pt x="572" y="75"/>
                    </a:moveTo>
                    <a:lnTo>
                      <a:pt x="572" y="78"/>
                    </a:lnTo>
                    <a:lnTo>
                      <a:pt x="571" y="80"/>
                    </a:lnTo>
                    <a:lnTo>
                      <a:pt x="569" y="84"/>
                    </a:lnTo>
                    <a:lnTo>
                      <a:pt x="567" y="86"/>
                    </a:lnTo>
                    <a:lnTo>
                      <a:pt x="565" y="88"/>
                    </a:lnTo>
                    <a:lnTo>
                      <a:pt x="563" y="89"/>
                    </a:lnTo>
                    <a:lnTo>
                      <a:pt x="560" y="90"/>
                    </a:lnTo>
                    <a:lnTo>
                      <a:pt x="557" y="90"/>
                    </a:lnTo>
                    <a:lnTo>
                      <a:pt x="554" y="90"/>
                    </a:lnTo>
                    <a:lnTo>
                      <a:pt x="551" y="89"/>
                    </a:lnTo>
                    <a:lnTo>
                      <a:pt x="548" y="88"/>
                    </a:lnTo>
                    <a:lnTo>
                      <a:pt x="546" y="86"/>
                    </a:lnTo>
                    <a:lnTo>
                      <a:pt x="545" y="84"/>
                    </a:lnTo>
                    <a:lnTo>
                      <a:pt x="543" y="80"/>
                    </a:lnTo>
                    <a:lnTo>
                      <a:pt x="543" y="78"/>
                    </a:lnTo>
                    <a:lnTo>
                      <a:pt x="542" y="75"/>
                    </a:lnTo>
                    <a:lnTo>
                      <a:pt x="542" y="60"/>
                    </a:lnTo>
                    <a:lnTo>
                      <a:pt x="331" y="60"/>
                    </a:lnTo>
                    <a:lnTo>
                      <a:pt x="331" y="75"/>
                    </a:lnTo>
                    <a:lnTo>
                      <a:pt x="331" y="78"/>
                    </a:lnTo>
                    <a:lnTo>
                      <a:pt x="330" y="80"/>
                    </a:lnTo>
                    <a:lnTo>
                      <a:pt x="328" y="84"/>
                    </a:lnTo>
                    <a:lnTo>
                      <a:pt x="327" y="86"/>
                    </a:lnTo>
                    <a:lnTo>
                      <a:pt x="325" y="88"/>
                    </a:lnTo>
                    <a:lnTo>
                      <a:pt x="322" y="89"/>
                    </a:lnTo>
                    <a:lnTo>
                      <a:pt x="320" y="90"/>
                    </a:lnTo>
                    <a:lnTo>
                      <a:pt x="316" y="90"/>
                    </a:lnTo>
                    <a:lnTo>
                      <a:pt x="313" y="90"/>
                    </a:lnTo>
                    <a:lnTo>
                      <a:pt x="310" y="89"/>
                    </a:lnTo>
                    <a:lnTo>
                      <a:pt x="308" y="88"/>
                    </a:lnTo>
                    <a:lnTo>
                      <a:pt x="306" y="86"/>
                    </a:lnTo>
                    <a:lnTo>
                      <a:pt x="304" y="84"/>
                    </a:lnTo>
                    <a:lnTo>
                      <a:pt x="302" y="80"/>
                    </a:lnTo>
                    <a:lnTo>
                      <a:pt x="301" y="78"/>
                    </a:lnTo>
                    <a:lnTo>
                      <a:pt x="301" y="75"/>
                    </a:lnTo>
                    <a:lnTo>
                      <a:pt x="301" y="45"/>
                    </a:lnTo>
                    <a:lnTo>
                      <a:pt x="301" y="42"/>
                    </a:lnTo>
                    <a:lnTo>
                      <a:pt x="302" y="39"/>
                    </a:lnTo>
                    <a:lnTo>
                      <a:pt x="304" y="36"/>
                    </a:lnTo>
                    <a:lnTo>
                      <a:pt x="306" y="34"/>
                    </a:lnTo>
                    <a:lnTo>
                      <a:pt x="308" y="32"/>
                    </a:lnTo>
                    <a:lnTo>
                      <a:pt x="310" y="31"/>
                    </a:lnTo>
                    <a:lnTo>
                      <a:pt x="313" y="30"/>
                    </a:lnTo>
                    <a:lnTo>
                      <a:pt x="316" y="30"/>
                    </a:lnTo>
                    <a:lnTo>
                      <a:pt x="557" y="30"/>
                    </a:lnTo>
                    <a:lnTo>
                      <a:pt x="560" y="30"/>
                    </a:lnTo>
                    <a:lnTo>
                      <a:pt x="563" y="31"/>
                    </a:lnTo>
                    <a:lnTo>
                      <a:pt x="565" y="32"/>
                    </a:lnTo>
                    <a:lnTo>
                      <a:pt x="567" y="34"/>
                    </a:lnTo>
                    <a:lnTo>
                      <a:pt x="569" y="36"/>
                    </a:lnTo>
                    <a:lnTo>
                      <a:pt x="571" y="39"/>
                    </a:lnTo>
                    <a:lnTo>
                      <a:pt x="572" y="42"/>
                    </a:lnTo>
                    <a:lnTo>
                      <a:pt x="572" y="45"/>
                    </a:lnTo>
                    <a:lnTo>
                      <a:pt x="572" y="75"/>
                    </a:lnTo>
                    <a:close/>
                    <a:moveTo>
                      <a:pt x="0" y="0"/>
                    </a:moveTo>
                    <a:lnTo>
                      <a:pt x="0" y="165"/>
                    </a:lnTo>
                    <a:lnTo>
                      <a:pt x="0" y="168"/>
                    </a:lnTo>
                    <a:lnTo>
                      <a:pt x="1" y="172"/>
                    </a:lnTo>
                    <a:lnTo>
                      <a:pt x="2" y="174"/>
                    </a:lnTo>
                    <a:lnTo>
                      <a:pt x="4" y="176"/>
                    </a:lnTo>
                    <a:lnTo>
                      <a:pt x="6" y="178"/>
                    </a:lnTo>
                    <a:lnTo>
                      <a:pt x="10" y="179"/>
                    </a:lnTo>
                    <a:lnTo>
                      <a:pt x="12" y="180"/>
                    </a:lnTo>
                    <a:lnTo>
                      <a:pt x="15" y="180"/>
                    </a:lnTo>
                    <a:lnTo>
                      <a:pt x="888" y="180"/>
                    </a:lnTo>
                    <a:lnTo>
                      <a:pt x="891" y="180"/>
                    </a:lnTo>
                    <a:lnTo>
                      <a:pt x="894" y="179"/>
                    </a:lnTo>
                    <a:lnTo>
                      <a:pt x="897" y="178"/>
                    </a:lnTo>
                    <a:lnTo>
                      <a:pt x="899" y="176"/>
                    </a:lnTo>
                    <a:lnTo>
                      <a:pt x="901" y="174"/>
                    </a:lnTo>
                    <a:lnTo>
                      <a:pt x="902" y="172"/>
                    </a:lnTo>
                    <a:lnTo>
                      <a:pt x="903" y="168"/>
                    </a:lnTo>
                    <a:lnTo>
                      <a:pt x="903" y="165"/>
                    </a:lnTo>
                    <a:lnTo>
                      <a:pt x="90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206" name="Freeform 323">
                <a:extLst>
                  <a:ext uri="{FF2B5EF4-FFF2-40B4-BE49-F238E27FC236}">
                    <a16:creationId xmlns:a16="http://schemas.microsoft.com/office/drawing/2014/main" id="{B1217D06-1123-A785-5205-F8EBF88F6E28}"/>
                  </a:ext>
                </a:extLst>
              </p:cNvPr>
              <p:cNvSpPr>
                <a:spLocks noEditPoints="1"/>
              </p:cNvSpPr>
              <p:nvPr/>
            </p:nvSpPr>
            <p:spPr bwMode="auto">
              <a:xfrm>
                <a:off x="333375" y="771525"/>
                <a:ext cx="230188" cy="142875"/>
              </a:xfrm>
              <a:custGeom>
                <a:avLst/>
                <a:gdLst>
                  <a:gd name="T0" fmla="*/ 448 w 723"/>
                  <a:gd name="T1" fmla="*/ 361 h 452"/>
                  <a:gd name="T2" fmla="*/ 441 w 723"/>
                  <a:gd name="T3" fmla="*/ 357 h 452"/>
                  <a:gd name="T4" fmla="*/ 438 w 723"/>
                  <a:gd name="T5" fmla="*/ 350 h 452"/>
                  <a:gd name="T6" fmla="*/ 438 w 723"/>
                  <a:gd name="T7" fmla="*/ 340 h 452"/>
                  <a:gd name="T8" fmla="*/ 443 w 723"/>
                  <a:gd name="T9" fmla="*/ 334 h 452"/>
                  <a:gd name="T10" fmla="*/ 452 w 723"/>
                  <a:gd name="T11" fmla="*/ 331 h 452"/>
                  <a:gd name="T12" fmla="*/ 608 w 723"/>
                  <a:gd name="T13" fmla="*/ 333 h 452"/>
                  <a:gd name="T14" fmla="*/ 615 w 723"/>
                  <a:gd name="T15" fmla="*/ 338 h 452"/>
                  <a:gd name="T16" fmla="*/ 618 w 723"/>
                  <a:gd name="T17" fmla="*/ 346 h 452"/>
                  <a:gd name="T18" fmla="*/ 615 w 723"/>
                  <a:gd name="T19" fmla="*/ 355 h 452"/>
                  <a:gd name="T20" fmla="*/ 608 w 723"/>
                  <a:gd name="T21" fmla="*/ 360 h 452"/>
                  <a:gd name="T22" fmla="*/ 331 w 723"/>
                  <a:gd name="T23" fmla="*/ 407 h 452"/>
                  <a:gd name="T24" fmla="*/ 329 w 723"/>
                  <a:gd name="T25" fmla="*/ 415 h 452"/>
                  <a:gd name="T26" fmla="*/ 322 w 723"/>
                  <a:gd name="T27" fmla="*/ 420 h 452"/>
                  <a:gd name="T28" fmla="*/ 105 w 723"/>
                  <a:gd name="T29" fmla="*/ 422 h 452"/>
                  <a:gd name="T30" fmla="*/ 98 w 723"/>
                  <a:gd name="T31" fmla="*/ 419 h 452"/>
                  <a:gd name="T32" fmla="*/ 92 w 723"/>
                  <a:gd name="T33" fmla="*/ 412 h 452"/>
                  <a:gd name="T34" fmla="*/ 90 w 723"/>
                  <a:gd name="T35" fmla="*/ 286 h 452"/>
                  <a:gd name="T36" fmla="*/ 93 w 723"/>
                  <a:gd name="T37" fmla="*/ 278 h 452"/>
                  <a:gd name="T38" fmla="*/ 100 w 723"/>
                  <a:gd name="T39" fmla="*/ 272 h 452"/>
                  <a:gd name="T40" fmla="*/ 316 w 723"/>
                  <a:gd name="T41" fmla="*/ 271 h 452"/>
                  <a:gd name="T42" fmla="*/ 325 w 723"/>
                  <a:gd name="T43" fmla="*/ 274 h 452"/>
                  <a:gd name="T44" fmla="*/ 330 w 723"/>
                  <a:gd name="T45" fmla="*/ 280 h 452"/>
                  <a:gd name="T46" fmla="*/ 331 w 723"/>
                  <a:gd name="T47" fmla="*/ 407 h 452"/>
                  <a:gd name="T48" fmla="*/ 722 w 723"/>
                  <a:gd name="T49" fmla="*/ 220 h 452"/>
                  <a:gd name="T50" fmla="*/ 717 w 723"/>
                  <a:gd name="T51" fmla="*/ 213 h 452"/>
                  <a:gd name="T52" fmla="*/ 708 w 723"/>
                  <a:gd name="T53" fmla="*/ 211 h 452"/>
                  <a:gd name="T54" fmla="*/ 678 w 723"/>
                  <a:gd name="T55" fmla="*/ 150 h 452"/>
                  <a:gd name="T56" fmla="*/ 703 w 723"/>
                  <a:gd name="T57" fmla="*/ 143 h 452"/>
                  <a:gd name="T58" fmla="*/ 720 w 723"/>
                  <a:gd name="T59" fmla="*/ 123 h 452"/>
                  <a:gd name="T60" fmla="*/ 723 w 723"/>
                  <a:gd name="T61" fmla="*/ 45 h 452"/>
                  <a:gd name="T62" fmla="*/ 715 w 723"/>
                  <a:gd name="T63" fmla="*/ 20 h 452"/>
                  <a:gd name="T64" fmla="*/ 695 w 723"/>
                  <a:gd name="T65" fmla="*/ 3 h 452"/>
                  <a:gd name="T66" fmla="*/ 497 w 723"/>
                  <a:gd name="T67" fmla="*/ 0 h 452"/>
                  <a:gd name="T68" fmla="*/ 472 w 723"/>
                  <a:gd name="T69" fmla="*/ 8 h 452"/>
                  <a:gd name="T70" fmla="*/ 456 w 723"/>
                  <a:gd name="T71" fmla="*/ 28 h 452"/>
                  <a:gd name="T72" fmla="*/ 452 w 723"/>
                  <a:gd name="T73" fmla="*/ 105 h 452"/>
                  <a:gd name="T74" fmla="*/ 460 w 723"/>
                  <a:gd name="T75" fmla="*/ 131 h 452"/>
                  <a:gd name="T76" fmla="*/ 479 w 723"/>
                  <a:gd name="T77" fmla="*/ 147 h 452"/>
                  <a:gd name="T78" fmla="*/ 573 w 723"/>
                  <a:gd name="T79" fmla="*/ 150 h 452"/>
                  <a:gd name="T80" fmla="*/ 301 w 723"/>
                  <a:gd name="T81" fmla="*/ 75 h 452"/>
                  <a:gd name="T82" fmla="*/ 297 w 723"/>
                  <a:gd name="T83" fmla="*/ 65 h 452"/>
                  <a:gd name="T84" fmla="*/ 288 w 723"/>
                  <a:gd name="T85" fmla="*/ 60 h 452"/>
                  <a:gd name="T86" fmla="*/ 130 w 723"/>
                  <a:gd name="T87" fmla="*/ 121 h 452"/>
                  <a:gd name="T88" fmla="*/ 121 w 723"/>
                  <a:gd name="T89" fmla="*/ 131 h 452"/>
                  <a:gd name="T90" fmla="*/ 15 w 723"/>
                  <a:gd name="T91" fmla="*/ 211 h 452"/>
                  <a:gd name="T92" fmla="*/ 7 w 723"/>
                  <a:gd name="T93" fmla="*/ 213 h 452"/>
                  <a:gd name="T94" fmla="*/ 1 w 723"/>
                  <a:gd name="T95" fmla="*/ 220 h 452"/>
                  <a:gd name="T96" fmla="*/ 0 w 723"/>
                  <a:gd name="T97" fmla="*/ 45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3" h="452">
                    <a:moveTo>
                      <a:pt x="603" y="361"/>
                    </a:moveTo>
                    <a:lnTo>
                      <a:pt x="452" y="361"/>
                    </a:lnTo>
                    <a:lnTo>
                      <a:pt x="448" y="361"/>
                    </a:lnTo>
                    <a:lnTo>
                      <a:pt x="446" y="360"/>
                    </a:lnTo>
                    <a:lnTo>
                      <a:pt x="443" y="359"/>
                    </a:lnTo>
                    <a:lnTo>
                      <a:pt x="441" y="357"/>
                    </a:lnTo>
                    <a:lnTo>
                      <a:pt x="440" y="355"/>
                    </a:lnTo>
                    <a:lnTo>
                      <a:pt x="438" y="352"/>
                    </a:lnTo>
                    <a:lnTo>
                      <a:pt x="438" y="350"/>
                    </a:lnTo>
                    <a:lnTo>
                      <a:pt x="437" y="346"/>
                    </a:lnTo>
                    <a:lnTo>
                      <a:pt x="438" y="343"/>
                    </a:lnTo>
                    <a:lnTo>
                      <a:pt x="438" y="340"/>
                    </a:lnTo>
                    <a:lnTo>
                      <a:pt x="440" y="338"/>
                    </a:lnTo>
                    <a:lnTo>
                      <a:pt x="441" y="336"/>
                    </a:lnTo>
                    <a:lnTo>
                      <a:pt x="443" y="334"/>
                    </a:lnTo>
                    <a:lnTo>
                      <a:pt x="446" y="333"/>
                    </a:lnTo>
                    <a:lnTo>
                      <a:pt x="448" y="331"/>
                    </a:lnTo>
                    <a:lnTo>
                      <a:pt x="452" y="331"/>
                    </a:lnTo>
                    <a:lnTo>
                      <a:pt x="603" y="331"/>
                    </a:lnTo>
                    <a:lnTo>
                      <a:pt x="605" y="331"/>
                    </a:lnTo>
                    <a:lnTo>
                      <a:pt x="608" y="333"/>
                    </a:lnTo>
                    <a:lnTo>
                      <a:pt x="610" y="334"/>
                    </a:lnTo>
                    <a:lnTo>
                      <a:pt x="614" y="336"/>
                    </a:lnTo>
                    <a:lnTo>
                      <a:pt x="615" y="338"/>
                    </a:lnTo>
                    <a:lnTo>
                      <a:pt x="617" y="340"/>
                    </a:lnTo>
                    <a:lnTo>
                      <a:pt x="617" y="343"/>
                    </a:lnTo>
                    <a:lnTo>
                      <a:pt x="618" y="346"/>
                    </a:lnTo>
                    <a:lnTo>
                      <a:pt x="617" y="350"/>
                    </a:lnTo>
                    <a:lnTo>
                      <a:pt x="617" y="352"/>
                    </a:lnTo>
                    <a:lnTo>
                      <a:pt x="615" y="355"/>
                    </a:lnTo>
                    <a:lnTo>
                      <a:pt x="614" y="357"/>
                    </a:lnTo>
                    <a:lnTo>
                      <a:pt x="610" y="359"/>
                    </a:lnTo>
                    <a:lnTo>
                      <a:pt x="608" y="360"/>
                    </a:lnTo>
                    <a:lnTo>
                      <a:pt x="605" y="361"/>
                    </a:lnTo>
                    <a:lnTo>
                      <a:pt x="603" y="361"/>
                    </a:lnTo>
                    <a:close/>
                    <a:moveTo>
                      <a:pt x="331" y="407"/>
                    </a:moveTo>
                    <a:lnTo>
                      <a:pt x="331" y="410"/>
                    </a:lnTo>
                    <a:lnTo>
                      <a:pt x="330" y="412"/>
                    </a:lnTo>
                    <a:lnTo>
                      <a:pt x="329" y="415"/>
                    </a:lnTo>
                    <a:lnTo>
                      <a:pt x="327" y="417"/>
                    </a:lnTo>
                    <a:lnTo>
                      <a:pt x="325" y="419"/>
                    </a:lnTo>
                    <a:lnTo>
                      <a:pt x="322" y="420"/>
                    </a:lnTo>
                    <a:lnTo>
                      <a:pt x="320" y="422"/>
                    </a:lnTo>
                    <a:lnTo>
                      <a:pt x="316" y="422"/>
                    </a:lnTo>
                    <a:lnTo>
                      <a:pt x="105" y="422"/>
                    </a:lnTo>
                    <a:lnTo>
                      <a:pt x="103" y="422"/>
                    </a:lnTo>
                    <a:lnTo>
                      <a:pt x="100" y="420"/>
                    </a:lnTo>
                    <a:lnTo>
                      <a:pt x="98" y="419"/>
                    </a:lnTo>
                    <a:lnTo>
                      <a:pt x="96" y="417"/>
                    </a:lnTo>
                    <a:lnTo>
                      <a:pt x="93" y="415"/>
                    </a:lnTo>
                    <a:lnTo>
                      <a:pt x="92" y="412"/>
                    </a:lnTo>
                    <a:lnTo>
                      <a:pt x="91" y="410"/>
                    </a:lnTo>
                    <a:lnTo>
                      <a:pt x="90" y="407"/>
                    </a:lnTo>
                    <a:lnTo>
                      <a:pt x="90" y="286"/>
                    </a:lnTo>
                    <a:lnTo>
                      <a:pt x="91" y="283"/>
                    </a:lnTo>
                    <a:lnTo>
                      <a:pt x="92" y="280"/>
                    </a:lnTo>
                    <a:lnTo>
                      <a:pt x="93" y="278"/>
                    </a:lnTo>
                    <a:lnTo>
                      <a:pt x="96" y="276"/>
                    </a:lnTo>
                    <a:lnTo>
                      <a:pt x="98" y="274"/>
                    </a:lnTo>
                    <a:lnTo>
                      <a:pt x="100" y="272"/>
                    </a:lnTo>
                    <a:lnTo>
                      <a:pt x="103" y="271"/>
                    </a:lnTo>
                    <a:lnTo>
                      <a:pt x="105" y="271"/>
                    </a:lnTo>
                    <a:lnTo>
                      <a:pt x="316" y="271"/>
                    </a:lnTo>
                    <a:lnTo>
                      <a:pt x="320" y="271"/>
                    </a:lnTo>
                    <a:lnTo>
                      <a:pt x="322" y="272"/>
                    </a:lnTo>
                    <a:lnTo>
                      <a:pt x="325" y="274"/>
                    </a:lnTo>
                    <a:lnTo>
                      <a:pt x="327" y="276"/>
                    </a:lnTo>
                    <a:lnTo>
                      <a:pt x="329" y="278"/>
                    </a:lnTo>
                    <a:lnTo>
                      <a:pt x="330" y="280"/>
                    </a:lnTo>
                    <a:lnTo>
                      <a:pt x="331" y="283"/>
                    </a:lnTo>
                    <a:lnTo>
                      <a:pt x="331" y="286"/>
                    </a:lnTo>
                    <a:lnTo>
                      <a:pt x="331" y="407"/>
                    </a:lnTo>
                    <a:close/>
                    <a:moveTo>
                      <a:pt x="723" y="226"/>
                    </a:moveTo>
                    <a:lnTo>
                      <a:pt x="723" y="223"/>
                    </a:lnTo>
                    <a:lnTo>
                      <a:pt x="722" y="220"/>
                    </a:lnTo>
                    <a:lnTo>
                      <a:pt x="721" y="218"/>
                    </a:lnTo>
                    <a:lnTo>
                      <a:pt x="719" y="216"/>
                    </a:lnTo>
                    <a:lnTo>
                      <a:pt x="717" y="213"/>
                    </a:lnTo>
                    <a:lnTo>
                      <a:pt x="713" y="212"/>
                    </a:lnTo>
                    <a:lnTo>
                      <a:pt x="711" y="211"/>
                    </a:lnTo>
                    <a:lnTo>
                      <a:pt x="708" y="211"/>
                    </a:lnTo>
                    <a:lnTo>
                      <a:pt x="603" y="211"/>
                    </a:lnTo>
                    <a:lnTo>
                      <a:pt x="603" y="150"/>
                    </a:lnTo>
                    <a:lnTo>
                      <a:pt x="678" y="150"/>
                    </a:lnTo>
                    <a:lnTo>
                      <a:pt x="686" y="149"/>
                    </a:lnTo>
                    <a:lnTo>
                      <a:pt x="695" y="147"/>
                    </a:lnTo>
                    <a:lnTo>
                      <a:pt x="703" y="143"/>
                    </a:lnTo>
                    <a:lnTo>
                      <a:pt x="710" y="137"/>
                    </a:lnTo>
                    <a:lnTo>
                      <a:pt x="715" y="131"/>
                    </a:lnTo>
                    <a:lnTo>
                      <a:pt x="720" y="123"/>
                    </a:lnTo>
                    <a:lnTo>
                      <a:pt x="722" y="115"/>
                    </a:lnTo>
                    <a:lnTo>
                      <a:pt x="723" y="105"/>
                    </a:lnTo>
                    <a:lnTo>
                      <a:pt x="723" y="45"/>
                    </a:lnTo>
                    <a:lnTo>
                      <a:pt x="722" y="36"/>
                    </a:lnTo>
                    <a:lnTo>
                      <a:pt x="720" y="28"/>
                    </a:lnTo>
                    <a:lnTo>
                      <a:pt x="715" y="20"/>
                    </a:lnTo>
                    <a:lnTo>
                      <a:pt x="710" y="13"/>
                    </a:lnTo>
                    <a:lnTo>
                      <a:pt x="703" y="8"/>
                    </a:lnTo>
                    <a:lnTo>
                      <a:pt x="695" y="3"/>
                    </a:lnTo>
                    <a:lnTo>
                      <a:pt x="686" y="1"/>
                    </a:lnTo>
                    <a:lnTo>
                      <a:pt x="678" y="0"/>
                    </a:lnTo>
                    <a:lnTo>
                      <a:pt x="497" y="0"/>
                    </a:lnTo>
                    <a:lnTo>
                      <a:pt x="488" y="1"/>
                    </a:lnTo>
                    <a:lnTo>
                      <a:pt x="479" y="3"/>
                    </a:lnTo>
                    <a:lnTo>
                      <a:pt x="472" y="8"/>
                    </a:lnTo>
                    <a:lnTo>
                      <a:pt x="466" y="13"/>
                    </a:lnTo>
                    <a:lnTo>
                      <a:pt x="460" y="20"/>
                    </a:lnTo>
                    <a:lnTo>
                      <a:pt x="456" y="28"/>
                    </a:lnTo>
                    <a:lnTo>
                      <a:pt x="453" y="36"/>
                    </a:lnTo>
                    <a:lnTo>
                      <a:pt x="452" y="45"/>
                    </a:lnTo>
                    <a:lnTo>
                      <a:pt x="452" y="105"/>
                    </a:lnTo>
                    <a:lnTo>
                      <a:pt x="453" y="115"/>
                    </a:lnTo>
                    <a:lnTo>
                      <a:pt x="456" y="123"/>
                    </a:lnTo>
                    <a:lnTo>
                      <a:pt x="460" y="131"/>
                    </a:lnTo>
                    <a:lnTo>
                      <a:pt x="466" y="137"/>
                    </a:lnTo>
                    <a:lnTo>
                      <a:pt x="472" y="143"/>
                    </a:lnTo>
                    <a:lnTo>
                      <a:pt x="479" y="147"/>
                    </a:lnTo>
                    <a:lnTo>
                      <a:pt x="488" y="150"/>
                    </a:lnTo>
                    <a:lnTo>
                      <a:pt x="497" y="150"/>
                    </a:lnTo>
                    <a:lnTo>
                      <a:pt x="573" y="150"/>
                    </a:lnTo>
                    <a:lnTo>
                      <a:pt x="573" y="211"/>
                    </a:lnTo>
                    <a:lnTo>
                      <a:pt x="301" y="211"/>
                    </a:lnTo>
                    <a:lnTo>
                      <a:pt x="301" y="75"/>
                    </a:lnTo>
                    <a:lnTo>
                      <a:pt x="301" y="72"/>
                    </a:lnTo>
                    <a:lnTo>
                      <a:pt x="299" y="69"/>
                    </a:lnTo>
                    <a:lnTo>
                      <a:pt x="297" y="65"/>
                    </a:lnTo>
                    <a:lnTo>
                      <a:pt x="295" y="63"/>
                    </a:lnTo>
                    <a:lnTo>
                      <a:pt x="292" y="61"/>
                    </a:lnTo>
                    <a:lnTo>
                      <a:pt x="288" y="60"/>
                    </a:lnTo>
                    <a:lnTo>
                      <a:pt x="284" y="60"/>
                    </a:lnTo>
                    <a:lnTo>
                      <a:pt x="281" y="61"/>
                    </a:lnTo>
                    <a:lnTo>
                      <a:pt x="130" y="121"/>
                    </a:lnTo>
                    <a:lnTo>
                      <a:pt x="127" y="123"/>
                    </a:lnTo>
                    <a:lnTo>
                      <a:pt x="123" y="128"/>
                    </a:lnTo>
                    <a:lnTo>
                      <a:pt x="121" y="131"/>
                    </a:lnTo>
                    <a:lnTo>
                      <a:pt x="121" y="135"/>
                    </a:lnTo>
                    <a:lnTo>
                      <a:pt x="121" y="211"/>
                    </a:lnTo>
                    <a:lnTo>
                      <a:pt x="15" y="211"/>
                    </a:lnTo>
                    <a:lnTo>
                      <a:pt x="12" y="211"/>
                    </a:lnTo>
                    <a:lnTo>
                      <a:pt x="10" y="212"/>
                    </a:lnTo>
                    <a:lnTo>
                      <a:pt x="7" y="213"/>
                    </a:lnTo>
                    <a:lnTo>
                      <a:pt x="4" y="216"/>
                    </a:lnTo>
                    <a:lnTo>
                      <a:pt x="3" y="218"/>
                    </a:lnTo>
                    <a:lnTo>
                      <a:pt x="1" y="220"/>
                    </a:lnTo>
                    <a:lnTo>
                      <a:pt x="1" y="223"/>
                    </a:lnTo>
                    <a:lnTo>
                      <a:pt x="0" y="226"/>
                    </a:lnTo>
                    <a:lnTo>
                      <a:pt x="0" y="452"/>
                    </a:lnTo>
                    <a:lnTo>
                      <a:pt x="723" y="452"/>
                    </a:lnTo>
                    <a:lnTo>
                      <a:pt x="723" y="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grpSp>
        <p:sp>
          <p:nvSpPr>
            <p:cNvPr id="207" name="Rectangle 206">
              <a:extLst>
                <a:ext uri="{FF2B5EF4-FFF2-40B4-BE49-F238E27FC236}">
                  <a16:creationId xmlns:a16="http://schemas.microsoft.com/office/drawing/2014/main" id="{50C24B06-DF43-BEFD-929C-062D853D40C6}"/>
                </a:ext>
              </a:extLst>
            </p:cNvPr>
            <p:cNvSpPr/>
            <p:nvPr/>
          </p:nvSpPr>
          <p:spPr>
            <a:xfrm>
              <a:off x="8467385" y="1577181"/>
              <a:ext cx="3419021" cy="962601"/>
            </a:xfrm>
            <a:prstGeom prst="rect">
              <a:avLst/>
            </a:prstGeom>
            <a:solidFill>
              <a:srgbClr val="D62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2000">
                  <a:latin typeface="Segoe UI" panose="020B0502040204020203" pitchFamily="34" charset="0"/>
                  <a:cs typeface="Segoe UI" panose="020B0502040204020203" pitchFamily="34" charset="0"/>
                </a:rPr>
                <a:t>Card (40%)</a:t>
              </a:r>
            </a:p>
          </p:txBody>
        </p:sp>
        <p:sp>
          <p:nvSpPr>
            <p:cNvPr id="208" name="Rectangle 207">
              <a:extLst>
                <a:ext uri="{FF2B5EF4-FFF2-40B4-BE49-F238E27FC236}">
                  <a16:creationId xmlns:a16="http://schemas.microsoft.com/office/drawing/2014/main" id="{40FCD134-D2F1-1504-33ED-60F4C5400DD3}"/>
                </a:ext>
              </a:extLst>
            </p:cNvPr>
            <p:cNvSpPr/>
            <p:nvPr/>
          </p:nvSpPr>
          <p:spPr>
            <a:xfrm>
              <a:off x="8467385" y="3372670"/>
              <a:ext cx="3419021" cy="4191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latin typeface="Segoe UI" panose="020B0502040204020203" pitchFamily="34" charset="0"/>
                  <a:cs typeface="Segoe UI" panose="020B0502040204020203" pitchFamily="34" charset="0"/>
                </a:rPr>
                <a:t>Other (20%)</a:t>
              </a:r>
            </a:p>
          </p:txBody>
        </p:sp>
        <p:sp>
          <p:nvSpPr>
            <p:cNvPr id="209" name="Rectangle 208">
              <a:extLst>
                <a:ext uri="{FF2B5EF4-FFF2-40B4-BE49-F238E27FC236}">
                  <a16:creationId xmlns:a16="http://schemas.microsoft.com/office/drawing/2014/main" id="{639EB94E-F0C3-7455-1B17-F53F2FA805FF}"/>
                </a:ext>
              </a:extLst>
            </p:cNvPr>
            <p:cNvSpPr/>
            <p:nvPr/>
          </p:nvSpPr>
          <p:spPr>
            <a:xfrm>
              <a:off x="8467385" y="2956227"/>
              <a:ext cx="3419021" cy="4191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latin typeface="Segoe UI" panose="020B0502040204020203" pitchFamily="34" charset="0"/>
                  <a:cs typeface="Segoe UI" panose="020B0502040204020203" pitchFamily="34" charset="0"/>
                </a:rPr>
                <a:t>Gift Card (20%)</a:t>
              </a:r>
            </a:p>
          </p:txBody>
        </p:sp>
        <p:sp>
          <p:nvSpPr>
            <p:cNvPr id="210" name="Rectangle 209">
              <a:extLst>
                <a:ext uri="{FF2B5EF4-FFF2-40B4-BE49-F238E27FC236}">
                  <a16:creationId xmlns:a16="http://schemas.microsoft.com/office/drawing/2014/main" id="{8E786EF1-F801-2EC5-083B-2DEAF7DA85B0}"/>
                </a:ext>
              </a:extLst>
            </p:cNvPr>
            <p:cNvSpPr/>
            <p:nvPr/>
          </p:nvSpPr>
          <p:spPr>
            <a:xfrm>
              <a:off x="8467385" y="2539783"/>
              <a:ext cx="3419021" cy="4191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latin typeface="Segoe UI" panose="020B0502040204020203" pitchFamily="34" charset="0"/>
                  <a:cs typeface="Segoe UI" panose="020B0502040204020203" pitchFamily="34" charset="0"/>
                </a:rPr>
                <a:t>Cash (20%)</a:t>
              </a:r>
            </a:p>
          </p:txBody>
        </p:sp>
        <p:sp>
          <p:nvSpPr>
            <p:cNvPr id="211" name="Oval 210">
              <a:extLst>
                <a:ext uri="{FF2B5EF4-FFF2-40B4-BE49-F238E27FC236}">
                  <a16:creationId xmlns:a16="http://schemas.microsoft.com/office/drawing/2014/main" id="{53E2EA13-6742-EBE1-0D6E-26448B0184ED}"/>
                </a:ext>
                <a:ext uri="{C183D7F6-B498-43B3-948B-1728B52AA6E4}">
                  <adec:decorative xmlns:adec="http://schemas.microsoft.com/office/drawing/2017/decorative" val="1"/>
                </a:ext>
              </a:extLst>
            </p:cNvPr>
            <p:cNvSpPr/>
            <p:nvPr/>
          </p:nvSpPr>
          <p:spPr>
            <a:xfrm>
              <a:off x="9848283" y="1242245"/>
              <a:ext cx="657225" cy="657225"/>
            </a:xfrm>
            <a:prstGeom prst="ellipse">
              <a:avLst/>
            </a:prstGeom>
            <a:solidFill>
              <a:srgbClr val="D6222B"/>
            </a:solidFill>
            <a:ln w="28575">
              <a:solidFill>
                <a:schemeClr val="bg1"/>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Segoe UI" panose="020B0502040204020203" pitchFamily="34" charset="0"/>
                <a:cs typeface="Segoe UI" panose="020B0502040204020203" pitchFamily="34" charset="0"/>
              </a:endParaRPr>
            </a:p>
          </p:txBody>
        </p:sp>
        <p:sp>
          <p:nvSpPr>
            <p:cNvPr id="212" name="Rectangle 211">
              <a:extLst>
                <a:ext uri="{FF2B5EF4-FFF2-40B4-BE49-F238E27FC236}">
                  <a16:creationId xmlns:a16="http://schemas.microsoft.com/office/drawing/2014/main" id="{5AAE6E69-43AF-6E81-8956-2D7155F2C98F}"/>
                </a:ext>
              </a:extLst>
            </p:cNvPr>
            <p:cNvSpPr/>
            <p:nvPr/>
          </p:nvSpPr>
          <p:spPr>
            <a:xfrm>
              <a:off x="10625111" y="1838420"/>
              <a:ext cx="1174713" cy="440121"/>
            </a:xfrm>
            <a:prstGeom prst="rect">
              <a:avLst/>
            </a:prstGeom>
          </p:spPr>
          <p:txBody>
            <a:bodyPr wrap="none" anchor="ctr">
              <a:spAutoFit/>
            </a:bodyPr>
            <a:lstStyle/>
            <a:p>
              <a:pPr algn="r">
                <a:spcBef>
                  <a:spcPts val="600"/>
                </a:spcBef>
              </a:pPr>
              <a:r>
                <a:rPr lang="en-US" sz="2000">
                  <a:solidFill>
                    <a:schemeClr val="bg1"/>
                  </a:solidFill>
                  <a:latin typeface="Segoe UI" panose="020B0502040204020203" pitchFamily="34" charset="0"/>
                  <a:cs typeface="Segoe UI" panose="020B0502040204020203" pitchFamily="34" charset="0"/>
                </a:rPr>
                <a:t>$704.78</a:t>
              </a:r>
            </a:p>
          </p:txBody>
        </p:sp>
        <p:sp>
          <p:nvSpPr>
            <p:cNvPr id="213" name="Rectangle 212">
              <a:extLst>
                <a:ext uri="{FF2B5EF4-FFF2-40B4-BE49-F238E27FC236}">
                  <a16:creationId xmlns:a16="http://schemas.microsoft.com/office/drawing/2014/main" id="{331E9457-DEB8-1904-51A5-31B5E866DD0B}"/>
                </a:ext>
              </a:extLst>
            </p:cNvPr>
            <p:cNvSpPr/>
            <p:nvPr/>
          </p:nvSpPr>
          <p:spPr>
            <a:xfrm>
              <a:off x="10885423" y="2580055"/>
              <a:ext cx="914400" cy="338554"/>
            </a:xfrm>
            <a:prstGeom prst="rect">
              <a:avLst/>
            </a:prstGeom>
          </p:spPr>
          <p:txBody>
            <a:bodyPr wrap="none" anchor="ctr">
              <a:normAutofit/>
            </a:bodyPr>
            <a:lstStyle/>
            <a:p>
              <a:pPr algn="r">
                <a:spcBef>
                  <a:spcPts val="600"/>
                </a:spcBef>
              </a:pPr>
              <a:r>
                <a:rPr lang="en-US" sz="1400">
                  <a:solidFill>
                    <a:schemeClr val="bg1"/>
                  </a:solidFill>
                  <a:latin typeface="Segoe UI" panose="020B0502040204020203" pitchFamily="34" charset="0"/>
                  <a:cs typeface="Segoe UI" panose="020B0502040204020203" pitchFamily="34" charset="0"/>
                </a:rPr>
                <a:t>$191.01</a:t>
              </a:r>
            </a:p>
          </p:txBody>
        </p:sp>
        <p:sp>
          <p:nvSpPr>
            <p:cNvPr id="214" name="Rectangle 213">
              <a:extLst>
                <a:ext uri="{FF2B5EF4-FFF2-40B4-BE49-F238E27FC236}">
                  <a16:creationId xmlns:a16="http://schemas.microsoft.com/office/drawing/2014/main" id="{C47011EF-A1E3-1C68-D8CB-4A391D193DE1}"/>
                </a:ext>
              </a:extLst>
            </p:cNvPr>
            <p:cNvSpPr/>
            <p:nvPr/>
          </p:nvSpPr>
          <p:spPr>
            <a:xfrm>
              <a:off x="10885423" y="2994209"/>
              <a:ext cx="914400" cy="338554"/>
            </a:xfrm>
            <a:prstGeom prst="rect">
              <a:avLst/>
            </a:prstGeom>
          </p:spPr>
          <p:txBody>
            <a:bodyPr wrap="none" anchor="ctr">
              <a:normAutofit/>
            </a:bodyPr>
            <a:lstStyle/>
            <a:p>
              <a:pPr algn="r">
                <a:spcBef>
                  <a:spcPts val="600"/>
                </a:spcBef>
              </a:pPr>
              <a:r>
                <a:rPr lang="en-US" sz="1400">
                  <a:solidFill>
                    <a:schemeClr val="bg1"/>
                  </a:solidFill>
                  <a:latin typeface="Segoe UI" panose="020B0502040204020203" pitchFamily="34" charset="0"/>
                  <a:cs typeface="Segoe UI" panose="020B0502040204020203" pitchFamily="34" charset="0"/>
                </a:rPr>
                <a:t>$189.31</a:t>
              </a:r>
            </a:p>
          </p:txBody>
        </p:sp>
        <p:sp>
          <p:nvSpPr>
            <p:cNvPr id="215" name="Rectangle 214">
              <a:extLst>
                <a:ext uri="{FF2B5EF4-FFF2-40B4-BE49-F238E27FC236}">
                  <a16:creationId xmlns:a16="http://schemas.microsoft.com/office/drawing/2014/main" id="{AE81FDAC-ED62-C51F-9709-ED935B5BAEBA}"/>
                </a:ext>
              </a:extLst>
            </p:cNvPr>
            <p:cNvSpPr/>
            <p:nvPr/>
          </p:nvSpPr>
          <p:spPr>
            <a:xfrm>
              <a:off x="10885423" y="3412943"/>
              <a:ext cx="914400" cy="338554"/>
            </a:xfrm>
            <a:prstGeom prst="rect">
              <a:avLst/>
            </a:prstGeom>
          </p:spPr>
          <p:txBody>
            <a:bodyPr wrap="none" anchor="ctr">
              <a:normAutofit/>
            </a:bodyPr>
            <a:lstStyle/>
            <a:p>
              <a:pPr algn="r">
                <a:spcBef>
                  <a:spcPts val="600"/>
                </a:spcBef>
              </a:pPr>
              <a:r>
                <a:rPr lang="en-US" sz="1400">
                  <a:solidFill>
                    <a:schemeClr val="bg1"/>
                  </a:solidFill>
                  <a:latin typeface="Segoe UI" panose="020B0502040204020203" pitchFamily="34" charset="0"/>
                  <a:cs typeface="Segoe UI" panose="020B0502040204020203" pitchFamily="34" charset="0"/>
                </a:rPr>
                <a:t>$186.54</a:t>
              </a:r>
            </a:p>
          </p:txBody>
        </p:sp>
        <p:grpSp>
          <p:nvGrpSpPr>
            <p:cNvPr id="216" name="Group 215" descr="This is an icon of a credit card. ">
              <a:extLst>
                <a:ext uri="{FF2B5EF4-FFF2-40B4-BE49-F238E27FC236}">
                  <a16:creationId xmlns:a16="http://schemas.microsoft.com/office/drawing/2014/main" id="{44D9D6EB-29A1-BAA1-3750-32937C1AF04D}"/>
                </a:ext>
              </a:extLst>
            </p:cNvPr>
            <p:cNvGrpSpPr/>
            <p:nvPr/>
          </p:nvGrpSpPr>
          <p:grpSpPr>
            <a:xfrm>
              <a:off x="10033226" y="1470845"/>
              <a:ext cx="287338" cy="200025"/>
              <a:chOff x="877888" y="1966913"/>
              <a:chExt cx="287338" cy="200025"/>
            </a:xfrm>
            <a:solidFill>
              <a:schemeClr val="bg1"/>
            </a:solidFill>
          </p:grpSpPr>
          <p:sp>
            <p:nvSpPr>
              <p:cNvPr id="217" name="Freeform 433">
                <a:extLst>
                  <a:ext uri="{FF2B5EF4-FFF2-40B4-BE49-F238E27FC236}">
                    <a16:creationId xmlns:a16="http://schemas.microsoft.com/office/drawing/2014/main" id="{4C334368-AF00-3DEB-DEA7-82E052BD292D}"/>
                  </a:ext>
                </a:extLst>
              </p:cNvPr>
              <p:cNvSpPr>
                <a:spLocks noEditPoints="1"/>
              </p:cNvSpPr>
              <p:nvPr/>
            </p:nvSpPr>
            <p:spPr bwMode="auto">
              <a:xfrm>
                <a:off x="877888" y="1966913"/>
                <a:ext cx="287338" cy="200025"/>
              </a:xfrm>
              <a:custGeom>
                <a:avLst/>
                <a:gdLst>
                  <a:gd name="T0" fmla="*/ 550 w 903"/>
                  <a:gd name="T1" fmla="*/ 473 h 632"/>
                  <a:gd name="T2" fmla="*/ 491 w 903"/>
                  <a:gd name="T3" fmla="*/ 438 h 632"/>
                  <a:gd name="T4" fmla="*/ 499 w 903"/>
                  <a:gd name="T5" fmla="*/ 388 h 632"/>
                  <a:gd name="T6" fmla="*/ 512 w 903"/>
                  <a:gd name="T7" fmla="*/ 331 h 632"/>
                  <a:gd name="T8" fmla="*/ 507 w 903"/>
                  <a:gd name="T9" fmla="*/ 272 h 632"/>
                  <a:gd name="T10" fmla="*/ 486 w 903"/>
                  <a:gd name="T11" fmla="*/ 219 h 632"/>
                  <a:gd name="T12" fmla="*/ 519 w 903"/>
                  <a:gd name="T13" fmla="*/ 173 h 632"/>
                  <a:gd name="T14" fmla="*/ 585 w 903"/>
                  <a:gd name="T15" fmla="*/ 151 h 632"/>
                  <a:gd name="T16" fmla="*/ 651 w 903"/>
                  <a:gd name="T17" fmla="*/ 158 h 632"/>
                  <a:gd name="T18" fmla="*/ 708 w 903"/>
                  <a:gd name="T19" fmla="*/ 189 h 632"/>
                  <a:gd name="T20" fmla="*/ 748 w 903"/>
                  <a:gd name="T21" fmla="*/ 237 h 632"/>
                  <a:gd name="T22" fmla="*/ 767 w 903"/>
                  <a:gd name="T23" fmla="*/ 299 h 632"/>
                  <a:gd name="T24" fmla="*/ 760 w 903"/>
                  <a:gd name="T25" fmla="*/ 366 h 632"/>
                  <a:gd name="T26" fmla="*/ 730 w 903"/>
                  <a:gd name="T27" fmla="*/ 422 h 632"/>
                  <a:gd name="T28" fmla="*/ 681 w 903"/>
                  <a:gd name="T29" fmla="*/ 461 h 632"/>
                  <a:gd name="T30" fmla="*/ 619 w 903"/>
                  <a:gd name="T31" fmla="*/ 481 h 632"/>
                  <a:gd name="T32" fmla="*/ 392 w 903"/>
                  <a:gd name="T33" fmla="*/ 422 h 632"/>
                  <a:gd name="T34" fmla="*/ 387 w 903"/>
                  <a:gd name="T35" fmla="*/ 466 h 632"/>
                  <a:gd name="T36" fmla="*/ 331 w 903"/>
                  <a:gd name="T37" fmla="*/ 452 h 632"/>
                  <a:gd name="T38" fmla="*/ 307 w 903"/>
                  <a:gd name="T39" fmla="*/ 482 h 632"/>
                  <a:gd name="T40" fmla="*/ 268 w 903"/>
                  <a:gd name="T41" fmla="*/ 474 h 632"/>
                  <a:gd name="T42" fmla="*/ 241 w 903"/>
                  <a:gd name="T43" fmla="*/ 452 h 632"/>
                  <a:gd name="T44" fmla="*/ 199 w 903"/>
                  <a:gd name="T45" fmla="*/ 432 h 632"/>
                  <a:gd name="T46" fmla="*/ 174 w 903"/>
                  <a:gd name="T47" fmla="*/ 400 h 632"/>
                  <a:gd name="T48" fmla="*/ 158 w 903"/>
                  <a:gd name="T49" fmla="*/ 361 h 632"/>
                  <a:gd name="T50" fmla="*/ 181 w 903"/>
                  <a:gd name="T51" fmla="*/ 301 h 632"/>
                  <a:gd name="T52" fmla="*/ 181 w 903"/>
                  <a:gd name="T53" fmla="*/ 271 h 632"/>
                  <a:gd name="T54" fmla="*/ 179 w 903"/>
                  <a:gd name="T55" fmla="*/ 223 h 632"/>
                  <a:gd name="T56" fmla="*/ 206 w 903"/>
                  <a:gd name="T57" fmla="*/ 193 h 632"/>
                  <a:gd name="T58" fmla="*/ 241 w 903"/>
                  <a:gd name="T59" fmla="*/ 168 h 632"/>
                  <a:gd name="T60" fmla="*/ 277 w 903"/>
                  <a:gd name="T61" fmla="*/ 156 h 632"/>
                  <a:gd name="T62" fmla="*/ 316 w 903"/>
                  <a:gd name="T63" fmla="*/ 150 h 632"/>
                  <a:gd name="T64" fmla="*/ 362 w 903"/>
                  <a:gd name="T65" fmla="*/ 180 h 632"/>
                  <a:gd name="T66" fmla="*/ 400 w 903"/>
                  <a:gd name="T67" fmla="*/ 173 h 632"/>
                  <a:gd name="T68" fmla="*/ 422 w 903"/>
                  <a:gd name="T69" fmla="*/ 210 h 632"/>
                  <a:gd name="T70" fmla="*/ 447 w 903"/>
                  <a:gd name="T71" fmla="*/ 216 h 632"/>
                  <a:gd name="T72" fmla="*/ 472 w 903"/>
                  <a:gd name="T73" fmla="*/ 259 h 632"/>
                  <a:gd name="T74" fmla="*/ 482 w 903"/>
                  <a:gd name="T75" fmla="*/ 301 h 632"/>
                  <a:gd name="T76" fmla="*/ 482 w 903"/>
                  <a:gd name="T77" fmla="*/ 331 h 632"/>
                  <a:gd name="T78" fmla="*/ 472 w 903"/>
                  <a:gd name="T79" fmla="*/ 373 h 632"/>
                  <a:gd name="T80" fmla="*/ 447 w 903"/>
                  <a:gd name="T81" fmla="*/ 417 h 632"/>
                  <a:gd name="T82" fmla="*/ 422 w 903"/>
                  <a:gd name="T83" fmla="*/ 444 h 632"/>
                  <a:gd name="T84" fmla="*/ 60 w 903"/>
                  <a:gd name="T85" fmla="*/ 1 h 632"/>
                  <a:gd name="T86" fmla="*/ 33 w 903"/>
                  <a:gd name="T87" fmla="*/ 13 h 632"/>
                  <a:gd name="T88" fmla="*/ 13 w 903"/>
                  <a:gd name="T89" fmla="*/ 33 h 632"/>
                  <a:gd name="T90" fmla="*/ 2 w 903"/>
                  <a:gd name="T91" fmla="*/ 60 h 632"/>
                  <a:gd name="T92" fmla="*/ 1 w 903"/>
                  <a:gd name="T93" fmla="*/ 564 h 632"/>
                  <a:gd name="T94" fmla="*/ 10 w 903"/>
                  <a:gd name="T95" fmla="*/ 593 h 632"/>
                  <a:gd name="T96" fmla="*/ 28 w 903"/>
                  <a:gd name="T97" fmla="*/ 615 h 632"/>
                  <a:gd name="T98" fmla="*/ 54 w 903"/>
                  <a:gd name="T99" fmla="*/ 629 h 632"/>
                  <a:gd name="T100" fmla="*/ 828 w 903"/>
                  <a:gd name="T101" fmla="*/ 632 h 632"/>
                  <a:gd name="T102" fmla="*/ 857 w 903"/>
                  <a:gd name="T103" fmla="*/ 626 h 632"/>
                  <a:gd name="T104" fmla="*/ 882 w 903"/>
                  <a:gd name="T105" fmla="*/ 610 h 632"/>
                  <a:gd name="T106" fmla="*/ 898 w 903"/>
                  <a:gd name="T107" fmla="*/ 587 h 632"/>
                  <a:gd name="T108" fmla="*/ 903 w 903"/>
                  <a:gd name="T109" fmla="*/ 557 h 632"/>
                  <a:gd name="T110" fmla="*/ 900 w 903"/>
                  <a:gd name="T111" fmla="*/ 53 h 632"/>
                  <a:gd name="T112" fmla="*/ 886 w 903"/>
                  <a:gd name="T113" fmla="*/ 27 h 632"/>
                  <a:gd name="T114" fmla="*/ 865 w 903"/>
                  <a:gd name="T115" fmla="*/ 9 h 632"/>
                  <a:gd name="T116" fmla="*/ 836 w 903"/>
                  <a:gd name="T117"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3" h="632">
                    <a:moveTo>
                      <a:pt x="603" y="482"/>
                    </a:moveTo>
                    <a:lnTo>
                      <a:pt x="585" y="481"/>
                    </a:lnTo>
                    <a:lnTo>
                      <a:pt x="567" y="478"/>
                    </a:lnTo>
                    <a:lnTo>
                      <a:pt x="550" y="473"/>
                    </a:lnTo>
                    <a:lnTo>
                      <a:pt x="534" y="467"/>
                    </a:lnTo>
                    <a:lnTo>
                      <a:pt x="519" y="459"/>
                    </a:lnTo>
                    <a:lnTo>
                      <a:pt x="504" y="449"/>
                    </a:lnTo>
                    <a:lnTo>
                      <a:pt x="491" y="438"/>
                    </a:lnTo>
                    <a:lnTo>
                      <a:pt x="478" y="426"/>
                    </a:lnTo>
                    <a:lnTo>
                      <a:pt x="486" y="413"/>
                    </a:lnTo>
                    <a:lnTo>
                      <a:pt x="492" y="401"/>
                    </a:lnTo>
                    <a:lnTo>
                      <a:pt x="499" y="388"/>
                    </a:lnTo>
                    <a:lnTo>
                      <a:pt x="503" y="374"/>
                    </a:lnTo>
                    <a:lnTo>
                      <a:pt x="507" y="360"/>
                    </a:lnTo>
                    <a:lnTo>
                      <a:pt x="510" y="345"/>
                    </a:lnTo>
                    <a:lnTo>
                      <a:pt x="512" y="331"/>
                    </a:lnTo>
                    <a:lnTo>
                      <a:pt x="512" y="316"/>
                    </a:lnTo>
                    <a:lnTo>
                      <a:pt x="512" y="301"/>
                    </a:lnTo>
                    <a:lnTo>
                      <a:pt x="510" y="286"/>
                    </a:lnTo>
                    <a:lnTo>
                      <a:pt x="507" y="272"/>
                    </a:lnTo>
                    <a:lnTo>
                      <a:pt x="503" y="257"/>
                    </a:lnTo>
                    <a:lnTo>
                      <a:pt x="499" y="245"/>
                    </a:lnTo>
                    <a:lnTo>
                      <a:pt x="492" y="232"/>
                    </a:lnTo>
                    <a:lnTo>
                      <a:pt x="486" y="219"/>
                    </a:lnTo>
                    <a:lnTo>
                      <a:pt x="478" y="207"/>
                    </a:lnTo>
                    <a:lnTo>
                      <a:pt x="491" y="194"/>
                    </a:lnTo>
                    <a:lnTo>
                      <a:pt x="504" y="182"/>
                    </a:lnTo>
                    <a:lnTo>
                      <a:pt x="519" y="173"/>
                    </a:lnTo>
                    <a:lnTo>
                      <a:pt x="534" y="165"/>
                    </a:lnTo>
                    <a:lnTo>
                      <a:pt x="550" y="159"/>
                    </a:lnTo>
                    <a:lnTo>
                      <a:pt x="567" y="154"/>
                    </a:lnTo>
                    <a:lnTo>
                      <a:pt x="585" y="151"/>
                    </a:lnTo>
                    <a:lnTo>
                      <a:pt x="603" y="150"/>
                    </a:lnTo>
                    <a:lnTo>
                      <a:pt x="619" y="151"/>
                    </a:lnTo>
                    <a:lnTo>
                      <a:pt x="636" y="153"/>
                    </a:lnTo>
                    <a:lnTo>
                      <a:pt x="651" y="158"/>
                    </a:lnTo>
                    <a:lnTo>
                      <a:pt x="667" y="163"/>
                    </a:lnTo>
                    <a:lnTo>
                      <a:pt x="681" y="171"/>
                    </a:lnTo>
                    <a:lnTo>
                      <a:pt x="695" y="179"/>
                    </a:lnTo>
                    <a:lnTo>
                      <a:pt x="708" y="189"/>
                    </a:lnTo>
                    <a:lnTo>
                      <a:pt x="720" y="200"/>
                    </a:lnTo>
                    <a:lnTo>
                      <a:pt x="730" y="211"/>
                    </a:lnTo>
                    <a:lnTo>
                      <a:pt x="740" y="223"/>
                    </a:lnTo>
                    <a:lnTo>
                      <a:pt x="748" y="237"/>
                    </a:lnTo>
                    <a:lnTo>
                      <a:pt x="755" y="252"/>
                    </a:lnTo>
                    <a:lnTo>
                      <a:pt x="760" y="267"/>
                    </a:lnTo>
                    <a:lnTo>
                      <a:pt x="765" y="283"/>
                    </a:lnTo>
                    <a:lnTo>
                      <a:pt x="767" y="299"/>
                    </a:lnTo>
                    <a:lnTo>
                      <a:pt x="768" y="316"/>
                    </a:lnTo>
                    <a:lnTo>
                      <a:pt x="767" y="333"/>
                    </a:lnTo>
                    <a:lnTo>
                      <a:pt x="765" y="350"/>
                    </a:lnTo>
                    <a:lnTo>
                      <a:pt x="760" y="366"/>
                    </a:lnTo>
                    <a:lnTo>
                      <a:pt x="755" y="381"/>
                    </a:lnTo>
                    <a:lnTo>
                      <a:pt x="748" y="395"/>
                    </a:lnTo>
                    <a:lnTo>
                      <a:pt x="740" y="409"/>
                    </a:lnTo>
                    <a:lnTo>
                      <a:pt x="730" y="422"/>
                    </a:lnTo>
                    <a:lnTo>
                      <a:pt x="720" y="433"/>
                    </a:lnTo>
                    <a:lnTo>
                      <a:pt x="708" y="444"/>
                    </a:lnTo>
                    <a:lnTo>
                      <a:pt x="695" y="454"/>
                    </a:lnTo>
                    <a:lnTo>
                      <a:pt x="681" y="461"/>
                    </a:lnTo>
                    <a:lnTo>
                      <a:pt x="667" y="469"/>
                    </a:lnTo>
                    <a:lnTo>
                      <a:pt x="651" y="474"/>
                    </a:lnTo>
                    <a:lnTo>
                      <a:pt x="636" y="478"/>
                    </a:lnTo>
                    <a:lnTo>
                      <a:pt x="619" y="481"/>
                    </a:lnTo>
                    <a:lnTo>
                      <a:pt x="603" y="482"/>
                    </a:lnTo>
                    <a:close/>
                    <a:moveTo>
                      <a:pt x="422" y="444"/>
                    </a:moveTo>
                    <a:lnTo>
                      <a:pt x="422" y="422"/>
                    </a:lnTo>
                    <a:lnTo>
                      <a:pt x="392" y="422"/>
                    </a:lnTo>
                    <a:lnTo>
                      <a:pt x="392" y="452"/>
                    </a:lnTo>
                    <a:lnTo>
                      <a:pt x="411" y="452"/>
                    </a:lnTo>
                    <a:lnTo>
                      <a:pt x="400" y="459"/>
                    </a:lnTo>
                    <a:lnTo>
                      <a:pt x="387" y="466"/>
                    </a:lnTo>
                    <a:lnTo>
                      <a:pt x="374" y="471"/>
                    </a:lnTo>
                    <a:lnTo>
                      <a:pt x="362" y="475"/>
                    </a:lnTo>
                    <a:lnTo>
                      <a:pt x="362" y="452"/>
                    </a:lnTo>
                    <a:lnTo>
                      <a:pt x="331" y="452"/>
                    </a:lnTo>
                    <a:lnTo>
                      <a:pt x="331" y="481"/>
                    </a:lnTo>
                    <a:lnTo>
                      <a:pt x="324" y="482"/>
                    </a:lnTo>
                    <a:lnTo>
                      <a:pt x="316" y="482"/>
                    </a:lnTo>
                    <a:lnTo>
                      <a:pt x="307" y="482"/>
                    </a:lnTo>
                    <a:lnTo>
                      <a:pt x="296" y="481"/>
                    </a:lnTo>
                    <a:lnTo>
                      <a:pt x="286" y="479"/>
                    </a:lnTo>
                    <a:lnTo>
                      <a:pt x="277" y="477"/>
                    </a:lnTo>
                    <a:lnTo>
                      <a:pt x="268" y="474"/>
                    </a:lnTo>
                    <a:lnTo>
                      <a:pt x="259" y="471"/>
                    </a:lnTo>
                    <a:lnTo>
                      <a:pt x="250" y="468"/>
                    </a:lnTo>
                    <a:lnTo>
                      <a:pt x="241" y="463"/>
                    </a:lnTo>
                    <a:lnTo>
                      <a:pt x="241" y="452"/>
                    </a:lnTo>
                    <a:lnTo>
                      <a:pt x="221" y="452"/>
                    </a:lnTo>
                    <a:lnTo>
                      <a:pt x="214" y="445"/>
                    </a:lnTo>
                    <a:lnTo>
                      <a:pt x="206" y="439"/>
                    </a:lnTo>
                    <a:lnTo>
                      <a:pt x="199" y="432"/>
                    </a:lnTo>
                    <a:lnTo>
                      <a:pt x="192" y="425"/>
                    </a:lnTo>
                    <a:lnTo>
                      <a:pt x="186" y="417"/>
                    </a:lnTo>
                    <a:lnTo>
                      <a:pt x="179" y="409"/>
                    </a:lnTo>
                    <a:lnTo>
                      <a:pt x="174" y="400"/>
                    </a:lnTo>
                    <a:lnTo>
                      <a:pt x="170" y="392"/>
                    </a:lnTo>
                    <a:lnTo>
                      <a:pt x="181" y="392"/>
                    </a:lnTo>
                    <a:lnTo>
                      <a:pt x="181" y="361"/>
                    </a:lnTo>
                    <a:lnTo>
                      <a:pt x="158" y="361"/>
                    </a:lnTo>
                    <a:lnTo>
                      <a:pt x="153" y="346"/>
                    </a:lnTo>
                    <a:lnTo>
                      <a:pt x="151" y="331"/>
                    </a:lnTo>
                    <a:lnTo>
                      <a:pt x="181" y="331"/>
                    </a:lnTo>
                    <a:lnTo>
                      <a:pt x="181" y="301"/>
                    </a:lnTo>
                    <a:lnTo>
                      <a:pt x="151" y="301"/>
                    </a:lnTo>
                    <a:lnTo>
                      <a:pt x="153" y="285"/>
                    </a:lnTo>
                    <a:lnTo>
                      <a:pt x="158" y="271"/>
                    </a:lnTo>
                    <a:lnTo>
                      <a:pt x="181" y="271"/>
                    </a:lnTo>
                    <a:lnTo>
                      <a:pt x="181" y="240"/>
                    </a:lnTo>
                    <a:lnTo>
                      <a:pt x="170" y="240"/>
                    </a:lnTo>
                    <a:lnTo>
                      <a:pt x="174" y="232"/>
                    </a:lnTo>
                    <a:lnTo>
                      <a:pt x="179" y="223"/>
                    </a:lnTo>
                    <a:lnTo>
                      <a:pt x="186" y="216"/>
                    </a:lnTo>
                    <a:lnTo>
                      <a:pt x="192" y="207"/>
                    </a:lnTo>
                    <a:lnTo>
                      <a:pt x="199" y="201"/>
                    </a:lnTo>
                    <a:lnTo>
                      <a:pt x="206" y="193"/>
                    </a:lnTo>
                    <a:lnTo>
                      <a:pt x="214" y="187"/>
                    </a:lnTo>
                    <a:lnTo>
                      <a:pt x="221" y="180"/>
                    </a:lnTo>
                    <a:lnTo>
                      <a:pt x="241" y="180"/>
                    </a:lnTo>
                    <a:lnTo>
                      <a:pt x="241" y="168"/>
                    </a:lnTo>
                    <a:lnTo>
                      <a:pt x="250" y="164"/>
                    </a:lnTo>
                    <a:lnTo>
                      <a:pt x="259" y="161"/>
                    </a:lnTo>
                    <a:lnTo>
                      <a:pt x="268" y="158"/>
                    </a:lnTo>
                    <a:lnTo>
                      <a:pt x="277" y="156"/>
                    </a:lnTo>
                    <a:lnTo>
                      <a:pt x="286" y="153"/>
                    </a:lnTo>
                    <a:lnTo>
                      <a:pt x="296" y="151"/>
                    </a:lnTo>
                    <a:lnTo>
                      <a:pt x="307" y="151"/>
                    </a:lnTo>
                    <a:lnTo>
                      <a:pt x="316" y="150"/>
                    </a:lnTo>
                    <a:lnTo>
                      <a:pt x="324" y="150"/>
                    </a:lnTo>
                    <a:lnTo>
                      <a:pt x="331" y="151"/>
                    </a:lnTo>
                    <a:lnTo>
                      <a:pt x="331" y="180"/>
                    </a:lnTo>
                    <a:lnTo>
                      <a:pt x="362" y="180"/>
                    </a:lnTo>
                    <a:lnTo>
                      <a:pt x="362" y="157"/>
                    </a:lnTo>
                    <a:lnTo>
                      <a:pt x="374" y="161"/>
                    </a:lnTo>
                    <a:lnTo>
                      <a:pt x="387" y="166"/>
                    </a:lnTo>
                    <a:lnTo>
                      <a:pt x="400" y="173"/>
                    </a:lnTo>
                    <a:lnTo>
                      <a:pt x="411" y="180"/>
                    </a:lnTo>
                    <a:lnTo>
                      <a:pt x="392" y="180"/>
                    </a:lnTo>
                    <a:lnTo>
                      <a:pt x="392" y="210"/>
                    </a:lnTo>
                    <a:lnTo>
                      <a:pt x="422" y="210"/>
                    </a:lnTo>
                    <a:lnTo>
                      <a:pt x="422" y="189"/>
                    </a:lnTo>
                    <a:lnTo>
                      <a:pt x="431" y="196"/>
                    </a:lnTo>
                    <a:lnTo>
                      <a:pt x="440" y="206"/>
                    </a:lnTo>
                    <a:lnTo>
                      <a:pt x="447" y="216"/>
                    </a:lnTo>
                    <a:lnTo>
                      <a:pt x="455" y="225"/>
                    </a:lnTo>
                    <a:lnTo>
                      <a:pt x="461" y="236"/>
                    </a:lnTo>
                    <a:lnTo>
                      <a:pt x="467" y="247"/>
                    </a:lnTo>
                    <a:lnTo>
                      <a:pt x="472" y="259"/>
                    </a:lnTo>
                    <a:lnTo>
                      <a:pt x="475" y="271"/>
                    </a:lnTo>
                    <a:lnTo>
                      <a:pt x="452" y="271"/>
                    </a:lnTo>
                    <a:lnTo>
                      <a:pt x="452" y="301"/>
                    </a:lnTo>
                    <a:lnTo>
                      <a:pt x="482" y="301"/>
                    </a:lnTo>
                    <a:lnTo>
                      <a:pt x="482" y="309"/>
                    </a:lnTo>
                    <a:lnTo>
                      <a:pt x="482" y="316"/>
                    </a:lnTo>
                    <a:lnTo>
                      <a:pt x="482" y="324"/>
                    </a:lnTo>
                    <a:lnTo>
                      <a:pt x="482" y="331"/>
                    </a:lnTo>
                    <a:lnTo>
                      <a:pt x="452" y="331"/>
                    </a:lnTo>
                    <a:lnTo>
                      <a:pt x="452" y="361"/>
                    </a:lnTo>
                    <a:lnTo>
                      <a:pt x="475" y="361"/>
                    </a:lnTo>
                    <a:lnTo>
                      <a:pt x="472" y="373"/>
                    </a:lnTo>
                    <a:lnTo>
                      <a:pt x="467" y="385"/>
                    </a:lnTo>
                    <a:lnTo>
                      <a:pt x="461" y="396"/>
                    </a:lnTo>
                    <a:lnTo>
                      <a:pt x="455" y="407"/>
                    </a:lnTo>
                    <a:lnTo>
                      <a:pt x="447" y="417"/>
                    </a:lnTo>
                    <a:lnTo>
                      <a:pt x="440" y="427"/>
                    </a:lnTo>
                    <a:lnTo>
                      <a:pt x="431" y="436"/>
                    </a:lnTo>
                    <a:lnTo>
                      <a:pt x="422" y="444"/>
                    </a:lnTo>
                    <a:lnTo>
                      <a:pt x="422" y="444"/>
                    </a:lnTo>
                    <a:close/>
                    <a:moveTo>
                      <a:pt x="828" y="0"/>
                    </a:moveTo>
                    <a:lnTo>
                      <a:pt x="75" y="0"/>
                    </a:lnTo>
                    <a:lnTo>
                      <a:pt x="68" y="0"/>
                    </a:lnTo>
                    <a:lnTo>
                      <a:pt x="60" y="1"/>
                    </a:lnTo>
                    <a:lnTo>
                      <a:pt x="54" y="3"/>
                    </a:lnTo>
                    <a:lnTo>
                      <a:pt x="46" y="5"/>
                    </a:lnTo>
                    <a:lnTo>
                      <a:pt x="40" y="9"/>
                    </a:lnTo>
                    <a:lnTo>
                      <a:pt x="33" y="13"/>
                    </a:lnTo>
                    <a:lnTo>
                      <a:pt x="28" y="17"/>
                    </a:lnTo>
                    <a:lnTo>
                      <a:pt x="23" y="21"/>
                    </a:lnTo>
                    <a:lnTo>
                      <a:pt x="17" y="27"/>
                    </a:lnTo>
                    <a:lnTo>
                      <a:pt x="13" y="33"/>
                    </a:lnTo>
                    <a:lnTo>
                      <a:pt x="10" y="40"/>
                    </a:lnTo>
                    <a:lnTo>
                      <a:pt x="7" y="46"/>
                    </a:lnTo>
                    <a:lnTo>
                      <a:pt x="3" y="53"/>
                    </a:lnTo>
                    <a:lnTo>
                      <a:pt x="2" y="60"/>
                    </a:lnTo>
                    <a:lnTo>
                      <a:pt x="1" y="68"/>
                    </a:lnTo>
                    <a:lnTo>
                      <a:pt x="0" y="75"/>
                    </a:lnTo>
                    <a:lnTo>
                      <a:pt x="0" y="557"/>
                    </a:lnTo>
                    <a:lnTo>
                      <a:pt x="1" y="564"/>
                    </a:lnTo>
                    <a:lnTo>
                      <a:pt x="2" y="572"/>
                    </a:lnTo>
                    <a:lnTo>
                      <a:pt x="3" y="579"/>
                    </a:lnTo>
                    <a:lnTo>
                      <a:pt x="7" y="586"/>
                    </a:lnTo>
                    <a:lnTo>
                      <a:pt x="10" y="593"/>
                    </a:lnTo>
                    <a:lnTo>
                      <a:pt x="13" y="599"/>
                    </a:lnTo>
                    <a:lnTo>
                      <a:pt x="17" y="605"/>
                    </a:lnTo>
                    <a:lnTo>
                      <a:pt x="23" y="610"/>
                    </a:lnTo>
                    <a:lnTo>
                      <a:pt x="28" y="615"/>
                    </a:lnTo>
                    <a:lnTo>
                      <a:pt x="33" y="619"/>
                    </a:lnTo>
                    <a:lnTo>
                      <a:pt x="40" y="623"/>
                    </a:lnTo>
                    <a:lnTo>
                      <a:pt x="46" y="626"/>
                    </a:lnTo>
                    <a:lnTo>
                      <a:pt x="54" y="629"/>
                    </a:lnTo>
                    <a:lnTo>
                      <a:pt x="60" y="631"/>
                    </a:lnTo>
                    <a:lnTo>
                      <a:pt x="68" y="632"/>
                    </a:lnTo>
                    <a:lnTo>
                      <a:pt x="75" y="632"/>
                    </a:lnTo>
                    <a:lnTo>
                      <a:pt x="828" y="632"/>
                    </a:lnTo>
                    <a:lnTo>
                      <a:pt x="836" y="632"/>
                    </a:lnTo>
                    <a:lnTo>
                      <a:pt x="843" y="631"/>
                    </a:lnTo>
                    <a:lnTo>
                      <a:pt x="851" y="629"/>
                    </a:lnTo>
                    <a:lnTo>
                      <a:pt x="857" y="626"/>
                    </a:lnTo>
                    <a:lnTo>
                      <a:pt x="865" y="623"/>
                    </a:lnTo>
                    <a:lnTo>
                      <a:pt x="870" y="619"/>
                    </a:lnTo>
                    <a:lnTo>
                      <a:pt x="876" y="615"/>
                    </a:lnTo>
                    <a:lnTo>
                      <a:pt x="882" y="610"/>
                    </a:lnTo>
                    <a:lnTo>
                      <a:pt x="886" y="605"/>
                    </a:lnTo>
                    <a:lnTo>
                      <a:pt x="890" y="599"/>
                    </a:lnTo>
                    <a:lnTo>
                      <a:pt x="895" y="593"/>
                    </a:lnTo>
                    <a:lnTo>
                      <a:pt x="898" y="587"/>
                    </a:lnTo>
                    <a:lnTo>
                      <a:pt x="900" y="579"/>
                    </a:lnTo>
                    <a:lnTo>
                      <a:pt x="902" y="572"/>
                    </a:lnTo>
                    <a:lnTo>
                      <a:pt x="903" y="564"/>
                    </a:lnTo>
                    <a:lnTo>
                      <a:pt x="903" y="557"/>
                    </a:lnTo>
                    <a:lnTo>
                      <a:pt x="903" y="75"/>
                    </a:lnTo>
                    <a:lnTo>
                      <a:pt x="903" y="68"/>
                    </a:lnTo>
                    <a:lnTo>
                      <a:pt x="902" y="60"/>
                    </a:lnTo>
                    <a:lnTo>
                      <a:pt x="900" y="53"/>
                    </a:lnTo>
                    <a:lnTo>
                      <a:pt x="898" y="46"/>
                    </a:lnTo>
                    <a:lnTo>
                      <a:pt x="895" y="40"/>
                    </a:lnTo>
                    <a:lnTo>
                      <a:pt x="890" y="33"/>
                    </a:lnTo>
                    <a:lnTo>
                      <a:pt x="886" y="27"/>
                    </a:lnTo>
                    <a:lnTo>
                      <a:pt x="882" y="21"/>
                    </a:lnTo>
                    <a:lnTo>
                      <a:pt x="876" y="17"/>
                    </a:lnTo>
                    <a:lnTo>
                      <a:pt x="870" y="13"/>
                    </a:lnTo>
                    <a:lnTo>
                      <a:pt x="865" y="9"/>
                    </a:lnTo>
                    <a:lnTo>
                      <a:pt x="857" y="5"/>
                    </a:lnTo>
                    <a:lnTo>
                      <a:pt x="851" y="3"/>
                    </a:lnTo>
                    <a:lnTo>
                      <a:pt x="843" y="1"/>
                    </a:lnTo>
                    <a:lnTo>
                      <a:pt x="836" y="0"/>
                    </a:lnTo>
                    <a:lnTo>
                      <a:pt x="8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218" name="Rectangle 434">
                <a:extLst>
                  <a:ext uri="{FF2B5EF4-FFF2-40B4-BE49-F238E27FC236}">
                    <a16:creationId xmlns:a16="http://schemas.microsoft.com/office/drawing/2014/main" id="{02D6463E-B08B-CF8B-3EBA-FFBB48B87818}"/>
                  </a:ext>
                </a:extLst>
              </p:cNvPr>
              <p:cNvSpPr>
                <a:spLocks noChangeArrowheads="1"/>
              </p:cNvSpPr>
              <p:nvPr/>
            </p:nvSpPr>
            <p:spPr bwMode="auto">
              <a:xfrm>
                <a:off x="944563" y="2052638"/>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219" name="Rectangle 435">
                <a:extLst>
                  <a:ext uri="{FF2B5EF4-FFF2-40B4-BE49-F238E27FC236}">
                    <a16:creationId xmlns:a16="http://schemas.microsoft.com/office/drawing/2014/main" id="{1B1E1D0E-F8BD-7479-C4E3-9F4B913D1E5D}"/>
                  </a:ext>
                </a:extLst>
              </p:cNvPr>
              <p:cNvSpPr>
                <a:spLocks noChangeArrowheads="1"/>
              </p:cNvSpPr>
              <p:nvPr/>
            </p:nvSpPr>
            <p:spPr bwMode="auto">
              <a:xfrm>
                <a:off x="944563" y="2071688"/>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220" name="Rectangle 436">
                <a:extLst>
                  <a:ext uri="{FF2B5EF4-FFF2-40B4-BE49-F238E27FC236}">
                    <a16:creationId xmlns:a16="http://schemas.microsoft.com/office/drawing/2014/main" id="{7C85A0B5-2F75-A367-7785-EDB02AAA3010}"/>
                  </a:ext>
                </a:extLst>
              </p:cNvPr>
              <p:cNvSpPr>
                <a:spLocks noChangeArrowheads="1"/>
              </p:cNvSpPr>
              <p:nvPr/>
            </p:nvSpPr>
            <p:spPr bwMode="auto">
              <a:xfrm>
                <a:off x="963613" y="20812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221" name="Rectangle 437">
                <a:extLst>
                  <a:ext uri="{FF2B5EF4-FFF2-40B4-BE49-F238E27FC236}">
                    <a16:creationId xmlns:a16="http://schemas.microsoft.com/office/drawing/2014/main" id="{09332386-965E-E002-2546-047D9B91BA04}"/>
                  </a:ext>
                </a:extLst>
              </p:cNvPr>
              <p:cNvSpPr>
                <a:spLocks noChangeArrowheads="1"/>
              </p:cNvSpPr>
              <p:nvPr/>
            </p:nvSpPr>
            <p:spPr bwMode="auto">
              <a:xfrm>
                <a:off x="963613" y="21002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222" name="Rectangle 438">
                <a:extLst>
                  <a:ext uri="{FF2B5EF4-FFF2-40B4-BE49-F238E27FC236}">
                    <a16:creationId xmlns:a16="http://schemas.microsoft.com/office/drawing/2014/main" id="{B7B047B0-4889-C0A5-8F7D-47273EF9ED3A}"/>
                  </a:ext>
                </a:extLst>
              </p:cNvPr>
              <p:cNvSpPr>
                <a:spLocks noChangeArrowheads="1"/>
              </p:cNvSpPr>
              <p:nvPr/>
            </p:nvSpPr>
            <p:spPr bwMode="auto">
              <a:xfrm>
                <a:off x="963613" y="20240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223" name="Rectangle 439">
                <a:extLst>
                  <a:ext uri="{FF2B5EF4-FFF2-40B4-BE49-F238E27FC236}">
                    <a16:creationId xmlns:a16="http://schemas.microsoft.com/office/drawing/2014/main" id="{B8E4FED1-1FBD-7ED0-784A-D26D5A7F1EFC}"/>
                  </a:ext>
                </a:extLst>
              </p:cNvPr>
              <p:cNvSpPr>
                <a:spLocks noChangeArrowheads="1"/>
              </p:cNvSpPr>
              <p:nvPr/>
            </p:nvSpPr>
            <p:spPr bwMode="auto">
              <a:xfrm>
                <a:off x="963613" y="20621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224" name="Rectangle 440">
                <a:extLst>
                  <a:ext uri="{FF2B5EF4-FFF2-40B4-BE49-F238E27FC236}">
                    <a16:creationId xmlns:a16="http://schemas.microsoft.com/office/drawing/2014/main" id="{350D9D74-83A1-9CAA-4290-9AF56E486CB3}"/>
                  </a:ext>
                </a:extLst>
              </p:cNvPr>
              <p:cNvSpPr>
                <a:spLocks noChangeArrowheads="1"/>
              </p:cNvSpPr>
              <p:nvPr/>
            </p:nvSpPr>
            <p:spPr bwMode="auto">
              <a:xfrm>
                <a:off x="963613" y="20431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225" name="Rectangle 441">
                <a:extLst>
                  <a:ext uri="{FF2B5EF4-FFF2-40B4-BE49-F238E27FC236}">
                    <a16:creationId xmlns:a16="http://schemas.microsoft.com/office/drawing/2014/main" id="{DCF738FF-7F93-4CA6-65B6-96054A43FE75}"/>
                  </a:ext>
                </a:extLst>
              </p:cNvPr>
              <p:cNvSpPr>
                <a:spLocks noChangeArrowheads="1"/>
              </p:cNvSpPr>
              <p:nvPr/>
            </p:nvSpPr>
            <p:spPr bwMode="auto">
              <a:xfrm>
                <a:off x="1003300" y="20812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226" name="Rectangle 442">
                <a:extLst>
                  <a:ext uri="{FF2B5EF4-FFF2-40B4-BE49-F238E27FC236}">
                    <a16:creationId xmlns:a16="http://schemas.microsoft.com/office/drawing/2014/main" id="{8C13CA50-1401-0256-C94F-B44E2BFD76CA}"/>
                  </a:ext>
                </a:extLst>
              </p:cNvPr>
              <p:cNvSpPr>
                <a:spLocks noChangeArrowheads="1"/>
              </p:cNvSpPr>
              <p:nvPr/>
            </p:nvSpPr>
            <p:spPr bwMode="auto">
              <a:xfrm>
                <a:off x="1003300" y="20621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227" name="Rectangle 443">
                <a:extLst>
                  <a:ext uri="{FF2B5EF4-FFF2-40B4-BE49-F238E27FC236}">
                    <a16:creationId xmlns:a16="http://schemas.microsoft.com/office/drawing/2014/main" id="{47209832-FF71-E94D-A280-8D5A890DAE0C}"/>
                  </a:ext>
                </a:extLst>
              </p:cNvPr>
              <p:cNvSpPr>
                <a:spLocks noChangeArrowheads="1"/>
              </p:cNvSpPr>
              <p:nvPr/>
            </p:nvSpPr>
            <p:spPr bwMode="auto">
              <a:xfrm>
                <a:off x="1003300" y="20431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228" name="Rectangle 444">
                <a:extLst>
                  <a:ext uri="{FF2B5EF4-FFF2-40B4-BE49-F238E27FC236}">
                    <a16:creationId xmlns:a16="http://schemas.microsoft.com/office/drawing/2014/main" id="{AD9657DA-ECC2-13F6-5102-7CEFB53DD43D}"/>
                  </a:ext>
                </a:extLst>
              </p:cNvPr>
              <p:cNvSpPr>
                <a:spLocks noChangeArrowheads="1"/>
              </p:cNvSpPr>
              <p:nvPr/>
            </p:nvSpPr>
            <p:spPr bwMode="auto">
              <a:xfrm>
                <a:off x="944563" y="2090738"/>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229" name="Rectangle 445">
                <a:extLst>
                  <a:ext uri="{FF2B5EF4-FFF2-40B4-BE49-F238E27FC236}">
                    <a16:creationId xmlns:a16="http://schemas.microsoft.com/office/drawing/2014/main" id="{9A9625EE-6F60-D3AA-A054-D8B18E63A6FC}"/>
                  </a:ext>
                </a:extLst>
              </p:cNvPr>
              <p:cNvSpPr>
                <a:spLocks noChangeArrowheads="1"/>
              </p:cNvSpPr>
              <p:nvPr/>
            </p:nvSpPr>
            <p:spPr bwMode="auto">
              <a:xfrm>
                <a:off x="944563" y="2033588"/>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230" name="Rectangle 446">
                <a:extLst>
                  <a:ext uri="{FF2B5EF4-FFF2-40B4-BE49-F238E27FC236}">
                    <a16:creationId xmlns:a16="http://schemas.microsoft.com/office/drawing/2014/main" id="{D278D6E8-7776-9FCB-9C43-7C16313B8E19}"/>
                  </a:ext>
                </a:extLst>
              </p:cNvPr>
              <p:cNvSpPr>
                <a:spLocks noChangeArrowheads="1"/>
              </p:cNvSpPr>
              <p:nvPr/>
            </p:nvSpPr>
            <p:spPr bwMode="auto">
              <a:xfrm>
                <a:off x="982663" y="2052638"/>
                <a:ext cx="11113"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231" name="Rectangle 447">
                <a:extLst>
                  <a:ext uri="{FF2B5EF4-FFF2-40B4-BE49-F238E27FC236}">
                    <a16:creationId xmlns:a16="http://schemas.microsoft.com/office/drawing/2014/main" id="{41575F92-08BE-B3CA-7991-64BC939D3E40}"/>
                  </a:ext>
                </a:extLst>
              </p:cNvPr>
              <p:cNvSpPr>
                <a:spLocks noChangeArrowheads="1"/>
              </p:cNvSpPr>
              <p:nvPr/>
            </p:nvSpPr>
            <p:spPr bwMode="auto">
              <a:xfrm>
                <a:off x="982663" y="2071688"/>
                <a:ext cx="11113"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232" name="Rectangle 448">
                <a:extLst>
                  <a:ext uri="{FF2B5EF4-FFF2-40B4-BE49-F238E27FC236}">
                    <a16:creationId xmlns:a16="http://schemas.microsoft.com/office/drawing/2014/main" id="{65C58C12-2327-28C4-23AB-E78130BE66A6}"/>
                  </a:ext>
                </a:extLst>
              </p:cNvPr>
              <p:cNvSpPr>
                <a:spLocks noChangeArrowheads="1"/>
              </p:cNvSpPr>
              <p:nvPr/>
            </p:nvSpPr>
            <p:spPr bwMode="auto">
              <a:xfrm>
                <a:off x="982663" y="2090738"/>
                <a:ext cx="11113"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233" name="Rectangle 449">
                <a:extLst>
                  <a:ext uri="{FF2B5EF4-FFF2-40B4-BE49-F238E27FC236}">
                    <a16:creationId xmlns:a16="http://schemas.microsoft.com/office/drawing/2014/main" id="{08C2D2BF-2BCC-1B36-047E-83B36D6B5EF3}"/>
                  </a:ext>
                </a:extLst>
              </p:cNvPr>
              <p:cNvSpPr>
                <a:spLocks noChangeArrowheads="1"/>
              </p:cNvSpPr>
              <p:nvPr/>
            </p:nvSpPr>
            <p:spPr bwMode="auto">
              <a:xfrm>
                <a:off x="982663" y="2033588"/>
                <a:ext cx="11113"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grpSp>
        <p:grpSp>
          <p:nvGrpSpPr>
            <p:cNvPr id="234" name="Group 225" descr="This is a map.">
              <a:extLst>
                <a:ext uri="{FF2B5EF4-FFF2-40B4-BE49-F238E27FC236}">
                  <a16:creationId xmlns:a16="http://schemas.microsoft.com/office/drawing/2014/main" id="{FB24C0A6-FA5D-1862-C396-6EE3FFFF4AC5}"/>
                </a:ext>
              </a:extLst>
            </p:cNvPr>
            <p:cNvGrpSpPr>
              <a:grpSpLocks/>
            </p:cNvGrpSpPr>
            <p:nvPr/>
          </p:nvGrpSpPr>
          <p:grpSpPr bwMode="auto">
            <a:xfrm>
              <a:off x="611417" y="4640855"/>
              <a:ext cx="2805786" cy="1464670"/>
              <a:chOff x="61887" y="752420"/>
              <a:chExt cx="8725336" cy="5044568"/>
            </a:xfrm>
            <a:solidFill>
              <a:srgbClr val="7F7F7F"/>
            </a:solidFill>
          </p:grpSpPr>
          <p:sp>
            <p:nvSpPr>
              <p:cNvPr id="235" name="Freeform 5962">
                <a:extLst>
                  <a:ext uri="{FF2B5EF4-FFF2-40B4-BE49-F238E27FC236}">
                    <a16:creationId xmlns:a16="http://schemas.microsoft.com/office/drawing/2014/main" id="{70C1D0E8-09FD-80FA-3FC5-2249E28FE5F9}"/>
                  </a:ext>
                </a:extLst>
              </p:cNvPr>
              <p:cNvSpPr>
                <a:spLocks noEditPoints="1"/>
              </p:cNvSpPr>
              <p:nvPr/>
            </p:nvSpPr>
            <p:spPr bwMode="auto">
              <a:xfrm>
                <a:off x="2279735" y="3535028"/>
                <a:ext cx="1189097" cy="2261960"/>
              </a:xfrm>
              <a:custGeom>
                <a:avLst/>
                <a:gdLst>
                  <a:gd name="T0" fmla="*/ 168775 w 1874"/>
                  <a:gd name="T1" fmla="*/ 2086902 h 3562"/>
                  <a:gd name="T2" fmla="*/ 147202 w 1874"/>
                  <a:gd name="T3" fmla="*/ 1968776 h 3562"/>
                  <a:gd name="T4" fmla="*/ 184003 w 1874"/>
                  <a:gd name="T5" fmla="*/ 1976397 h 3562"/>
                  <a:gd name="T6" fmla="*/ 161161 w 1874"/>
                  <a:gd name="T7" fmla="*/ 1982748 h 3562"/>
                  <a:gd name="T8" fmla="*/ 154816 w 1874"/>
                  <a:gd name="T9" fmla="*/ 2042446 h 3562"/>
                  <a:gd name="T10" fmla="*/ 156085 w 1874"/>
                  <a:gd name="T11" fmla="*/ 1997990 h 3562"/>
                  <a:gd name="T12" fmla="*/ 147202 w 1874"/>
                  <a:gd name="T13" fmla="*/ 2006881 h 3562"/>
                  <a:gd name="T14" fmla="*/ 184003 w 1874"/>
                  <a:gd name="T15" fmla="*/ 2086902 h 3562"/>
                  <a:gd name="T16" fmla="*/ 153547 w 1874"/>
                  <a:gd name="T17" fmla="*/ 1999260 h 3562"/>
                  <a:gd name="T18" fmla="*/ 185272 w 1874"/>
                  <a:gd name="T19" fmla="*/ 1850649 h 3562"/>
                  <a:gd name="T20" fmla="*/ 192886 w 1874"/>
                  <a:gd name="T21" fmla="*/ 1841758 h 3562"/>
                  <a:gd name="T22" fmla="*/ 166237 w 1874"/>
                  <a:gd name="T23" fmla="*/ 1884944 h 3562"/>
                  <a:gd name="T24" fmla="*/ 348971 w 1874"/>
                  <a:gd name="T25" fmla="*/ 2235513 h 3562"/>
                  <a:gd name="T26" fmla="*/ 304556 w 1874"/>
                  <a:gd name="T27" fmla="*/ 2245675 h 3562"/>
                  <a:gd name="T28" fmla="*/ 284252 w 1874"/>
                  <a:gd name="T29" fmla="*/ 2227892 h 3562"/>
                  <a:gd name="T30" fmla="*/ 323591 w 1874"/>
                  <a:gd name="T31" fmla="*/ 2224082 h 3562"/>
                  <a:gd name="T32" fmla="*/ 277907 w 1874"/>
                  <a:gd name="T33" fmla="*/ 2230433 h 3562"/>
                  <a:gd name="T34" fmla="*/ 170044 w 1874"/>
                  <a:gd name="T35" fmla="*/ 2140250 h 3562"/>
                  <a:gd name="T36" fmla="*/ 180196 w 1874"/>
                  <a:gd name="T37" fmla="*/ 2163113 h 3562"/>
                  <a:gd name="T38" fmla="*/ 157354 w 1874"/>
                  <a:gd name="T39" fmla="*/ 2090713 h 3562"/>
                  <a:gd name="T40" fmla="*/ 247452 w 1874"/>
                  <a:gd name="T41" fmla="*/ 2198678 h 3562"/>
                  <a:gd name="T42" fmla="*/ 214458 w 1874"/>
                  <a:gd name="T43" fmla="*/ 2170734 h 3562"/>
                  <a:gd name="T44" fmla="*/ 224610 w 1874"/>
                  <a:gd name="T45" fmla="*/ 2189787 h 3562"/>
                  <a:gd name="T46" fmla="*/ 300749 w 1874"/>
                  <a:gd name="T47" fmla="*/ 2198678 h 3562"/>
                  <a:gd name="T48" fmla="*/ 237300 w 1874"/>
                  <a:gd name="T49" fmla="*/ 2207569 h 3562"/>
                  <a:gd name="T50" fmla="*/ 319784 w 1874"/>
                  <a:gd name="T51" fmla="*/ 2224082 h 3562"/>
                  <a:gd name="T52" fmla="*/ 184003 w 1874"/>
                  <a:gd name="T53" fmla="*/ 1738874 h 3562"/>
                  <a:gd name="T54" fmla="*/ 166237 w 1874"/>
                  <a:gd name="T55" fmla="*/ 1802383 h 3562"/>
                  <a:gd name="T56" fmla="*/ 187810 w 1874"/>
                  <a:gd name="T57" fmla="*/ 1807463 h 3562"/>
                  <a:gd name="T58" fmla="*/ 176389 w 1874"/>
                  <a:gd name="T59" fmla="*/ 1878593 h 3562"/>
                  <a:gd name="T60" fmla="*/ 939048 w 1874"/>
                  <a:gd name="T61" fmla="*/ 443292 h 3562"/>
                  <a:gd name="T62" fmla="*/ 767735 w 1874"/>
                  <a:gd name="T63" fmla="*/ 403917 h 3562"/>
                  <a:gd name="T64" fmla="*/ 761390 w 1874"/>
                  <a:gd name="T65" fmla="*/ 248955 h 3562"/>
                  <a:gd name="T66" fmla="*/ 611650 w 1874"/>
                  <a:gd name="T67" fmla="*/ 190527 h 3562"/>
                  <a:gd name="T68" fmla="*/ 474600 w 1874"/>
                  <a:gd name="T69" fmla="*/ 59698 h 3562"/>
                  <a:gd name="T70" fmla="*/ 281714 w 1874"/>
                  <a:gd name="T71" fmla="*/ 21593 h 3562"/>
                  <a:gd name="T72" fmla="*/ 157354 w 1874"/>
                  <a:gd name="T73" fmla="*/ 45726 h 3562"/>
                  <a:gd name="T74" fmla="*/ 91367 w 1874"/>
                  <a:gd name="T75" fmla="*/ 299762 h 3562"/>
                  <a:gd name="T76" fmla="*/ 35532 w 1874"/>
                  <a:gd name="T77" fmla="*/ 461075 h 3562"/>
                  <a:gd name="T78" fmla="*/ 109133 w 1874"/>
                  <a:gd name="T79" fmla="*/ 768458 h 3562"/>
                  <a:gd name="T80" fmla="*/ 275370 w 1874"/>
                  <a:gd name="T81" fmla="*/ 1108865 h 3562"/>
                  <a:gd name="T82" fmla="*/ 252528 w 1874"/>
                  <a:gd name="T83" fmla="*/ 1420059 h 3562"/>
                  <a:gd name="T84" fmla="*/ 196693 w 1874"/>
                  <a:gd name="T85" fmla="*/ 1667744 h 3562"/>
                  <a:gd name="T86" fmla="*/ 209382 w 1874"/>
                  <a:gd name="T87" fmla="*/ 1797302 h 3562"/>
                  <a:gd name="T88" fmla="*/ 171313 w 1874"/>
                  <a:gd name="T89" fmla="*/ 1882404 h 3562"/>
                  <a:gd name="T90" fmla="*/ 170044 w 1874"/>
                  <a:gd name="T91" fmla="*/ 1947183 h 3562"/>
                  <a:gd name="T92" fmla="*/ 176389 w 1874"/>
                  <a:gd name="T93" fmla="*/ 2011962 h 3562"/>
                  <a:gd name="T94" fmla="*/ 185272 w 1874"/>
                  <a:gd name="T95" fmla="*/ 2053878 h 3562"/>
                  <a:gd name="T96" fmla="*/ 196693 w 1874"/>
                  <a:gd name="T97" fmla="*/ 2100874 h 3562"/>
                  <a:gd name="T98" fmla="*/ 194155 w 1874"/>
                  <a:gd name="T99" fmla="*/ 2113576 h 3562"/>
                  <a:gd name="T100" fmla="*/ 233493 w 1874"/>
                  <a:gd name="T101" fmla="*/ 2131359 h 3562"/>
                  <a:gd name="T102" fmla="*/ 255066 w 1874"/>
                  <a:gd name="T103" fmla="*/ 2141520 h 3562"/>
                  <a:gd name="T104" fmla="*/ 314708 w 1874"/>
                  <a:gd name="T105" fmla="*/ 2122467 h 3562"/>
                  <a:gd name="T106" fmla="*/ 348971 w 1874"/>
                  <a:gd name="T107" fmla="*/ 1890025 h 3562"/>
                  <a:gd name="T108" fmla="*/ 453027 w 1874"/>
                  <a:gd name="T109" fmla="*/ 1764277 h 3562"/>
                  <a:gd name="T110" fmla="*/ 491097 w 1874"/>
                  <a:gd name="T111" fmla="*/ 1635989 h 3562"/>
                  <a:gd name="T112" fmla="*/ 629416 w 1874"/>
                  <a:gd name="T113" fmla="*/ 1491189 h 3562"/>
                  <a:gd name="T114" fmla="*/ 865447 w 1874"/>
                  <a:gd name="T115" fmla="*/ 1158402 h 3562"/>
                  <a:gd name="T116" fmla="*/ 1079905 w 1874"/>
                  <a:gd name="T117" fmla="*/ 900556 h 3562"/>
                  <a:gd name="T118" fmla="*/ 426379 w 1874"/>
                  <a:gd name="T119" fmla="*/ 2222811 h 3562"/>
                  <a:gd name="T120" fmla="*/ 184003 w 1874"/>
                  <a:gd name="T121" fmla="*/ 1928130 h 3562"/>
                  <a:gd name="T122" fmla="*/ 159892 w 1874"/>
                  <a:gd name="T123" fmla="*/ 1994179 h 3562"/>
                  <a:gd name="T124" fmla="*/ 175120 w 1874"/>
                  <a:gd name="T125" fmla="*/ 2027204 h 356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74"/>
                  <a:gd name="T190" fmla="*/ 0 h 3562"/>
                  <a:gd name="T191" fmla="*/ 1874 w 1874"/>
                  <a:gd name="T192" fmla="*/ 3562 h 356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74" h="3562">
                    <a:moveTo>
                      <a:pt x="282" y="3320"/>
                    </a:moveTo>
                    <a:lnTo>
                      <a:pt x="282" y="3320"/>
                    </a:lnTo>
                    <a:lnTo>
                      <a:pt x="286" y="3322"/>
                    </a:lnTo>
                    <a:lnTo>
                      <a:pt x="286" y="3320"/>
                    </a:lnTo>
                    <a:lnTo>
                      <a:pt x="284" y="3316"/>
                    </a:lnTo>
                    <a:lnTo>
                      <a:pt x="282" y="3312"/>
                    </a:lnTo>
                    <a:lnTo>
                      <a:pt x="278" y="3308"/>
                    </a:lnTo>
                    <a:lnTo>
                      <a:pt x="274" y="3308"/>
                    </a:lnTo>
                    <a:lnTo>
                      <a:pt x="274" y="3310"/>
                    </a:lnTo>
                    <a:lnTo>
                      <a:pt x="276" y="3314"/>
                    </a:lnTo>
                    <a:lnTo>
                      <a:pt x="276" y="3316"/>
                    </a:lnTo>
                    <a:lnTo>
                      <a:pt x="282" y="3320"/>
                    </a:lnTo>
                    <a:close/>
                    <a:moveTo>
                      <a:pt x="286" y="3348"/>
                    </a:moveTo>
                    <a:lnTo>
                      <a:pt x="286" y="3348"/>
                    </a:lnTo>
                    <a:lnTo>
                      <a:pt x="288" y="3348"/>
                    </a:lnTo>
                    <a:lnTo>
                      <a:pt x="290" y="3348"/>
                    </a:lnTo>
                    <a:lnTo>
                      <a:pt x="296" y="3344"/>
                    </a:lnTo>
                    <a:lnTo>
                      <a:pt x="294" y="3340"/>
                    </a:lnTo>
                    <a:lnTo>
                      <a:pt x="286" y="3334"/>
                    </a:lnTo>
                    <a:lnTo>
                      <a:pt x="282" y="3330"/>
                    </a:lnTo>
                    <a:lnTo>
                      <a:pt x="278" y="3330"/>
                    </a:lnTo>
                    <a:lnTo>
                      <a:pt x="276" y="3332"/>
                    </a:lnTo>
                    <a:lnTo>
                      <a:pt x="278" y="3334"/>
                    </a:lnTo>
                    <a:lnTo>
                      <a:pt x="278" y="3336"/>
                    </a:lnTo>
                    <a:lnTo>
                      <a:pt x="280" y="3336"/>
                    </a:lnTo>
                    <a:lnTo>
                      <a:pt x="282" y="3336"/>
                    </a:lnTo>
                    <a:lnTo>
                      <a:pt x="284" y="3336"/>
                    </a:lnTo>
                    <a:lnTo>
                      <a:pt x="284" y="3338"/>
                    </a:lnTo>
                    <a:lnTo>
                      <a:pt x="284" y="3340"/>
                    </a:lnTo>
                    <a:lnTo>
                      <a:pt x="284" y="3342"/>
                    </a:lnTo>
                    <a:lnTo>
                      <a:pt x="286" y="3348"/>
                    </a:lnTo>
                    <a:close/>
                    <a:moveTo>
                      <a:pt x="270" y="3286"/>
                    </a:moveTo>
                    <a:lnTo>
                      <a:pt x="270" y="3286"/>
                    </a:lnTo>
                    <a:lnTo>
                      <a:pt x="270" y="3280"/>
                    </a:lnTo>
                    <a:lnTo>
                      <a:pt x="268" y="3278"/>
                    </a:lnTo>
                    <a:lnTo>
                      <a:pt x="266" y="3278"/>
                    </a:lnTo>
                    <a:lnTo>
                      <a:pt x="262" y="3278"/>
                    </a:lnTo>
                    <a:lnTo>
                      <a:pt x="260" y="3280"/>
                    </a:lnTo>
                    <a:lnTo>
                      <a:pt x="256" y="3286"/>
                    </a:lnTo>
                    <a:lnTo>
                      <a:pt x="252" y="3292"/>
                    </a:lnTo>
                    <a:lnTo>
                      <a:pt x="254" y="3292"/>
                    </a:lnTo>
                    <a:lnTo>
                      <a:pt x="258" y="3292"/>
                    </a:lnTo>
                    <a:lnTo>
                      <a:pt x="262" y="3290"/>
                    </a:lnTo>
                    <a:lnTo>
                      <a:pt x="262" y="3288"/>
                    </a:lnTo>
                    <a:lnTo>
                      <a:pt x="264" y="3286"/>
                    </a:lnTo>
                    <a:lnTo>
                      <a:pt x="266" y="3286"/>
                    </a:lnTo>
                    <a:lnTo>
                      <a:pt x="266" y="3288"/>
                    </a:lnTo>
                    <a:lnTo>
                      <a:pt x="268" y="3290"/>
                    </a:lnTo>
                    <a:lnTo>
                      <a:pt x="270" y="3288"/>
                    </a:lnTo>
                    <a:lnTo>
                      <a:pt x="270" y="3286"/>
                    </a:lnTo>
                    <a:close/>
                    <a:moveTo>
                      <a:pt x="262" y="3260"/>
                    </a:moveTo>
                    <a:lnTo>
                      <a:pt x="262" y="3260"/>
                    </a:lnTo>
                    <a:lnTo>
                      <a:pt x="256" y="3260"/>
                    </a:lnTo>
                    <a:lnTo>
                      <a:pt x="254" y="3260"/>
                    </a:lnTo>
                    <a:lnTo>
                      <a:pt x="254" y="3262"/>
                    </a:lnTo>
                    <a:lnTo>
                      <a:pt x="256" y="3264"/>
                    </a:lnTo>
                    <a:lnTo>
                      <a:pt x="258" y="3266"/>
                    </a:lnTo>
                    <a:lnTo>
                      <a:pt x="260" y="3270"/>
                    </a:lnTo>
                    <a:lnTo>
                      <a:pt x="264" y="3272"/>
                    </a:lnTo>
                    <a:lnTo>
                      <a:pt x="266" y="3270"/>
                    </a:lnTo>
                    <a:lnTo>
                      <a:pt x="268" y="3268"/>
                    </a:lnTo>
                    <a:lnTo>
                      <a:pt x="270" y="3266"/>
                    </a:lnTo>
                    <a:lnTo>
                      <a:pt x="274" y="3266"/>
                    </a:lnTo>
                    <a:lnTo>
                      <a:pt x="276" y="3266"/>
                    </a:lnTo>
                    <a:lnTo>
                      <a:pt x="276" y="3258"/>
                    </a:lnTo>
                    <a:lnTo>
                      <a:pt x="274" y="3254"/>
                    </a:lnTo>
                    <a:lnTo>
                      <a:pt x="270" y="3250"/>
                    </a:lnTo>
                    <a:lnTo>
                      <a:pt x="268" y="3250"/>
                    </a:lnTo>
                    <a:lnTo>
                      <a:pt x="266" y="3252"/>
                    </a:lnTo>
                    <a:lnTo>
                      <a:pt x="268" y="3258"/>
                    </a:lnTo>
                    <a:lnTo>
                      <a:pt x="266" y="3260"/>
                    </a:lnTo>
                    <a:lnTo>
                      <a:pt x="262" y="3260"/>
                    </a:lnTo>
                    <a:close/>
                    <a:moveTo>
                      <a:pt x="236" y="3110"/>
                    </a:moveTo>
                    <a:lnTo>
                      <a:pt x="236" y="3110"/>
                    </a:lnTo>
                    <a:lnTo>
                      <a:pt x="238" y="3110"/>
                    </a:lnTo>
                    <a:lnTo>
                      <a:pt x="240" y="3112"/>
                    </a:lnTo>
                    <a:lnTo>
                      <a:pt x="240" y="3118"/>
                    </a:lnTo>
                    <a:lnTo>
                      <a:pt x="240" y="3126"/>
                    </a:lnTo>
                    <a:lnTo>
                      <a:pt x="242" y="3128"/>
                    </a:lnTo>
                    <a:lnTo>
                      <a:pt x="244" y="3128"/>
                    </a:lnTo>
                    <a:lnTo>
                      <a:pt x="248" y="3124"/>
                    </a:lnTo>
                    <a:lnTo>
                      <a:pt x="250" y="3120"/>
                    </a:lnTo>
                    <a:lnTo>
                      <a:pt x="244" y="3108"/>
                    </a:lnTo>
                    <a:lnTo>
                      <a:pt x="240" y="3102"/>
                    </a:lnTo>
                    <a:lnTo>
                      <a:pt x="240" y="3096"/>
                    </a:lnTo>
                    <a:lnTo>
                      <a:pt x="238" y="3090"/>
                    </a:lnTo>
                    <a:lnTo>
                      <a:pt x="236" y="3088"/>
                    </a:lnTo>
                    <a:lnTo>
                      <a:pt x="232" y="3090"/>
                    </a:lnTo>
                    <a:lnTo>
                      <a:pt x="230" y="3094"/>
                    </a:lnTo>
                    <a:lnTo>
                      <a:pt x="230" y="3098"/>
                    </a:lnTo>
                    <a:lnTo>
                      <a:pt x="232" y="3100"/>
                    </a:lnTo>
                    <a:lnTo>
                      <a:pt x="232" y="3104"/>
                    </a:lnTo>
                    <a:lnTo>
                      <a:pt x="230" y="3108"/>
                    </a:lnTo>
                    <a:lnTo>
                      <a:pt x="230" y="3110"/>
                    </a:lnTo>
                    <a:lnTo>
                      <a:pt x="232" y="3110"/>
                    </a:lnTo>
                    <a:lnTo>
                      <a:pt x="236" y="3110"/>
                    </a:lnTo>
                    <a:close/>
                    <a:moveTo>
                      <a:pt x="284" y="3278"/>
                    </a:moveTo>
                    <a:lnTo>
                      <a:pt x="284" y="3278"/>
                    </a:lnTo>
                    <a:lnTo>
                      <a:pt x="284" y="3276"/>
                    </a:lnTo>
                    <a:lnTo>
                      <a:pt x="284" y="3270"/>
                    </a:lnTo>
                    <a:lnTo>
                      <a:pt x="282" y="3264"/>
                    </a:lnTo>
                    <a:lnTo>
                      <a:pt x="280" y="3260"/>
                    </a:lnTo>
                    <a:lnTo>
                      <a:pt x="278" y="3264"/>
                    </a:lnTo>
                    <a:lnTo>
                      <a:pt x="278" y="3270"/>
                    </a:lnTo>
                    <a:lnTo>
                      <a:pt x="280" y="3276"/>
                    </a:lnTo>
                    <a:lnTo>
                      <a:pt x="282" y="3278"/>
                    </a:lnTo>
                    <a:lnTo>
                      <a:pt x="284" y="3278"/>
                    </a:lnTo>
                    <a:close/>
                    <a:moveTo>
                      <a:pt x="304" y="3362"/>
                    </a:moveTo>
                    <a:lnTo>
                      <a:pt x="304" y="3362"/>
                    </a:lnTo>
                    <a:lnTo>
                      <a:pt x="304" y="3358"/>
                    </a:lnTo>
                    <a:lnTo>
                      <a:pt x="304" y="3356"/>
                    </a:lnTo>
                    <a:lnTo>
                      <a:pt x="306" y="3354"/>
                    </a:lnTo>
                    <a:lnTo>
                      <a:pt x="304" y="3352"/>
                    </a:lnTo>
                    <a:lnTo>
                      <a:pt x="302" y="3350"/>
                    </a:lnTo>
                    <a:lnTo>
                      <a:pt x="300" y="3350"/>
                    </a:lnTo>
                    <a:lnTo>
                      <a:pt x="294" y="3356"/>
                    </a:lnTo>
                    <a:lnTo>
                      <a:pt x="292" y="3360"/>
                    </a:lnTo>
                    <a:lnTo>
                      <a:pt x="292" y="3362"/>
                    </a:lnTo>
                    <a:lnTo>
                      <a:pt x="296" y="3368"/>
                    </a:lnTo>
                    <a:lnTo>
                      <a:pt x="298" y="3368"/>
                    </a:lnTo>
                    <a:lnTo>
                      <a:pt x="300" y="3368"/>
                    </a:lnTo>
                    <a:lnTo>
                      <a:pt x="302" y="3366"/>
                    </a:lnTo>
                    <a:lnTo>
                      <a:pt x="304" y="3362"/>
                    </a:lnTo>
                    <a:close/>
                    <a:moveTo>
                      <a:pt x="262" y="3320"/>
                    </a:moveTo>
                    <a:lnTo>
                      <a:pt x="262" y="3320"/>
                    </a:lnTo>
                    <a:lnTo>
                      <a:pt x="260" y="3330"/>
                    </a:lnTo>
                    <a:lnTo>
                      <a:pt x="258" y="3332"/>
                    </a:lnTo>
                    <a:lnTo>
                      <a:pt x="260" y="3330"/>
                    </a:lnTo>
                    <a:lnTo>
                      <a:pt x="264" y="3328"/>
                    </a:lnTo>
                    <a:lnTo>
                      <a:pt x="268" y="3320"/>
                    </a:lnTo>
                    <a:lnTo>
                      <a:pt x="268" y="3316"/>
                    </a:lnTo>
                    <a:lnTo>
                      <a:pt x="266" y="3314"/>
                    </a:lnTo>
                    <a:lnTo>
                      <a:pt x="264" y="3314"/>
                    </a:lnTo>
                    <a:lnTo>
                      <a:pt x="262" y="3320"/>
                    </a:lnTo>
                    <a:close/>
                    <a:moveTo>
                      <a:pt x="276" y="3112"/>
                    </a:moveTo>
                    <a:lnTo>
                      <a:pt x="276" y="3112"/>
                    </a:lnTo>
                    <a:lnTo>
                      <a:pt x="286" y="3114"/>
                    </a:lnTo>
                    <a:lnTo>
                      <a:pt x="288" y="3114"/>
                    </a:lnTo>
                    <a:lnTo>
                      <a:pt x="290" y="3112"/>
                    </a:lnTo>
                    <a:lnTo>
                      <a:pt x="284" y="3110"/>
                    </a:lnTo>
                    <a:lnTo>
                      <a:pt x="276" y="3102"/>
                    </a:lnTo>
                    <a:lnTo>
                      <a:pt x="270" y="3096"/>
                    </a:lnTo>
                    <a:lnTo>
                      <a:pt x="270" y="3098"/>
                    </a:lnTo>
                    <a:lnTo>
                      <a:pt x="270" y="3102"/>
                    </a:lnTo>
                    <a:lnTo>
                      <a:pt x="272" y="3108"/>
                    </a:lnTo>
                    <a:lnTo>
                      <a:pt x="276" y="3112"/>
                    </a:lnTo>
                    <a:close/>
                    <a:moveTo>
                      <a:pt x="274" y="3270"/>
                    </a:moveTo>
                    <a:lnTo>
                      <a:pt x="274" y="3270"/>
                    </a:lnTo>
                    <a:lnTo>
                      <a:pt x="272" y="3270"/>
                    </a:lnTo>
                    <a:lnTo>
                      <a:pt x="270" y="3272"/>
                    </a:lnTo>
                    <a:lnTo>
                      <a:pt x="270" y="3274"/>
                    </a:lnTo>
                    <a:lnTo>
                      <a:pt x="272" y="3276"/>
                    </a:lnTo>
                    <a:lnTo>
                      <a:pt x="274" y="3278"/>
                    </a:lnTo>
                    <a:lnTo>
                      <a:pt x="276" y="3276"/>
                    </a:lnTo>
                    <a:lnTo>
                      <a:pt x="276" y="3272"/>
                    </a:lnTo>
                    <a:lnTo>
                      <a:pt x="274" y="3270"/>
                    </a:lnTo>
                    <a:close/>
                    <a:moveTo>
                      <a:pt x="246" y="3090"/>
                    </a:moveTo>
                    <a:lnTo>
                      <a:pt x="246" y="3090"/>
                    </a:lnTo>
                    <a:lnTo>
                      <a:pt x="250" y="3090"/>
                    </a:lnTo>
                    <a:lnTo>
                      <a:pt x="252" y="3090"/>
                    </a:lnTo>
                    <a:lnTo>
                      <a:pt x="254" y="3092"/>
                    </a:lnTo>
                    <a:lnTo>
                      <a:pt x="258" y="3092"/>
                    </a:lnTo>
                    <a:lnTo>
                      <a:pt x="260" y="3090"/>
                    </a:lnTo>
                    <a:lnTo>
                      <a:pt x="260" y="3084"/>
                    </a:lnTo>
                    <a:lnTo>
                      <a:pt x="260" y="3080"/>
                    </a:lnTo>
                    <a:lnTo>
                      <a:pt x="260" y="3076"/>
                    </a:lnTo>
                    <a:lnTo>
                      <a:pt x="258" y="3078"/>
                    </a:lnTo>
                    <a:lnTo>
                      <a:pt x="256" y="3080"/>
                    </a:lnTo>
                    <a:lnTo>
                      <a:pt x="252" y="3084"/>
                    </a:lnTo>
                    <a:lnTo>
                      <a:pt x="248" y="3086"/>
                    </a:lnTo>
                    <a:lnTo>
                      <a:pt x="244" y="3086"/>
                    </a:lnTo>
                    <a:lnTo>
                      <a:pt x="242" y="3088"/>
                    </a:lnTo>
                    <a:lnTo>
                      <a:pt x="242" y="3090"/>
                    </a:lnTo>
                    <a:lnTo>
                      <a:pt x="246" y="3090"/>
                    </a:lnTo>
                    <a:close/>
                    <a:moveTo>
                      <a:pt x="248" y="3074"/>
                    </a:moveTo>
                    <a:lnTo>
                      <a:pt x="248" y="3074"/>
                    </a:lnTo>
                    <a:lnTo>
                      <a:pt x="246" y="3072"/>
                    </a:lnTo>
                    <a:lnTo>
                      <a:pt x="244" y="3072"/>
                    </a:lnTo>
                    <a:lnTo>
                      <a:pt x="242" y="3074"/>
                    </a:lnTo>
                    <a:lnTo>
                      <a:pt x="244" y="3078"/>
                    </a:lnTo>
                    <a:lnTo>
                      <a:pt x="246" y="3080"/>
                    </a:lnTo>
                    <a:lnTo>
                      <a:pt x="248" y="3078"/>
                    </a:lnTo>
                    <a:lnTo>
                      <a:pt x="250" y="3076"/>
                    </a:lnTo>
                    <a:lnTo>
                      <a:pt x="248" y="3074"/>
                    </a:lnTo>
                    <a:close/>
                    <a:moveTo>
                      <a:pt x="252" y="3118"/>
                    </a:moveTo>
                    <a:lnTo>
                      <a:pt x="252" y="3118"/>
                    </a:lnTo>
                    <a:lnTo>
                      <a:pt x="252" y="3120"/>
                    </a:lnTo>
                    <a:lnTo>
                      <a:pt x="254" y="3122"/>
                    </a:lnTo>
                    <a:lnTo>
                      <a:pt x="266" y="3128"/>
                    </a:lnTo>
                    <a:lnTo>
                      <a:pt x="272" y="3128"/>
                    </a:lnTo>
                    <a:lnTo>
                      <a:pt x="274" y="3124"/>
                    </a:lnTo>
                    <a:lnTo>
                      <a:pt x="272" y="3124"/>
                    </a:lnTo>
                    <a:lnTo>
                      <a:pt x="270" y="3122"/>
                    </a:lnTo>
                    <a:lnTo>
                      <a:pt x="268" y="3118"/>
                    </a:lnTo>
                    <a:lnTo>
                      <a:pt x="270" y="3116"/>
                    </a:lnTo>
                    <a:lnTo>
                      <a:pt x="270" y="3114"/>
                    </a:lnTo>
                    <a:lnTo>
                      <a:pt x="270" y="3108"/>
                    </a:lnTo>
                    <a:lnTo>
                      <a:pt x="266" y="3100"/>
                    </a:lnTo>
                    <a:lnTo>
                      <a:pt x="264" y="3098"/>
                    </a:lnTo>
                    <a:lnTo>
                      <a:pt x="262" y="3102"/>
                    </a:lnTo>
                    <a:lnTo>
                      <a:pt x="262" y="3106"/>
                    </a:lnTo>
                    <a:lnTo>
                      <a:pt x="262" y="3108"/>
                    </a:lnTo>
                    <a:lnTo>
                      <a:pt x="262" y="3114"/>
                    </a:lnTo>
                    <a:lnTo>
                      <a:pt x="262" y="3116"/>
                    </a:lnTo>
                    <a:lnTo>
                      <a:pt x="260" y="3114"/>
                    </a:lnTo>
                    <a:lnTo>
                      <a:pt x="258" y="3114"/>
                    </a:lnTo>
                    <a:lnTo>
                      <a:pt x="252" y="3118"/>
                    </a:lnTo>
                    <a:close/>
                    <a:moveTo>
                      <a:pt x="246" y="3228"/>
                    </a:moveTo>
                    <a:lnTo>
                      <a:pt x="246" y="3228"/>
                    </a:lnTo>
                    <a:lnTo>
                      <a:pt x="248" y="3228"/>
                    </a:lnTo>
                    <a:lnTo>
                      <a:pt x="250" y="3228"/>
                    </a:lnTo>
                    <a:lnTo>
                      <a:pt x="252" y="3228"/>
                    </a:lnTo>
                    <a:lnTo>
                      <a:pt x="254" y="3228"/>
                    </a:lnTo>
                    <a:lnTo>
                      <a:pt x="256" y="3224"/>
                    </a:lnTo>
                    <a:lnTo>
                      <a:pt x="256" y="3222"/>
                    </a:lnTo>
                    <a:lnTo>
                      <a:pt x="258" y="3218"/>
                    </a:lnTo>
                    <a:lnTo>
                      <a:pt x="262" y="3216"/>
                    </a:lnTo>
                    <a:lnTo>
                      <a:pt x="262" y="3214"/>
                    </a:lnTo>
                    <a:lnTo>
                      <a:pt x="260" y="3214"/>
                    </a:lnTo>
                    <a:lnTo>
                      <a:pt x="256" y="3216"/>
                    </a:lnTo>
                    <a:lnTo>
                      <a:pt x="254" y="3216"/>
                    </a:lnTo>
                    <a:lnTo>
                      <a:pt x="254" y="3214"/>
                    </a:lnTo>
                    <a:lnTo>
                      <a:pt x="254" y="3212"/>
                    </a:lnTo>
                    <a:lnTo>
                      <a:pt x="252" y="3212"/>
                    </a:lnTo>
                    <a:lnTo>
                      <a:pt x="248" y="3210"/>
                    </a:lnTo>
                    <a:lnTo>
                      <a:pt x="246" y="3210"/>
                    </a:lnTo>
                    <a:lnTo>
                      <a:pt x="242" y="3208"/>
                    </a:lnTo>
                    <a:lnTo>
                      <a:pt x="238" y="3208"/>
                    </a:lnTo>
                    <a:lnTo>
                      <a:pt x="236" y="3208"/>
                    </a:lnTo>
                    <a:lnTo>
                      <a:pt x="236" y="3210"/>
                    </a:lnTo>
                    <a:lnTo>
                      <a:pt x="240" y="3212"/>
                    </a:lnTo>
                    <a:lnTo>
                      <a:pt x="244" y="3216"/>
                    </a:lnTo>
                    <a:lnTo>
                      <a:pt x="244" y="3218"/>
                    </a:lnTo>
                    <a:lnTo>
                      <a:pt x="242" y="3218"/>
                    </a:lnTo>
                    <a:lnTo>
                      <a:pt x="240" y="3218"/>
                    </a:lnTo>
                    <a:lnTo>
                      <a:pt x="236" y="3218"/>
                    </a:lnTo>
                    <a:lnTo>
                      <a:pt x="232" y="3222"/>
                    </a:lnTo>
                    <a:lnTo>
                      <a:pt x="232" y="3224"/>
                    </a:lnTo>
                    <a:lnTo>
                      <a:pt x="234" y="3226"/>
                    </a:lnTo>
                    <a:lnTo>
                      <a:pt x="238" y="3226"/>
                    </a:lnTo>
                    <a:lnTo>
                      <a:pt x="242" y="3226"/>
                    </a:lnTo>
                    <a:lnTo>
                      <a:pt x="240" y="3230"/>
                    </a:lnTo>
                    <a:lnTo>
                      <a:pt x="240" y="3232"/>
                    </a:lnTo>
                    <a:lnTo>
                      <a:pt x="242" y="3232"/>
                    </a:lnTo>
                    <a:lnTo>
                      <a:pt x="246" y="3228"/>
                    </a:lnTo>
                    <a:close/>
                    <a:moveTo>
                      <a:pt x="256" y="3248"/>
                    </a:moveTo>
                    <a:lnTo>
                      <a:pt x="256" y="3248"/>
                    </a:lnTo>
                    <a:lnTo>
                      <a:pt x="254" y="3250"/>
                    </a:lnTo>
                    <a:lnTo>
                      <a:pt x="254" y="3252"/>
                    </a:lnTo>
                    <a:lnTo>
                      <a:pt x="258" y="3256"/>
                    </a:lnTo>
                    <a:lnTo>
                      <a:pt x="262" y="3258"/>
                    </a:lnTo>
                    <a:lnTo>
                      <a:pt x="264" y="3258"/>
                    </a:lnTo>
                    <a:lnTo>
                      <a:pt x="264" y="3256"/>
                    </a:lnTo>
                    <a:lnTo>
                      <a:pt x="262" y="3252"/>
                    </a:lnTo>
                    <a:lnTo>
                      <a:pt x="260" y="3248"/>
                    </a:lnTo>
                    <a:lnTo>
                      <a:pt x="258" y="3248"/>
                    </a:lnTo>
                    <a:lnTo>
                      <a:pt x="256" y="3248"/>
                    </a:lnTo>
                    <a:close/>
                    <a:moveTo>
                      <a:pt x="254" y="3160"/>
                    </a:moveTo>
                    <a:lnTo>
                      <a:pt x="254" y="3160"/>
                    </a:lnTo>
                    <a:lnTo>
                      <a:pt x="256" y="3160"/>
                    </a:lnTo>
                    <a:lnTo>
                      <a:pt x="256" y="3154"/>
                    </a:lnTo>
                    <a:lnTo>
                      <a:pt x="254" y="3150"/>
                    </a:lnTo>
                    <a:lnTo>
                      <a:pt x="250" y="3150"/>
                    </a:lnTo>
                    <a:lnTo>
                      <a:pt x="246" y="3152"/>
                    </a:lnTo>
                    <a:lnTo>
                      <a:pt x="242" y="3154"/>
                    </a:lnTo>
                    <a:lnTo>
                      <a:pt x="242" y="3156"/>
                    </a:lnTo>
                    <a:lnTo>
                      <a:pt x="246" y="3156"/>
                    </a:lnTo>
                    <a:lnTo>
                      <a:pt x="248" y="3158"/>
                    </a:lnTo>
                    <a:lnTo>
                      <a:pt x="254" y="3160"/>
                    </a:lnTo>
                    <a:close/>
                    <a:moveTo>
                      <a:pt x="248" y="3146"/>
                    </a:moveTo>
                    <a:lnTo>
                      <a:pt x="248" y="3146"/>
                    </a:lnTo>
                    <a:lnTo>
                      <a:pt x="250" y="3144"/>
                    </a:lnTo>
                    <a:lnTo>
                      <a:pt x="250" y="3142"/>
                    </a:lnTo>
                    <a:lnTo>
                      <a:pt x="244" y="3136"/>
                    </a:lnTo>
                    <a:lnTo>
                      <a:pt x="242" y="3136"/>
                    </a:lnTo>
                    <a:lnTo>
                      <a:pt x="244" y="3142"/>
                    </a:lnTo>
                    <a:lnTo>
                      <a:pt x="246" y="3146"/>
                    </a:lnTo>
                    <a:lnTo>
                      <a:pt x="248" y="3146"/>
                    </a:lnTo>
                    <a:close/>
                    <a:moveTo>
                      <a:pt x="282" y="3246"/>
                    </a:moveTo>
                    <a:lnTo>
                      <a:pt x="282" y="3246"/>
                    </a:lnTo>
                    <a:lnTo>
                      <a:pt x="280" y="3242"/>
                    </a:lnTo>
                    <a:lnTo>
                      <a:pt x="278" y="3238"/>
                    </a:lnTo>
                    <a:lnTo>
                      <a:pt x="278" y="3236"/>
                    </a:lnTo>
                    <a:lnTo>
                      <a:pt x="276" y="3234"/>
                    </a:lnTo>
                    <a:lnTo>
                      <a:pt x="272" y="3232"/>
                    </a:lnTo>
                    <a:lnTo>
                      <a:pt x="270" y="3232"/>
                    </a:lnTo>
                    <a:lnTo>
                      <a:pt x="270" y="3234"/>
                    </a:lnTo>
                    <a:lnTo>
                      <a:pt x="272" y="3238"/>
                    </a:lnTo>
                    <a:lnTo>
                      <a:pt x="274" y="3240"/>
                    </a:lnTo>
                    <a:lnTo>
                      <a:pt x="272" y="3242"/>
                    </a:lnTo>
                    <a:lnTo>
                      <a:pt x="272" y="3244"/>
                    </a:lnTo>
                    <a:lnTo>
                      <a:pt x="276" y="3252"/>
                    </a:lnTo>
                    <a:lnTo>
                      <a:pt x="280" y="3256"/>
                    </a:lnTo>
                    <a:lnTo>
                      <a:pt x="284" y="3256"/>
                    </a:lnTo>
                    <a:lnTo>
                      <a:pt x="286" y="3254"/>
                    </a:lnTo>
                    <a:lnTo>
                      <a:pt x="286" y="3252"/>
                    </a:lnTo>
                    <a:lnTo>
                      <a:pt x="282" y="3246"/>
                    </a:lnTo>
                    <a:close/>
                    <a:moveTo>
                      <a:pt x="234" y="3130"/>
                    </a:moveTo>
                    <a:lnTo>
                      <a:pt x="234" y="3130"/>
                    </a:lnTo>
                    <a:lnTo>
                      <a:pt x="228" y="3130"/>
                    </a:lnTo>
                    <a:lnTo>
                      <a:pt x="226" y="3132"/>
                    </a:lnTo>
                    <a:lnTo>
                      <a:pt x="226" y="3134"/>
                    </a:lnTo>
                    <a:lnTo>
                      <a:pt x="228" y="3134"/>
                    </a:lnTo>
                    <a:lnTo>
                      <a:pt x="236" y="3132"/>
                    </a:lnTo>
                    <a:lnTo>
                      <a:pt x="240" y="3132"/>
                    </a:lnTo>
                    <a:lnTo>
                      <a:pt x="240" y="3130"/>
                    </a:lnTo>
                    <a:lnTo>
                      <a:pt x="238" y="3128"/>
                    </a:lnTo>
                    <a:lnTo>
                      <a:pt x="234" y="3130"/>
                    </a:lnTo>
                    <a:close/>
                    <a:moveTo>
                      <a:pt x="224" y="3120"/>
                    </a:moveTo>
                    <a:lnTo>
                      <a:pt x="224" y="3120"/>
                    </a:lnTo>
                    <a:lnTo>
                      <a:pt x="226" y="3124"/>
                    </a:lnTo>
                    <a:lnTo>
                      <a:pt x="228" y="3126"/>
                    </a:lnTo>
                    <a:lnTo>
                      <a:pt x="230" y="3128"/>
                    </a:lnTo>
                    <a:lnTo>
                      <a:pt x="236" y="3126"/>
                    </a:lnTo>
                    <a:lnTo>
                      <a:pt x="238" y="3124"/>
                    </a:lnTo>
                    <a:lnTo>
                      <a:pt x="236" y="3120"/>
                    </a:lnTo>
                    <a:lnTo>
                      <a:pt x="236" y="3116"/>
                    </a:lnTo>
                    <a:lnTo>
                      <a:pt x="234" y="3114"/>
                    </a:lnTo>
                    <a:lnTo>
                      <a:pt x="230" y="3116"/>
                    </a:lnTo>
                    <a:lnTo>
                      <a:pt x="228" y="3116"/>
                    </a:lnTo>
                    <a:lnTo>
                      <a:pt x="226" y="3116"/>
                    </a:lnTo>
                    <a:lnTo>
                      <a:pt x="224" y="3120"/>
                    </a:lnTo>
                    <a:close/>
                    <a:moveTo>
                      <a:pt x="232" y="3160"/>
                    </a:moveTo>
                    <a:lnTo>
                      <a:pt x="232" y="3160"/>
                    </a:lnTo>
                    <a:lnTo>
                      <a:pt x="234" y="3158"/>
                    </a:lnTo>
                    <a:lnTo>
                      <a:pt x="236" y="3156"/>
                    </a:lnTo>
                    <a:lnTo>
                      <a:pt x="238" y="3154"/>
                    </a:lnTo>
                    <a:lnTo>
                      <a:pt x="238" y="3152"/>
                    </a:lnTo>
                    <a:lnTo>
                      <a:pt x="236" y="3148"/>
                    </a:lnTo>
                    <a:lnTo>
                      <a:pt x="236" y="3150"/>
                    </a:lnTo>
                    <a:lnTo>
                      <a:pt x="234" y="3152"/>
                    </a:lnTo>
                    <a:lnTo>
                      <a:pt x="230" y="3154"/>
                    </a:lnTo>
                    <a:lnTo>
                      <a:pt x="228" y="3156"/>
                    </a:lnTo>
                    <a:lnTo>
                      <a:pt x="226" y="3158"/>
                    </a:lnTo>
                    <a:lnTo>
                      <a:pt x="226" y="3160"/>
                    </a:lnTo>
                    <a:lnTo>
                      <a:pt x="228" y="3162"/>
                    </a:lnTo>
                    <a:lnTo>
                      <a:pt x="232" y="3164"/>
                    </a:lnTo>
                    <a:lnTo>
                      <a:pt x="232" y="3160"/>
                    </a:lnTo>
                    <a:close/>
                    <a:moveTo>
                      <a:pt x="290" y="3322"/>
                    </a:moveTo>
                    <a:lnTo>
                      <a:pt x="290" y="3322"/>
                    </a:lnTo>
                    <a:lnTo>
                      <a:pt x="290" y="3324"/>
                    </a:lnTo>
                    <a:lnTo>
                      <a:pt x="292" y="3326"/>
                    </a:lnTo>
                    <a:lnTo>
                      <a:pt x="300" y="3334"/>
                    </a:lnTo>
                    <a:lnTo>
                      <a:pt x="304" y="3338"/>
                    </a:lnTo>
                    <a:lnTo>
                      <a:pt x="302" y="3332"/>
                    </a:lnTo>
                    <a:lnTo>
                      <a:pt x="296" y="3324"/>
                    </a:lnTo>
                    <a:lnTo>
                      <a:pt x="292" y="3322"/>
                    </a:lnTo>
                    <a:lnTo>
                      <a:pt x="290" y="3322"/>
                    </a:lnTo>
                    <a:close/>
                    <a:moveTo>
                      <a:pt x="246" y="3094"/>
                    </a:moveTo>
                    <a:lnTo>
                      <a:pt x="246" y="3094"/>
                    </a:lnTo>
                    <a:lnTo>
                      <a:pt x="244" y="3094"/>
                    </a:lnTo>
                    <a:lnTo>
                      <a:pt x="242" y="3094"/>
                    </a:lnTo>
                    <a:lnTo>
                      <a:pt x="242" y="3098"/>
                    </a:lnTo>
                    <a:lnTo>
                      <a:pt x="250" y="3112"/>
                    </a:lnTo>
                    <a:lnTo>
                      <a:pt x="252" y="3114"/>
                    </a:lnTo>
                    <a:lnTo>
                      <a:pt x="254" y="3112"/>
                    </a:lnTo>
                    <a:lnTo>
                      <a:pt x="256" y="3110"/>
                    </a:lnTo>
                    <a:lnTo>
                      <a:pt x="258" y="3110"/>
                    </a:lnTo>
                    <a:lnTo>
                      <a:pt x="258" y="3108"/>
                    </a:lnTo>
                    <a:lnTo>
                      <a:pt x="258" y="3102"/>
                    </a:lnTo>
                    <a:lnTo>
                      <a:pt x="258" y="3098"/>
                    </a:lnTo>
                    <a:lnTo>
                      <a:pt x="256" y="3096"/>
                    </a:lnTo>
                    <a:lnTo>
                      <a:pt x="246" y="3094"/>
                    </a:lnTo>
                    <a:close/>
                    <a:moveTo>
                      <a:pt x="294" y="3282"/>
                    </a:moveTo>
                    <a:lnTo>
                      <a:pt x="294" y="3282"/>
                    </a:lnTo>
                    <a:lnTo>
                      <a:pt x="294" y="3280"/>
                    </a:lnTo>
                    <a:lnTo>
                      <a:pt x="290" y="3278"/>
                    </a:lnTo>
                    <a:lnTo>
                      <a:pt x="288" y="3280"/>
                    </a:lnTo>
                    <a:lnTo>
                      <a:pt x="288" y="3284"/>
                    </a:lnTo>
                    <a:lnTo>
                      <a:pt x="290" y="3286"/>
                    </a:lnTo>
                    <a:lnTo>
                      <a:pt x="292" y="3286"/>
                    </a:lnTo>
                    <a:lnTo>
                      <a:pt x="294" y="3284"/>
                    </a:lnTo>
                    <a:lnTo>
                      <a:pt x="294" y="3282"/>
                    </a:lnTo>
                    <a:close/>
                    <a:moveTo>
                      <a:pt x="284" y="3284"/>
                    </a:moveTo>
                    <a:lnTo>
                      <a:pt x="284" y="3284"/>
                    </a:lnTo>
                    <a:lnTo>
                      <a:pt x="282" y="3284"/>
                    </a:lnTo>
                    <a:lnTo>
                      <a:pt x="282" y="3286"/>
                    </a:lnTo>
                    <a:lnTo>
                      <a:pt x="282" y="3288"/>
                    </a:lnTo>
                    <a:lnTo>
                      <a:pt x="286" y="3292"/>
                    </a:lnTo>
                    <a:lnTo>
                      <a:pt x="286" y="3288"/>
                    </a:lnTo>
                    <a:lnTo>
                      <a:pt x="286" y="3286"/>
                    </a:lnTo>
                    <a:lnTo>
                      <a:pt x="284" y="3284"/>
                    </a:lnTo>
                    <a:close/>
                    <a:moveTo>
                      <a:pt x="294" y="3312"/>
                    </a:moveTo>
                    <a:lnTo>
                      <a:pt x="294" y="3312"/>
                    </a:lnTo>
                    <a:lnTo>
                      <a:pt x="294" y="3310"/>
                    </a:lnTo>
                    <a:lnTo>
                      <a:pt x="294" y="3306"/>
                    </a:lnTo>
                    <a:lnTo>
                      <a:pt x="290" y="3298"/>
                    </a:lnTo>
                    <a:lnTo>
                      <a:pt x="288" y="3296"/>
                    </a:lnTo>
                    <a:lnTo>
                      <a:pt x="288" y="3298"/>
                    </a:lnTo>
                    <a:lnTo>
                      <a:pt x="288" y="3302"/>
                    </a:lnTo>
                    <a:lnTo>
                      <a:pt x="286" y="3306"/>
                    </a:lnTo>
                    <a:lnTo>
                      <a:pt x="284" y="3308"/>
                    </a:lnTo>
                    <a:lnTo>
                      <a:pt x="286" y="3312"/>
                    </a:lnTo>
                    <a:lnTo>
                      <a:pt x="290" y="3314"/>
                    </a:lnTo>
                    <a:lnTo>
                      <a:pt x="294" y="3312"/>
                    </a:lnTo>
                    <a:close/>
                    <a:moveTo>
                      <a:pt x="240" y="3200"/>
                    </a:moveTo>
                    <a:lnTo>
                      <a:pt x="240" y="3200"/>
                    </a:lnTo>
                    <a:lnTo>
                      <a:pt x="242" y="3200"/>
                    </a:lnTo>
                    <a:lnTo>
                      <a:pt x="242" y="3192"/>
                    </a:lnTo>
                    <a:lnTo>
                      <a:pt x="238" y="3184"/>
                    </a:lnTo>
                    <a:lnTo>
                      <a:pt x="236" y="3184"/>
                    </a:lnTo>
                    <a:lnTo>
                      <a:pt x="234" y="3184"/>
                    </a:lnTo>
                    <a:lnTo>
                      <a:pt x="230" y="3184"/>
                    </a:lnTo>
                    <a:lnTo>
                      <a:pt x="230" y="3186"/>
                    </a:lnTo>
                    <a:lnTo>
                      <a:pt x="230" y="3196"/>
                    </a:lnTo>
                    <a:lnTo>
                      <a:pt x="236" y="3194"/>
                    </a:lnTo>
                    <a:lnTo>
                      <a:pt x="238" y="3192"/>
                    </a:lnTo>
                    <a:lnTo>
                      <a:pt x="238" y="3194"/>
                    </a:lnTo>
                    <a:lnTo>
                      <a:pt x="238" y="3198"/>
                    </a:lnTo>
                    <a:lnTo>
                      <a:pt x="240" y="3200"/>
                    </a:lnTo>
                    <a:close/>
                    <a:moveTo>
                      <a:pt x="236" y="3146"/>
                    </a:moveTo>
                    <a:lnTo>
                      <a:pt x="236" y="3146"/>
                    </a:lnTo>
                    <a:lnTo>
                      <a:pt x="238" y="3146"/>
                    </a:lnTo>
                    <a:lnTo>
                      <a:pt x="240" y="3148"/>
                    </a:lnTo>
                    <a:lnTo>
                      <a:pt x="242" y="3148"/>
                    </a:lnTo>
                    <a:lnTo>
                      <a:pt x="242" y="3146"/>
                    </a:lnTo>
                    <a:lnTo>
                      <a:pt x="240" y="3142"/>
                    </a:lnTo>
                    <a:lnTo>
                      <a:pt x="236" y="3138"/>
                    </a:lnTo>
                    <a:lnTo>
                      <a:pt x="232" y="3138"/>
                    </a:lnTo>
                    <a:lnTo>
                      <a:pt x="228" y="3138"/>
                    </a:lnTo>
                    <a:lnTo>
                      <a:pt x="224" y="3140"/>
                    </a:lnTo>
                    <a:lnTo>
                      <a:pt x="224" y="3144"/>
                    </a:lnTo>
                    <a:lnTo>
                      <a:pt x="226" y="3146"/>
                    </a:lnTo>
                    <a:lnTo>
                      <a:pt x="230" y="3146"/>
                    </a:lnTo>
                    <a:lnTo>
                      <a:pt x="236" y="3146"/>
                    </a:lnTo>
                    <a:close/>
                    <a:moveTo>
                      <a:pt x="292" y="2928"/>
                    </a:moveTo>
                    <a:lnTo>
                      <a:pt x="292" y="2928"/>
                    </a:lnTo>
                    <a:lnTo>
                      <a:pt x="294" y="2930"/>
                    </a:lnTo>
                    <a:lnTo>
                      <a:pt x="296" y="2930"/>
                    </a:lnTo>
                    <a:lnTo>
                      <a:pt x="298" y="2930"/>
                    </a:lnTo>
                    <a:lnTo>
                      <a:pt x="302" y="2930"/>
                    </a:lnTo>
                    <a:lnTo>
                      <a:pt x="304" y="2930"/>
                    </a:lnTo>
                    <a:lnTo>
                      <a:pt x="306" y="2928"/>
                    </a:lnTo>
                    <a:lnTo>
                      <a:pt x="302" y="2918"/>
                    </a:lnTo>
                    <a:lnTo>
                      <a:pt x="300" y="2916"/>
                    </a:lnTo>
                    <a:lnTo>
                      <a:pt x="298" y="2916"/>
                    </a:lnTo>
                    <a:lnTo>
                      <a:pt x="294" y="2918"/>
                    </a:lnTo>
                    <a:lnTo>
                      <a:pt x="290" y="2918"/>
                    </a:lnTo>
                    <a:lnTo>
                      <a:pt x="286" y="2918"/>
                    </a:lnTo>
                    <a:lnTo>
                      <a:pt x="284" y="2920"/>
                    </a:lnTo>
                    <a:lnTo>
                      <a:pt x="284" y="2922"/>
                    </a:lnTo>
                    <a:lnTo>
                      <a:pt x="288" y="2924"/>
                    </a:lnTo>
                    <a:lnTo>
                      <a:pt x="290" y="2924"/>
                    </a:lnTo>
                    <a:lnTo>
                      <a:pt x="292" y="2928"/>
                    </a:lnTo>
                    <a:close/>
                    <a:moveTo>
                      <a:pt x="294" y="2944"/>
                    </a:moveTo>
                    <a:lnTo>
                      <a:pt x="294" y="2944"/>
                    </a:lnTo>
                    <a:lnTo>
                      <a:pt x="296" y="2944"/>
                    </a:lnTo>
                    <a:lnTo>
                      <a:pt x="298" y="2942"/>
                    </a:lnTo>
                    <a:lnTo>
                      <a:pt x="300" y="2940"/>
                    </a:lnTo>
                    <a:lnTo>
                      <a:pt x="298" y="2940"/>
                    </a:lnTo>
                    <a:lnTo>
                      <a:pt x="292" y="2940"/>
                    </a:lnTo>
                    <a:lnTo>
                      <a:pt x="290" y="2940"/>
                    </a:lnTo>
                    <a:lnTo>
                      <a:pt x="290" y="2942"/>
                    </a:lnTo>
                    <a:lnTo>
                      <a:pt x="288" y="2944"/>
                    </a:lnTo>
                    <a:lnTo>
                      <a:pt x="290" y="2944"/>
                    </a:lnTo>
                    <a:lnTo>
                      <a:pt x="294" y="2944"/>
                    </a:lnTo>
                    <a:close/>
                    <a:moveTo>
                      <a:pt x="278" y="2914"/>
                    </a:moveTo>
                    <a:lnTo>
                      <a:pt x="278" y="2914"/>
                    </a:lnTo>
                    <a:lnTo>
                      <a:pt x="278" y="2916"/>
                    </a:lnTo>
                    <a:lnTo>
                      <a:pt x="282" y="2916"/>
                    </a:lnTo>
                    <a:lnTo>
                      <a:pt x="286" y="2914"/>
                    </a:lnTo>
                    <a:lnTo>
                      <a:pt x="292" y="2914"/>
                    </a:lnTo>
                    <a:lnTo>
                      <a:pt x="294" y="2914"/>
                    </a:lnTo>
                    <a:lnTo>
                      <a:pt x="294" y="2912"/>
                    </a:lnTo>
                    <a:lnTo>
                      <a:pt x="288" y="2908"/>
                    </a:lnTo>
                    <a:lnTo>
                      <a:pt x="286" y="2908"/>
                    </a:lnTo>
                    <a:lnTo>
                      <a:pt x="282" y="2908"/>
                    </a:lnTo>
                    <a:lnTo>
                      <a:pt x="278" y="2914"/>
                    </a:lnTo>
                    <a:close/>
                    <a:moveTo>
                      <a:pt x="276" y="2888"/>
                    </a:moveTo>
                    <a:lnTo>
                      <a:pt x="276" y="2888"/>
                    </a:lnTo>
                    <a:lnTo>
                      <a:pt x="280" y="2886"/>
                    </a:lnTo>
                    <a:lnTo>
                      <a:pt x="282" y="2884"/>
                    </a:lnTo>
                    <a:lnTo>
                      <a:pt x="282" y="2882"/>
                    </a:lnTo>
                    <a:lnTo>
                      <a:pt x="282" y="2880"/>
                    </a:lnTo>
                    <a:lnTo>
                      <a:pt x="278" y="2880"/>
                    </a:lnTo>
                    <a:lnTo>
                      <a:pt x="272" y="2884"/>
                    </a:lnTo>
                    <a:lnTo>
                      <a:pt x="270" y="2884"/>
                    </a:lnTo>
                    <a:lnTo>
                      <a:pt x="270" y="2886"/>
                    </a:lnTo>
                    <a:lnTo>
                      <a:pt x="272" y="2888"/>
                    </a:lnTo>
                    <a:lnTo>
                      <a:pt x="276" y="2888"/>
                    </a:lnTo>
                    <a:close/>
                    <a:moveTo>
                      <a:pt x="282" y="2902"/>
                    </a:moveTo>
                    <a:lnTo>
                      <a:pt x="282" y="2902"/>
                    </a:lnTo>
                    <a:lnTo>
                      <a:pt x="284" y="2902"/>
                    </a:lnTo>
                    <a:lnTo>
                      <a:pt x="290" y="2900"/>
                    </a:lnTo>
                    <a:lnTo>
                      <a:pt x="296" y="2898"/>
                    </a:lnTo>
                    <a:lnTo>
                      <a:pt x="296" y="2896"/>
                    </a:lnTo>
                    <a:lnTo>
                      <a:pt x="294" y="2894"/>
                    </a:lnTo>
                    <a:lnTo>
                      <a:pt x="292" y="2894"/>
                    </a:lnTo>
                    <a:lnTo>
                      <a:pt x="282" y="2894"/>
                    </a:lnTo>
                    <a:lnTo>
                      <a:pt x="276" y="2894"/>
                    </a:lnTo>
                    <a:lnTo>
                      <a:pt x="276" y="2896"/>
                    </a:lnTo>
                    <a:lnTo>
                      <a:pt x="278" y="2900"/>
                    </a:lnTo>
                    <a:lnTo>
                      <a:pt x="282" y="2902"/>
                    </a:lnTo>
                    <a:close/>
                    <a:moveTo>
                      <a:pt x="296" y="2950"/>
                    </a:moveTo>
                    <a:lnTo>
                      <a:pt x="296" y="2950"/>
                    </a:lnTo>
                    <a:lnTo>
                      <a:pt x="294" y="2948"/>
                    </a:lnTo>
                    <a:lnTo>
                      <a:pt x="290" y="2950"/>
                    </a:lnTo>
                    <a:lnTo>
                      <a:pt x="290" y="2952"/>
                    </a:lnTo>
                    <a:lnTo>
                      <a:pt x="290" y="2954"/>
                    </a:lnTo>
                    <a:lnTo>
                      <a:pt x="292" y="2956"/>
                    </a:lnTo>
                    <a:lnTo>
                      <a:pt x="294" y="2954"/>
                    </a:lnTo>
                    <a:lnTo>
                      <a:pt x="296" y="2952"/>
                    </a:lnTo>
                    <a:lnTo>
                      <a:pt x="296" y="2950"/>
                    </a:lnTo>
                    <a:close/>
                    <a:moveTo>
                      <a:pt x="302" y="2888"/>
                    </a:moveTo>
                    <a:lnTo>
                      <a:pt x="302" y="2888"/>
                    </a:lnTo>
                    <a:lnTo>
                      <a:pt x="300" y="2890"/>
                    </a:lnTo>
                    <a:lnTo>
                      <a:pt x="300" y="2892"/>
                    </a:lnTo>
                    <a:lnTo>
                      <a:pt x="302" y="2898"/>
                    </a:lnTo>
                    <a:lnTo>
                      <a:pt x="304" y="2900"/>
                    </a:lnTo>
                    <a:lnTo>
                      <a:pt x="308" y="2898"/>
                    </a:lnTo>
                    <a:lnTo>
                      <a:pt x="310" y="2896"/>
                    </a:lnTo>
                    <a:lnTo>
                      <a:pt x="308" y="2894"/>
                    </a:lnTo>
                    <a:lnTo>
                      <a:pt x="306" y="2890"/>
                    </a:lnTo>
                    <a:lnTo>
                      <a:pt x="302" y="2888"/>
                    </a:lnTo>
                    <a:close/>
                    <a:moveTo>
                      <a:pt x="304" y="2856"/>
                    </a:moveTo>
                    <a:lnTo>
                      <a:pt x="304" y="2856"/>
                    </a:lnTo>
                    <a:lnTo>
                      <a:pt x="304" y="2858"/>
                    </a:lnTo>
                    <a:lnTo>
                      <a:pt x="304" y="2862"/>
                    </a:lnTo>
                    <a:lnTo>
                      <a:pt x="306" y="2864"/>
                    </a:lnTo>
                    <a:lnTo>
                      <a:pt x="308" y="2864"/>
                    </a:lnTo>
                    <a:lnTo>
                      <a:pt x="310" y="2862"/>
                    </a:lnTo>
                    <a:lnTo>
                      <a:pt x="308" y="2860"/>
                    </a:lnTo>
                    <a:lnTo>
                      <a:pt x="306" y="2856"/>
                    </a:lnTo>
                    <a:lnTo>
                      <a:pt x="304" y="2856"/>
                    </a:lnTo>
                    <a:close/>
                    <a:moveTo>
                      <a:pt x="300" y="2968"/>
                    </a:moveTo>
                    <a:lnTo>
                      <a:pt x="300" y="2968"/>
                    </a:lnTo>
                    <a:lnTo>
                      <a:pt x="304" y="2964"/>
                    </a:lnTo>
                    <a:lnTo>
                      <a:pt x="304" y="2962"/>
                    </a:lnTo>
                    <a:lnTo>
                      <a:pt x="304" y="2960"/>
                    </a:lnTo>
                    <a:lnTo>
                      <a:pt x="300" y="2962"/>
                    </a:lnTo>
                    <a:lnTo>
                      <a:pt x="298" y="2964"/>
                    </a:lnTo>
                    <a:lnTo>
                      <a:pt x="296" y="2968"/>
                    </a:lnTo>
                    <a:lnTo>
                      <a:pt x="296" y="2970"/>
                    </a:lnTo>
                    <a:lnTo>
                      <a:pt x="300" y="2968"/>
                    </a:lnTo>
                    <a:close/>
                    <a:moveTo>
                      <a:pt x="290" y="2888"/>
                    </a:moveTo>
                    <a:lnTo>
                      <a:pt x="290" y="2888"/>
                    </a:lnTo>
                    <a:lnTo>
                      <a:pt x="294" y="2888"/>
                    </a:lnTo>
                    <a:lnTo>
                      <a:pt x="294" y="2886"/>
                    </a:lnTo>
                    <a:lnTo>
                      <a:pt x="292" y="2884"/>
                    </a:lnTo>
                    <a:lnTo>
                      <a:pt x="290" y="2884"/>
                    </a:lnTo>
                    <a:lnTo>
                      <a:pt x="282" y="2888"/>
                    </a:lnTo>
                    <a:lnTo>
                      <a:pt x="280" y="2888"/>
                    </a:lnTo>
                    <a:lnTo>
                      <a:pt x="282" y="2890"/>
                    </a:lnTo>
                    <a:lnTo>
                      <a:pt x="290" y="2888"/>
                    </a:lnTo>
                    <a:close/>
                    <a:moveTo>
                      <a:pt x="250" y="2970"/>
                    </a:moveTo>
                    <a:lnTo>
                      <a:pt x="250" y="2970"/>
                    </a:lnTo>
                    <a:lnTo>
                      <a:pt x="250" y="2972"/>
                    </a:lnTo>
                    <a:lnTo>
                      <a:pt x="248" y="2974"/>
                    </a:lnTo>
                    <a:lnTo>
                      <a:pt x="248" y="2978"/>
                    </a:lnTo>
                    <a:lnTo>
                      <a:pt x="252" y="2980"/>
                    </a:lnTo>
                    <a:lnTo>
                      <a:pt x="254" y="2980"/>
                    </a:lnTo>
                    <a:lnTo>
                      <a:pt x="260" y="2974"/>
                    </a:lnTo>
                    <a:lnTo>
                      <a:pt x="262" y="2972"/>
                    </a:lnTo>
                    <a:lnTo>
                      <a:pt x="262" y="2968"/>
                    </a:lnTo>
                    <a:lnTo>
                      <a:pt x="262" y="2964"/>
                    </a:lnTo>
                    <a:lnTo>
                      <a:pt x="260" y="2962"/>
                    </a:lnTo>
                    <a:lnTo>
                      <a:pt x="256" y="2962"/>
                    </a:lnTo>
                    <a:lnTo>
                      <a:pt x="250" y="2966"/>
                    </a:lnTo>
                    <a:lnTo>
                      <a:pt x="248" y="2966"/>
                    </a:lnTo>
                    <a:lnTo>
                      <a:pt x="250" y="2970"/>
                    </a:lnTo>
                    <a:close/>
                    <a:moveTo>
                      <a:pt x="540" y="3562"/>
                    </a:moveTo>
                    <a:lnTo>
                      <a:pt x="540" y="3562"/>
                    </a:lnTo>
                    <a:lnTo>
                      <a:pt x="544" y="3562"/>
                    </a:lnTo>
                    <a:lnTo>
                      <a:pt x="548" y="3562"/>
                    </a:lnTo>
                    <a:lnTo>
                      <a:pt x="554" y="3560"/>
                    </a:lnTo>
                    <a:lnTo>
                      <a:pt x="554" y="3558"/>
                    </a:lnTo>
                    <a:lnTo>
                      <a:pt x="552" y="3558"/>
                    </a:lnTo>
                    <a:lnTo>
                      <a:pt x="546" y="3558"/>
                    </a:lnTo>
                    <a:lnTo>
                      <a:pt x="542" y="3560"/>
                    </a:lnTo>
                    <a:lnTo>
                      <a:pt x="540" y="3562"/>
                    </a:lnTo>
                    <a:close/>
                    <a:moveTo>
                      <a:pt x="560" y="3548"/>
                    </a:moveTo>
                    <a:lnTo>
                      <a:pt x="560" y="3548"/>
                    </a:lnTo>
                    <a:lnTo>
                      <a:pt x="558" y="3550"/>
                    </a:lnTo>
                    <a:lnTo>
                      <a:pt x="556" y="3548"/>
                    </a:lnTo>
                    <a:lnTo>
                      <a:pt x="554" y="3550"/>
                    </a:lnTo>
                    <a:lnTo>
                      <a:pt x="552" y="3552"/>
                    </a:lnTo>
                    <a:lnTo>
                      <a:pt x="554" y="3554"/>
                    </a:lnTo>
                    <a:lnTo>
                      <a:pt x="560" y="3556"/>
                    </a:lnTo>
                    <a:lnTo>
                      <a:pt x="562" y="3556"/>
                    </a:lnTo>
                    <a:lnTo>
                      <a:pt x="564" y="3556"/>
                    </a:lnTo>
                    <a:lnTo>
                      <a:pt x="562" y="3548"/>
                    </a:lnTo>
                    <a:lnTo>
                      <a:pt x="560" y="3544"/>
                    </a:lnTo>
                    <a:lnTo>
                      <a:pt x="560" y="3546"/>
                    </a:lnTo>
                    <a:lnTo>
                      <a:pt x="560" y="3548"/>
                    </a:lnTo>
                    <a:close/>
                    <a:moveTo>
                      <a:pt x="556" y="3506"/>
                    </a:moveTo>
                    <a:lnTo>
                      <a:pt x="556" y="3506"/>
                    </a:lnTo>
                    <a:lnTo>
                      <a:pt x="530" y="3504"/>
                    </a:lnTo>
                    <a:lnTo>
                      <a:pt x="522" y="3504"/>
                    </a:lnTo>
                    <a:lnTo>
                      <a:pt x="522" y="3506"/>
                    </a:lnTo>
                    <a:lnTo>
                      <a:pt x="526" y="3508"/>
                    </a:lnTo>
                    <a:lnTo>
                      <a:pt x="528" y="3510"/>
                    </a:lnTo>
                    <a:lnTo>
                      <a:pt x="528" y="3512"/>
                    </a:lnTo>
                    <a:lnTo>
                      <a:pt x="528" y="3516"/>
                    </a:lnTo>
                    <a:lnTo>
                      <a:pt x="530" y="3522"/>
                    </a:lnTo>
                    <a:lnTo>
                      <a:pt x="532" y="3524"/>
                    </a:lnTo>
                    <a:lnTo>
                      <a:pt x="536" y="3524"/>
                    </a:lnTo>
                    <a:lnTo>
                      <a:pt x="546" y="3524"/>
                    </a:lnTo>
                    <a:lnTo>
                      <a:pt x="550" y="3524"/>
                    </a:lnTo>
                    <a:lnTo>
                      <a:pt x="550" y="3522"/>
                    </a:lnTo>
                    <a:lnTo>
                      <a:pt x="550" y="3520"/>
                    </a:lnTo>
                    <a:lnTo>
                      <a:pt x="554" y="3518"/>
                    </a:lnTo>
                    <a:lnTo>
                      <a:pt x="556" y="3520"/>
                    </a:lnTo>
                    <a:lnTo>
                      <a:pt x="558" y="3524"/>
                    </a:lnTo>
                    <a:lnTo>
                      <a:pt x="558" y="3526"/>
                    </a:lnTo>
                    <a:lnTo>
                      <a:pt x="562" y="3528"/>
                    </a:lnTo>
                    <a:lnTo>
                      <a:pt x="566" y="3526"/>
                    </a:lnTo>
                    <a:lnTo>
                      <a:pt x="568" y="3524"/>
                    </a:lnTo>
                    <a:lnTo>
                      <a:pt x="572" y="3514"/>
                    </a:lnTo>
                    <a:lnTo>
                      <a:pt x="572" y="3512"/>
                    </a:lnTo>
                    <a:lnTo>
                      <a:pt x="572" y="3508"/>
                    </a:lnTo>
                    <a:lnTo>
                      <a:pt x="568" y="3506"/>
                    </a:lnTo>
                    <a:lnTo>
                      <a:pt x="562" y="3506"/>
                    </a:lnTo>
                    <a:lnTo>
                      <a:pt x="556" y="3506"/>
                    </a:lnTo>
                    <a:close/>
                    <a:moveTo>
                      <a:pt x="522" y="3532"/>
                    </a:moveTo>
                    <a:lnTo>
                      <a:pt x="522" y="3532"/>
                    </a:lnTo>
                    <a:lnTo>
                      <a:pt x="516" y="3528"/>
                    </a:lnTo>
                    <a:lnTo>
                      <a:pt x="520" y="3528"/>
                    </a:lnTo>
                    <a:lnTo>
                      <a:pt x="524" y="3526"/>
                    </a:lnTo>
                    <a:lnTo>
                      <a:pt x="524" y="3524"/>
                    </a:lnTo>
                    <a:lnTo>
                      <a:pt x="518" y="3520"/>
                    </a:lnTo>
                    <a:lnTo>
                      <a:pt x="510" y="3520"/>
                    </a:lnTo>
                    <a:lnTo>
                      <a:pt x="506" y="3520"/>
                    </a:lnTo>
                    <a:lnTo>
                      <a:pt x="506" y="3518"/>
                    </a:lnTo>
                    <a:lnTo>
                      <a:pt x="514" y="3516"/>
                    </a:lnTo>
                    <a:lnTo>
                      <a:pt x="520" y="3514"/>
                    </a:lnTo>
                    <a:lnTo>
                      <a:pt x="520" y="3512"/>
                    </a:lnTo>
                    <a:lnTo>
                      <a:pt x="520" y="3510"/>
                    </a:lnTo>
                    <a:lnTo>
                      <a:pt x="518" y="3508"/>
                    </a:lnTo>
                    <a:lnTo>
                      <a:pt x="512" y="3506"/>
                    </a:lnTo>
                    <a:lnTo>
                      <a:pt x="504" y="3506"/>
                    </a:lnTo>
                    <a:lnTo>
                      <a:pt x="498" y="3508"/>
                    </a:lnTo>
                    <a:lnTo>
                      <a:pt x="490" y="3508"/>
                    </a:lnTo>
                    <a:lnTo>
                      <a:pt x="486" y="3508"/>
                    </a:lnTo>
                    <a:lnTo>
                      <a:pt x="478" y="3510"/>
                    </a:lnTo>
                    <a:lnTo>
                      <a:pt x="462" y="3514"/>
                    </a:lnTo>
                    <a:lnTo>
                      <a:pt x="454" y="3516"/>
                    </a:lnTo>
                    <a:lnTo>
                      <a:pt x="454" y="3518"/>
                    </a:lnTo>
                    <a:lnTo>
                      <a:pt x="464" y="3524"/>
                    </a:lnTo>
                    <a:lnTo>
                      <a:pt x="466" y="3526"/>
                    </a:lnTo>
                    <a:lnTo>
                      <a:pt x="462" y="3528"/>
                    </a:lnTo>
                    <a:lnTo>
                      <a:pt x="470" y="3532"/>
                    </a:lnTo>
                    <a:lnTo>
                      <a:pt x="476" y="3534"/>
                    </a:lnTo>
                    <a:lnTo>
                      <a:pt x="480" y="3536"/>
                    </a:lnTo>
                    <a:lnTo>
                      <a:pt x="486" y="3540"/>
                    </a:lnTo>
                    <a:lnTo>
                      <a:pt x="490" y="3540"/>
                    </a:lnTo>
                    <a:lnTo>
                      <a:pt x="490" y="3538"/>
                    </a:lnTo>
                    <a:lnTo>
                      <a:pt x="482" y="3530"/>
                    </a:lnTo>
                    <a:lnTo>
                      <a:pt x="480" y="3526"/>
                    </a:lnTo>
                    <a:lnTo>
                      <a:pt x="482" y="3524"/>
                    </a:lnTo>
                    <a:lnTo>
                      <a:pt x="486" y="3524"/>
                    </a:lnTo>
                    <a:lnTo>
                      <a:pt x="490" y="3524"/>
                    </a:lnTo>
                    <a:lnTo>
                      <a:pt x="494" y="3524"/>
                    </a:lnTo>
                    <a:lnTo>
                      <a:pt x="498" y="3524"/>
                    </a:lnTo>
                    <a:lnTo>
                      <a:pt x="500" y="3524"/>
                    </a:lnTo>
                    <a:lnTo>
                      <a:pt x="496" y="3532"/>
                    </a:lnTo>
                    <a:lnTo>
                      <a:pt x="496" y="3536"/>
                    </a:lnTo>
                    <a:lnTo>
                      <a:pt x="500" y="3540"/>
                    </a:lnTo>
                    <a:lnTo>
                      <a:pt x="502" y="3540"/>
                    </a:lnTo>
                    <a:lnTo>
                      <a:pt x="506" y="3538"/>
                    </a:lnTo>
                    <a:lnTo>
                      <a:pt x="510" y="3536"/>
                    </a:lnTo>
                    <a:lnTo>
                      <a:pt x="512" y="3538"/>
                    </a:lnTo>
                    <a:lnTo>
                      <a:pt x="514" y="3540"/>
                    </a:lnTo>
                    <a:lnTo>
                      <a:pt x="518" y="3540"/>
                    </a:lnTo>
                    <a:lnTo>
                      <a:pt x="522" y="3542"/>
                    </a:lnTo>
                    <a:lnTo>
                      <a:pt x="522" y="3544"/>
                    </a:lnTo>
                    <a:lnTo>
                      <a:pt x="524" y="3548"/>
                    </a:lnTo>
                    <a:lnTo>
                      <a:pt x="526" y="3548"/>
                    </a:lnTo>
                    <a:lnTo>
                      <a:pt x="528" y="3550"/>
                    </a:lnTo>
                    <a:lnTo>
                      <a:pt x="532" y="3554"/>
                    </a:lnTo>
                    <a:lnTo>
                      <a:pt x="534" y="3552"/>
                    </a:lnTo>
                    <a:lnTo>
                      <a:pt x="534" y="3548"/>
                    </a:lnTo>
                    <a:lnTo>
                      <a:pt x="534" y="3544"/>
                    </a:lnTo>
                    <a:lnTo>
                      <a:pt x="532" y="3542"/>
                    </a:lnTo>
                    <a:lnTo>
                      <a:pt x="532" y="3538"/>
                    </a:lnTo>
                    <a:lnTo>
                      <a:pt x="530" y="3536"/>
                    </a:lnTo>
                    <a:lnTo>
                      <a:pt x="522" y="3532"/>
                    </a:lnTo>
                    <a:close/>
                    <a:moveTo>
                      <a:pt x="476" y="3508"/>
                    </a:moveTo>
                    <a:lnTo>
                      <a:pt x="476" y="3508"/>
                    </a:lnTo>
                    <a:lnTo>
                      <a:pt x="484" y="3506"/>
                    </a:lnTo>
                    <a:lnTo>
                      <a:pt x="484" y="3504"/>
                    </a:lnTo>
                    <a:lnTo>
                      <a:pt x="472" y="3502"/>
                    </a:lnTo>
                    <a:lnTo>
                      <a:pt x="464" y="3502"/>
                    </a:lnTo>
                    <a:lnTo>
                      <a:pt x="458" y="3502"/>
                    </a:lnTo>
                    <a:lnTo>
                      <a:pt x="450" y="3506"/>
                    </a:lnTo>
                    <a:lnTo>
                      <a:pt x="448" y="3508"/>
                    </a:lnTo>
                    <a:lnTo>
                      <a:pt x="456" y="3510"/>
                    </a:lnTo>
                    <a:lnTo>
                      <a:pt x="462" y="3510"/>
                    </a:lnTo>
                    <a:lnTo>
                      <a:pt x="476" y="3508"/>
                    </a:lnTo>
                    <a:close/>
                    <a:moveTo>
                      <a:pt x="572" y="3528"/>
                    </a:moveTo>
                    <a:lnTo>
                      <a:pt x="572" y="3528"/>
                    </a:lnTo>
                    <a:lnTo>
                      <a:pt x="574" y="3530"/>
                    </a:lnTo>
                    <a:lnTo>
                      <a:pt x="578" y="3530"/>
                    </a:lnTo>
                    <a:lnTo>
                      <a:pt x="580" y="3528"/>
                    </a:lnTo>
                    <a:lnTo>
                      <a:pt x="582" y="3524"/>
                    </a:lnTo>
                    <a:lnTo>
                      <a:pt x="580" y="3522"/>
                    </a:lnTo>
                    <a:lnTo>
                      <a:pt x="578" y="3522"/>
                    </a:lnTo>
                    <a:lnTo>
                      <a:pt x="574" y="3524"/>
                    </a:lnTo>
                    <a:lnTo>
                      <a:pt x="572" y="3528"/>
                    </a:lnTo>
                    <a:close/>
                    <a:moveTo>
                      <a:pt x="636" y="3486"/>
                    </a:moveTo>
                    <a:lnTo>
                      <a:pt x="636" y="3486"/>
                    </a:lnTo>
                    <a:lnTo>
                      <a:pt x="628" y="3488"/>
                    </a:lnTo>
                    <a:lnTo>
                      <a:pt x="622" y="3486"/>
                    </a:lnTo>
                    <a:lnTo>
                      <a:pt x="616" y="3484"/>
                    </a:lnTo>
                    <a:lnTo>
                      <a:pt x="610" y="3482"/>
                    </a:lnTo>
                    <a:lnTo>
                      <a:pt x="602" y="3478"/>
                    </a:lnTo>
                    <a:lnTo>
                      <a:pt x="594" y="3470"/>
                    </a:lnTo>
                    <a:lnTo>
                      <a:pt x="584" y="3462"/>
                    </a:lnTo>
                    <a:lnTo>
                      <a:pt x="574" y="3456"/>
                    </a:lnTo>
                    <a:lnTo>
                      <a:pt x="562" y="3448"/>
                    </a:lnTo>
                    <a:lnTo>
                      <a:pt x="548" y="3436"/>
                    </a:lnTo>
                    <a:lnTo>
                      <a:pt x="538" y="3424"/>
                    </a:lnTo>
                    <a:lnTo>
                      <a:pt x="532" y="3414"/>
                    </a:lnTo>
                    <a:lnTo>
                      <a:pt x="530" y="3404"/>
                    </a:lnTo>
                    <a:lnTo>
                      <a:pt x="528" y="3404"/>
                    </a:lnTo>
                    <a:lnTo>
                      <a:pt x="522" y="3402"/>
                    </a:lnTo>
                    <a:lnTo>
                      <a:pt x="516" y="3402"/>
                    </a:lnTo>
                    <a:lnTo>
                      <a:pt x="514" y="3400"/>
                    </a:lnTo>
                    <a:lnTo>
                      <a:pt x="512" y="3396"/>
                    </a:lnTo>
                    <a:lnTo>
                      <a:pt x="516" y="3390"/>
                    </a:lnTo>
                    <a:lnTo>
                      <a:pt x="520" y="3386"/>
                    </a:lnTo>
                    <a:lnTo>
                      <a:pt x="522" y="3386"/>
                    </a:lnTo>
                    <a:lnTo>
                      <a:pt x="524" y="3390"/>
                    </a:lnTo>
                    <a:lnTo>
                      <a:pt x="524" y="3392"/>
                    </a:lnTo>
                    <a:lnTo>
                      <a:pt x="526" y="3394"/>
                    </a:lnTo>
                    <a:lnTo>
                      <a:pt x="528" y="3392"/>
                    </a:lnTo>
                    <a:lnTo>
                      <a:pt x="528" y="3388"/>
                    </a:lnTo>
                    <a:lnTo>
                      <a:pt x="524" y="3380"/>
                    </a:lnTo>
                    <a:lnTo>
                      <a:pt x="510" y="3364"/>
                    </a:lnTo>
                    <a:lnTo>
                      <a:pt x="510" y="3502"/>
                    </a:lnTo>
                    <a:lnTo>
                      <a:pt x="518" y="3498"/>
                    </a:lnTo>
                    <a:lnTo>
                      <a:pt x="520" y="3496"/>
                    </a:lnTo>
                    <a:lnTo>
                      <a:pt x="522" y="3496"/>
                    </a:lnTo>
                    <a:lnTo>
                      <a:pt x="530" y="3498"/>
                    </a:lnTo>
                    <a:lnTo>
                      <a:pt x="544" y="3500"/>
                    </a:lnTo>
                    <a:lnTo>
                      <a:pt x="560" y="3502"/>
                    </a:lnTo>
                    <a:lnTo>
                      <a:pt x="576" y="3504"/>
                    </a:lnTo>
                    <a:lnTo>
                      <a:pt x="584" y="3506"/>
                    </a:lnTo>
                    <a:lnTo>
                      <a:pt x="588" y="3508"/>
                    </a:lnTo>
                    <a:lnTo>
                      <a:pt x="596" y="3512"/>
                    </a:lnTo>
                    <a:lnTo>
                      <a:pt x="598" y="3510"/>
                    </a:lnTo>
                    <a:lnTo>
                      <a:pt x="602" y="3508"/>
                    </a:lnTo>
                    <a:lnTo>
                      <a:pt x="606" y="3506"/>
                    </a:lnTo>
                    <a:lnTo>
                      <a:pt x="614" y="3506"/>
                    </a:lnTo>
                    <a:lnTo>
                      <a:pt x="620" y="3502"/>
                    </a:lnTo>
                    <a:lnTo>
                      <a:pt x="624" y="3500"/>
                    </a:lnTo>
                    <a:lnTo>
                      <a:pt x="626" y="3502"/>
                    </a:lnTo>
                    <a:lnTo>
                      <a:pt x="630" y="3506"/>
                    </a:lnTo>
                    <a:lnTo>
                      <a:pt x="632" y="3504"/>
                    </a:lnTo>
                    <a:lnTo>
                      <a:pt x="634" y="3502"/>
                    </a:lnTo>
                    <a:lnTo>
                      <a:pt x="638" y="3502"/>
                    </a:lnTo>
                    <a:lnTo>
                      <a:pt x="640" y="3502"/>
                    </a:lnTo>
                    <a:lnTo>
                      <a:pt x="642" y="3502"/>
                    </a:lnTo>
                    <a:lnTo>
                      <a:pt x="646" y="3494"/>
                    </a:lnTo>
                    <a:lnTo>
                      <a:pt x="648" y="3488"/>
                    </a:lnTo>
                    <a:lnTo>
                      <a:pt x="648" y="3486"/>
                    </a:lnTo>
                    <a:lnTo>
                      <a:pt x="642" y="3486"/>
                    </a:lnTo>
                    <a:lnTo>
                      <a:pt x="636" y="3486"/>
                    </a:lnTo>
                    <a:close/>
                    <a:moveTo>
                      <a:pt x="436" y="3502"/>
                    </a:moveTo>
                    <a:lnTo>
                      <a:pt x="436" y="3502"/>
                    </a:lnTo>
                    <a:lnTo>
                      <a:pt x="428" y="3504"/>
                    </a:lnTo>
                    <a:lnTo>
                      <a:pt x="426" y="3506"/>
                    </a:lnTo>
                    <a:lnTo>
                      <a:pt x="420" y="3506"/>
                    </a:lnTo>
                    <a:lnTo>
                      <a:pt x="414" y="3506"/>
                    </a:lnTo>
                    <a:lnTo>
                      <a:pt x="414" y="3508"/>
                    </a:lnTo>
                    <a:lnTo>
                      <a:pt x="414" y="3510"/>
                    </a:lnTo>
                    <a:lnTo>
                      <a:pt x="416" y="3514"/>
                    </a:lnTo>
                    <a:lnTo>
                      <a:pt x="418" y="3514"/>
                    </a:lnTo>
                    <a:lnTo>
                      <a:pt x="428" y="3516"/>
                    </a:lnTo>
                    <a:lnTo>
                      <a:pt x="430" y="3516"/>
                    </a:lnTo>
                    <a:lnTo>
                      <a:pt x="432" y="3518"/>
                    </a:lnTo>
                    <a:lnTo>
                      <a:pt x="432" y="3520"/>
                    </a:lnTo>
                    <a:lnTo>
                      <a:pt x="432" y="3522"/>
                    </a:lnTo>
                    <a:lnTo>
                      <a:pt x="436" y="3522"/>
                    </a:lnTo>
                    <a:lnTo>
                      <a:pt x="442" y="3518"/>
                    </a:lnTo>
                    <a:lnTo>
                      <a:pt x="442" y="3516"/>
                    </a:lnTo>
                    <a:lnTo>
                      <a:pt x="442" y="3512"/>
                    </a:lnTo>
                    <a:lnTo>
                      <a:pt x="438" y="3512"/>
                    </a:lnTo>
                    <a:lnTo>
                      <a:pt x="432" y="3510"/>
                    </a:lnTo>
                    <a:lnTo>
                      <a:pt x="434" y="3508"/>
                    </a:lnTo>
                    <a:lnTo>
                      <a:pt x="438" y="3508"/>
                    </a:lnTo>
                    <a:lnTo>
                      <a:pt x="442" y="3506"/>
                    </a:lnTo>
                    <a:lnTo>
                      <a:pt x="444" y="3504"/>
                    </a:lnTo>
                    <a:lnTo>
                      <a:pt x="440" y="3504"/>
                    </a:lnTo>
                    <a:lnTo>
                      <a:pt x="436" y="3502"/>
                    </a:lnTo>
                    <a:close/>
                    <a:moveTo>
                      <a:pt x="290" y="2874"/>
                    </a:moveTo>
                    <a:lnTo>
                      <a:pt x="290" y="2874"/>
                    </a:lnTo>
                    <a:lnTo>
                      <a:pt x="292" y="2876"/>
                    </a:lnTo>
                    <a:lnTo>
                      <a:pt x="294" y="2874"/>
                    </a:lnTo>
                    <a:lnTo>
                      <a:pt x="294" y="2872"/>
                    </a:lnTo>
                    <a:lnTo>
                      <a:pt x="294" y="2870"/>
                    </a:lnTo>
                    <a:lnTo>
                      <a:pt x="290" y="2868"/>
                    </a:lnTo>
                    <a:lnTo>
                      <a:pt x="290" y="2874"/>
                    </a:lnTo>
                    <a:close/>
                    <a:moveTo>
                      <a:pt x="592" y="3524"/>
                    </a:moveTo>
                    <a:lnTo>
                      <a:pt x="592" y="3524"/>
                    </a:lnTo>
                    <a:lnTo>
                      <a:pt x="596" y="3524"/>
                    </a:lnTo>
                    <a:lnTo>
                      <a:pt x="598" y="3524"/>
                    </a:lnTo>
                    <a:lnTo>
                      <a:pt x="598" y="3522"/>
                    </a:lnTo>
                    <a:lnTo>
                      <a:pt x="596" y="3518"/>
                    </a:lnTo>
                    <a:lnTo>
                      <a:pt x="594" y="3518"/>
                    </a:lnTo>
                    <a:lnTo>
                      <a:pt x="590" y="3520"/>
                    </a:lnTo>
                    <a:lnTo>
                      <a:pt x="590" y="3522"/>
                    </a:lnTo>
                    <a:lnTo>
                      <a:pt x="592" y="3524"/>
                    </a:lnTo>
                    <a:close/>
                    <a:moveTo>
                      <a:pt x="310" y="3406"/>
                    </a:moveTo>
                    <a:lnTo>
                      <a:pt x="310" y="3406"/>
                    </a:lnTo>
                    <a:lnTo>
                      <a:pt x="314" y="3406"/>
                    </a:lnTo>
                    <a:lnTo>
                      <a:pt x="318" y="3406"/>
                    </a:lnTo>
                    <a:lnTo>
                      <a:pt x="322" y="3406"/>
                    </a:lnTo>
                    <a:lnTo>
                      <a:pt x="326" y="3408"/>
                    </a:lnTo>
                    <a:lnTo>
                      <a:pt x="328" y="3408"/>
                    </a:lnTo>
                    <a:lnTo>
                      <a:pt x="324" y="3402"/>
                    </a:lnTo>
                    <a:lnTo>
                      <a:pt x="318" y="3396"/>
                    </a:lnTo>
                    <a:lnTo>
                      <a:pt x="316" y="3394"/>
                    </a:lnTo>
                    <a:lnTo>
                      <a:pt x="314" y="3394"/>
                    </a:lnTo>
                    <a:lnTo>
                      <a:pt x="312" y="3394"/>
                    </a:lnTo>
                    <a:lnTo>
                      <a:pt x="310" y="3392"/>
                    </a:lnTo>
                    <a:lnTo>
                      <a:pt x="308" y="3390"/>
                    </a:lnTo>
                    <a:lnTo>
                      <a:pt x="306" y="3392"/>
                    </a:lnTo>
                    <a:lnTo>
                      <a:pt x="304" y="3390"/>
                    </a:lnTo>
                    <a:lnTo>
                      <a:pt x="294" y="3384"/>
                    </a:lnTo>
                    <a:lnTo>
                      <a:pt x="284" y="3382"/>
                    </a:lnTo>
                    <a:lnTo>
                      <a:pt x="280" y="3378"/>
                    </a:lnTo>
                    <a:lnTo>
                      <a:pt x="274" y="3374"/>
                    </a:lnTo>
                    <a:lnTo>
                      <a:pt x="268" y="3370"/>
                    </a:lnTo>
                    <a:lnTo>
                      <a:pt x="264" y="3368"/>
                    </a:lnTo>
                    <a:lnTo>
                      <a:pt x="262" y="3370"/>
                    </a:lnTo>
                    <a:lnTo>
                      <a:pt x="266" y="3374"/>
                    </a:lnTo>
                    <a:lnTo>
                      <a:pt x="270" y="3376"/>
                    </a:lnTo>
                    <a:lnTo>
                      <a:pt x="270" y="3380"/>
                    </a:lnTo>
                    <a:lnTo>
                      <a:pt x="268" y="3380"/>
                    </a:lnTo>
                    <a:lnTo>
                      <a:pt x="272" y="3382"/>
                    </a:lnTo>
                    <a:lnTo>
                      <a:pt x="276" y="3384"/>
                    </a:lnTo>
                    <a:lnTo>
                      <a:pt x="278" y="3388"/>
                    </a:lnTo>
                    <a:lnTo>
                      <a:pt x="282" y="3390"/>
                    </a:lnTo>
                    <a:lnTo>
                      <a:pt x="288" y="3392"/>
                    </a:lnTo>
                    <a:lnTo>
                      <a:pt x="294" y="3392"/>
                    </a:lnTo>
                    <a:lnTo>
                      <a:pt x="296" y="3394"/>
                    </a:lnTo>
                    <a:lnTo>
                      <a:pt x="300" y="3396"/>
                    </a:lnTo>
                    <a:lnTo>
                      <a:pt x="302" y="3398"/>
                    </a:lnTo>
                    <a:lnTo>
                      <a:pt x="304" y="3398"/>
                    </a:lnTo>
                    <a:lnTo>
                      <a:pt x="308" y="3398"/>
                    </a:lnTo>
                    <a:lnTo>
                      <a:pt x="310" y="3400"/>
                    </a:lnTo>
                    <a:lnTo>
                      <a:pt x="310" y="3402"/>
                    </a:lnTo>
                    <a:lnTo>
                      <a:pt x="310" y="3404"/>
                    </a:lnTo>
                    <a:lnTo>
                      <a:pt x="310" y="3406"/>
                    </a:lnTo>
                    <a:close/>
                    <a:moveTo>
                      <a:pt x="262" y="3306"/>
                    </a:moveTo>
                    <a:lnTo>
                      <a:pt x="262" y="3306"/>
                    </a:lnTo>
                    <a:lnTo>
                      <a:pt x="260" y="3302"/>
                    </a:lnTo>
                    <a:lnTo>
                      <a:pt x="258" y="3302"/>
                    </a:lnTo>
                    <a:lnTo>
                      <a:pt x="258" y="3304"/>
                    </a:lnTo>
                    <a:lnTo>
                      <a:pt x="258" y="3310"/>
                    </a:lnTo>
                    <a:lnTo>
                      <a:pt x="258" y="3314"/>
                    </a:lnTo>
                    <a:lnTo>
                      <a:pt x="254" y="3308"/>
                    </a:lnTo>
                    <a:lnTo>
                      <a:pt x="252" y="3308"/>
                    </a:lnTo>
                    <a:lnTo>
                      <a:pt x="250" y="3310"/>
                    </a:lnTo>
                    <a:lnTo>
                      <a:pt x="248" y="3314"/>
                    </a:lnTo>
                    <a:lnTo>
                      <a:pt x="250" y="3318"/>
                    </a:lnTo>
                    <a:lnTo>
                      <a:pt x="252" y="3320"/>
                    </a:lnTo>
                    <a:lnTo>
                      <a:pt x="252" y="3322"/>
                    </a:lnTo>
                    <a:lnTo>
                      <a:pt x="250" y="3324"/>
                    </a:lnTo>
                    <a:lnTo>
                      <a:pt x="252" y="3328"/>
                    </a:lnTo>
                    <a:lnTo>
                      <a:pt x="252" y="3332"/>
                    </a:lnTo>
                    <a:lnTo>
                      <a:pt x="254" y="3332"/>
                    </a:lnTo>
                    <a:lnTo>
                      <a:pt x="258" y="3324"/>
                    </a:lnTo>
                    <a:lnTo>
                      <a:pt x="260" y="3314"/>
                    </a:lnTo>
                    <a:lnTo>
                      <a:pt x="262" y="3310"/>
                    </a:lnTo>
                    <a:lnTo>
                      <a:pt x="262" y="3306"/>
                    </a:lnTo>
                    <a:close/>
                    <a:moveTo>
                      <a:pt x="284" y="3406"/>
                    </a:moveTo>
                    <a:lnTo>
                      <a:pt x="284" y="3406"/>
                    </a:lnTo>
                    <a:lnTo>
                      <a:pt x="286" y="3406"/>
                    </a:lnTo>
                    <a:lnTo>
                      <a:pt x="288" y="3404"/>
                    </a:lnTo>
                    <a:lnTo>
                      <a:pt x="290" y="3402"/>
                    </a:lnTo>
                    <a:lnTo>
                      <a:pt x="290" y="3400"/>
                    </a:lnTo>
                    <a:lnTo>
                      <a:pt x="286" y="3398"/>
                    </a:lnTo>
                    <a:lnTo>
                      <a:pt x="284" y="3400"/>
                    </a:lnTo>
                    <a:lnTo>
                      <a:pt x="284" y="3404"/>
                    </a:lnTo>
                    <a:lnTo>
                      <a:pt x="284" y="3406"/>
                    </a:lnTo>
                    <a:close/>
                    <a:moveTo>
                      <a:pt x="268" y="3336"/>
                    </a:moveTo>
                    <a:lnTo>
                      <a:pt x="268" y="3336"/>
                    </a:lnTo>
                    <a:lnTo>
                      <a:pt x="260" y="3336"/>
                    </a:lnTo>
                    <a:lnTo>
                      <a:pt x="258" y="3336"/>
                    </a:lnTo>
                    <a:lnTo>
                      <a:pt x="256" y="3338"/>
                    </a:lnTo>
                    <a:lnTo>
                      <a:pt x="258" y="3340"/>
                    </a:lnTo>
                    <a:lnTo>
                      <a:pt x="262" y="3342"/>
                    </a:lnTo>
                    <a:lnTo>
                      <a:pt x="264" y="3342"/>
                    </a:lnTo>
                    <a:lnTo>
                      <a:pt x="268" y="3340"/>
                    </a:lnTo>
                    <a:lnTo>
                      <a:pt x="268" y="3338"/>
                    </a:lnTo>
                    <a:lnTo>
                      <a:pt x="268" y="3336"/>
                    </a:lnTo>
                    <a:close/>
                    <a:moveTo>
                      <a:pt x="412" y="3500"/>
                    </a:moveTo>
                    <a:lnTo>
                      <a:pt x="412" y="3500"/>
                    </a:lnTo>
                    <a:lnTo>
                      <a:pt x="406" y="3498"/>
                    </a:lnTo>
                    <a:lnTo>
                      <a:pt x="402" y="3496"/>
                    </a:lnTo>
                    <a:lnTo>
                      <a:pt x="398" y="3498"/>
                    </a:lnTo>
                    <a:lnTo>
                      <a:pt x="396" y="3500"/>
                    </a:lnTo>
                    <a:lnTo>
                      <a:pt x="396" y="3502"/>
                    </a:lnTo>
                    <a:lnTo>
                      <a:pt x="398" y="3504"/>
                    </a:lnTo>
                    <a:lnTo>
                      <a:pt x="402" y="3502"/>
                    </a:lnTo>
                    <a:lnTo>
                      <a:pt x="406" y="3500"/>
                    </a:lnTo>
                    <a:lnTo>
                      <a:pt x="408" y="3502"/>
                    </a:lnTo>
                    <a:lnTo>
                      <a:pt x="410" y="3502"/>
                    </a:lnTo>
                    <a:lnTo>
                      <a:pt x="414" y="3504"/>
                    </a:lnTo>
                    <a:lnTo>
                      <a:pt x="414" y="3502"/>
                    </a:lnTo>
                    <a:lnTo>
                      <a:pt x="416" y="3500"/>
                    </a:lnTo>
                    <a:lnTo>
                      <a:pt x="414" y="3500"/>
                    </a:lnTo>
                    <a:lnTo>
                      <a:pt x="412" y="3500"/>
                    </a:lnTo>
                    <a:close/>
                    <a:moveTo>
                      <a:pt x="248" y="3284"/>
                    </a:moveTo>
                    <a:lnTo>
                      <a:pt x="248" y="3284"/>
                    </a:lnTo>
                    <a:lnTo>
                      <a:pt x="244" y="3282"/>
                    </a:lnTo>
                    <a:lnTo>
                      <a:pt x="244" y="3284"/>
                    </a:lnTo>
                    <a:lnTo>
                      <a:pt x="244" y="3292"/>
                    </a:lnTo>
                    <a:lnTo>
                      <a:pt x="240" y="3300"/>
                    </a:lnTo>
                    <a:lnTo>
                      <a:pt x="240" y="3302"/>
                    </a:lnTo>
                    <a:lnTo>
                      <a:pt x="244" y="3302"/>
                    </a:lnTo>
                    <a:lnTo>
                      <a:pt x="246" y="3300"/>
                    </a:lnTo>
                    <a:lnTo>
                      <a:pt x="246" y="3298"/>
                    </a:lnTo>
                    <a:lnTo>
                      <a:pt x="248" y="3294"/>
                    </a:lnTo>
                    <a:lnTo>
                      <a:pt x="248" y="3292"/>
                    </a:lnTo>
                    <a:lnTo>
                      <a:pt x="252" y="3288"/>
                    </a:lnTo>
                    <a:lnTo>
                      <a:pt x="248" y="3284"/>
                    </a:lnTo>
                    <a:close/>
                    <a:moveTo>
                      <a:pt x="376" y="3462"/>
                    </a:moveTo>
                    <a:lnTo>
                      <a:pt x="376" y="3462"/>
                    </a:lnTo>
                    <a:lnTo>
                      <a:pt x="376" y="3466"/>
                    </a:lnTo>
                    <a:lnTo>
                      <a:pt x="378" y="3468"/>
                    </a:lnTo>
                    <a:lnTo>
                      <a:pt x="380" y="3468"/>
                    </a:lnTo>
                    <a:lnTo>
                      <a:pt x="380" y="3464"/>
                    </a:lnTo>
                    <a:lnTo>
                      <a:pt x="380" y="3462"/>
                    </a:lnTo>
                    <a:lnTo>
                      <a:pt x="382" y="3462"/>
                    </a:lnTo>
                    <a:lnTo>
                      <a:pt x="384" y="3460"/>
                    </a:lnTo>
                    <a:lnTo>
                      <a:pt x="384" y="3456"/>
                    </a:lnTo>
                    <a:lnTo>
                      <a:pt x="386" y="3454"/>
                    </a:lnTo>
                    <a:lnTo>
                      <a:pt x="386" y="3452"/>
                    </a:lnTo>
                    <a:lnTo>
                      <a:pt x="386" y="3448"/>
                    </a:lnTo>
                    <a:lnTo>
                      <a:pt x="386" y="3444"/>
                    </a:lnTo>
                    <a:lnTo>
                      <a:pt x="386" y="3442"/>
                    </a:lnTo>
                    <a:lnTo>
                      <a:pt x="384" y="3440"/>
                    </a:lnTo>
                    <a:lnTo>
                      <a:pt x="378" y="3438"/>
                    </a:lnTo>
                    <a:lnTo>
                      <a:pt x="376" y="3438"/>
                    </a:lnTo>
                    <a:lnTo>
                      <a:pt x="374" y="3442"/>
                    </a:lnTo>
                    <a:lnTo>
                      <a:pt x="372" y="3444"/>
                    </a:lnTo>
                    <a:lnTo>
                      <a:pt x="370" y="3442"/>
                    </a:lnTo>
                    <a:lnTo>
                      <a:pt x="368" y="3442"/>
                    </a:lnTo>
                    <a:lnTo>
                      <a:pt x="364" y="3442"/>
                    </a:lnTo>
                    <a:lnTo>
                      <a:pt x="362" y="3444"/>
                    </a:lnTo>
                    <a:lnTo>
                      <a:pt x="362" y="3446"/>
                    </a:lnTo>
                    <a:lnTo>
                      <a:pt x="368" y="3452"/>
                    </a:lnTo>
                    <a:lnTo>
                      <a:pt x="374" y="3458"/>
                    </a:lnTo>
                    <a:lnTo>
                      <a:pt x="376" y="3460"/>
                    </a:lnTo>
                    <a:lnTo>
                      <a:pt x="376" y="3462"/>
                    </a:lnTo>
                    <a:close/>
                    <a:moveTo>
                      <a:pt x="360" y="3454"/>
                    </a:moveTo>
                    <a:lnTo>
                      <a:pt x="360" y="3454"/>
                    </a:lnTo>
                    <a:lnTo>
                      <a:pt x="358" y="3458"/>
                    </a:lnTo>
                    <a:lnTo>
                      <a:pt x="354" y="3458"/>
                    </a:lnTo>
                    <a:lnTo>
                      <a:pt x="352" y="3460"/>
                    </a:lnTo>
                    <a:lnTo>
                      <a:pt x="354" y="3462"/>
                    </a:lnTo>
                    <a:lnTo>
                      <a:pt x="356" y="3464"/>
                    </a:lnTo>
                    <a:lnTo>
                      <a:pt x="358" y="3464"/>
                    </a:lnTo>
                    <a:lnTo>
                      <a:pt x="364" y="3458"/>
                    </a:lnTo>
                    <a:lnTo>
                      <a:pt x="364" y="3456"/>
                    </a:lnTo>
                    <a:lnTo>
                      <a:pt x="364" y="3454"/>
                    </a:lnTo>
                    <a:lnTo>
                      <a:pt x="362" y="3452"/>
                    </a:lnTo>
                    <a:lnTo>
                      <a:pt x="360" y="3454"/>
                    </a:lnTo>
                    <a:close/>
                    <a:moveTo>
                      <a:pt x="390" y="3462"/>
                    </a:moveTo>
                    <a:lnTo>
                      <a:pt x="390" y="3462"/>
                    </a:lnTo>
                    <a:lnTo>
                      <a:pt x="394" y="3462"/>
                    </a:lnTo>
                    <a:lnTo>
                      <a:pt x="394" y="3460"/>
                    </a:lnTo>
                    <a:lnTo>
                      <a:pt x="396" y="3458"/>
                    </a:lnTo>
                    <a:lnTo>
                      <a:pt x="398" y="3460"/>
                    </a:lnTo>
                    <a:lnTo>
                      <a:pt x="402" y="3462"/>
                    </a:lnTo>
                    <a:lnTo>
                      <a:pt x="402" y="3464"/>
                    </a:lnTo>
                    <a:lnTo>
                      <a:pt x="402" y="3466"/>
                    </a:lnTo>
                    <a:lnTo>
                      <a:pt x="406" y="3468"/>
                    </a:lnTo>
                    <a:lnTo>
                      <a:pt x="410" y="3468"/>
                    </a:lnTo>
                    <a:lnTo>
                      <a:pt x="412" y="3466"/>
                    </a:lnTo>
                    <a:lnTo>
                      <a:pt x="412" y="3454"/>
                    </a:lnTo>
                    <a:lnTo>
                      <a:pt x="410" y="3450"/>
                    </a:lnTo>
                    <a:lnTo>
                      <a:pt x="408" y="3450"/>
                    </a:lnTo>
                    <a:lnTo>
                      <a:pt x="406" y="3450"/>
                    </a:lnTo>
                    <a:lnTo>
                      <a:pt x="402" y="3448"/>
                    </a:lnTo>
                    <a:lnTo>
                      <a:pt x="400" y="3444"/>
                    </a:lnTo>
                    <a:lnTo>
                      <a:pt x="394" y="3442"/>
                    </a:lnTo>
                    <a:lnTo>
                      <a:pt x="390" y="3444"/>
                    </a:lnTo>
                    <a:lnTo>
                      <a:pt x="388" y="3446"/>
                    </a:lnTo>
                    <a:lnTo>
                      <a:pt x="388" y="3448"/>
                    </a:lnTo>
                    <a:lnTo>
                      <a:pt x="390" y="3454"/>
                    </a:lnTo>
                    <a:lnTo>
                      <a:pt x="388" y="3456"/>
                    </a:lnTo>
                    <a:lnTo>
                      <a:pt x="388" y="3460"/>
                    </a:lnTo>
                    <a:lnTo>
                      <a:pt x="390" y="3462"/>
                    </a:lnTo>
                    <a:close/>
                    <a:moveTo>
                      <a:pt x="356" y="3450"/>
                    </a:moveTo>
                    <a:lnTo>
                      <a:pt x="356" y="3450"/>
                    </a:lnTo>
                    <a:lnTo>
                      <a:pt x="358" y="3450"/>
                    </a:lnTo>
                    <a:lnTo>
                      <a:pt x="360" y="3450"/>
                    </a:lnTo>
                    <a:lnTo>
                      <a:pt x="358" y="3444"/>
                    </a:lnTo>
                    <a:lnTo>
                      <a:pt x="358" y="3442"/>
                    </a:lnTo>
                    <a:lnTo>
                      <a:pt x="358" y="3440"/>
                    </a:lnTo>
                    <a:lnTo>
                      <a:pt x="362" y="3438"/>
                    </a:lnTo>
                    <a:lnTo>
                      <a:pt x="366" y="3436"/>
                    </a:lnTo>
                    <a:lnTo>
                      <a:pt x="366" y="3434"/>
                    </a:lnTo>
                    <a:lnTo>
                      <a:pt x="366" y="3432"/>
                    </a:lnTo>
                    <a:lnTo>
                      <a:pt x="362" y="3430"/>
                    </a:lnTo>
                    <a:lnTo>
                      <a:pt x="360" y="3430"/>
                    </a:lnTo>
                    <a:lnTo>
                      <a:pt x="358" y="3428"/>
                    </a:lnTo>
                    <a:lnTo>
                      <a:pt x="356" y="3426"/>
                    </a:lnTo>
                    <a:lnTo>
                      <a:pt x="354" y="3422"/>
                    </a:lnTo>
                    <a:lnTo>
                      <a:pt x="352" y="3420"/>
                    </a:lnTo>
                    <a:lnTo>
                      <a:pt x="348" y="3418"/>
                    </a:lnTo>
                    <a:lnTo>
                      <a:pt x="346" y="3420"/>
                    </a:lnTo>
                    <a:lnTo>
                      <a:pt x="344" y="3420"/>
                    </a:lnTo>
                    <a:lnTo>
                      <a:pt x="344" y="3418"/>
                    </a:lnTo>
                    <a:lnTo>
                      <a:pt x="342" y="3418"/>
                    </a:lnTo>
                    <a:lnTo>
                      <a:pt x="340" y="3420"/>
                    </a:lnTo>
                    <a:lnTo>
                      <a:pt x="338" y="3422"/>
                    </a:lnTo>
                    <a:lnTo>
                      <a:pt x="338" y="3418"/>
                    </a:lnTo>
                    <a:lnTo>
                      <a:pt x="336" y="3414"/>
                    </a:lnTo>
                    <a:lnTo>
                      <a:pt x="332" y="3410"/>
                    </a:lnTo>
                    <a:lnTo>
                      <a:pt x="328" y="3410"/>
                    </a:lnTo>
                    <a:lnTo>
                      <a:pt x="328" y="3412"/>
                    </a:lnTo>
                    <a:lnTo>
                      <a:pt x="328" y="3414"/>
                    </a:lnTo>
                    <a:lnTo>
                      <a:pt x="322" y="3414"/>
                    </a:lnTo>
                    <a:lnTo>
                      <a:pt x="320" y="3414"/>
                    </a:lnTo>
                    <a:lnTo>
                      <a:pt x="318" y="3414"/>
                    </a:lnTo>
                    <a:lnTo>
                      <a:pt x="320" y="3418"/>
                    </a:lnTo>
                    <a:lnTo>
                      <a:pt x="322" y="3422"/>
                    </a:lnTo>
                    <a:lnTo>
                      <a:pt x="320" y="3422"/>
                    </a:lnTo>
                    <a:lnTo>
                      <a:pt x="314" y="3420"/>
                    </a:lnTo>
                    <a:lnTo>
                      <a:pt x="310" y="3422"/>
                    </a:lnTo>
                    <a:lnTo>
                      <a:pt x="308" y="3424"/>
                    </a:lnTo>
                    <a:lnTo>
                      <a:pt x="308" y="3426"/>
                    </a:lnTo>
                    <a:lnTo>
                      <a:pt x="310" y="3428"/>
                    </a:lnTo>
                    <a:lnTo>
                      <a:pt x="312" y="3430"/>
                    </a:lnTo>
                    <a:lnTo>
                      <a:pt x="312" y="3432"/>
                    </a:lnTo>
                    <a:lnTo>
                      <a:pt x="316" y="3432"/>
                    </a:lnTo>
                    <a:lnTo>
                      <a:pt x="320" y="3430"/>
                    </a:lnTo>
                    <a:lnTo>
                      <a:pt x="322" y="3432"/>
                    </a:lnTo>
                    <a:lnTo>
                      <a:pt x="322" y="3434"/>
                    </a:lnTo>
                    <a:lnTo>
                      <a:pt x="322" y="3442"/>
                    </a:lnTo>
                    <a:lnTo>
                      <a:pt x="324" y="3444"/>
                    </a:lnTo>
                    <a:lnTo>
                      <a:pt x="328" y="3448"/>
                    </a:lnTo>
                    <a:lnTo>
                      <a:pt x="330" y="3448"/>
                    </a:lnTo>
                    <a:lnTo>
                      <a:pt x="332" y="3448"/>
                    </a:lnTo>
                    <a:lnTo>
                      <a:pt x="332" y="3442"/>
                    </a:lnTo>
                    <a:lnTo>
                      <a:pt x="332" y="3438"/>
                    </a:lnTo>
                    <a:lnTo>
                      <a:pt x="334" y="3438"/>
                    </a:lnTo>
                    <a:lnTo>
                      <a:pt x="336" y="3440"/>
                    </a:lnTo>
                    <a:lnTo>
                      <a:pt x="340" y="3438"/>
                    </a:lnTo>
                    <a:lnTo>
                      <a:pt x="342" y="3438"/>
                    </a:lnTo>
                    <a:lnTo>
                      <a:pt x="342" y="3442"/>
                    </a:lnTo>
                    <a:lnTo>
                      <a:pt x="340" y="3448"/>
                    </a:lnTo>
                    <a:lnTo>
                      <a:pt x="336" y="3450"/>
                    </a:lnTo>
                    <a:lnTo>
                      <a:pt x="334" y="3452"/>
                    </a:lnTo>
                    <a:lnTo>
                      <a:pt x="338" y="3454"/>
                    </a:lnTo>
                    <a:lnTo>
                      <a:pt x="342" y="3454"/>
                    </a:lnTo>
                    <a:lnTo>
                      <a:pt x="346" y="3454"/>
                    </a:lnTo>
                    <a:lnTo>
                      <a:pt x="348" y="3452"/>
                    </a:lnTo>
                    <a:lnTo>
                      <a:pt x="350" y="3452"/>
                    </a:lnTo>
                    <a:lnTo>
                      <a:pt x="352" y="3452"/>
                    </a:lnTo>
                    <a:lnTo>
                      <a:pt x="352" y="3450"/>
                    </a:lnTo>
                    <a:lnTo>
                      <a:pt x="354" y="3448"/>
                    </a:lnTo>
                    <a:lnTo>
                      <a:pt x="356" y="3450"/>
                    </a:lnTo>
                    <a:close/>
                    <a:moveTo>
                      <a:pt x="490" y="3366"/>
                    </a:moveTo>
                    <a:lnTo>
                      <a:pt x="490" y="3366"/>
                    </a:lnTo>
                    <a:lnTo>
                      <a:pt x="488" y="3366"/>
                    </a:lnTo>
                    <a:lnTo>
                      <a:pt x="486" y="3364"/>
                    </a:lnTo>
                    <a:lnTo>
                      <a:pt x="482" y="3360"/>
                    </a:lnTo>
                    <a:lnTo>
                      <a:pt x="480" y="3354"/>
                    </a:lnTo>
                    <a:lnTo>
                      <a:pt x="478" y="3352"/>
                    </a:lnTo>
                    <a:lnTo>
                      <a:pt x="476" y="3352"/>
                    </a:lnTo>
                    <a:lnTo>
                      <a:pt x="472" y="3356"/>
                    </a:lnTo>
                    <a:lnTo>
                      <a:pt x="468" y="3364"/>
                    </a:lnTo>
                    <a:lnTo>
                      <a:pt x="464" y="3370"/>
                    </a:lnTo>
                    <a:lnTo>
                      <a:pt x="460" y="3374"/>
                    </a:lnTo>
                    <a:lnTo>
                      <a:pt x="454" y="3374"/>
                    </a:lnTo>
                    <a:lnTo>
                      <a:pt x="450" y="3372"/>
                    </a:lnTo>
                    <a:lnTo>
                      <a:pt x="446" y="3368"/>
                    </a:lnTo>
                    <a:lnTo>
                      <a:pt x="440" y="3370"/>
                    </a:lnTo>
                    <a:lnTo>
                      <a:pt x="438" y="3370"/>
                    </a:lnTo>
                    <a:lnTo>
                      <a:pt x="440" y="3372"/>
                    </a:lnTo>
                    <a:lnTo>
                      <a:pt x="442" y="3374"/>
                    </a:lnTo>
                    <a:lnTo>
                      <a:pt x="444" y="3376"/>
                    </a:lnTo>
                    <a:lnTo>
                      <a:pt x="444" y="3378"/>
                    </a:lnTo>
                    <a:lnTo>
                      <a:pt x="448" y="3380"/>
                    </a:lnTo>
                    <a:lnTo>
                      <a:pt x="450" y="3382"/>
                    </a:lnTo>
                    <a:lnTo>
                      <a:pt x="448" y="3384"/>
                    </a:lnTo>
                    <a:lnTo>
                      <a:pt x="446" y="3388"/>
                    </a:lnTo>
                    <a:lnTo>
                      <a:pt x="444" y="3388"/>
                    </a:lnTo>
                    <a:lnTo>
                      <a:pt x="440" y="3384"/>
                    </a:lnTo>
                    <a:lnTo>
                      <a:pt x="438" y="3382"/>
                    </a:lnTo>
                    <a:lnTo>
                      <a:pt x="438" y="3384"/>
                    </a:lnTo>
                    <a:lnTo>
                      <a:pt x="436" y="3388"/>
                    </a:lnTo>
                    <a:lnTo>
                      <a:pt x="436" y="3398"/>
                    </a:lnTo>
                    <a:lnTo>
                      <a:pt x="440" y="3410"/>
                    </a:lnTo>
                    <a:lnTo>
                      <a:pt x="442" y="3412"/>
                    </a:lnTo>
                    <a:lnTo>
                      <a:pt x="448" y="3414"/>
                    </a:lnTo>
                    <a:lnTo>
                      <a:pt x="460" y="3410"/>
                    </a:lnTo>
                    <a:lnTo>
                      <a:pt x="474" y="3406"/>
                    </a:lnTo>
                    <a:lnTo>
                      <a:pt x="478" y="3406"/>
                    </a:lnTo>
                    <a:lnTo>
                      <a:pt x="480" y="3408"/>
                    </a:lnTo>
                    <a:lnTo>
                      <a:pt x="482" y="3414"/>
                    </a:lnTo>
                    <a:lnTo>
                      <a:pt x="478" y="3418"/>
                    </a:lnTo>
                    <a:lnTo>
                      <a:pt x="472" y="3422"/>
                    </a:lnTo>
                    <a:lnTo>
                      <a:pt x="466" y="3424"/>
                    </a:lnTo>
                    <a:lnTo>
                      <a:pt x="452" y="3430"/>
                    </a:lnTo>
                    <a:lnTo>
                      <a:pt x="448" y="3434"/>
                    </a:lnTo>
                    <a:lnTo>
                      <a:pt x="448" y="3438"/>
                    </a:lnTo>
                    <a:lnTo>
                      <a:pt x="452" y="3446"/>
                    </a:lnTo>
                    <a:lnTo>
                      <a:pt x="458" y="3452"/>
                    </a:lnTo>
                    <a:lnTo>
                      <a:pt x="464" y="3458"/>
                    </a:lnTo>
                    <a:lnTo>
                      <a:pt x="474" y="3462"/>
                    </a:lnTo>
                    <a:lnTo>
                      <a:pt x="488" y="3470"/>
                    </a:lnTo>
                    <a:lnTo>
                      <a:pt x="494" y="3472"/>
                    </a:lnTo>
                    <a:lnTo>
                      <a:pt x="496" y="3474"/>
                    </a:lnTo>
                    <a:lnTo>
                      <a:pt x="482" y="3472"/>
                    </a:lnTo>
                    <a:lnTo>
                      <a:pt x="476" y="3468"/>
                    </a:lnTo>
                    <a:lnTo>
                      <a:pt x="474" y="3468"/>
                    </a:lnTo>
                    <a:lnTo>
                      <a:pt x="472" y="3468"/>
                    </a:lnTo>
                    <a:lnTo>
                      <a:pt x="470" y="3470"/>
                    </a:lnTo>
                    <a:lnTo>
                      <a:pt x="468" y="3470"/>
                    </a:lnTo>
                    <a:lnTo>
                      <a:pt x="462" y="3466"/>
                    </a:lnTo>
                    <a:lnTo>
                      <a:pt x="456" y="3464"/>
                    </a:lnTo>
                    <a:lnTo>
                      <a:pt x="452" y="3464"/>
                    </a:lnTo>
                    <a:lnTo>
                      <a:pt x="450" y="3464"/>
                    </a:lnTo>
                    <a:lnTo>
                      <a:pt x="448" y="3466"/>
                    </a:lnTo>
                    <a:lnTo>
                      <a:pt x="448" y="3468"/>
                    </a:lnTo>
                    <a:lnTo>
                      <a:pt x="448" y="3472"/>
                    </a:lnTo>
                    <a:lnTo>
                      <a:pt x="450" y="3472"/>
                    </a:lnTo>
                    <a:lnTo>
                      <a:pt x="448" y="3472"/>
                    </a:lnTo>
                    <a:lnTo>
                      <a:pt x="442" y="3468"/>
                    </a:lnTo>
                    <a:lnTo>
                      <a:pt x="422" y="3454"/>
                    </a:lnTo>
                    <a:lnTo>
                      <a:pt x="416" y="3452"/>
                    </a:lnTo>
                    <a:lnTo>
                      <a:pt x="416" y="3454"/>
                    </a:lnTo>
                    <a:lnTo>
                      <a:pt x="418" y="3456"/>
                    </a:lnTo>
                    <a:lnTo>
                      <a:pt x="422" y="3462"/>
                    </a:lnTo>
                    <a:lnTo>
                      <a:pt x="428" y="3464"/>
                    </a:lnTo>
                    <a:lnTo>
                      <a:pt x="430" y="3466"/>
                    </a:lnTo>
                    <a:lnTo>
                      <a:pt x="426" y="3466"/>
                    </a:lnTo>
                    <a:lnTo>
                      <a:pt x="420" y="3466"/>
                    </a:lnTo>
                    <a:lnTo>
                      <a:pt x="418" y="3468"/>
                    </a:lnTo>
                    <a:lnTo>
                      <a:pt x="416" y="3472"/>
                    </a:lnTo>
                    <a:lnTo>
                      <a:pt x="414" y="3476"/>
                    </a:lnTo>
                    <a:lnTo>
                      <a:pt x="408" y="3474"/>
                    </a:lnTo>
                    <a:lnTo>
                      <a:pt x="398" y="3470"/>
                    </a:lnTo>
                    <a:lnTo>
                      <a:pt x="398" y="3472"/>
                    </a:lnTo>
                    <a:lnTo>
                      <a:pt x="396" y="3474"/>
                    </a:lnTo>
                    <a:lnTo>
                      <a:pt x="392" y="3472"/>
                    </a:lnTo>
                    <a:lnTo>
                      <a:pt x="380" y="3470"/>
                    </a:lnTo>
                    <a:lnTo>
                      <a:pt x="380" y="3472"/>
                    </a:lnTo>
                    <a:lnTo>
                      <a:pt x="382" y="3476"/>
                    </a:lnTo>
                    <a:lnTo>
                      <a:pt x="386" y="3478"/>
                    </a:lnTo>
                    <a:lnTo>
                      <a:pt x="386" y="3480"/>
                    </a:lnTo>
                    <a:lnTo>
                      <a:pt x="382" y="3480"/>
                    </a:lnTo>
                    <a:lnTo>
                      <a:pt x="376" y="3476"/>
                    </a:lnTo>
                    <a:lnTo>
                      <a:pt x="374" y="3474"/>
                    </a:lnTo>
                    <a:lnTo>
                      <a:pt x="372" y="3474"/>
                    </a:lnTo>
                    <a:lnTo>
                      <a:pt x="374" y="3476"/>
                    </a:lnTo>
                    <a:lnTo>
                      <a:pt x="374" y="3482"/>
                    </a:lnTo>
                    <a:lnTo>
                      <a:pt x="374" y="3484"/>
                    </a:lnTo>
                    <a:lnTo>
                      <a:pt x="374" y="3486"/>
                    </a:lnTo>
                    <a:lnTo>
                      <a:pt x="376" y="3486"/>
                    </a:lnTo>
                    <a:lnTo>
                      <a:pt x="380" y="3488"/>
                    </a:lnTo>
                    <a:lnTo>
                      <a:pt x="384" y="3486"/>
                    </a:lnTo>
                    <a:lnTo>
                      <a:pt x="390" y="3486"/>
                    </a:lnTo>
                    <a:lnTo>
                      <a:pt x="394" y="3488"/>
                    </a:lnTo>
                    <a:lnTo>
                      <a:pt x="396" y="3488"/>
                    </a:lnTo>
                    <a:lnTo>
                      <a:pt x="398" y="3484"/>
                    </a:lnTo>
                    <a:lnTo>
                      <a:pt x="400" y="3480"/>
                    </a:lnTo>
                    <a:lnTo>
                      <a:pt x="402" y="3480"/>
                    </a:lnTo>
                    <a:lnTo>
                      <a:pt x="404" y="3480"/>
                    </a:lnTo>
                    <a:lnTo>
                      <a:pt x="402" y="3484"/>
                    </a:lnTo>
                    <a:lnTo>
                      <a:pt x="402" y="3486"/>
                    </a:lnTo>
                    <a:lnTo>
                      <a:pt x="404" y="3488"/>
                    </a:lnTo>
                    <a:lnTo>
                      <a:pt x="408" y="3488"/>
                    </a:lnTo>
                    <a:lnTo>
                      <a:pt x="412" y="3486"/>
                    </a:lnTo>
                    <a:lnTo>
                      <a:pt x="416" y="3486"/>
                    </a:lnTo>
                    <a:lnTo>
                      <a:pt x="414" y="3488"/>
                    </a:lnTo>
                    <a:lnTo>
                      <a:pt x="412" y="3492"/>
                    </a:lnTo>
                    <a:lnTo>
                      <a:pt x="414" y="3494"/>
                    </a:lnTo>
                    <a:lnTo>
                      <a:pt x="416" y="3492"/>
                    </a:lnTo>
                    <a:lnTo>
                      <a:pt x="418" y="3494"/>
                    </a:lnTo>
                    <a:lnTo>
                      <a:pt x="422" y="3498"/>
                    </a:lnTo>
                    <a:lnTo>
                      <a:pt x="424" y="3498"/>
                    </a:lnTo>
                    <a:lnTo>
                      <a:pt x="428" y="3496"/>
                    </a:lnTo>
                    <a:lnTo>
                      <a:pt x="432" y="3496"/>
                    </a:lnTo>
                    <a:lnTo>
                      <a:pt x="438" y="3498"/>
                    </a:lnTo>
                    <a:lnTo>
                      <a:pt x="442" y="3498"/>
                    </a:lnTo>
                    <a:lnTo>
                      <a:pt x="446" y="3496"/>
                    </a:lnTo>
                    <a:lnTo>
                      <a:pt x="450" y="3496"/>
                    </a:lnTo>
                    <a:lnTo>
                      <a:pt x="452" y="3498"/>
                    </a:lnTo>
                    <a:lnTo>
                      <a:pt x="452" y="3500"/>
                    </a:lnTo>
                    <a:lnTo>
                      <a:pt x="456" y="3498"/>
                    </a:lnTo>
                    <a:lnTo>
                      <a:pt x="458" y="3496"/>
                    </a:lnTo>
                    <a:lnTo>
                      <a:pt x="462" y="3496"/>
                    </a:lnTo>
                    <a:lnTo>
                      <a:pt x="464" y="3496"/>
                    </a:lnTo>
                    <a:lnTo>
                      <a:pt x="466" y="3492"/>
                    </a:lnTo>
                    <a:lnTo>
                      <a:pt x="468" y="3494"/>
                    </a:lnTo>
                    <a:lnTo>
                      <a:pt x="470" y="3498"/>
                    </a:lnTo>
                    <a:lnTo>
                      <a:pt x="478" y="3500"/>
                    </a:lnTo>
                    <a:lnTo>
                      <a:pt x="496" y="3504"/>
                    </a:lnTo>
                    <a:lnTo>
                      <a:pt x="502" y="3504"/>
                    </a:lnTo>
                    <a:lnTo>
                      <a:pt x="504" y="3504"/>
                    </a:lnTo>
                    <a:lnTo>
                      <a:pt x="504" y="3502"/>
                    </a:lnTo>
                    <a:lnTo>
                      <a:pt x="504" y="3500"/>
                    </a:lnTo>
                    <a:lnTo>
                      <a:pt x="506" y="3500"/>
                    </a:lnTo>
                    <a:lnTo>
                      <a:pt x="510" y="3502"/>
                    </a:lnTo>
                    <a:lnTo>
                      <a:pt x="510" y="3364"/>
                    </a:lnTo>
                    <a:lnTo>
                      <a:pt x="508" y="3362"/>
                    </a:lnTo>
                    <a:lnTo>
                      <a:pt x="504" y="3360"/>
                    </a:lnTo>
                    <a:lnTo>
                      <a:pt x="500" y="3360"/>
                    </a:lnTo>
                    <a:lnTo>
                      <a:pt x="496" y="3364"/>
                    </a:lnTo>
                    <a:lnTo>
                      <a:pt x="490" y="3366"/>
                    </a:lnTo>
                    <a:close/>
                    <a:moveTo>
                      <a:pt x="298" y="2826"/>
                    </a:moveTo>
                    <a:lnTo>
                      <a:pt x="298" y="2826"/>
                    </a:lnTo>
                    <a:lnTo>
                      <a:pt x="304" y="2826"/>
                    </a:lnTo>
                    <a:lnTo>
                      <a:pt x="306" y="2824"/>
                    </a:lnTo>
                    <a:lnTo>
                      <a:pt x="306" y="2822"/>
                    </a:lnTo>
                    <a:lnTo>
                      <a:pt x="304" y="2820"/>
                    </a:lnTo>
                    <a:lnTo>
                      <a:pt x="302" y="2814"/>
                    </a:lnTo>
                    <a:lnTo>
                      <a:pt x="304" y="2812"/>
                    </a:lnTo>
                    <a:lnTo>
                      <a:pt x="308" y="2812"/>
                    </a:lnTo>
                    <a:lnTo>
                      <a:pt x="310" y="2812"/>
                    </a:lnTo>
                    <a:lnTo>
                      <a:pt x="312" y="2810"/>
                    </a:lnTo>
                    <a:lnTo>
                      <a:pt x="310" y="2806"/>
                    </a:lnTo>
                    <a:lnTo>
                      <a:pt x="308" y="2800"/>
                    </a:lnTo>
                    <a:lnTo>
                      <a:pt x="308" y="2798"/>
                    </a:lnTo>
                    <a:lnTo>
                      <a:pt x="310" y="2798"/>
                    </a:lnTo>
                    <a:lnTo>
                      <a:pt x="314" y="2798"/>
                    </a:lnTo>
                    <a:lnTo>
                      <a:pt x="314" y="2794"/>
                    </a:lnTo>
                    <a:lnTo>
                      <a:pt x="304" y="2784"/>
                    </a:lnTo>
                    <a:lnTo>
                      <a:pt x="302" y="2780"/>
                    </a:lnTo>
                    <a:lnTo>
                      <a:pt x="302" y="2778"/>
                    </a:lnTo>
                    <a:lnTo>
                      <a:pt x="306" y="2776"/>
                    </a:lnTo>
                    <a:lnTo>
                      <a:pt x="306" y="2774"/>
                    </a:lnTo>
                    <a:lnTo>
                      <a:pt x="306" y="2770"/>
                    </a:lnTo>
                    <a:lnTo>
                      <a:pt x="306" y="2768"/>
                    </a:lnTo>
                    <a:lnTo>
                      <a:pt x="316" y="2764"/>
                    </a:lnTo>
                    <a:lnTo>
                      <a:pt x="318" y="2764"/>
                    </a:lnTo>
                    <a:lnTo>
                      <a:pt x="320" y="2762"/>
                    </a:lnTo>
                    <a:lnTo>
                      <a:pt x="318" y="2758"/>
                    </a:lnTo>
                    <a:lnTo>
                      <a:pt x="312" y="2748"/>
                    </a:lnTo>
                    <a:lnTo>
                      <a:pt x="310" y="2740"/>
                    </a:lnTo>
                    <a:lnTo>
                      <a:pt x="308" y="2738"/>
                    </a:lnTo>
                    <a:lnTo>
                      <a:pt x="302" y="2738"/>
                    </a:lnTo>
                    <a:lnTo>
                      <a:pt x="298" y="2740"/>
                    </a:lnTo>
                    <a:lnTo>
                      <a:pt x="298" y="2738"/>
                    </a:lnTo>
                    <a:lnTo>
                      <a:pt x="298" y="2736"/>
                    </a:lnTo>
                    <a:lnTo>
                      <a:pt x="296" y="2736"/>
                    </a:lnTo>
                    <a:lnTo>
                      <a:pt x="292" y="2736"/>
                    </a:lnTo>
                    <a:lnTo>
                      <a:pt x="290" y="2736"/>
                    </a:lnTo>
                    <a:lnTo>
                      <a:pt x="290" y="2738"/>
                    </a:lnTo>
                    <a:lnTo>
                      <a:pt x="290" y="2744"/>
                    </a:lnTo>
                    <a:lnTo>
                      <a:pt x="290" y="2752"/>
                    </a:lnTo>
                    <a:lnTo>
                      <a:pt x="288" y="2756"/>
                    </a:lnTo>
                    <a:lnTo>
                      <a:pt x="286" y="2762"/>
                    </a:lnTo>
                    <a:lnTo>
                      <a:pt x="284" y="2770"/>
                    </a:lnTo>
                    <a:lnTo>
                      <a:pt x="284" y="2778"/>
                    </a:lnTo>
                    <a:lnTo>
                      <a:pt x="286" y="2782"/>
                    </a:lnTo>
                    <a:lnTo>
                      <a:pt x="286" y="2790"/>
                    </a:lnTo>
                    <a:lnTo>
                      <a:pt x="282" y="2802"/>
                    </a:lnTo>
                    <a:lnTo>
                      <a:pt x="278" y="2814"/>
                    </a:lnTo>
                    <a:lnTo>
                      <a:pt x="278" y="2818"/>
                    </a:lnTo>
                    <a:lnTo>
                      <a:pt x="280" y="2822"/>
                    </a:lnTo>
                    <a:lnTo>
                      <a:pt x="286" y="2824"/>
                    </a:lnTo>
                    <a:lnTo>
                      <a:pt x="298" y="2826"/>
                    </a:lnTo>
                    <a:close/>
                    <a:moveTo>
                      <a:pt x="316" y="2894"/>
                    </a:moveTo>
                    <a:lnTo>
                      <a:pt x="316" y="2894"/>
                    </a:lnTo>
                    <a:lnTo>
                      <a:pt x="316" y="2898"/>
                    </a:lnTo>
                    <a:lnTo>
                      <a:pt x="318" y="2902"/>
                    </a:lnTo>
                    <a:lnTo>
                      <a:pt x="318" y="2904"/>
                    </a:lnTo>
                    <a:lnTo>
                      <a:pt x="318" y="2906"/>
                    </a:lnTo>
                    <a:lnTo>
                      <a:pt x="320" y="2908"/>
                    </a:lnTo>
                    <a:lnTo>
                      <a:pt x="324" y="2910"/>
                    </a:lnTo>
                    <a:lnTo>
                      <a:pt x="330" y="2910"/>
                    </a:lnTo>
                    <a:lnTo>
                      <a:pt x="336" y="2902"/>
                    </a:lnTo>
                    <a:lnTo>
                      <a:pt x="338" y="2900"/>
                    </a:lnTo>
                    <a:lnTo>
                      <a:pt x="338" y="2898"/>
                    </a:lnTo>
                    <a:lnTo>
                      <a:pt x="338" y="2896"/>
                    </a:lnTo>
                    <a:lnTo>
                      <a:pt x="342" y="2894"/>
                    </a:lnTo>
                    <a:lnTo>
                      <a:pt x="344" y="2890"/>
                    </a:lnTo>
                    <a:lnTo>
                      <a:pt x="342" y="2886"/>
                    </a:lnTo>
                    <a:lnTo>
                      <a:pt x="338" y="2882"/>
                    </a:lnTo>
                    <a:lnTo>
                      <a:pt x="332" y="2880"/>
                    </a:lnTo>
                    <a:lnTo>
                      <a:pt x="330" y="2880"/>
                    </a:lnTo>
                    <a:lnTo>
                      <a:pt x="330" y="2882"/>
                    </a:lnTo>
                    <a:lnTo>
                      <a:pt x="328" y="2882"/>
                    </a:lnTo>
                    <a:lnTo>
                      <a:pt x="326" y="2882"/>
                    </a:lnTo>
                    <a:lnTo>
                      <a:pt x="324" y="2882"/>
                    </a:lnTo>
                    <a:lnTo>
                      <a:pt x="324" y="2884"/>
                    </a:lnTo>
                    <a:lnTo>
                      <a:pt x="322" y="2888"/>
                    </a:lnTo>
                    <a:lnTo>
                      <a:pt x="322" y="2892"/>
                    </a:lnTo>
                    <a:lnTo>
                      <a:pt x="320" y="2894"/>
                    </a:lnTo>
                    <a:lnTo>
                      <a:pt x="318" y="2894"/>
                    </a:lnTo>
                    <a:lnTo>
                      <a:pt x="316" y="2894"/>
                    </a:lnTo>
                    <a:close/>
                    <a:moveTo>
                      <a:pt x="258" y="2836"/>
                    </a:moveTo>
                    <a:lnTo>
                      <a:pt x="258" y="2836"/>
                    </a:lnTo>
                    <a:lnTo>
                      <a:pt x="262" y="2838"/>
                    </a:lnTo>
                    <a:lnTo>
                      <a:pt x="264" y="2838"/>
                    </a:lnTo>
                    <a:lnTo>
                      <a:pt x="266" y="2836"/>
                    </a:lnTo>
                    <a:lnTo>
                      <a:pt x="266" y="2834"/>
                    </a:lnTo>
                    <a:lnTo>
                      <a:pt x="262" y="2832"/>
                    </a:lnTo>
                    <a:lnTo>
                      <a:pt x="260" y="2832"/>
                    </a:lnTo>
                    <a:lnTo>
                      <a:pt x="258" y="2834"/>
                    </a:lnTo>
                    <a:lnTo>
                      <a:pt x="258" y="2836"/>
                    </a:lnTo>
                    <a:close/>
                    <a:moveTo>
                      <a:pt x="324" y="2852"/>
                    </a:moveTo>
                    <a:lnTo>
                      <a:pt x="324" y="2852"/>
                    </a:lnTo>
                    <a:lnTo>
                      <a:pt x="320" y="2856"/>
                    </a:lnTo>
                    <a:lnTo>
                      <a:pt x="322" y="2858"/>
                    </a:lnTo>
                    <a:lnTo>
                      <a:pt x="324" y="2860"/>
                    </a:lnTo>
                    <a:lnTo>
                      <a:pt x="326" y="2858"/>
                    </a:lnTo>
                    <a:lnTo>
                      <a:pt x="326" y="2854"/>
                    </a:lnTo>
                    <a:lnTo>
                      <a:pt x="326" y="2852"/>
                    </a:lnTo>
                    <a:lnTo>
                      <a:pt x="324" y="2850"/>
                    </a:lnTo>
                    <a:lnTo>
                      <a:pt x="324" y="2852"/>
                    </a:lnTo>
                    <a:close/>
                    <a:moveTo>
                      <a:pt x="266" y="2958"/>
                    </a:moveTo>
                    <a:lnTo>
                      <a:pt x="266" y="2958"/>
                    </a:lnTo>
                    <a:lnTo>
                      <a:pt x="270" y="2958"/>
                    </a:lnTo>
                    <a:lnTo>
                      <a:pt x="270" y="2954"/>
                    </a:lnTo>
                    <a:lnTo>
                      <a:pt x="270" y="2950"/>
                    </a:lnTo>
                    <a:lnTo>
                      <a:pt x="268" y="2950"/>
                    </a:lnTo>
                    <a:lnTo>
                      <a:pt x="266" y="2952"/>
                    </a:lnTo>
                    <a:lnTo>
                      <a:pt x="264" y="2954"/>
                    </a:lnTo>
                    <a:lnTo>
                      <a:pt x="264" y="2956"/>
                    </a:lnTo>
                    <a:lnTo>
                      <a:pt x="266" y="2958"/>
                    </a:lnTo>
                    <a:close/>
                    <a:moveTo>
                      <a:pt x="244" y="3242"/>
                    </a:moveTo>
                    <a:lnTo>
                      <a:pt x="244" y="3242"/>
                    </a:lnTo>
                    <a:lnTo>
                      <a:pt x="248" y="3238"/>
                    </a:lnTo>
                    <a:lnTo>
                      <a:pt x="248" y="3236"/>
                    </a:lnTo>
                    <a:lnTo>
                      <a:pt x="246" y="3236"/>
                    </a:lnTo>
                    <a:lnTo>
                      <a:pt x="240" y="3234"/>
                    </a:lnTo>
                    <a:lnTo>
                      <a:pt x="234" y="3234"/>
                    </a:lnTo>
                    <a:lnTo>
                      <a:pt x="234" y="3236"/>
                    </a:lnTo>
                    <a:lnTo>
                      <a:pt x="236" y="3240"/>
                    </a:lnTo>
                    <a:lnTo>
                      <a:pt x="236" y="3242"/>
                    </a:lnTo>
                    <a:lnTo>
                      <a:pt x="232" y="3248"/>
                    </a:lnTo>
                    <a:lnTo>
                      <a:pt x="234" y="3250"/>
                    </a:lnTo>
                    <a:lnTo>
                      <a:pt x="238" y="3252"/>
                    </a:lnTo>
                    <a:lnTo>
                      <a:pt x="242" y="3254"/>
                    </a:lnTo>
                    <a:lnTo>
                      <a:pt x="242" y="3250"/>
                    </a:lnTo>
                    <a:lnTo>
                      <a:pt x="242" y="3246"/>
                    </a:lnTo>
                    <a:lnTo>
                      <a:pt x="244" y="3242"/>
                    </a:lnTo>
                    <a:close/>
                    <a:moveTo>
                      <a:pt x="302" y="2848"/>
                    </a:moveTo>
                    <a:lnTo>
                      <a:pt x="302" y="2848"/>
                    </a:lnTo>
                    <a:lnTo>
                      <a:pt x="300" y="2846"/>
                    </a:lnTo>
                    <a:lnTo>
                      <a:pt x="298" y="2846"/>
                    </a:lnTo>
                    <a:lnTo>
                      <a:pt x="296" y="2846"/>
                    </a:lnTo>
                    <a:lnTo>
                      <a:pt x="292" y="2846"/>
                    </a:lnTo>
                    <a:lnTo>
                      <a:pt x="288" y="2846"/>
                    </a:lnTo>
                    <a:lnTo>
                      <a:pt x="286" y="2848"/>
                    </a:lnTo>
                    <a:lnTo>
                      <a:pt x="288" y="2850"/>
                    </a:lnTo>
                    <a:lnTo>
                      <a:pt x="292" y="2854"/>
                    </a:lnTo>
                    <a:lnTo>
                      <a:pt x="294" y="2854"/>
                    </a:lnTo>
                    <a:lnTo>
                      <a:pt x="296" y="2854"/>
                    </a:lnTo>
                    <a:lnTo>
                      <a:pt x="300" y="2852"/>
                    </a:lnTo>
                    <a:lnTo>
                      <a:pt x="302" y="2850"/>
                    </a:lnTo>
                    <a:lnTo>
                      <a:pt x="302" y="2848"/>
                    </a:lnTo>
                    <a:close/>
                    <a:moveTo>
                      <a:pt x="302" y="2912"/>
                    </a:moveTo>
                    <a:lnTo>
                      <a:pt x="302" y="2912"/>
                    </a:lnTo>
                    <a:lnTo>
                      <a:pt x="304" y="2910"/>
                    </a:lnTo>
                    <a:lnTo>
                      <a:pt x="302" y="2906"/>
                    </a:lnTo>
                    <a:lnTo>
                      <a:pt x="300" y="2904"/>
                    </a:lnTo>
                    <a:lnTo>
                      <a:pt x="298" y="2904"/>
                    </a:lnTo>
                    <a:lnTo>
                      <a:pt x="296" y="2906"/>
                    </a:lnTo>
                    <a:lnTo>
                      <a:pt x="298" y="2910"/>
                    </a:lnTo>
                    <a:lnTo>
                      <a:pt x="300" y="2912"/>
                    </a:lnTo>
                    <a:lnTo>
                      <a:pt x="302" y="2912"/>
                    </a:lnTo>
                    <a:close/>
                    <a:moveTo>
                      <a:pt x="306" y="2942"/>
                    </a:moveTo>
                    <a:lnTo>
                      <a:pt x="306" y="2942"/>
                    </a:lnTo>
                    <a:lnTo>
                      <a:pt x="304" y="2942"/>
                    </a:lnTo>
                    <a:lnTo>
                      <a:pt x="302" y="2948"/>
                    </a:lnTo>
                    <a:lnTo>
                      <a:pt x="302" y="2952"/>
                    </a:lnTo>
                    <a:lnTo>
                      <a:pt x="304" y="2958"/>
                    </a:lnTo>
                    <a:lnTo>
                      <a:pt x="306" y="2958"/>
                    </a:lnTo>
                    <a:lnTo>
                      <a:pt x="308" y="2958"/>
                    </a:lnTo>
                    <a:lnTo>
                      <a:pt x="308" y="2952"/>
                    </a:lnTo>
                    <a:lnTo>
                      <a:pt x="310" y="2944"/>
                    </a:lnTo>
                    <a:lnTo>
                      <a:pt x="308" y="2942"/>
                    </a:lnTo>
                    <a:lnTo>
                      <a:pt x="306" y="2942"/>
                    </a:lnTo>
                    <a:close/>
                    <a:moveTo>
                      <a:pt x="278" y="2958"/>
                    </a:moveTo>
                    <a:lnTo>
                      <a:pt x="278" y="2958"/>
                    </a:lnTo>
                    <a:lnTo>
                      <a:pt x="280" y="2956"/>
                    </a:lnTo>
                    <a:lnTo>
                      <a:pt x="284" y="2952"/>
                    </a:lnTo>
                    <a:lnTo>
                      <a:pt x="286" y="2950"/>
                    </a:lnTo>
                    <a:lnTo>
                      <a:pt x="284" y="2946"/>
                    </a:lnTo>
                    <a:lnTo>
                      <a:pt x="280" y="2942"/>
                    </a:lnTo>
                    <a:lnTo>
                      <a:pt x="276" y="2942"/>
                    </a:lnTo>
                    <a:lnTo>
                      <a:pt x="274" y="2944"/>
                    </a:lnTo>
                    <a:lnTo>
                      <a:pt x="272" y="2946"/>
                    </a:lnTo>
                    <a:lnTo>
                      <a:pt x="274" y="2950"/>
                    </a:lnTo>
                    <a:lnTo>
                      <a:pt x="274" y="2952"/>
                    </a:lnTo>
                    <a:lnTo>
                      <a:pt x="274" y="2956"/>
                    </a:lnTo>
                    <a:lnTo>
                      <a:pt x="274" y="2958"/>
                    </a:lnTo>
                    <a:lnTo>
                      <a:pt x="278" y="2958"/>
                    </a:lnTo>
                    <a:close/>
                    <a:moveTo>
                      <a:pt x="1872" y="956"/>
                    </a:moveTo>
                    <a:lnTo>
                      <a:pt x="1872" y="956"/>
                    </a:lnTo>
                    <a:lnTo>
                      <a:pt x="1868" y="926"/>
                    </a:lnTo>
                    <a:lnTo>
                      <a:pt x="1864" y="900"/>
                    </a:lnTo>
                    <a:lnTo>
                      <a:pt x="1862" y="888"/>
                    </a:lnTo>
                    <a:lnTo>
                      <a:pt x="1858" y="876"/>
                    </a:lnTo>
                    <a:lnTo>
                      <a:pt x="1852" y="868"/>
                    </a:lnTo>
                    <a:lnTo>
                      <a:pt x="1844" y="858"/>
                    </a:lnTo>
                    <a:lnTo>
                      <a:pt x="1836" y="852"/>
                    </a:lnTo>
                    <a:lnTo>
                      <a:pt x="1830" y="850"/>
                    </a:lnTo>
                    <a:lnTo>
                      <a:pt x="1824" y="850"/>
                    </a:lnTo>
                    <a:lnTo>
                      <a:pt x="1816" y="850"/>
                    </a:lnTo>
                    <a:lnTo>
                      <a:pt x="1810" y="852"/>
                    </a:lnTo>
                    <a:lnTo>
                      <a:pt x="1800" y="850"/>
                    </a:lnTo>
                    <a:lnTo>
                      <a:pt x="1788" y="846"/>
                    </a:lnTo>
                    <a:lnTo>
                      <a:pt x="1774" y="838"/>
                    </a:lnTo>
                    <a:lnTo>
                      <a:pt x="1760" y="828"/>
                    </a:lnTo>
                    <a:lnTo>
                      <a:pt x="1750" y="820"/>
                    </a:lnTo>
                    <a:lnTo>
                      <a:pt x="1744" y="814"/>
                    </a:lnTo>
                    <a:lnTo>
                      <a:pt x="1740" y="808"/>
                    </a:lnTo>
                    <a:lnTo>
                      <a:pt x="1734" y="796"/>
                    </a:lnTo>
                    <a:lnTo>
                      <a:pt x="1728" y="788"/>
                    </a:lnTo>
                    <a:lnTo>
                      <a:pt x="1718" y="780"/>
                    </a:lnTo>
                    <a:lnTo>
                      <a:pt x="1698" y="762"/>
                    </a:lnTo>
                    <a:lnTo>
                      <a:pt x="1688" y="754"/>
                    </a:lnTo>
                    <a:lnTo>
                      <a:pt x="1680" y="748"/>
                    </a:lnTo>
                    <a:lnTo>
                      <a:pt x="1670" y="742"/>
                    </a:lnTo>
                    <a:lnTo>
                      <a:pt x="1660" y="740"/>
                    </a:lnTo>
                    <a:lnTo>
                      <a:pt x="1646" y="740"/>
                    </a:lnTo>
                    <a:lnTo>
                      <a:pt x="1632" y="740"/>
                    </a:lnTo>
                    <a:lnTo>
                      <a:pt x="1618" y="742"/>
                    </a:lnTo>
                    <a:lnTo>
                      <a:pt x="1602" y="742"/>
                    </a:lnTo>
                    <a:lnTo>
                      <a:pt x="1590" y="742"/>
                    </a:lnTo>
                    <a:lnTo>
                      <a:pt x="1578" y="738"/>
                    </a:lnTo>
                    <a:lnTo>
                      <a:pt x="1556" y="732"/>
                    </a:lnTo>
                    <a:lnTo>
                      <a:pt x="1536" y="722"/>
                    </a:lnTo>
                    <a:lnTo>
                      <a:pt x="1530" y="722"/>
                    </a:lnTo>
                    <a:lnTo>
                      <a:pt x="1526" y="722"/>
                    </a:lnTo>
                    <a:lnTo>
                      <a:pt x="1516" y="724"/>
                    </a:lnTo>
                    <a:lnTo>
                      <a:pt x="1508" y="730"/>
                    </a:lnTo>
                    <a:lnTo>
                      <a:pt x="1500" y="738"/>
                    </a:lnTo>
                    <a:lnTo>
                      <a:pt x="1488" y="750"/>
                    </a:lnTo>
                    <a:lnTo>
                      <a:pt x="1482" y="754"/>
                    </a:lnTo>
                    <a:lnTo>
                      <a:pt x="1480" y="752"/>
                    </a:lnTo>
                    <a:lnTo>
                      <a:pt x="1478" y="748"/>
                    </a:lnTo>
                    <a:lnTo>
                      <a:pt x="1478" y="742"/>
                    </a:lnTo>
                    <a:lnTo>
                      <a:pt x="1482" y="728"/>
                    </a:lnTo>
                    <a:lnTo>
                      <a:pt x="1486" y="716"/>
                    </a:lnTo>
                    <a:lnTo>
                      <a:pt x="1488" y="712"/>
                    </a:lnTo>
                    <a:lnTo>
                      <a:pt x="1486" y="708"/>
                    </a:lnTo>
                    <a:lnTo>
                      <a:pt x="1482" y="702"/>
                    </a:lnTo>
                    <a:lnTo>
                      <a:pt x="1480" y="698"/>
                    </a:lnTo>
                    <a:lnTo>
                      <a:pt x="1478" y="688"/>
                    </a:lnTo>
                    <a:lnTo>
                      <a:pt x="1476" y="684"/>
                    </a:lnTo>
                    <a:lnTo>
                      <a:pt x="1470" y="680"/>
                    </a:lnTo>
                    <a:lnTo>
                      <a:pt x="1464" y="678"/>
                    </a:lnTo>
                    <a:lnTo>
                      <a:pt x="1454" y="674"/>
                    </a:lnTo>
                    <a:lnTo>
                      <a:pt x="1444" y="670"/>
                    </a:lnTo>
                    <a:lnTo>
                      <a:pt x="1438" y="668"/>
                    </a:lnTo>
                    <a:lnTo>
                      <a:pt x="1428" y="658"/>
                    </a:lnTo>
                    <a:lnTo>
                      <a:pt x="1420" y="652"/>
                    </a:lnTo>
                    <a:lnTo>
                      <a:pt x="1416" y="650"/>
                    </a:lnTo>
                    <a:lnTo>
                      <a:pt x="1410" y="650"/>
                    </a:lnTo>
                    <a:lnTo>
                      <a:pt x="1400" y="648"/>
                    </a:lnTo>
                    <a:lnTo>
                      <a:pt x="1392" y="644"/>
                    </a:lnTo>
                    <a:lnTo>
                      <a:pt x="1382" y="640"/>
                    </a:lnTo>
                    <a:lnTo>
                      <a:pt x="1362" y="638"/>
                    </a:lnTo>
                    <a:lnTo>
                      <a:pt x="1354" y="638"/>
                    </a:lnTo>
                    <a:lnTo>
                      <a:pt x="1348" y="640"/>
                    </a:lnTo>
                    <a:lnTo>
                      <a:pt x="1340" y="644"/>
                    </a:lnTo>
                    <a:lnTo>
                      <a:pt x="1332" y="654"/>
                    </a:lnTo>
                    <a:lnTo>
                      <a:pt x="1326" y="662"/>
                    </a:lnTo>
                    <a:lnTo>
                      <a:pt x="1318" y="676"/>
                    </a:lnTo>
                    <a:lnTo>
                      <a:pt x="1314" y="678"/>
                    </a:lnTo>
                    <a:lnTo>
                      <a:pt x="1312" y="674"/>
                    </a:lnTo>
                    <a:lnTo>
                      <a:pt x="1310" y="666"/>
                    </a:lnTo>
                    <a:lnTo>
                      <a:pt x="1314" y="658"/>
                    </a:lnTo>
                    <a:lnTo>
                      <a:pt x="1322" y="642"/>
                    </a:lnTo>
                    <a:lnTo>
                      <a:pt x="1326" y="634"/>
                    </a:lnTo>
                    <a:lnTo>
                      <a:pt x="1326" y="628"/>
                    </a:lnTo>
                    <a:lnTo>
                      <a:pt x="1326" y="626"/>
                    </a:lnTo>
                    <a:lnTo>
                      <a:pt x="1322" y="622"/>
                    </a:lnTo>
                    <a:lnTo>
                      <a:pt x="1314" y="618"/>
                    </a:lnTo>
                    <a:lnTo>
                      <a:pt x="1296" y="614"/>
                    </a:lnTo>
                    <a:lnTo>
                      <a:pt x="1288" y="614"/>
                    </a:lnTo>
                    <a:lnTo>
                      <a:pt x="1278" y="616"/>
                    </a:lnTo>
                    <a:lnTo>
                      <a:pt x="1256" y="612"/>
                    </a:lnTo>
                    <a:lnTo>
                      <a:pt x="1246" y="612"/>
                    </a:lnTo>
                    <a:lnTo>
                      <a:pt x="1240" y="614"/>
                    </a:lnTo>
                    <a:lnTo>
                      <a:pt x="1234" y="620"/>
                    </a:lnTo>
                    <a:lnTo>
                      <a:pt x="1230" y="626"/>
                    </a:lnTo>
                    <a:lnTo>
                      <a:pt x="1230" y="634"/>
                    </a:lnTo>
                    <a:lnTo>
                      <a:pt x="1228" y="642"/>
                    </a:lnTo>
                    <a:lnTo>
                      <a:pt x="1228" y="656"/>
                    </a:lnTo>
                    <a:lnTo>
                      <a:pt x="1226" y="652"/>
                    </a:lnTo>
                    <a:lnTo>
                      <a:pt x="1222" y="652"/>
                    </a:lnTo>
                    <a:lnTo>
                      <a:pt x="1216" y="658"/>
                    </a:lnTo>
                    <a:lnTo>
                      <a:pt x="1214" y="660"/>
                    </a:lnTo>
                    <a:lnTo>
                      <a:pt x="1212" y="660"/>
                    </a:lnTo>
                    <a:lnTo>
                      <a:pt x="1212" y="658"/>
                    </a:lnTo>
                    <a:lnTo>
                      <a:pt x="1214" y="650"/>
                    </a:lnTo>
                    <a:lnTo>
                      <a:pt x="1216" y="642"/>
                    </a:lnTo>
                    <a:lnTo>
                      <a:pt x="1214" y="638"/>
                    </a:lnTo>
                    <a:lnTo>
                      <a:pt x="1210" y="636"/>
                    </a:lnTo>
                    <a:lnTo>
                      <a:pt x="1206" y="638"/>
                    </a:lnTo>
                    <a:lnTo>
                      <a:pt x="1198" y="640"/>
                    </a:lnTo>
                    <a:lnTo>
                      <a:pt x="1198" y="636"/>
                    </a:lnTo>
                    <a:lnTo>
                      <a:pt x="1202" y="632"/>
                    </a:lnTo>
                    <a:lnTo>
                      <a:pt x="1202" y="628"/>
                    </a:lnTo>
                    <a:lnTo>
                      <a:pt x="1204" y="620"/>
                    </a:lnTo>
                    <a:lnTo>
                      <a:pt x="1204" y="616"/>
                    </a:lnTo>
                    <a:lnTo>
                      <a:pt x="1206" y="614"/>
                    </a:lnTo>
                    <a:lnTo>
                      <a:pt x="1210" y="610"/>
                    </a:lnTo>
                    <a:lnTo>
                      <a:pt x="1216" y="608"/>
                    </a:lnTo>
                    <a:lnTo>
                      <a:pt x="1224" y="604"/>
                    </a:lnTo>
                    <a:lnTo>
                      <a:pt x="1230" y="596"/>
                    </a:lnTo>
                    <a:lnTo>
                      <a:pt x="1240" y="582"/>
                    </a:lnTo>
                    <a:lnTo>
                      <a:pt x="1248" y="566"/>
                    </a:lnTo>
                    <a:lnTo>
                      <a:pt x="1254" y="560"/>
                    </a:lnTo>
                    <a:lnTo>
                      <a:pt x="1260" y="556"/>
                    </a:lnTo>
                    <a:lnTo>
                      <a:pt x="1264" y="554"/>
                    </a:lnTo>
                    <a:lnTo>
                      <a:pt x="1266" y="548"/>
                    </a:lnTo>
                    <a:lnTo>
                      <a:pt x="1266" y="542"/>
                    </a:lnTo>
                    <a:lnTo>
                      <a:pt x="1266" y="536"/>
                    </a:lnTo>
                    <a:lnTo>
                      <a:pt x="1264" y="528"/>
                    </a:lnTo>
                    <a:lnTo>
                      <a:pt x="1260" y="524"/>
                    </a:lnTo>
                    <a:lnTo>
                      <a:pt x="1256" y="520"/>
                    </a:lnTo>
                    <a:lnTo>
                      <a:pt x="1252" y="518"/>
                    </a:lnTo>
                    <a:lnTo>
                      <a:pt x="1244" y="518"/>
                    </a:lnTo>
                    <a:lnTo>
                      <a:pt x="1240" y="516"/>
                    </a:lnTo>
                    <a:lnTo>
                      <a:pt x="1238" y="514"/>
                    </a:lnTo>
                    <a:lnTo>
                      <a:pt x="1238" y="508"/>
                    </a:lnTo>
                    <a:lnTo>
                      <a:pt x="1236" y="504"/>
                    </a:lnTo>
                    <a:lnTo>
                      <a:pt x="1234" y="502"/>
                    </a:lnTo>
                    <a:lnTo>
                      <a:pt x="1234" y="500"/>
                    </a:lnTo>
                    <a:lnTo>
                      <a:pt x="1232" y="494"/>
                    </a:lnTo>
                    <a:lnTo>
                      <a:pt x="1232" y="490"/>
                    </a:lnTo>
                    <a:lnTo>
                      <a:pt x="1230" y="488"/>
                    </a:lnTo>
                    <a:lnTo>
                      <a:pt x="1228" y="484"/>
                    </a:lnTo>
                    <a:lnTo>
                      <a:pt x="1226" y="480"/>
                    </a:lnTo>
                    <a:lnTo>
                      <a:pt x="1226" y="476"/>
                    </a:lnTo>
                    <a:lnTo>
                      <a:pt x="1226" y="472"/>
                    </a:lnTo>
                    <a:lnTo>
                      <a:pt x="1222" y="466"/>
                    </a:lnTo>
                    <a:lnTo>
                      <a:pt x="1220" y="444"/>
                    </a:lnTo>
                    <a:lnTo>
                      <a:pt x="1218" y="422"/>
                    </a:lnTo>
                    <a:lnTo>
                      <a:pt x="1218" y="418"/>
                    </a:lnTo>
                    <a:lnTo>
                      <a:pt x="1216" y="416"/>
                    </a:lnTo>
                    <a:lnTo>
                      <a:pt x="1214" y="414"/>
                    </a:lnTo>
                    <a:lnTo>
                      <a:pt x="1212" y="410"/>
                    </a:lnTo>
                    <a:lnTo>
                      <a:pt x="1206" y="398"/>
                    </a:lnTo>
                    <a:lnTo>
                      <a:pt x="1202" y="392"/>
                    </a:lnTo>
                    <a:lnTo>
                      <a:pt x="1200" y="392"/>
                    </a:lnTo>
                    <a:lnTo>
                      <a:pt x="1198" y="394"/>
                    </a:lnTo>
                    <a:lnTo>
                      <a:pt x="1198" y="396"/>
                    </a:lnTo>
                    <a:lnTo>
                      <a:pt x="1196" y="402"/>
                    </a:lnTo>
                    <a:lnTo>
                      <a:pt x="1192" y="410"/>
                    </a:lnTo>
                    <a:lnTo>
                      <a:pt x="1192" y="406"/>
                    </a:lnTo>
                    <a:lnTo>
                      <a:pt x="1192" y="404"/>
                    </a:lnTo>
                    <a:lnTo>
                      <a:pt x="1192" y="400"/>
                    </a:lnTo>
                    <a:lnTo>
                      <a:pt x="1192" y="394"/>
                    </a:lnTo>
                    <a:lnTo>
                      <a:pt x="1188" y="380"/>
                    </a:lnTo>
                    <a:lnTo>
                      <a:pt x="1186" y="380"/>
                    </a:lnTo>
                    <a:lnTo>
                      <a:pt x="1184" y="382"/>
                    </a:lnTo>
                    <a:lnTo>
                      <a:pt x="1182" y="382"/>
                    </a:lnTo>
                    <a:lnTo>
                      <a:pt x="1180" y="380"/>
                    </a:lnTo>
                    <a:lnTo>
                      <a:pt x="1178" y="374"/>
                    </a:lnTo>
                    <a:lnTo>
                      <a:pt x="1174" y="372"/>
                    </a:lnTo>
                    <a:lnTo>
                      <a:pt x="1172" y="368"/>
                    </a:lnTo>
                    <a:lnTo>
                      <a:pt x="1166" y="364"/>
                    </a:lnTo>
                    <a:lnTo>
                      <a:pt x="1158" y="360"/>
                    </a:lnTo>
                    <a:lnTo>
                      <a:pt x="1154" y="356"/>
                    </a:lnTo>
                    <a:lnTo>
                      <a:pt x="1150" y="350"/>
                    </a:lnTo>
                    <a:lnTo>
                      <a:pt x="1148" y="346"/>
                    </a:lnTo>
                    <a:lnTo>
                      <a:pt x="1144" y="342"/>
                    </a:lnTo>
                    <a:lnTo>
                      <a:pt x="1136" y="338"/>
                    </a:lnTo>
                    <a:lnTo>
                      <a:pt x="1126" y="334"/>
                    </a:lnTo>
                    <a:lnTo>
                      <a:pt x="1114" y="330"/>
                    </a:lnTo>
                    <a:lnTo>
                      <a:pt x="1102" y="324"/>
                    </a:lnTo>
                    <a:lnTo>
                      <a:pt x="1072" y="316"/>
                    </a:lnTo>
                    <a:lnTo>
                      <a:pt x="1060" y="314"/>
                    </a:lnTo>
                    <a:lnTo>
                      <a:pt x="1056" y="314"/>
                    </a:lnTo>
                    <a:lnTo>
                      <a:pt x="1054" y="316"/>
                    </a:lnTo>
                    <a:lnTo>
                      <a:pt x="1048" y="316"/>
                    </a:lnTo>
                    <a:lnTo>
                      <a:pt x="1038" y="314"/>
                    </a:lnTo>
                    <a:lnTo>
                      <a:pt x="1026" y="314"/>
                    </a:lnTo>
                    <a:lnTo>
                      <a:pt x="1024" y="316"/>
                    </a:lnTo>
                    <a:lnTo>
                      <a:pt x="1022" y="318"/>
                    </a:lnTo>
                    <a:lnTo>
                      <a:pt x="1022" y="322"/>
                    </a:lnTo>
                    <a:lnTo>
                      <a:pt x="1018" y="322"/>
                    </a:lnTo>
                    <a:lnTo>
                      <a:pt x="1006" y="318"/>
                    </a:lnTo>
                    <a:lnTo>
                      <a:pt x="998" y="316"/>
                    </a:lnTo>
                    <a:lnTo>
                      <a:pt x="990" y="314"/>
                    </a:lnTo>
                    <a:lnTo>
                      <a:pt x="982" y="316"/>
                    </a:lnTo>
                    <a:lnTo>
                      <a:pt x="974" y="318"/>
                    </a:lnTo>
                    <a:lnTo>
                      <a:pt x="972" y="316"/>
                    </a:lnTo>
                    <a:lnTo>
                      <a:pt x="972" y="314"/>
                    </a:lnTo>
                    <a:lnTo>
                      <a:pt x="968" y="308"/>
                    </a:lnTo>
                    <a:lnTo>
                      <a:pt x="966" y="302"/>
                    </a:lnTo>
                    <a:lnTo>
                      <a:pt x="964" y="300"/>
                    </a:lnTo>
                    <a:lnTo>
                      <a:pt x="962" y="298"/>
                    </a:lnTo>
                    <a:lnTo>
                      <a:pt x="958" y="296"/>
                    </a:lnTo>
                    <a:lnTo>
                      <a:pt x="956" y="294"/>
                    </a:lnTo>
                    <a:lnTo>
                      <a:pt x="954" y="288"/>
                    </a:lnTo>
                    <a:lnTo>
                      <a:pt x="952" y="284"/>
                    </a:lnTo>
                    <a:lnTo>
                      <a:pt x="948" y="280"/>
                    </a:lnTo>
                    <a:lnTo>
                      <a:pt x="942" y="276"/>
                    </a:lnTo>
                    <a:lnTo>
                      <a:pt x="934" y="274"/>
                    </a:lnTo>
                    <a:lnTo>
                      <a:pt x="920" y="270"/>
                    </a:lnTo>
                    <a:lnTo>
                      <a:pt x="916" y="268"/>
                    </a:lnTo>
                    <a:lnTo>
                      <a:pt x="916" y="264"/>
                    </a:lnTo>
                    <a:lnTo>
                      <a:pt x="918" y="254"/>
                    </a:lnTo>
                    <a:lnTo>
                      <a:pt x="918" y="248"/>
                    </a:lnTo>
                    <a:lnTo>
                      <a:pt x="918" y="242"/>
                    </a:lnTo>
                    <a:lnTo>
                      <a:pt x="914" y="234"/>
                    </a:lnTo>
                    <a:lnTo>
                      <a:pt x="908" y="228"/>
                    </a:lnTo>
                    <a:lnTo>
                      <a:pt x="892" y="214"/>
                    </a:lnTo>
                    <a:lnTo>
                      <a:pt x="868" y="198"/>
                    </a:lnTo>
                    <a:lnTo>
                      <a:pt x="862" y="192"/>
                    </a:lnTo>
                    <a:lnTo>
                      <a:pt x="852" y="188"/>
                    </a:lnTo>
                    <a:lnTo>
                      <a:pt x="840" y="188"/>
                    </a:lnTo>
                    <a:lnTo>
                      <a:pt x="830" y="188"/>
                    </a:lnTo>
                    <a:lnTo>
                      <a:pt x="818" y="190"/>
                    </a:lnTo>
                    <a:lnTo>
                      <a:pt x="804" y="194"/>
                    </a:lnTo>
                    <a:lnTo>
                      <a:pt x="802" y="192"/>
                    </a:lnTo>
                    <a:lnTo>
                      <a:pt x="804" y="190"/>
                    </a:lnTo>
                    <a:lnTo>
                      <a:pt x="808" y="184"/>
                    </a:lnTo>
                    <a:lnTo>
                      <a:pt x="810" y="180"/>
                    </a:lnTo>
                    <a:lnTo>
                      <a:pt x="812" y="172"/>
                    </a:lnTo>
                    <a:lnTo>
                      <a:pt x="814" y="164"/>
                    </a:lnTo>
                    <a:lnTo>
                      <a:pt x="816" y="160"/>
                    </a:lnTo>
                    <a:lnTo>
                      <a:pt x="822" y="156"/>
                    </a:lnTo>
                    <a:lnTo>
                      <a:pt x="826" y="152"/>
                    </a:lnTo>
                    <a:lnTo>
                      <a:pt x="826" y="150"/>
                    </a:lnTo>
                    <a:lnTo>
                      <a:pt x="826" y="148"/>
                    </a:lnTo>
                    <a:lnTo>
                      <a:pt x="822" y="146"/>
                    </a:lnTo>
                    <a:lnTo>
                      <a:pt x="814" y="142"/>
                    </a:lnTo>
                    <a:lnTo>
                      <a:pt x="810" y="138"/>
                    </a:lnTo>
                    <a:lnTo>
                      <a:pt x="808" y="134"/>
                    </a:lnTo>
                    <a:lnTo>
                      <a:pt x="804" y="130"/>
                    </a:lnTo>
                    <a:lnTo>
                      <a:pt x="800" y="128"/>
                    </a:lnTo>
                    <a:lnTo>
                      <a:pt x="792" y="128"/>
                    </a:lnTo>
                    <a:lnTo>
                      <a:pt x="784" y="126"/>
                    </a:lnTo>
                    <a:lnTo>
                      <a:pt x="780" y="124"/>
                    </a:lnTo>
                    <a:lnTo>
                      <a:pt x="778" y="122"/>
                    </a:lnTo>
                    <a:lnTo>
                      <a:pt x="772" y="116"/>
                    </a:lnTo>
                    <a:lnTo>
                      <a:pt x="766" y="112"/>
                    </a:lnTo>
                    <a:lnTo>
                      <a:pt x="752" y="104"/>
                    </a:lnTo>
                    <a:lnTo>
                      <a:pt x="746" y="100"/>
                    </a:lnTo>
                    <a:lnTo>
                      <a:pt x="744" y="98"/>
                    </a:lnTo>
                    <a:lnTo>
                      <a:pt x="748" y="94"/>
                    </a:lnTo>
                    <a:lnTo>
                      <a:pt x="756" y="92"/>
                    </a:lnTo>
                    <a:lnTo>
                      <a:pt x="772" y="88"/>
                    </a:lnTo>
                    <a:lnTo>
                      <a:pt x="782" y="84"/>
                    </a:lnTo>
                    <a:lnTo>
                      <a:pt x="782" y="82"/>
                    </a:lnTo>
                    <a:lnTo>
                      <a:pt x="778" y="80"/>
                    </a:lnTo>
                    <a:lnTo>
                      <a:pt x="762" y="78"/>
                    </a:lnTo>
                    <a:lnTo>
                      <a:pt x="744" y="78"/>
                    </a:lnTo>
                    <a:lnTo>
                      <a:pt x="736" y="80"/>
                    </a:lnTo>
                    <a:lnTo>
                      <a:pt x="726" y="82"/>
                    </a:lnTo>
                    <a:lnTo>
                      <a:pt x="706" y="84"/>
                    </a:lnTo>
                    <a:lnTo>
                      <a:pt x="696" y="84"/>
                    </a:lnTo>
                    <a:lnTo>
                      <a:pt x="688" y="86"/>
                    </a:lnTo>
                    <a:lnTo>
                      <a:pt x="684" y="88"/>
                    </a:lnTo>
                    <a:lnTo>
                      <a:pt x="682" y="92"/>
                    </a:lnTo>
                    <a:lnTo>
                      <a:pt x="680" y="98"/>
                    </a:lnTo>
                    <a:lnTo>
                      <a:pt x="678" y="100"/>
                    </a:lnTo>
                    <a:lnTo>
                      <a:pt x="674" y="104"/>
                    </a:lnTo>
                    <a:lnTo>
                      <a:pt x="662" y="110"/>
                    </a:lnTo>
                    <a:lnTo>
                      <a:pt x="654" y="112"/>
                    </a:lnTo>
                    <a:lnTo>
                      <a:pt x="646" y="112"/>
                    </a:lnTo>
                    <a:lnTo>
                      <a:pt x="638" y="112"/>
                    </a:lnTo>
                    <a:lnTo>
                      <a:pt x="630" y="108"/>
                    </a:lnTo>
                    <a:lnTo>
                      <a:pt x="622" y="102"/>
                    </a:lnTo>
                    <a:lnTo>
                      <a:pt x="616" y="94"/>
                    </a:lnTo>
                    <a:lnTo>
                      <a:pt x="612" y="88"/>
                    </a:lnTo>
                    <a:lnTo>
                      <a:pt x="608" y="86"/>
                    </a:lnTo>
                    <a:lnTo>
                      <a:pt x="602" y="84"/>
                    </a:lnTo>
                    <a:lnTo>
                      <a:pt x="594" y="84"/>
                    </a:lnTo>
                    <a:lnTo>
                      <a:pt x="580" y="86"/>
                    </a:lnTo>
                    <a:lnTo>
                      <a:pt x="564" y="90"/>
                    </a:lnTo>
                    <a:lnTo>
                      <a:pt x="548" y="94"/>
                    </a:lnTo>
                    <a:lnTo>
                      <a:pt x="536" y="94"/>
                    </a:lnTo>
                    <a:lnTo>
                      <a:pt x="530" y="92"/>
                    </a:lnTo>
                    <a:lnTo>
                      <a:pt x="526" y="90"/>
                    </a:lnTo>
                    <a:lnTo>
                      <a:pt x="524" y="84"/>
                    </a:lnTo>
                    <a:lnTo>
                      <a:pt x="522" y="78"/>
                    </a:lnTo>
                    <a:lnTo>
                      <a:pt x="520" y="64"/>
                    </a:lnTo>
                    <a:lnTo>
                      <a:pt x="516" y="56"/>
                    </a:lnTo>
                    <a:lnTo>
                      <a:pt x="508" y="50"/>
                    </a:lnTo>
                    <a:lnTo>
                      <a:pt x="500" y="46"/>
                    </a:lnTo>
                    <a:lnTo>
                      <a:pt x="490" y="44"/>
                    </a:lnTo>
                    <a:lnTo>
                      <a:pt x="482" y="40"/>
                    </a:lnTo>
                    <a:lnTo>
                      <a:pt x="474" y="32"/>
                    </a:lnTo>
                    <a:lnTo>
                      <a:pt x="468" y="22"/>
                    </a:lnTo>
                    <a:lnTo>
                      <a:pt x="464" y="12"/>
                    </a:lnTo>
                    <a:lnTo>
                      <a:pt x="458" y="8"/>
                    </a:lnTo>
                    <a:lnTo>
                      <a:pt x="454" y="8"/>
                    </a:lnTo>
                    <a:lnTo>
                      <a:pt x="450" y="10"/>
                    </a:lnTo>
                    <a:lnTo>
                      <a:pt x="446" y="16"/>
                    </a:lnTo>
                    <a:lnTo>
                      <a:pt x="444" y="22"/>
                    </a:lnTo>
                    <a:lnTo>
                      <a:pt x="444" y="28"/>
                    </a:lnTo>
                    <a:lnTo>
                      <a:pt x="444" y="34"/>
                    </a:lnTo>
                    <a:lnTo>
                      <a:pt x="448" y="40"/>
                    </a:lnTo>
                    <a:lnTo>
                      <a:pt x="452" y="48"/>
                    </a:lnTo>
                    <a:lnTo>
                      <a:pt x="452" y="50"/>
                    </a:lnTo>
                    <a:lnTo>
                      <a:pt x="448" y="52"/>
                    </a:lnTo>
                    <a:lnTo>
                      <a:pt x="430" y="56"/>
                    </a:lnTo>
                    <a:lnTo>
                      <a:pt x="420" y="60"/>
                    </a:lnTo>
                    <a:lnTo>
                      <a:pt x="410" y="64"/>
                    </a:lnTo>
                    <a:lnTo>
                      <a:pt x="402" y="70"/>
                    </a:lnTo>
                    <a:lnTo>
                      <a:pt x="398" y="74"/>
                    </a:lnTo>
                    <a:lnTo>
                      <a:pt x="392" y="80"/>
                    </a:lnTo>
                    <a:lnTo>
                      <a:pt x="390" y="78"/>
                    </a:lnTo>
                    <a:lnTo>
                      <a:pt x="388" y="72"/>
                    </a:lnTo>
                    <a:lnTo>
                      <a:pt x="386" y="64"/>
                    </a:lnTo>
                    <a:lnTo>
                      <a:pt x="380" y="56"/>
                    </a:lnTo>
                    <a:lnTo>
                      <a:pt x="376" y="52"/>
                    </a:lnTo>
                    <a:lnTo>
                      <a:pt x="376" y="48"/>
                    </a:lnTo>
                    <a:lnTo>
                      <a:pt x="378" y="44"/>
                    </a:lnTo>
                    <a:lnTo>
                      <a:pt x="382" y="40"/>
                    </a:lnTo>
                    <a:lnTo>
                      <a:pt x="392" y="32"/>
                    </a:lnTo>
                    <a:lnTo>
                      <a:pt x="402" y="26"/>
                    </a:lnTo>
                    <a:lnTo>
                      <a:pt x="406" y="24"/>
                    </a:lnTo>
                    <a:lnTo>
                      <a:pt x="410" y="20"/>
                    </a:lnTo>
                    <a:lnTo>
                      <a:pt x="410" y="14"/>
                    </a:lnTo>
                    <a:lnTo>
                      <a:pt x="410" y="10"/>
                    </a:lnTo>
                    <a:lnTo>
                      <a:pt x="408" y="6"/>
                    </a:lnTo>
                    <a:lnTo>
                      <a:pt x="404" y="2"/>
                    </a:lnTo>
                    <a:lnTo>
                      <a:pt x="398" y="0"/>
                    </a:lnTo>
                    <a:lnTo>
                      <a:pt x="390" y="0"/>
                    </a:lnTo>
                    <a:lnTo>
                      <a:pt x="378" y="4"/>
                    </a:lnTo>
                    <a:lnTo>
                      <a:pt x="374" y="6"/>
                    </a:lnTo>
                    <a:lnTo>
                      <a:pt x="370" y="10"/>
                    </a:lnTo>
                    <a:lnTo>
                      <a:pt x="362" y="20"/>
                    </a:lnTo>
                    <a:lnTo>
                      <a:pt x="354" y="26"/>
                    </a:lnTo>
                    <a:lnTo>
                      <a:pt x="344" y="36"/>
                    </a:lnTo>
                    <a:lnTo>
                      <a:pt x="328" y="46"/>
                    </a:lnTo>
                    <a:lnTo>
                      <a:pt x="316" y="50"/>
                    </a:lnTo>
                    <a:lnTo>
                      <a:pt x="306" y="52"/>
                    </a:lnTo>
                    <a:lnTo>
                      <a:pt x="298" y="52"/>
                    </a:lnTo>
                    <a:lnTo>
                      <a:pt x="294" y="50"/>
                    </a:lnTo>
                    <a:lnTo>
                      <a:pt x="290" y="50"/>
                    </a:lnTo>
                    <a:lnTo>
                      <a:pt x="286" y="52"/>
                    </a:lnTo>
                    <a:lnTo>
                      <a:pt x="284" y="58"/>
                    </a:lnTo>
                    <a:lnTo>
                      <a:pt x="280" y="66"/>
                    </a:lnTo>
                    <a:lnTo>
                      <a:pt x="276" y="68"/>
                    </a:lnTo>
                    <a:lnTo>
                      <a:pt x="270" y="68"/>
                    </a:lnTo>
                    <a:lnTo>
                      <a:pt x="266" y="66"/>
                    </a:lnTo>
                    <a:lnTo>
                      <a:pt x="256" y="62"/>
                    </a:lnTo>
                    <a:lnTo>
                      <a:pt x="252" y="64"/>
                    </a:lnTo>
                    <a:lnTo>
                      <a:pt x="250" y="68"/>
                    </a:lnTo>
                    <a:lnTo>
                      <a:pt x="248" y="72"/>
                    </a:lnTo>
                    <a:lnTo>
                      <a:pt x="244" y="78"/>
                    </a:lnTo>
                    <a:lnTo>
                      <a:pt x="238" y="86"/>
                    </a:lnTo>
                    <a:lnTo>
                      <a:pt x="234" y="92"/>
                    </a:lnTo>
                    <a:lnTo>
                      <a:pt x="232" y="100"/>
                    </a:lnTo>
                    <a:lnTo>
                      <a:pt x="230" y="110"/>
                    </a:lnTo>
                    <a:lnTo>
                      <a:pt x="230" y="122"/>
                    </a:lnTo>
                    <a:lnTo>
                      <a:pt x="230" y="134"/>
                    </a:lnTo>
                    <a:lnTo>
                      <a:pt x="226" y="142"/>
                    </a:lnTo>
                    <a:lnTo>
                      <a:pt x="224" y="144"/>
                    </a:lnTo>
                    <a:lnTo>
                      <a:pt x="220" y="146"/>
                    </a:lnTo>
                    <a:lnTo>
                      <a:pt x="214" y="146"/>
                    </a:lnTo>
                    <a:lnTo>
                      <a:pt x="210" y="148"/>
                    </a:lnTo>
                    <a:lnTo>
                      <a:pt x="208" y="150"/>
                    </a:lnTo>
                    <a:lnTo>
                      <a:pt x="206" y="158"/>
                    </a:lnTo>
                    <a:lnTo>
                      <a:pt x="202" y="166"/>
                    </a:lnTo>
                    <a:lnTo>
                      <a:pt x="198" y="170"/>
                    </a:lnTo>
                    <a:lnTo>
                      <a:pt x="180" y="202"/>
                    </a:lnTo>
                    <a:lnTo>
                      <a:pt x="182" y="212"/>
                    </a:lnTo>
                    <a:lnTo>
                      <a:pt x="182" y="214"/>
                    </a:lnTo>
                    <a:lnTo>
                      <a:pt x="180" y="214"/>
                    </a:lnTo>
                    <a:lnTo>
                      <a:pt x="176" y="210"/>
                    </a:lnTo>
                    <a:lnTo>
                      <a:pt x="144" y="264"/>
                    </a:lnTo>
                    <a:lnTo>
                      <a:pt x="146" y="274"/>
                    </a:lnTo>
                    <a:lnTo>
                      <a:pt x="148" y="278"/>
                    </a:lnTo>
                    <a:lnTo>
                      <a:pt x="152" y="280"/>
                    </a:lnTo>
                    <a:lnTo>
                      <a:pt x="156" y="284"/>
                    </a:lnTo>
                    <a:lnTo>
                      <a:pt x="158" y="286"/>
                    </a:lnTo>
                    <a:lnTo>
                      <a:pt x="158" y="290"/>
                    </a:lnTo>
                    <a:lnTo>
                      <a:pt x="156" y="296"/>
                    </a:lnTo>
                    <a:lnTo>
                      <a:pt x="154" y="304"/>
                    </a:lnTo>
                    <a:lnTo>
                      <a:pt x="154" y="310"/>
                    </a:lnTo>
                    <a:lnTo>
                      <a:pt x="156" y="314"/>
                    </a:lnTo>
                    <a:lnTo>
                      <a:pt x="162" y="320"/>
                    </a:lnTo>
                    <a:lnTo>
                      <a:pt x="162" y="324"/>
                    </a:lnTo>
                    <a:lnTo>
                      <a:pt x="160" y="328"/>
                    </a:lnTo>
                    <a:lnTo>
                      <a:pt x="158" y="330"/>
                    </a:lnTo>
                    <a:lnTo>
                      <a:pt x="154" y="334"/>
                    </a:lnTo>
                    <a:lnTo>
                      <a:pt x="152" y="338"/>
                    </a:lnTo>
                    <a:lnTo>
                      <a:pt x="150" y="348"/>
                    </a:lnTo>
                    <a:lnTo>
                      <a:pt x="152" y="360"/>
                    </a:lnTo>
                    <a:lnTo>
                      <a:pt x="154" y="374"/>
                    </a:lnTo>
                    <a:lnTo>
                      <a:pt x="154" y="386"/>
                    </a:lnTo>
                    <a:lnTo>
                      <a:pt x="152" y="406"/>
                    </a:lnTo>
                    <a:lnTo>
                      <a:pt x="152" y="418"/>
                    </a:lnTo>
                    <a:lnTo>
                      <a:pt x="152" y="422"/>
                    </a:lnTo>
                    <a:lnTo>
                      <a:pt x="156" y="424"/>
                    </a:lnTo>
                    <a:lnTo>
                      <a:pt x="158" y="428"/>
                    </a:lnTo>
                    <a:lnTo>
                      <a:pt x="158" y="434"/>
                    </a:lnTo>
                    <a:lnTo>
                      <a:pt x="158" y="444"/>
                    </a:lnTo>
                    <a:lnTo>
                      <a:pt x="154" y="454"/>
                    </a:lnTo>
                    <a:lnTo>
                      <a:pt x="150" y="464"/>
                    </a:lnTo>
                    <a:lnTo>
                      <a:pt x="144" y="472"/>
                    </a:lnTo>
                    <a:lnTo>
                      <a:pt x="138" y="478"/>
                    </a:lnTo>
                    <a:lnTo>
                      <a:pt x="132" y="480"/>
                    </a:lnTo>
                    <a:lnTo>
                      <a:pt x="118" y="482"/>
                    </a:lnTo>
                    <a:lnTo>
                      <a:pt x="110" y="486"/>
                    </a:lnTo>
                    <a:lnTo>
                      <a:pt x="106" y="490"/>
                    </a:lnTo>
                    <a:lnTo>
                      <a:pt x="104" y="494"/>
                    </a:lnTo>
                    <a:lnTo>
                      <a:pt x="104" y="498"/>
                    </a:lnTo>
                    <a:lnTo>
                      <a:pt x="104" y="504"/>
                    </a:lnTo>
                    <a:lnTo>
                      <a:pt x="104" y="510"/>
                    </a:lnTo>
                    <a:lnTo>
                      <a:pt x="102" y="512"/>
                    </a:lnTo>
                    <a:lnTo>
                      <a:pt x="96" y="516"/>
                    </a:lnTo>
                    <a:lnTo>
                      <a:pt x="92" y="518"/>
                    </a:lnTo>
                    <a:lnTo>
                      <a:pt x="92" y="520"/>
                    </a:lnTo>
                    <a:lnTo>
                      <a:pt x="94" y="526"/>
                    </a:lnTo>
                    <a:lnTo>
                      <a:pt x="98" y="536"/>
                    </a:lnTo>
                    <a:lnTo>
                      <a:pt x="98" y="540"/>
                    </a:lnTo>
                    <a:lnTo>
                      <a:pt x="98" y="542"/>
                    </a:lnTo>
                    <a:lnTo>
                      <a:pt x="92" y="548"/>
                    </a:lnTo>
                    <a:lnTo>
                      <a:pt x="84" y="552"/>
                    </a:lnTo>
                    <a:lnTo>
                      <a:pt x="74" y="554"/>
                    </a:lnTo>
                    <a:lnTo>
                      <a:pt x="64" y="558"/>
                    </a:lnTo>
                    <a:lnTo>
                      <a:pt x="56" y="562"/>
                    </a:lnTo>
                    <a:lnTo>
                      <a:pt x="50" y="570"/>
                    </a:lnTo>
                    <a:lnTo>
                      <a:pt x="50" y="574"/>
                    </a:lnTo>
                    <a:lnTo>
                      <a:pt x="50" y="578"/>
                    </a:lnTo>
                    <a:lnTo>
                      <a:pt x="50" y="592"/>
                    </a:lnTo>
                    <a:lnTo>
                      <a:pt x="48" y="600"/>
                    </a:lnTo>
                    <a:lnTo>
                      <a:pt x="46" y="606"/>
                    </a:lnTo>
                    <a:lnTo>
                      <a:pt x="42" y="610"/>
                    </a:lnTo>
                    <a:lnTo>
                      <a:pt x="36" y="618"/>
                    </a:lnTo>
                    <a:lnTo>
                      <a:pt x="34" y="624"/>
                    </a:lnTo>
                    <a:lnTo>
                      <a:pt x="34" y="632"/>
                    </a:lnTo>
                    <a:lnTo>
                      <a:pt x="34" y="642"/>
                    </a:lnTo>
                    <a:lnTo>
                      <a:pt x="30" y="646"/>
                    </a:lnTo>
                    <a:lnTo>
                      <a:pt x="28" y="648"/>
                    </a:lnTo>
                    <a:lnTo>
                      <a:pt x="22" y="650"/>
                    </a:lnTo>
                    <a:lnTo>
                      <a:pt x="18" y="652"/>
                    </a:lnTo>
                    <a:lnTo>
                      <a:pt x="16" y="654"/>
                    </a:lnTo>
                    <a:lnTo>
                      <a:pt x="14" y="660"/>
                    </a:lnTo>
                    <a:lnTo>
                      <a:pt x="16" y="670"/>
                    </a:lnTo>
                    <a:lnTo>
                      <a:pt x="18" y="688"/>
                    </a:lnTo>
                    <a:lnTo>
                      <a:pt x="20" y="698"/>
                    </a:lnTo>
                    <a:lnTo>
                      <a:pt x="18" y="706"/>
                    </a:lnTo>
                    <a:lnTo>
                      <a:pt x="18" y="710"/>
                    </a:lnTo>
                    <a:lnTo>
                      <a:pt x="16" y="714"/>
                    </a:lnTo>
                    <a:lnTo>
                      <a:pt x="18" y="716"/>
                    </a:lnTo>
                    <a:lnTo>
                      <a:pt x="28" y="728"/>
                    </a:lnTo>
                    <a:lnTo>
                      <a:pt x="34" y="734"/>
                    </a:lnTo>
                    <a:lnTo>
                      <a:pt x="42" y="736"/>
                    </a:lnTo>
                    <a:lnTo>
                      <a:pt x="46" y="736"/>
                    </a:lnTo>
                    <a:lnTo>
                      <a:pt x="50" y="732"/>
                    </a:lnTo>
                    <a:lnTo>
                      <a:pt x="54" y="726"/>
                    </a:lnTo>
                    <a:lnTo>
                      <a:pt x="56" y="726"/>
                    </a:lnTo>
                    <a:lnTo>
                      <a:pt x="56" y="730"/>
                    </a:lnTo>
                    <a:lnTo>
                      <a:pt x="56" y="744"/>
                    </a:lnTo>
                    <a:lnTo>
                      <a:pt x="54" y="756"/>
                    </a:lnTo>
                    <a:lnTo>
                      <a:pt x="52" y="760"/>
                    </a:lnTo>
                    <a:lnTo>
                      <a:pt x="48" y="766"/>
                    </a:lnTo>
                    <a:lnTo>
                      <a:pt x="44" y="768"/>
                    </a:lnTo>
                    <a:lnTo>
                      <a:pt x="38" y="770"/>
                    </a:lnTo>
                    <a:lnTo>
                      <a:pt x="22" y="786"/>
                    </a:lnTo>
                    <a:lnTo>
                      <a:pt x="12" y="800"/>
                    </a:lnTo>
                    <a:lnTo>
                      <a:pt x="6" y="812"/>
                    </a:lnTo>
                    <a:lnTo>
                      <a:pt x="2" y="824"/>
                    </a:lnTo>
                    <a:lnTo>
                      <a:pt x="0" y="836"/>
                    </a:lnTo>
                    <a:lnTo>
                      <a:pt x="0" y="844"/>
                    </a:lnTo>
                    <a:lnTo>
                      <a:pt x="2" y="860"/>
                    </a:lnTo>
                    <a:lnTo>
                      <a:pt x="4" y="866"/>
                    </a:lnTo>
                    <a:lnTo>
                      <a:pt x="8" y="870"/>
                    </a:lnTo>
                    <a:lnTo>
                      <a:pt x="16" y="876"/>
                    </a:lnTo>
                    <a:lnTo>
                      <a:pt x="18" y="878"/>
                    </a:lnTo>
                    <a:lnTo>
                      <a:pt x="18" y="882"/>
                    </a:lnTo>
                    <a:lnTo>
                      <a:pt x="18" y="884"/>
                    </a:lnTo>
                    <a:lnTo>
                      <a:pt x="12" y="888"/>
                    </a:lnTo>
                    <a:lnTo>
                      <a:pt x="8" y="892"/>
                    </a:lnTo>
                    <a:lnTo>
                      <a:pt x="6" y="896"/>
                    </a:lnTo>
                    <a:lnTo>
                      <a:pt x="6" y="900"/>
                    </a:lnTo>
                    <a:lnTo>
                      <a:pt x="6" y="902"/>
                    </a:lnTo>
                    <a:lnTo>
                      <a:pt x="12" y="908"/>
                    </a:lnTo>
                    <a:lnTo>
                      <a:pt x="22" y="914"/>
                    </a:lnTo>
                    <a:lnTo>
                      <a:pt x="44" y="926"/>
                    </a:lnTo>
                    <a:lnTo>
                      <a:pt x="54" y="934"/>
                    </a:lnTo>
                    <a:lnTo>
                      <a:pt x="56" y="938"/>
                    </a:lnTo>
                    <a:lnTo>
                      <a:pt x="58" y="944"/>
                    </a:lnTo>
                    <a:lnTo>
                      <a:pt x="62" y="960"/>
                    </a:lnTo>
                    <a:lnTo>
                      <a:pt x="68" y="972"/>
                    </a:lnTo>
                    <a:lnTo>
                      <a:pt x="74" y="980"/>
                    </a:lnTo>
                    <a:lnTo>
                      <a:pt x="80" y="988"/>
                    </a:lnTo>
                    <a:lnTo>
                      <a:pt x="92" y="1004"/>
                    </a:lnTo>
                    <a:lnTo>
                      <a:pt x="96" y="1014"/>
                    </a:lnTo>
                    <a:lnTo>
                      <a:pt x="100" y="1026"/>
                    </a:lnTo>
                    <a:lnTo>
                      <a:pt x="104" y="1040"/>
                    </a:lnTo>
                    <a:lnTo>
                      <a:pt x="108" y="1056"/>
                    </a:lnTo>
                    <a:lnTo>
                      <a:pt x="122" y="1086"/>
                    </a:lnTo>
                    <a:lnTo>
                      <a:pt x="136" y="1114"/>
                    </a:lnTo>
                    <a:lnTo>
                      <a:pt x="142" y="1128"/>
                    </a:lnTo>
                    <a:lnTo>
                      <a:pt x="146" y="1142"/>
                    </a:lnTo>
                    <a:lnTo>
                      <a:pt x="148" y="1152"/>
                    </a:lnTo>
                    <a:lnTo>
                      <a:pt x="152" y="1160"/>
                    </a:lnTo>
                    <a:lnTo>
                      <a:pt x="158" y="1172"/>
                    </a:lnTo>
                    <a:lnTo>
                      <a:pt x="162" y="1180"/>
                    </a:lnTo>
                    <a:lnTo>
                      <a:pt x="164" y="1186"/>
                    </a:lnTo>
                    <a:lnTo>
                      <a:pt x="164" y="1194"/>
                    </a:lnTo>
                    <a:lnTo>
                      <a:pt x="166" y="1202"/>
                    </a:lnTo>
                    <a:lnTo>
                      <a:pt x="172" y="1210"/>
                    </a:lnTo>
                    <a:lnTo>
                      <a:pt x="184" y="1228"/>
                    </a:lnTo>
                    <a:lnTo>
                      <a:pt x="192" y="1238"/>
                    </a:lnTo>
                    <a:lnTo>
                      <a:pt x="198" y="1248"/>
                    </a:lnTo>
                    <a:lnTo>
                      <a:pt x="200" y="1260"/>
                    </a:lnTo>
                    <a:lnTo>
                      <a:pt x="200" y="1274"/>
                    </a:lnTo>
                    <a:lnTo>
                      <a:pt x="200" y="1286"/>
                    </a:lnTo>
                    <a:lnTo>
                      <a:pt x="204" y="1298"/>
                    </a:lnTo>
                    <a:lnTo>
                      <a:pt x="208" y="1308"/>
                    </a:lnTo>
                    <a:lnTo>
                      <a:pt x="214" y="1316"/>
                    </a:lnTo>
                    <a:lnTo>
                      <a:pt x="228" y="1330"/>
                    </a:lnTo>
                    <a:lnTo>
                      <a:pt x="234" y="1338"/>
                    </a:lnTo>
                    <a:lnTo>
                      <a:pt x="238" y="1344"/>
                    </a:lnTo>
                    <a:lnTo>
                      <a:pt x="246" y="1356"/>
                    </a:lnTo>
                    <a:lnTo>
                      <a:pt x="256" y="1368"/>
                    </a:lnTo>
                    <a:lnTo>
                      <a:pt x="278" y="1384"/>
                    </a:lnTo>
                    <a:lnTo>
                      <a:pt x="318" y="1406"/>
                    </a:lnTo>
                    <a:lnTo>
                      <a:pt x="358" y="1428"/>
                    </a:lnTo>
                    <a:lnTo>
                      <a:pt x="380" y="1442"/>
                    </a:lnTo>
                    <a:lnTo>
                      <a:pt x="388" y="1448"/>
                    </a:lnTo>
                    <a:lnTo>
                      <a:pt x="392" y="1454"/>
                    </a:lnTo>
                    <a:lnTo>
                      <a:pt x="396" y="1460"/>
                    </a:lnTo>
                    <a:lnTo>
                      <a:pt x="398" y="1468"/>
                    </a:lnTo>
                    <a:lnTo>
                      <a:pt x="400" y="1474"/>
                    </a:lnTo>
                    <a:lnTo>
                      <a:pt x="404" y="1480"/>
                    </a:lnTo>
                    <a:lnTo>
                      <a:pt x="408" y="1486"/>
                    </a:lnTo>
                    <a:lnTo>
                      <a:pt x="414" y="1490"/>
                    </a:lnTo>
                    <a:lnTo>
                      <a:pt x="426" y="1496"/>
                    </a:lnTo>
                    <a:lnTo>
                      <a:pt x="434" y="1500"/>
                    </a:lnTo>
                    <a:lnTo>
                      <a:pt x="440" y="1506"/>
                    </a:lnTo>
                    <a:lnTo>
                      <a:pt x="438" y="1532"/>
                    </a:lnTo>
                    <a:lnTo>
                      <a:pt x="440" y="1542"/>
                    </a:lnTo>
                    <a:lnTo>
                      <a:pt x="442" y="1546"/>
                    </a:lnTo>
                    <a:lnTo>
                      <a:pt x="442" y="1552"/>
                    </a:lnTo>
                    <a:lnTo>
                      <a:pt x="444" y="1564"/>
                    </a:lnTo>
                    <a:lnTo>
                      <a:pt x="446" y="1574"/>
                    </a:lnTo>
                    <a:lnTo>
                      <a:pt x="448" y="1586"/>
                    </a:lnTo>
                    <a:lnTo>
                      <a:pt x="448" y="1594"/>
                    </a:lnTo>
                    <a:lnTo>
                      <a:pt x="448" y="1604"/>
                    </a:lnTo>
                    <a:lnTo>
                      <a:pt x="446" y="1614"/>
                    </a:lnTo>
                    <a:lnTo>
                      <a:pt x="446" y="1624"/>
                    </a:lnTo>
                    <a:lnTo>
                      <a:pt x="450" y="1640"/>
                    </a:lnTo>
                    <a:lnTo>
                      <a:pt x="452" y="1658"/>
                    </a:lnTo>
                    <a:lnTo>
                      <a:pt x="452" y="1670"/>
                    </a:lnTo>
                    <a:lnTo>
                      <a:pt x="448" y="1686"/>
                    </a:lnTo>
                    <a:lnTo>
                      <a:pt x="444" y="1716"/>
                    </a:lnTo>
                    <a:lnTo>
                      <a:pt x="442" y="1732"/>
                    </a:lnTo>
                    <a:lnTo>
                      <a:pt x="440" y="1742"/>
                    </a:lnTo>
                    <a:lnTo>
                      <a:pt x="440" y="1744"/>
                    </a:lnTo>
                    <a:lnTo>
                      <a:pt x="438" y="1744"/>
                    </a:lnTo>
                    <a:lnTo>
                      <a:pt x="436" y="1744"/>
                    </a:lnTo>
                    <a:lnTo>
                      <a:pt x="434" y="1746"/>
                    </a:lnTo>
                    <a:lnTo>
                      <a:pt x="430" y="1752"/>
                    </a:lnTo>
                    <a:lnTo>
                      <a:pt x="430" y="1760"/>
                    </a:lnTo>
                    <a:lnTo>
                      <a:pt x="430" y="1762"/>
                    </a:lnTo>
                    <a:lnTo>
                      <a:pt x="434" y="1764"/>
                    </a:lnTo>
                    <a:lnTo>
                      <a:pt x="436" y="1768"/>
                    </a:lnTo>
                    <a:lnTo>
                      <a:pt x="436" y="1772"/>
                    </a:lnTo>
                    <a:lnTo>
                      <a:pt x="434" y="1788"/>
                    </a:lnTo>
                    <a:lnTo>
                      <a:pt x="430" y="1808"/>
                    </a:lnTo>
                    <a:lnTo>
                      <a:pt x="432" y="1820"/>
                    </a:lnTo>
                    <a:lnTo>
                      <a:pt x="434" y="1834"/>
                    </a:lnTo>
                    <a:lnTo>
                      <a:pt x="436" y="1846"/>
                    </a:lnTo>
                    <a:lnTo>
                      <a:pt x="436" y="1856"/>
                    </a:lnTo>
                    <a:lnTo>
                      <a:pt x="434" y="1864"/>
                    </a:lnTo>
                    <a:lnTo>
                      <a:pt x="432" y="1870"/>
                    </a:lnTo>
                    <a:lnTo>
                      <a:pt x="428" y="1882"/>
                    </a:lnTo>
                    <a:lnTo>
                      <a:pt x="428" y="1888"/>
                    </a:lnTo>
                    <a:lnTo>
                      <a:pt x="430" y="1894"/>
                    </a:lnTo>
                    <a:lnTo>
                      <a:pt x="432" y="1900"/>
                    </a:lnTo>
                    <a:lnTo>
                      <a:pt x="430" y="1908"/>
                    </a:lnTo>
                    <a:lnTo>
                      <a:pt x="424" y="1928"/>
                    </a:lnTo>
                    <a:lnTo>
                      <a:pt x="418" y="1946"/>
                    </a:lnTo>
                    <a:lnTo>
                      <a:pt x="416" y="1956"/>
                    </a:lnTo>
                    <a:lnTo>
                      <a:pt x="416" y="1964"/>
                    </a:lnTo>
                    <a:lnTo>
                      <a:pt x="416" y="1974"/>
                    </a:lnTo>
                    <a:lnTo>
                      <a:pt x="414" y="1978"/>
                    </a:lnTo>
                    <a:lnTo>
                      <a:pt x="410" y="1986"/>
                    </a:lnTo>
                    <a:lnTo>
                      <a:pt x="408" y="2004"/>
                    </a:lnTo>
                    <a:lnTo>
                      <a:pt x="408" y="2016"/>
                    </a:lnTo>
                    <a:lnTo>
                      <a:pt x="404" y="2024"/>
                    </a:lnTo>
                    <a:lnTo>
                      <a:pt x="400" y="2030"/>
                    </a:lnTo>
                    <a:lnTo>
                      <a:pt x="398" y="2036"/>
                    </a:lnTo>
                    <a:lnTo>
                      <a:pt x="394" y="2040"/>
                    </a:lnTo>
                    <a:lnTo>
                      <a:pt x="392" y="2044"/>
                    </a:lnTo>
                    <a:lnTo>
                      <a:pt x="392" y="2048"/>
                    </a:lnTo>
                    <a:lnTo>
                      <a:pt x="394" y="2056"/>
                    </a:lnTo>
                    <a:lnTo>
                      <a:pt x="400" y="2072"/>
                    </a:lnTo>
                    <a:lnTo>
                      <a:pt x="402" y="2086"/>
                    </a:lnTo>
                    <a:lnTo>
                      <a:pt x="402" y="2098"/>
                    </a:lnTo>
                    <a:lnTo>
                      <a:pt x="400" y="2104"/>
                    </a:lnTo>
                    <a:lnTo>
                      <a:pt x="398" y="2108"/>
                    </a:lnTo>
                    <a:lnTo>
                      <a:pt x="390" y="2116"/>
                    </a:lnTo>
                    <a:lnTo>
                      <a:pt x="386" y="2124"/>
                    </a:lnTo>
                    <a:lnTo>
                      <a:pt x="384" y="2130"/>
                    </a:lnTo>
                    <a:lnTo>
                      <a:pt x="384" y="2138"/>
                    </a:lnTo>
                    <a:lnTo>
                      <a:pt x="388" y="2162"/>
                    </a:lnTo>
                    <a:lnTo>
                      <a:pt x="392" y="2186"/>
                    </a:lnTo>
                    <a:lnTo>
                      <a:pt x="392" y="2200"/>
                    </a:lnTo>
                    <a:lnTo>
                      <a:pt x="392" y="2212"/>
                    </a:lnTo>
                    <a:lnTo>
                      <a:pt x="396" y="2224"/>
                    </a:lnTo>
                    <a:lnTo>
                      <a:pt x="398" y="2230"/>
                    </a:lnTo>
                    <a:lnTo>
                      <a:pt x="398" y="2236"/>
                    </a:lnTo>
                    <a:lnTo>
                      <a:pt x="392" y="2248"/>
                    </a:lnTo>
                    <a:lnTo>
                      <a:pt x="386" y="2262"/>
                    </a:lnTo>
                    <a:lnTo>
                      <a:pt x="386" y="2270"/>
                    </a:lnTo>
                    <a:lnTo>
                      <a:pt x="386" y="2280"/>
                    </a:lnTo>
                    <a:lnTo>
                      <a:pt x="388" y="2288"/>
                    </a:lnTo>
                    <a:lnTo>
                      <a:pt x="388" y="2292"/>
                    </a:lnTo>
                    <a:lnTo>
                      <a:pt x="386" y="2294"/>
                    </a:lnTo>
                    <a:lnTo>
                      <a:pt x="384" y="2298"/>
                    </a:lnTo>
                    <a:lnTo>
                      <a:pt x="380" y="2300"/>
                    </a:lnTo>
                    <a:lnTo>
                      <a:pt x="378" y="2306"/>
                    </a:lnTo>
                    <a:lnTo>
                      <a:pt x="376" y="2314"/>
                    </a:lnTo>
                    <a:lnTo>
                      <a:pt x="374" y="2328"/>
                    </a:lnTo>
                    <a:lnTo>
                      <a:pt x="372" y="2342"/>
                    </a:lnTo>
                    <a:lnTo>
                      <a:pt x="370" y="2354"/>
                    </a:lnTo>
                    <a:lnTo>
                      <a:pt x="362" y="2376"/>
                    </a:lnTo>
                    <a:lnTo>
                      <a:pt x="354" y="2390"/>
                    </a:lnTo>
                    <a:lnTo>
                      <a:pt x="350" y="2402"/>
                    </a:lnTo>
                    <a:lnTo>
                      <a:pt x="348" y="2412"/>
                    </a:lnTo>
                    <a:lnTo>
                      <a:pt x="344" y="2414"/>
                    </a:lnTo>
                    <a:lnTo>
                      <a:pt x="342" y="2420"/>
                    </a:lnTo>
                    <a:lnTo>
                      <a:pt x="338" y="2434"/>
                    </a:lnTo>
                    <a:lnTo>
                      <a:pt x="336" y="2446"/>
                    </a:lnTo>
                    <a:lnTo>
                      <a:pt x="334" y="2452"/>
                    </a:lnTo>
                    <a:lnTo>
                      <a:pt x="334" y="2454"/>
                    </a:lnTo>
                    <a:lnTo>
                      <a:pt x="332" y="2454"/>
                    </a:lnTo>
                    <a:lnTo>
                      <a:pt x="330" y="2452"/>
                    </a:lnTo>
                    <a:lnTo>
                      <a:pt x="328" y="2462"/>
                    </a:lnTo>
                    <a:lnTo>
                      <a:pt x="326" y="2474"/>
                    </a:lnTo>
                    <a:lnTo>
                      <a:pt x="324" y="2480"/>
                    </a:lnTo>
                    <a:lnTo>
                      <a:pt x="320" y="2482"/>
                    </a:lnTo>
                    <a:lnTo>
                      <a:pt x="318" y="2482"/>
                    </a:lnTo>
                    <a:lnTo>
                      <a:pt x="310" y="2480"/>
                    </a:lnTo>
                    <a:lnTo>
                      <a:pt x="308" y="2482"/>
                    </a:lnTo>
                    <a:lnTo>
                      <a:pt x="306" y="2486"/>
                    </a:lnTo>
                    <a:lnTo>
                      <a:pt x="306" y="2498"/>
                    </a:lnTo>
                    <a:lnTo>
                      <a:pt x="306" y="2506"/>
                    </a:lnTo>
                    <a:lnTo>
                      <a:pt x="310" y="2514"/>
                    </a:lnTo>
                    <a:lnTo>
                      <a:pt x="314" y="2522"/>
                    </a:lnTo>
                    <a:lnTo>
                      <a:pt x="314" y="2530"/>
                    </a:lnTo>
                    <a:lnTo>
                      <a:pt x="314" y="2540"/>
                    </a:lnTo>
                    <a:lnTo>
                      <a:pt x="312" y="2552"/>
                    </a:lnTo>
                    <a:lnTo>
                      <a:pt x="314" y="2560"/>
                    </a:lnTo>
                    <a:lnTo>
                      <a:pt x="318" y="2572"/>
                    </a:lnTo>
                    <a:lnTo>
                      <a:pt x="320" y="2576"/>
                    </a:lnTo>
                    <a:lnTo>
                      <a:pt x="322" y="2584"/>
                    </a:lnTo>
                    <a:lnTo>
                      <a:pt x="324" y="2594"/>
                    </a:lnTo>
                    <a:lnTo>
                      <a:pt x="322" y="2606"/>
                    </a:lnTo>
                    <a:lnTo>
                      <a:pt x="320" y="2618"/>
                    </a:lnTo>
                    <a:lnTo>
                      <a:pt x="316" y="2624"/>
                    </a:lnTo>
                    <a:lnTo>
                      <a:pt x="314" y="2626"/>
                    </a:lnTo>
                    <a:lnTo>
                      <a:pt x="310" y="2626"/>
                    </a:lnTo>
                    <a:lnTo>
                      <a:pt x="308" y="2626"/>
                    </a:lnTo>
                    <a:lnTo>
                      <a:pt x="306" y="2628"/>
                    </a:lnTo>
                    <a:lnTo>
                      <a:pt x="304" y="2632"/>
                    </a:lnTo>
                    <a:lnTo>
                      <a:pt x="304" y="2642"/>
                    </a:lnTo>
                    <a:lnTo>
                      <a:pt x="302" y="2658"/>
                    </a:lnTo>
                    <a:lnTo>
                      <a:pt x="298" y="2670"/>
                    </a:lnTo>
                    <a:lnTo>
                      <a:pt x="294" y="2686"/>
                    </a:lnTo>
                    <a:lnTo>
                      <a:pt x="292" y="2692"/>
                    </a:lnTo>
                    <a:lnTo>
                      <a:pt x="292" y="2696"/>
                    </a:lnTo>
                    <a:lnTo>
                      <a:pt x="294" y="2704"/>
                    </a:lnTo>
                    <a:lnTo>
                      <a:pt x="298" y="2712"/>
                    </a:lnTo>
                    <a:lnTo>
                      <a:pt x="302" y="2722"/>
                    </a:lnTo>
                    <a:lnTo>
                      <a:pt x="308" y="2728"/>
                    </a:lnTo>
                    <a:lnTo>
                      <a:pt x="312" y="2732"/>
                    </a:lnTo>
                    <a:lnTo>
                      <a:pt x="316" y="2734"/>
                    </a:lnTo>
                    <a:lnTo>
                      <a:pt x="320" y="2734"/>
                    </a:lnTo>
                    <a:lnTo>
                      <a:pt x="324" y="2732"/>
                    </a:lnTo>
                    <a:lnTo>
                      <a:pt x="328" y="2728"/>
                    </a:lnTo>
                    <a:lnTo>
                      <a:pt x="330" y="2724"/>
                    </a:lnTo>
                    <a:lnTo>
                      <a:pt x="334" y="2716"/>
                    </a:lnTo>
                    <a:lnTo>
                      <a:pt x="336" y="2716"/>
                    </a:lnTo>
                    <a:lnTo>
                      <a:pt x="338" y="2718"/>
                    </a:lnTo>
                    <a:lnTo>
                      <a:pt x="342" y="2722"/>
                    </a:lnTo>
                    <a:lnTo>
                      <a:pt x="346" y="2726"/>
                    </a:lnTo>
                    <a:lnTo>
                      <a:pt x="348" y="2728"/>
                    </a:lnTo>
                    <a:lnTo>
                      <a:pt x="350" y="2730"/>
                    </a:lnTo>
                    <a:lnTo>
                      <a:pt x="350" y="2732"/>
                    </a:lnTo>
                    <a:lnTo>
                      <a:pt x="344" y="2738"/>
                    </a:lnTo>
                    <a:lnTo>
                      <a:pt x="340" y="2744"/>
                    </a:lnTo>
                    <a:lnTo>
                      <a:pt x="340" y="2746"/>
                    </a:lnTo>
                    <a:lnTo>
                      <a:pt x="344" y="2746"/>
                    </a:lnTo>
                    <a:lnTo>
                      <a:pt x="350" y="2748"/>
                    </a:lnTo>
                    <a:lnTo>
                      <a:pt x="354" y="2752"/>
                    </a:lnTo>
                    <a:lnTo>
                      <a:pt x="356" y="2754"/>
                    </a:lnTo>
                    <a:lnTo>
                      <a:pt x="356" y="2760"/>
                    </a:lnTo>
                    <a:lnTo>
                      <a:pt x="356" y="2766"/>
                    </a:lnTo>
                    <a:lnTo>
                      <a:pt x="354" y="2766"/>
                    </a:lnTo>
                    <a:lnTo>
                      <a:pt x="352" y="2764"/>
                    </a:lnTo>
                    <a:lnTo>
                      <a:pt x="348" y="2758"/>
                    </a:lnTo>
                    <a:lnTo>
                      <a:pt x="344" y="2758"/>
                    </a:lnTo>
                    <a:lnTo>
                      <a:pt x="342" y="2760"/>
                    </a:lnTo>
                    <a:lnTo>
                      <a:pt x="342" y="2766"/>
                    </a:lnTo>
                    <a:lnTo>
                      <a:pt x="342" y="2774"/>
                    </a:lnTo>
                    <a:lnTo>
                      <a:pt x="342" y="2778"/>
                    </a:lnTo>
                    <a:lnTo>
                      <a:pt x="340" y="2782"/>
                    </a:lnTo>
                    <a:lnTo>
                      <a:pt x="342" y="2792"/>
                    </a:lnTo>
                    <a:lnTo>
                      <a:pt x="342" y="2798"/>
                    </a:lnTo>
                    <a:lnTo>
                      <a:pt x="342" y="2804"/>
                    </a:lnTo>
                    <a:lnTo>
                      <a:pt x="336" y="2812"/>
                    </a:lnTo>
                    <a:lnTo>
                      <a:pt x="330" y="2820"/>
                    </a:lnTo>
                    <a:lnTo>
                      <a:pt x="330" y="2824"/>
                    </a:lnTo>
                    <a:lnTo>
                      <a:pt x="330" y="2830"/>
                    </a:lnTo>
                    <a:lnTo>
                      <a:pt x="334" y="2840"/>
                    </a:lnTo>
                    <a:lnTo>
                      <a:pt x="332" y="2852"/>
                    </a:lnTo>
                    <a:lnTo>
                      <a:pt x="330" y="2860"/>
                    </a:lnTo>
                    <a:lnTo>
                      <a:pt x="326" y="2864"/>
                    </a:lnTo>
                    <a:lnTo>
                      <a:pt x="324" y="2866"/>
                    </a:lnTo>
                    <a:lnTo>
                      <a:pt x="324" y="2870"/>
                    </a:lnTo>
                    <a:lnTo>
                      <a:pt x="330" y="2872"/>
                    </a:lnTo>
                    <a:lnTo>
                      <a:pt x="336" y="2874"/>
                    </a:lnTo>
                    <a:lnTo>
                      <a:pt x="344" y="2878"/>
                    </a:lnTo>
                    <a:lnTo>
                      <a:pt x="346" y="2882"/>
                    </a:lnTo>
                    <a:lnTo>
                      <a:pt x="348" y="2890"/>
                    </a:lnTo>
                    <a:lnTo>
                      <a:pt x="346" y="2896"/>
                    </a:lnTo>
                    <a:lnTo>
                      <a:pt x="342" y="2904"/>
                    </a:lnTo>
                    <a:lnTo>
                      <a:pt x="338" y="2908"/>
                    </a:lnTo>
                    <a:lnTo>
                      <a:pt x="332" y="2912"/>
                    </a:lnTo>
                    <a:lnTo>
                      <a:pt x="326" y="2916"/>
                    </a:lnTo>
                    <a:lnTo>
                      <a:pt x="320" y="2918"/>
                    </a:lnTo>
                    <a:lnTo>
                      <a:pt x="318" y="2922"/>
                    </a:lnTo>
                    <a:lnTo>
                      <a:pt x="320" y="2926"/>
                    </a:lnTo>
                    <a:lnTo>
                      <a:pt x="322" y="2930"/>
                    </a:lnTo>
                    <a:lnTo>
                      <a:pt x="322" y="2932"/>
                    </a:lnTo>
                    <a:lnTo>
                      <a:pt x="320" y="2936"/>
                    </a:lnTo>
                    <a:lnTo>
                      <a:pt x="316" y="2940"/>
                    </a:lnTo>
                    <a:lnTo>
                      <a:pt x="312" y="2946"/>
                    </a:lnTo>
                    <a:lnTo>
                      <a:pt x="312" y="2954"/>
                    </a:lnTo>
                    <a:lnTo>
                      <a:pt x="312" y="2956"/>
                    </a:lnTo>
                    <a:lnTo>
                      <a:pt x="312" y="2962"/>
                    </a:lnTo>
                    <a:lnTo>
                      <a:pt x="310" y="2974"/>
                    </a:lnTo>
                    <a:lnTo>
                      <a:pt x="308" y="2986"/>
                    </a:lnTo>
                    <a:lnTo>
                      <a:pt x="308" y="2994"/>
                    </a:lnTo>
                    <a:lnTo>
                      <a:pt x="306" y="3000"/>
                    </a:lnTo>
                    <a:lnTo>
                      <a:pt x="300" y="3006"/>
                    </a:lnTo>
                    <a:lnTo>
                      <a:pt x="298" y="3006"/>
                    </a:lnTo>
                    <a:lnTo>
                      <a:pt x="296" y="3006"/>
                    </a:lnTo>
                    <a:lnTo>
                      <a:pt x="298" y="2998"/>
                    </a:lnTo>
                    <a:lnTo>
                      <a:pt x="300" y="2988"/>
                    </a:lnTo>
                    <a:lnTo>
                      <a:pt x="300" y="2984"/>
                    </a:lnTo>
                    <a:lnTo>
                      <a:pt x="296" y="2980"/>
                    </a:lnTo>
                    <a:lnTo>
                      <a:pt x="292" y="2978"/>
                    </a:lnTo>
                    <a:lnTo>
                      <a:pt x="290" y="2974"/>
                    </a:lnTo>
                    <a:lnTo>
                      <a:pt x="290" y="2968"/>
                    </a:lnTo>
                    <a:lnTo>
                      <a:pt x="290" y="2964"/>
                    </a:lnTo>
                    <a:lnTo>
                      <a:pt x="288" y="2962"/>
                    </a:lnTo>
                    <a:lnTo>
                      <a:pt x="282" y="2962"/>
                    </a:lnTo>
                    <a:lnTo>
                      <a:pt x="276" y="2962"/>
                    </a:lnTo>
                    <a:lnTo>
                      <a:pt x="274" y="2964"/>
                    </a:lnTo>
                    <a:lnTo>
                      <a:pt x="274" y="2966"/>
                    </a:lnTo>
                    <a:lnTo>
                      <a:pt x="270" y="2964"/>
                    </a:lnTo>
                    <a:lnTo>
                      <a:pt x="268" y="2964"/>
                    </a:lnTo>
                    <a:lnTo>
                      <a:pt x="266" y="2964"/>
                    </a:lnTo>
                    <a:lnTo>
                      <a:pt x="266" y="2968"/>
                    </a:lnTo>
                    <a:lnTo>
                      <a:pt x="266" y="2972"/>
                    </a:lnTo>
                    <a:lnTo>
                      <a:pt x="264" y="2976"/>
                    </a:lnTo>
                    <a:lnTo>
                      <a:pt x="260" y="2980"/>
                    </a:lnTo>
                    <a:lnTo>
                      <a:pt x="254" y="2986"/>
                    </a:lnTo>
                    <a:lnTo>
                      <a:pt x="238" y="2994"/>
                    </a:lnTo>
                    <a:lnTo>
                      <a:pt x="228" y="3004"/>
                    </a:lnTo>
                    <a:lnTo>
                      <a:pt x="226" y="3008"/>
                    </a:lnTo>
                    <a:lnTo>
                      <a:pt x="224" y="3012"/>
                    </a:lnTo>
                    <a:lnTo>
                      <a:pt x="224" y="3016"/>
                    </a:lnTo>
                    <a:lnTo>
                      <a:pt x="226" y="3020"/>
                    </a:lnTo>
                    <a:lnTo>
                      <a:pt x="232" y="3026"/>
                    </a:lnTo>
                    <a:lnTo>
                      <a:pt x="236" y="3026"/>
                    </a:lnTo>
                    <a:lnTo>
                      <a:pt x="236" y="3024"/>
                    </a:lnTo>
                    <a:lnTo>
                      <a:pt x="238" y="3016"/>
                    </a:lnTo>
                    <a:lnTo>
                      <a:pt x="238" y="3010"/>
                    </a:lnTo>
                    <a:lnTo>
                      <a:pt x="242" y="3006"/>
                    </a:lnTo>
                    <a:lnTo>
                      <a:pt x="244" y="3006"/>
                    </a:lnTo>
                    <a:lnTo>
                      <a:pt x="248" y="3006"/>
                    </a:lnTo>
                    <a:lnTo>
                      <a:pt x="252" y="3012"/>
                    </a:lnTo>
                    <a:lnTo>
                      <a:pt x="256" y="3018"/>
                    </a:lnTo>
                    <a:lnTo>
                      <a:pt x="264" y="3022"/>
                    </a:lnTo>
                    <a:lnTo>
                      <a:pt x="272" y="3024"/>
                    </a:lnTo>
                    <a:lnTo>
                      <a:pt x="274" y="3022"/>
                    </a:lnTo>
                    <a:lnTo>
                      <a:pt x="274" y="3020"/>
                    </a:lnTo>
                    <a:lnTo>
                      <a:pt x="276" y="3016"/>
                    </a:lnTo>
                    <a:lnTo>
                      <a:pt x="278" y="3016"/>
                    </a:lnTo>
                    <a:lnTo>
                      <a:pt x="282" y="3018"/>
                    </a:lnTo>
                    <a:lnTo>
                      <a:pt x="286" y="3024"/>
                    </a:lnTo>
                    <a:lnTo>
                      <a:pt x="290" y="3026"/>
                    </a:lnTo>
                    <a:lnTo>
                      <a:pt x="292" y="3028"/>
                    </a:lnTo>
                    <a:lnTo>
                      <a:pt x="296" y="3030"/>
                    </a:lnTo>
                    <a:lnTo>
                      <a:pt x="296" y="3036"/>
                    </a:lnTo>
                    <a:lnTo>
                      <a:pt x="294" y="3040"/>
                    </a:lnTo>
                    <a:lnTo>
                      <a:pt x="292" y="3040"/>
                    </a:lnTo>
                    <a:lnTo>
                      <a:pt x="286" y="3042"/>
                    </a:lnTo>
                    <a:lnTo>
                      <a:pt x="280" y="3042"/>
                    </a:lnTo>
                    <a:lnTo>
                      <a:pt x="278" y="3044"/>
                    </a:lnTo>
                    <a:lnTo>
                      <a:pt x="276" y="3048"/>
                    </a:lnTo>
                    <a:lnTo>
                      <a:pt x="274" y="3054"/>
                    </a:lnTo>
                    <a:lnTo>
                      <a:pt x="274" y="3056"/>
                    </a:lnTo>
                    <a:lnTo>
                      <a:pt x="280" y="3062"/>
                    </a:lnTo>
                    <a:lnTo>
                      <a:pt x="284" y="3064"/>
                    </a:lnTo>
                    <a:lnTo>
                      <a:pt x="282" y="3064"/>
                    </a:lnTo>
                    <a:lnTo>
                      <a:pt x="272" y="3062"/>
                    </a:lnTo>
                    <a:lnTo>
                      <a:pt x="270" y="3062"/>
                    </a:lnTo>
                    <a:lnTo>
                      <a:pt x="268" y="3066"/>
                    </a:lnTo>
                    <a:lnTo>
                      <a:pt x="266" y="3072"/>
                    </a:lnTo>
                    <a:lnTo>
                      <a:pt x="268" y="3074"/>
                    </a:lnTo>
                    <a:lnTo>
                      <a:pt x="272" y="3074"/>
                    </a:lnTo>
                    <a:lnTo>
                      <a:pt x="282" y="3074"/>
                    </a:lnTo>
                    <a:lnTo>
                      <a:pt x="290" y="3074"/>
                    </a:lnTo>
                    <a:lnTo>
                      <a:pt x="296" y="3076"/>
                    </a:lnTo>
                    <a:lnTo>
                      <a:pt x="300" y="3078"/>
                    </a:lnTo>
                    <a:lnTo>
                      <a:pt x="302" y="3078"/>
                    </a:lnTo>
                    <a:lnTo>
                      <a:pt x="302" y="3074"/>
                    </a:lnTo>
                    <a:lnTo>
                      <a:pt x="304" y="3072"/>
                    </a:lnTo>
                    <a:lnTo>
                      <a:pt x="306" y="3072"/>
                    </a:lnTo>
                    <a:lnTo>
                      <a:pt x="310" y="3076"/>
                    </a:lnTo>
                    <a:lnTo>
                      <a:pt x="312" y="3080"/>
                    </a:lnTo>
                    <a:lnTo>
                      <a:pt x="312" y="3082"/>
                    </a:lnTo>
                    <a:lnTo>
                      <a:pt x="310" y="3084"/>
                    </a:lnTo>
                    <a:lnTo>
                      <a:pt x="308" y="3086"/>
                    </a:lnTo>
                    <a:lnTo>
                      <a:pt x="310" y="3088"/>
                    </a:lnTo>
                    <a:lnTo>
                      <a:pt x="314" y="3096"/>
                    </a:lnTo>
                    <a:lnTo>
                      <a:pt x="318" y="3100"/>
                    </a:lnTo>
                    <a:lnTo>
                      <a:pt x="318" y="3102"/>
                    </a:lnTo>
                    <a:lnTo>
                      <a:pt x="314" y="3100"/>
                    </a:lnTo>
                    <a:lnTo>
                      <a:pt x="300" y="3090"/>
                    </a:lnTo>
                    <a:lnTo>
                      <a:pt x="294" y="3088"/>
                    </a:lnTo>
                    <a:lnTo>
                      <a:pt x="286" y="3088"/>
                    </a:lnTo>
                    <a:lnTo>
                      <a:pt x="272" y="3086"/>
                    </a:lnTo>
                    <a:lnTo>
                      <a:pt x="268" y="3088"/>
                    </a:lnTo>
                    <a:lnTo>
                      <a:pt x="266" y="3088"/>
                    </a:lnTo>
                    <a:lnTo>
                      <a:pt x="268" y="3090"/>
                    </a:lnTo>
                    <a:lnTo>
                      <a:pt x="270" y="3092"/>
                    </a:lnTo>
                    <a:lnTo>
                      <a:pt x="272" y="3092"/>
                    </a:lnTo>
                    <a:lnTo>
                      <a:pt x="274" y="3092"/>
                    </a:lnTo>
                    <a:lnTo>
                      <a:pt x="276" y="3096"/>
                    </a:lnTo>
                    <a:lnTo>
                      <a:pt x="278" y="3100"/>
                    </a:lnTo>
                    <a:lnTo>
                      <a:pt x="282" y="3104"/>
                    </a:lnTo>
                    <a:lnTo>
                      <a:pt x="292" y="3110"/>
                    </a:lnTo>
                    <a:lnTo>
                      <a:pt x="294" y="3112"/>
                    </a:lnTo>
                    <a:lnTo>
                      <a:pt x="294" y="3114"/>
                    </a:lnTo>
                    <a:lnTo>
                      <a:pt x="294" y="3116"/>
                    </a:lnTo>
                    <a:lnTo>
                      <a:pt x="294" y="3120"/>
                    </a:lnTo>
                    <a:lnTo>
                      <a:pt x="292" y="3120"/>
                    </a:lnTo>
                    <a:lnTo>
                      <a:pt x="288" y="3118"/>
                    </a:lnTo>
                    <a:lnTo>
                      <a:pt x="284" y="3116"/>
                    </a:lnTo>
                    <a:lnTo>
                      <a:pt x="280" y="3116"/>
                    </a:lnTo>
                    <a:lnTo>
                      <a:pt x="280" y="3120"/>
                    </a:lnTo>
                    <a:lnTo>
                      <a:pt x="276" y="3132"/>
                    </a:lnTo>
                    <a:lnTo>
                      <a:pt x="276" y="3138"/>
                    </a:lnTo>
                    <a:lnTo>
                      <a:pt x="276" y="3148"/>
                    </a:lnTo>
                    <a:lnTo>
                      <a:pt x="278" y="3168"/>
                    </a:lnTo>
                    <a:lnTo>
                      <a:pt x="280" y="3174"/>
                    </a:lnTo>
                    <a:lnTo>
                      <a:pt x="282" y="3178"/>
                    </a:lnTo>
                    <a:lnTo>
                      <a:pt x="284" y="3178"/>
                    </a:lnTo>
                    <a:lnTo>
                      <a:pt x="284" y="3176"/>
                    </a:lnTo>
                    <a:lnTo>
                      <a:pt x="286" y="3168"/>
                    </a:lnTo>
                    <a:lnTo>
                      <a:pt x="288" y="3160"/>
                    </a:lnTo>
                    <a:lnTo>
                      <a:pt x="290" y="3156"/>
                    </a:lnTo>
                    <a:lnTo>
                      <a:pt x="292" y="3154"/>
                    </a:lnTo>
                    <a:lnTo>
                      <a:pt x="292" y="3158"/>
                    </a:lnTo>
                    <a:lnTo>
                      <a:pt x="292" y="3164"/>
                    </a:lnTo>
                    <a:lnTo>
                      <a:pt x="292" y="3170"/>
                    </a:lnTo>
                    <a:lnTo>
                      <a:pt x="294" y="3176"/>
                    </a:lnTo>
                    <a:lnTo>
                      <a:pt x="298" y="3182"/>
                    </a:lnTo>
                    <a:lnTo>
                      <a:pt x="300" y="3184"/>
                    </a:lnTo>
                    <a:lnTo>
                      <a:pt x="296" y="3182"/>
                    </a:lnTo>
                    <a:lnTo>
                      <a:pt x="290" y="3180"/>
                    </a:lnTo>
                    <a:lnTo>
                      <a:pt x="284" y="3182"/>
                    </a:lnTo>
                    <a:lnTo>
                      <a:pt x="280" y="3184"/>
                    </a:lnTo>
                    <a:lnTo>
                      <a:pt x="280" y="3186"/>
                    </a:lnTo>
                    <a:lnTo>
                      <a:pt x="282" y="3188"/>
                    </a:lnTo>
                    <a:lnTo>
                      <a:pt x="282" y="3190"/>
                    </a:lnTo>
                    <a:lnTo>
                      <a:pt x="280" y="3192"/>
                    </a:lnTo>
                    <a:lnTo>
                      <a:pt x="280" y="3194"/>
                    </a:lnTo>
                    <a:lnTo>
                      <a:pt x="284" y="3198"/>
                    </a:lnTo>
                    <a:lnTo>
                      <a:pt x="296" y="3206"/>
                    </a:lnTo>
                    <a:lnTo>
                      <a:pt x="294" y="3206"/>
                    </a:lnTo>
                    <a:lnTo>
                      <a:pt x="288" y="3206"/>
                    </a:lnTo>
                    <a:lnTo>
                      <a:pt x="280" y="3204"/>
                    </a:lnTo>
                    <a:lnTo>
                      <a:pt x="278" y="3204"/>
                    </a:lnTo>
                    <a:lnTo>
                      <a:pt x="280" y="3206"/>
                    </a:lnTo>
                    <a:lnTo>
                      <a:pt x="288" y="3216"/>
                    </a:lnTo>
                    <a:lnTo>
                      <a:pt x="290" y="3220"/>
                    </a:lnTo>
                    <a:lnTo>
                      <a:pt x="280" y="3214"/>
                    </a:lnTo>
                    <a:lnTo>
                      <a:pt x="274" y="3212"/>
                    </a:lnTo>
                    <a:lnTo>
                      <a:pt x="268" y="3212"/>
                    </a:lnTo>
                    <a:lnTo>
                      <a:pt x="264" y="3214"/>
                    </a:lnTo>
                    <a:lnTo>
                      <a:pt x="264" y="3216"/>
                    </a:lnTo>
                    <a:lnTo>
                      <a:pt x="268" y="3218"/>
                    </a:lnTo>
                    <a:lnTo>
                      <a:pt x="272" y="3220"/>
                    </a:lnTo>
                    <a:lnTo>
                      <a:pt x="274" y="3224"/>
                    </a:lnTo>
                    <a:lnTo>
                      <a:pt x="274" y="3226"/>
                    </a:lnTo>
                    <a:lnTo>
                      <a:pt x="278" y="3228"/>
                    </a:lnTo>
                    <a:lnTo>
                      <a:pt x="282" y="3230"/>
                    </a:lnTo>
                    <a:lnTo>
                      <a:pt x="284" y="3230"/>
                    </a:lnTo>
                    <a:lnTo>
                      <a:pt x="288" y="3230"/>
                    </a:lnTo>
                    <a:lnTo>
                      <a:pt x="292" y="3234"/>
                    </a:lnTo>
                    <a:lnTo>
                      <a:pt x="296" y="3236"/>
                    </a:lnTo>
                    <a:lnTo>
                      <a:pt x="296" y="3238"/>
                    </a:lnTo>
                    <a:lnTo>
                      <a:pt x="288" y="3236"/>
                    </a:lnTo>
                    <a:lnTo>
                      <a:pt x="284" y="3236"/>
                    </a:lnTo>
                    <a:lnTo>
                      <a:pt x="284" y="3238"/>
                    </a:lnTo>
                    <a:lnTo>
                      <a:pt x="288" y="3248"/>
                    </a:lnTo>
                    <a:lnTo>
                      <a:pt x="290" y="3252"/>
                    </a:lnTo>
                    <a:lnTo>
                      <a:pt x="294" y="3252"/>
                    </a:lnTo>
                    <a:lnTo>
                      <a:pt x="298" y="3250"/>
                    </a:lnTo>
                    <a:lnTo>
                      <a:pt x="302" y="3240"/>
                    </a:lnTo>
                    <a:lnTo>
                      <a:pt x="306" y="3234"/>
                    </a:lnTo>
                    <a:lnTo>
                      <a:pt x="308" y="3232"/>
                    </a:lnTo>
                    <a:lnTo>
                      <a:pt x="308" y="3234"/>
                    </a:lnTo>
                    <a:lnTo>
                      <a:pt x="306" y="3242"/>
                    </a:lnTo>
                    <a:lnTo>
                      <a:pt x="300" y="3256"/>
                    </a:lnTo>
                    <a:lnTo>
                      <a:pt x="296" y="3258"/>
                    </a:lnTo>
                    <a:lnTo>
                      <a:pt x="292" y="3258"/>
                    </a:lnTo>
                    <a:lnTo>
                      <a:pt x="288" y="3258"/>
                    </a:lnTo>
                    <a:lnTo>
                      <a:pt x="286" y="3258"/>
                    </a:lnTo>
                    <a:lnTo>
                      <a:pt x="284" y="3260"/>
                    </a:lnTo>
                    <a:lnTo>
                      <a:pt x="284" y="3264"/>
                    </a:lnTo>
                    <a:lnTo>
                      <a:pt x="286" y="3266"/>
                    </a:lnTo>
                    <a:lnTo>
                      <a:pt x="288" y="3268"/>
                    </a:lnTo>
                    <a:lnTo>
                      <a:pt x="288" y="3272"/>
                    </a:lnTo>
                    <a:lnTo>
                      <a:pt x="288" y="3276"/>
                    </a:lnTo>
                    <a:lnTo>
                      <a:pt x="290" y="3276"/>
                    </a:lnTo>
                    <a:lnTo>
                      <a:pt x="292" y="3276"/>
                    </a:lnTo>
                    <a:lnTo>
                      <a:pt x="296" y="3276"/>
                    </a:lnTo>
                    <a:lnTo>
                      <a:pt x="302" y="3278"/>
                    </a:lnTo>
                    <a:lnTo>
                      <a:pt x="306" y="3286"/>
                    </a:lnTo>
                    <a:lnTo>
                      <a:pt x="308" y="3294"/>
                    </a:lnTo>
                    <a:lnTo>
                      <a:pt x="308" y="3298"/>
                    </a:lnTo>
                    <a:lnTo>
                      <a:pt x="306" y="3298"/>
                    </a:lnTo>
                    <a:lnTo>
                      <a:pt x="302" y="3294"/>
                    </a:lnTo>
                    <a:lnTo>
                      <a:pt x="298" y="3288"/>
                    </a:lnTo>
                    <a:lnTo>
                      <a:pt x="296" y="3288"/>
                    </a:lnTo>
                    <a:lnTo>
                      <a:pt x="296" y="3290"/>
                    </a:lnTo>
                    <a:lnTo>
                      <a:pt x="296" y="3294"/>
                    </a:lnTo>
                    <a:lnTo>
                      <a:pt x="298" y="3298"/>
                    </a:lnTo>
                    <a:lnTo>
                      <a:pt x="298" y="3302"/>
                    </a:lnTo>
                    <a:lnTo>
                      <a:pt x="298" y="3304"/>
                    </a:lnTo>
                    <a:lnTo>
                      <a:pt x="300" y="3308"/>
                    </a:lnTo>
                    <a:lnTo>
                      <a:pt x="302" y="3310"/>
                    </a:lnTo>
                    <a:lnTo>
                      <a:pt x="306" y="3308"/>
                    </a:lnTo>
                    <a:lnTo>
                      <a:pt x="308" y="3306"/>
                    </a:lnTo>
                    <a:lnTo>
                      <a:pt x="310" y="3308"/>
                    </a:lnTo>
                    <a:lnTo>
                      <a:pt x="312" y="3310"/>
                    </a:lnTo>
                    <a:lnTo>
                      <a:pt x="314" y="3318"/>
                    </a:lnTo>
                    <a:lnTo>
                      <a:pt x="310" y="3316"/>
                    </a:lnTo>
                    <a:lnTo>
                      <a:pt x="308" y="3316"/>
                    </a:lnTo>
                    <a:lnTo>
                      <a:pt x="308" y="3318"/>
                    </a:lnTo>
                    <a:lnTo>
                      <a:pt x="312" y="3326"/>
                    </a:lnTo>
                    <a:lnTo>
                      <a:pt x="318" y="3332"/>
                    </a:lnTo>
                    <a:lnTo>
                      <a:pt x="322" y="3332"/>
                    </a:lnTo>
                    <a:lnTo>
                      <a:pt x="324" y="3332"/>
                    </a:lnTo>
                    <a:lnTo>
                      <a:pt x="326" y="3322"/>
                    </a:lnTo>
                    <a:lnTo>
                      <a:pt x="330" y="3318"/>
                    </a:lnTo>
                    <a:lnTo>
                      <a:pt x="332" y="3316"/>
                    </a:lnTo>
                    <a:lnTo>
                      <a:pt x="334" y="3314"/>
                    </a:lnTo>
                    <a:lnTo>
                      <a:pt x="334" y="3312"/>
                    </a:lnTo>
                    <a:lnTo>
                      <a:pt x="334" y="3310"/>
                    </a:lnTo>
                    <a:lnTo>
                      <a:pt x="342" y="3312"/>
                    </a:lnTo>
                    <a:lnTo>
                      <a:pt x="348" y="3312"/>
                    </a:lnTo>
                    <a:lnTo>
                      <a:pt x="350" y="3312"/>
                    </a:lnTo>
                    <a:lnTo>
                      <a:pt x="350" y="3310"/>
                    </a:lnTo>
                    <a:lnTo>
                      <a:pt x="344" y="3304"/>
                    </a:lnTo>
                    <a:lnTo>
                      <a:pt x="334" y="3300"/>
                    </a:lnTo>
                    <a:lnTo>
                      <a:pt x="326" y="3294"/>
                    </a:lnTo>
                    <a:lnTo>
                      <a:pt x="324" y="3292"/>
                    </a:lnTo>
                    <a:lnTo>
                      <a:pt x="328" y="3290"/>
                    </a:lnTo>
                    <a:lnTo>
                      <a:pt x="336" y="3294"/>
                    </a:lnTo>
                    <a:lnTo>
                      <a:pt x="350" y="3302"/>
                    </a:lnTo>
                    <a:lnTo>
                      <a:pt x="354" y="3308"/>
                    </a:lnTo>
                    <a:lnTo>
                      <a:pt x="354" y="3314"/>
                    </a:lnTo>
                    <a:lnTo>
                      <a:pt x="352" y="3320"/>
                    </a:lnTo>
                    <a:lnTo>
                      <a:pt x="350" y="3322"/>
                    </a:lnTo>
                    <a:lnTo>
                      <a:pt x="348" y="3324"/>
                    </a:lnTo>
                    <a:lnTo>
                      <a:pt x="350" y="3330"/>
                    </a:lnTo>
                    <a:lnTo>
                      <a:pt x="352" y="3332"/>
                    </a:lnTo>
                    <a:lnTo>
                      <a:pt x="348" y="3328"/>
                    </a:lnTo>
                    <a:lnTo>
                      <a:pt x="342" y="3322"/>
                    </a:lnTo>
                    <a:lnTo>
                      <a:pt x="340" y="3322"/>
                    </a:lnTo>
                    <a:lnTo>
                      <a:pt x="338" y="3326"/>
                    </a:lnTo>
                    <a:lnTo>
                      <a:pt x="334" y="3336"/>
                    </a:lnTo>
                    <a:lnTo>
                      <a:pt x="332" y="3334"/>
                    </a:lnTo>
                    <a:lnTo>
                      <a:pt x="332" y="3330"/>
                    </a:lnTo>
                    <a:lnTo>
                      <a:pt x="330" y="3332"/>
                    </a:lnTo>
                    <a:lnTo>
                      <a:pt x="324" y="3338"/>
                    </a:lnTo>
                    <a:lnTo>
                      <a:pt x="322" y="3340"/>
                    </a:lnTo>
                    <a:lnTo>
                      <a:pt x="320" y="3340"/>
                    </a:lnTo>
                    <a:lnTo>
                      <a:pt x="316" y="3336"/>
                    </a:lnTo>
                    <a:lnTo>
                      <a:pt x="310" y="3330"/>
                    </a:lnTo>
                    <a:lnTo>
                      <a:pt x="306" y="3328"/>
                    </a:lnTo>
                    <a:lnTo>
                      <a:pt x="304" y="3328"/>
                    </a:lnTo>
                    <a:lnTo>
                      <a:pt x="306" y="3332"/>
                    </a:lnTo>
                    <a:lnTo>
                      <a:pt x="310" y="3336"/>
                    </a:lnTo>
                    <a:lnTo>
                      <a:pt x="310" y="3340"/>
                    </a:lnTo>
                    <a:lnTo>
                      <a:pt x="308" y="3344"/>
                    </a:lnTo>
                    <a:lnTo>
                      <a:pt x="306" y="3350"/>
                    </a:lnTo>
                    <a:lnTo>
                      <a:pt x="308" y="3350"/>
                    </a:lnTo>
                    <a:lnTo>
                      <a:pt x="312" y="3352"/>
                    </a:lnTo>
                    <a:lnTo>
                      <a:pt x="310" y="3356"/>
                    </a:lnTo>
                    <a:lnTo>
                      <a:pt x="306" y="3364"/>
                    </a:lnTo>
                    <a:lnTo>
                      <a:pt x="306" y="3368"/>
                    </a:lnTo>
                    <a:lnTo>
                      <a:pt x="306" y="3370"/>
                    </a:lnTo>
                    <a:lnTo>
                      <a:pt x="308" y="3370"/>
                    </a:lnTo>
                    <a:lnTo>
                      <a:pt x="314" y="3366"/>
                    </a:lnTo>
                    <a:lnTo>
                      <a:pt x="316" y="3364"/>
                    </a:lnTo>
                    <a:lnTo>
                      <a:pt x="320" y="3364"/>
                    </a:lnTo>
                    <a:lnTo>
                      <a:pt x="322" y="3366"/>
                    </a:lnTo>
                    <a:lnTo>
                      <a:pt x="324" y="3372"/>
                    </a:lnTo>
                    <a:lnTo>
                      <a:pt x="322" y="3374"/>
                    </a:lnTo>
                    <a:lnTo>
                      <a:pt x="320" y="3374"/>
                    </a:lnTo>
                    <a:lnTo>
                      <a:pt x="316" y="3374"/>
                    </a:lnTo>
                    <a:lnTo>
                      <a:pt x="322" y="3380"/>
                    </a:lnTo>
                    <a:lnTo>
                      <a:pt x="322" y="3382"/>
                    </a:lnTo>
                    <a:lnTo>
                      <a:pt x="318" y="3384"/>
                    </a:lnTo>
                    <a:lnTo>
                      <a:pt x="316" y="3386"/>
                    </a:lnTo>
                    <a:lnTo>
                      <a:pt x="320" y="3388"/>
                    </a:lnTo>
                    <a:lnTo>
                      <a:pt x="328" y="3390"/>
                    </a:lnTo>
                    <a:lnTo>
                      <a:pt x="332" y="3388"/>
                    </a:lnTo>
                    <a:lnTo>
                      <a:pt x="334" y="3384"/>
                    </a:lnTo>
                    <a:lnTo>
                      <a:pt x="334" y="3378"/>
                    </a:lnTo>
                    <a:lnTo>
                      <a:pt x="334" y="3376"/>
                    </a:lnTo>
                    <a:lnTo>
                      <a:pt x="336" y="3374"/>
                    </a:lnTo>
                    <a:lnTo>
                      <a:pt x="340" y="3370"/>
                    </a:lnTo>
                    <a:lnTo>
                      <a:pt x="344" y="3368"/>
                    </a:lnTo>
                    <a:lnTo>
                      <a:pt x="346" y="3366"/>
                    </a:lnTo>
                    <a:lnTo>
                      <a:pt x="346" y="3364"/>
                    </a:lnTo>
                    <a:lnTo>
                      <a:pt x="344" y="3362"/>
                    </a:lnTo>
                    <a:lnTo>
                      <a:pt x="340" y="3360"/>
                    </a:lnTo>
                    <a:lnTo>
                      <a:pt x="340" y="3358"/>
                    </a:lnTo>
                    <a:lnTo>
                      <a:pt x="344" y="3358"/>
                    </a:lnTo>
                    <a:lnTo>
                      <a:pt x="352" y="3358"/>
                    </a:lnTo>
                    <a:lnTo>
                      <a:pt x="354" y="3362"/>
                    </a:lnTo>
                    <a:lnTo>
                      <a:pt x="356" y="3362"/>
                    </a:lnTo>
                    <a:lnTo>
                      <a:pt x="360" y="3360"/>
                    </a:lnTo>
                    <a:lnTo>
                      <a:pt x="364" y="3358"/>
                    </a:lnTo>
                    <a:lnTo>
                      <a:pt x="368" y="3356"/>
                    </a:lnTo>
                    <a:lnTo>
                      <a:pt x="382" y="3356"/>
                    </a:lnTo>
                    <a:lnTo>
                      <a:pt x="392" y="3358"/>
                    </a:lnTo>
                    <a:lnTo>
                      <a:pt x="394" y="3360"/>
                    </a:lnTo>
                    <a:lnTo>
                      <a:pt x="396" y="3362"/>
                    </a:lnTo>
                    <a:lnTo>
                      <a:pt x="392" y="3366"/>
                    </a:lnTo>
                    <a:lnTo>
                      <a:pt x="386" y="3368"/>
                    </a:lnTo>
                    <a:lnTo>
                      <a:pt x="380" y="3366"/>
                    </a:lnTo>
                    <a:lnTo>
                      <a:pt x="372" y="3364"/>
                    </a:lnTo>
                    <a:lnTo>
                      <a:pt x="368" y="3364"/>
                    </a:lnTo>
                    <a:lnTo>
                      <a:pt x="366" y="3366"/>
                    </a:lnTo>
                    <a:lnTo>
                      <a:pt x="362" y="3370"/>
                    </a:lnTo>
                    <a:lnTo>
                      <a:pt x="358" y="3376"/>
                    </a:lnTo>
                    <a:lnTo>
                      <a:pt x="356" y="3376"/>
                    </a:lnTo>
                    <a:lnTo>
                      <a:pt x="354" y="3376"/>
                    </a:lnTo>
                    <a:lnTo>
                      <a:pt x="348" y="3372"/>
                    </a:lnTo>
                    <a:lnTo>
                      <a:pt x="342" y="3374"/>
                    </a:lnTo>
                    <a:lnTo>
                      <a:pt x="338" y="3378"/>
                    </a:lnTo>
                    <a:lnTo>
                      <a:pt x="338" y="3384"/>
                    </a:lnTo>
                    <a:lnTo>
                      <a:pt x="340" y="3388"/>
                    </a:lnTo>
                    <a:lnTo>
                      <a:pt x="338" y="3390"/>
                    </a:lnTo>
                    <a:lnTo>
                      <a:pt x="338" y="3392"/>
                    </a:lnTo>
                    <a:lnTo>
                      <a:pt x="340" y="3396"/>
                    </a:lnTo>
                    <a:lnTo>
                      <a:pt x="342" y="3398"/>
                    </a:lnTo>
                    <a:lnTo>
                      <a:pt x="340" y="3398"/>
                    </a:lnTo>
                    <a:lnTo>
                      <a:pt x="334" y="3396"/>
                    </a:lnTo>
                    <a:lnTo>
                      <a:pt x="326" y="3396"/>
                    </a:lnTo>
                    <a:lnTo>
                      <a:pt x="324" y="3396"/>
                    </a:lnTo>
                    <a:lnTo>
                      <a:pt x="324" y="3398"/>
                    </a:lnTo>
                    <a:lnTo>
                      <a:pt x="326" y="3402"/>
                    </a:lnTo>
                    <a:lnTo>
                      <a:pt x="342" y="3412"/>
                    </a:lnTo>
                    <a:lnTo>
                      <a:pt x="354" y="3418"/>
                    </a:lnTo>
                    <a:lnTo>
                      <a:pt x="356" y="3418"/>
                    </a:lnTo>
                    <a:lnTo>
                      <a:pt x="354" y="3412"/>
                    </a:lnTo>
                    <a:lnTo>
                      <a:pt x="352" y="3406"/>
                    </a:lnTo>
                    <a:lnTo>
                      <a:pt x="352" y="3402"/>
                    </a:lnTo>
                    <a:lnTo>
                      <a:pt x="358" y="3400"/>
                    </a:lnTo>
                    <a:lnTo>
                      <a:pt x="362" y="3398"/>
                    </a:lnTo>
                    <a:lnTo>
                      <a:pt x="364" y="3396"/>
                    </a:lnTo>
                    <a:lnTo>
                      <a:pt x="364" y="3394"/>
                    </a:lnTo>
                    <a:lnTo>
                      <a:pt x="360" y="3390"/>
                    </a:lnTo>
                    <a:lnTo>
                      <a:pt x="356" y="3388"/>
                    </a:lnTo>
                    <a:lnTo>
                      <a:pt x="362" y="3390"/>
                    </a:lnTo>
                    <a:lnTo>
                      <a:pt x="370" y="3392"/>
                    </a:lnTo>
                    <a:lnTo>
                      <a:pt x="374" y="3390"/>
                    </a:lnTo>
                    <a:lnTo>
                      <a:pt x="378" y="3386"/>
                    </a:lnTo>
                    <a:lnTo>
                      <a:pt x="384" y="3382"/>
                    </a:lnTo>
                    <a:lnTo>
                      <a:pt x="392" y="3378"/>
                    </a:lnTo>
                    <a:lnTo>
                      <a:pt x="396" y="3374"/>
                    </a:lnTo>
                    <a:lnTo>
                      <a:pt x="402" y="3372"/>
                    </a:lnTo>
                    <a:lnTo>
                      <a:pt x="406" y="3374"/>
                    </a:lnTo>
                    <a:lnTo>
                      <a:pt x="408" y="3376"/>
                    </a:lnTo>
                    <a:lnTo>
                      <a:pt x="408" y="3378"/>
                    </a:lnTo>
                    <a:lnTo>
                      <a:pt x="406" y="3384"/>
                    </a:lnTo>
                    <a:lnTo>
                      <a:pt x="398" y="3392"/>
                    </a:lnTo>
                    <a:lnTo>
                      <a:pt x="390" y="3396"/>
                    </a:lnTo>
                    <a:lnTo>
                      <a:pt x="384" y="3400"/>
                    </a:lnTo>
                    <a:lnTo>
                      <a:pt x="384" y="3402"/>
                    </a:lnTo>
                    <a:lnTo>
                      <a:pt x="382" y="3404"/>
                    </a:lnTo>
                    <a:lnTo>
                      <a:pt x="380" y="3402"/>
                    </a:lnTo>
                    <a:lnTo>
                      <a:pt x="376" y="3400"/>
                    </a:lnTo>
                    <a:lnTo>
                      <a:pt x="374" y="3402"/>
                    </a:lnTo>
                    <a:lnTo>
                      <a:pt x="374" y="3404"/>
                    </a:lnTo>
                    <a:lnTo>
                      <a:pt x="370" y="3402"/>
                    </a:lnTo>
                    <a:lnTo>
                      <a:pt x="362" y="3404"/>
                    </a:lnTo>
                    <a:lnTo>
                      <a:pt x="358" y="3406"/>
                    </a:lnTo>
                    <a:lnTo>
                      <a:pt x="356" y="3408"/>
                    </a:lnTo>
                    <a:lnTo>
                      <a:pt x="360" y="3414"/>
                    </a:lnTo>
                    <a:lnTo>
                      <a:pt x="366" y="3420"/>
                    </a:lnTo>
                    <a:lnTo>
                      <a:pt x="372" y="3426"/>
                    </a:lnTo>
                    <a:lnTo>
                      <a:pt x="378" y="3430"/>
                    </a:lnTo>
                    <a:lnTo>
                      <a:pt x="382" y="3432"/>
                    </a:lnTo>
                    <a:lnTo>
                      <a:pt x="386" y="3434"/>
                    </a:lnTo>
                    <a:lnTo>
                      <a:pt x="392" y="3438"/>
                    </a:lnTo>
                    <a:lnTo>
                      <a:pt x="402" y="3438"/>
                    </a:lnTo>
                    <a:lnTo>
                      <a:pt x="410" y="3436"/>
                    </a:lnTo>
                    <a:lnTo>
                      <a:pt x="414" y="3434"/>
                    </a:lnTo>
                    <a:lnTo>
                      <a:pt x="416" y="3426"/>
                    </a:lnTo>
                    <a:lnTo>
                      <a:pt x="416" y="3412"/>
                    </a:lnTo>
                    <a:lnTo>
                      <a:pt x="418" y="3400"/>
                    </a:lnTo>
                    <a:lnTo>
                      <a:pt x="420" y="3394"/>
                    </a:lnTo>
                    <a:lnTo>
                      <a:pt x="422" y="3388"/>
                    </a:lnTo>
                    <a:lnTo>
                      <a:pt x="424" y="3378"/>
                    </a:lnTo>
                    <a:lnTo>
                      <a:pt x="424" y="3372"/>
                    </a:lnTo>
                    <a:lnTo>
                      <a:pt x="426" y="3368"/>
                    </a:lnTo>
                    <a:lnTo>
                      <a:pt x="428" y="3366"/>
                    </a:lnTo>
                    <a:lnTo>
                      <a:pt x="432" y="3366"/>
                    </a:lnTo>
                    <a:lnTo>
                      <a:pt x="440" y="3364"/>
                    </a:lnTo>
                    <a:lnTo>
                      <a:pt x="444" y="3362"/>
                    </a:lnTo>
                    <a:lnTo>
                      <a:pt x="450" y="3358"/>
                    </a:lnTo>
                    <a:lnTo>
                      <a:pt x="454" y="3354"/>
                    </a:lnTo>
                    <a:lnTo>
                      <a:pt x="458" y="3354"/>
                    </a:lnTo>
                    <a:lnTo>
                      <a:pt x="462" y="3354"/>
                    </a:lnTo>
                    <a:lnTo>
                      <a:pt x="466" y="3356"/>
                    </a:lnTo>
                    <a:lnTo>
                      <a:pt x="470" y="3350"/>
                    </a:lnTo>
                    <a:lnTo>
                      <a:pt x="476" y="3342"/>
                    </a:lnTo>
                    <a:lnTo>
                      <a:pt x="480" y="3340"/>
                    </a:lnTo>
                    <a:lnTo>
                      <a:pt x="486" y="3340"/>
                    </a:lnTo>
                    <a:lnTo>
                      <a:pt x="496" y="3342"/>
                    </a:lnTo>
                    <a:lnTo>
                      <a:pt x="510" y="3344"/>
                    </a:lnTo>
                    <a:lnTo>
                      <a:pt x="518" y="3348"/>
                    </a:lnTo>
                    <a:lnTo>
                      <a:pt x="520" y="3346"/>
                    </a:lnTo>
                    <a:lnTo>
                      <a:pt x="518" y="3342"/>
                    </a:lnTo>
                    <a:lnTo>
                      <a:pt x="510" y="3328"/>
                    </a:lnTo>
                    <a:lnTo>
                      <a:pt x="500" y="3308"/>
                    </a:lnTo>
                    <a:lnTo>
                      <a:pt x="496" y="3296"/>
                    </a:lnTo>
                    <a:lnTo>
                      <a:pt x="492" y="3282"/>
                    </a:lnTo>
                    <a:lnTo>
                      <a:pt x="490" y="3266"/>
                    </a:lnTo>
                    <a:lnTo>
                      <a:pt x="490" y="3256"/>
                    </a:lnTo>
                    <a:lnTo>
                      <a:pt x="490" y="3246"/>
                    </a:lnTo>
                    <a:lnTo>
                      <a:pt x="494" y="3238"/>
                    </a:lnTo>
                    <a:lnTo>
                      <a:pt x="498" y="3228"/>
                    </a:lnTo>
                    <a:lnTo>
                      <a:pt x="506" y="3222"/>
                    </a:lnTo>
                    <a:lnTo>
                      <a:pt x="518" y="3216"/>
                    </a:lnTo>
                    <a:lnTo>
                      <a:pt x="528" y="3212"/>
                    </a:lnTo>
                    <a:lnTo>
                      <a:pt x="536" y="3208"/>
                    </a:lnTo>
                    <a:lnTo>
                      <a:pt x="542" y="3202"/>
                    </a:lnTo>
                    <a:lnTo>
                      <a:pt x="546" y="3196"/>
                    </a:lnTo>
                    <a:lnTo>
                      <a:pt x="550" y="3180"/>
                    </a:lnTo>
                    <a:lnTo>
                      <a:pt x="552" y="3156"/>
                    </a:lnTo>
                    <a:lnTo>
                      <a:pt x="556" y="3144"/>
                    </a:lnTo>
                    <a:lnTo>
                      <a:pt x="564" y="3134"/>
                    </a:lnTo>
                    <a:lnTo>
                      <a:pt x="572" y="3126"/>
                    </a:lnTo>
                    <a:lnTo>
                      <a:pt x="580" y="3122"/>
                    </a:lnTo>
                    <a:lnTo>
                      <a:pt x="596" y="3112"/>
                    </a:lnTo>
                    <a:lnTo>
                      <a:pt x="602" y="3108"/>
                    </a:lnTo>
                    <a:lnTo>
                      <a:pt x="604" y="3104"/>
                    </a:lnTo>
                    <a:lnTo>
                      <a:pt x="606" y="3100"/>
                    </a:lnTo>
                    <a:lnTo>
                      <a:pt x="610" y="3096"/>
                    </a:lnTo>
                    <a:lnTo>
                      <a:pt x="616" y="3092"/>
                    </a:lnTo>
                    <a:lnTo>
                      <a:pt x="622" y="3086"/>
                    </a:lnTo>
                    <a:lnTo>
                      <a:pt x="624" y="3082"/>
                    </a:lnTo>
                    <a:lnTo>
                      <a:pt x="622" y="3078"/>
                    </a:lnTo>
                    <a:lnTo>
                      <a:pt x="620" y="3074"/>
                    </a:lnTo>
                    <a:lnTo>
                      <a:pt x="620" y="3072"/>
                    </a:lnTo>
                    <a:lnTo>
                      <a:pt x="624" y="3066"/>
                    </a:lnTo>
                    <a:lnTo>
                      <a:pt x="626" y="3060"/>
                    </a:lnTo>
                    <a:lnTo>
                      <a:pt x="626" y="3054"/>
                    </a:lnTo>
                    <a:lnTo>
                      <a:pt x="626" y="3044"/>
                    </a:lnTo>
                    <a:lnTo>
                      <a:pt x="624" y="3038"/>
                    </a:lnTo>
                    <a:lnTo>
                      <a:pt x="620" y="3036"/>
                    </a:lnTo>
                    <a:lnTo>
                      <a:pt x="608" y="3036"/>
                    </a:lnTo>
                    <a:lnTo>
                      <a:pt x="600" y="3034"/>
                    </a:lnTo>
                    <a:lnTo>
                      <a:pt x="590" y="3032"/>
                    </a:lnTo>
                    <a:lnTo>
                      <a:pt x="580" y="3026"/>
                    </a:lnTo>
                    <a:lnTo>
                      <a:pt x="570" y="3016"/>
                    </a:lnTo>
                    <a:lnTo>
                      <a:pt x="554" y="2996"/>
                    </a:lnTo>
                    <a:lnTo>
                      <a:pt x="550" y="2988"/>
                    </a:lnTo>
                    <a:lnTo>
                      <a:pt x="550" y="2982"/>
                    </a:lnTo>
                    <a:lnTo>
                      <a:pt x="550" y="2976"/>
                    </a:lnTo>
                    <a:lnTo>
                      <a:pt x="554" y="2968"/>
                    </a:lnTo>
                    <a:lnTo>
                      <a:pt x="564" y="2948"/>
                    </a:lnTo>
                    <a:lnTo>
                      <a:pt x="570" y="2938"/>
                    </a:lnTo>
                    <a:lnTo>
                      <a:pt x="576" y="2930"/>
                    </a:lnTo>
                    <a:lnTo>
                      <a:pt x="580" y="2928"/>
                    </a:lnTo>
                    <a:lnTo>
                      <a:pt x="584" y="2926"/>
                    </a:lnTo>
                    <a:lnTo>
                      <a:pt x="592" y="2926"/>
                    </a:lnTo>
                    <a:lnTo>
                      <a:pt x="594" y="2924"/>
                    </a:lnTo>
                    <a:lnTo>
                      <a:pt x="598" y="2922"/>
                    </a:lnTo>
                    <a:lnTo>
                      <a:pt x="602" y="2918"/>
                    </a:lnTo>
                    <a:lnTo>
                      <a:pt x="608" y="2916"/>
                    </a:lnTo>
                    <a:lnTo>
                      <a:pt x="622" y="2916"/>
                    </a:lnTo>
                    <a:lnTo>
                      <a:pt x="628" y="2916"/>
                    </a:lnTo>
                    <a:lnTo>
                      <a:pt x="632" y="2914"/>
                    </a:lnTo>
                    <a:lnTo>
                      <a:pt x="634" y="2912"/>
                    </a:lnTo>
                    <a:lnTo>
                      <a:pt x="630" y="2908"/>
                    </a:lnTo>
                    <a:lnTo>
                      <a:pt x="628" y="2902"/>
                    </a:lnTo>
                    <a:lnTo>
                      <a:pt x="630" y="2898"/>
                    </a:lnTo>
                    <a:lnTo>
                      <a:pt x="638" y="2890"/>
                    </a:lnTo>
                    <a:lnTo>
                      <a:pt x="642" y="2886"/>
                    </a:lnTo>
                    <a:lnTo>
                      <a:pt x="646" y="2878"/>
                    </a:lnTo>
                    <a:lnTo>
                      <a:pt x="648" y="2868"/>
                    </a:lnTo>
                    <a:lnTo>
                      <a:pt x="644" y="2856"/>
                    </a:lnTo>
                    <a:lnTo>
                      <a:pt x="644" y="2850"/>
                    </a:lnTo>
                    <a:lnTo>
                      <a:pt x="644" y="2844"/>
                    </a:lnTo>
                    <a:lnTo>
                      <a:pt x="646" y="2836"/>
                    </a:lnTo>
                    <a:lnTo>
                      <a:pt x="648" y="2830"/>
                    </a:lnTo>
                    <a:lnTo>
                      <a:pt x="652" y="2822"/>
                    </a:lnTo>
                    <a:lnTo>
                      <a:pt x="660" y="2816"/>
                    </a:lnTo>
                    <a:lnTo>
                      <a:pt x="668" y="2810"/>
                    </a:lnTo>
                    <a:lnTo>
                      <a:pt x="678" y="2806"/>
                    </a:lnTo>
                    <a:lnTo>
                      <a:pt x="684" y="2802"/>
                    </a:lnTo>
                    <a:lnTo>
                      <a:pt x="682" y="2800"/>
                    </a:lnTo>
                    <a:lnTo>
                      <a:pt x="674" y="2798"/>
                    </a:lnTo>
                    <a:lnTo>
                      <a:pt x="662" y="2794"/>
                    </a:lnTo>
                    <a:lnTo>
                      <a:pt x="658" y="2790"/>
                    </a:lnTo>
                    <a:lnTo>
                      <a:pt x="658" y="2786"/>
                    </a:lnTo>
                    <a:lnTo>
                      <a:pt x="660" y="2782"/>
                    </a:lnTo>
                    <a:lnTo>
                      <a:pt x="664" y="2780"/>
                    </a:lnTo>
                    <a:lnTo>
                      <a:pt x="670" y="2780"/>
                    </a:lnTo>
                    <a:lnTo>
                      <a:pt x="676" y="2780"/>
                    </a:lnTo>
                    <a:lnTo>
                      <a:pt x="682" y="2782"/>
                    </a:lnTo>
                    <a:lnTo>
                      <a:pt x="686" y="2788"/>
                    </a:lnTo>
                    <a:lnTo>
                      <a:pt x="690" y="2792"/>
                    </a:lnTo>
                    <a:lnTo>
                      <a:pt x="692" y="2796"/>
                    </a:lnTo>
                    <a:lnTo>
                      <a:pt x="696" y="2798"/>
                    </a:lnTo>
                    <a:lnTo>
                      <a:pt x="700" y="2798"/>
                    </a:lnTo>
                    <a:lnTo>
                      <a:pt x="704" y="2796"/>
                    </a:lnTo>
                    <a:lnTo>
                      <a:pt x="708" y="2792"/>
                    </a:lnTo>
                    <a:lnTo>
                      <a:pt x="712" y="2786"/>
                    </a:lnTo>
                    <a:lnTo>
                      <a:pt x="714" y="2778"/>
                    </a:lnTo>
                    <a:lnTo>
                      <a:pt x="716" y="2770"/>
                    </a:lnTo>
                    <a:lnTo>
                      <a:pt x="714" y="2762"/>
                    </a:lnTo>
                    <a:lnTo>
                      <a:pt x="708" y="2754"/>
                    </a:lnTo>
                    <a:lnTo>
                      <a:pt x="706" y="2752"/>
                    </a:lnTo>
                    <a:lnTo>
                      <a:pt x="702" y="2752"/>
                    </a:lnTo>
                    <a:lnTo>
                      <a:pt x="678" y="2758"/>
                    </a:lnTo>
                    <a:lnTo>
                      <a:pt x="670" y="2760"/>
                    </a:lnTo>
                    <a:lnTo>
                      <a:pt x="662" y="2758"/>
                    </a:lnTo>
                    <a:lnTo>
                      <a:pt x="658" y="2756"/>
                    </a:lnTo>
                    <a:lnTo>
                      <a:pt x="656" y="2750"/>
                    </a:lnTo>
                    <a:lnTo>
                      <a:pt x="654" y="2744"/>
                    </a:lnTo>
                    <a:lnTo>
                      <a:pt x="656" y="2734"/>
                    </a:lnTo>
                    <a:lnTo>
                      <a:pt x="656" y="2726"/>
                    </a:lnTo>
                    <a:lnTo>
                      <a:pt x="654" y="2716"/>
                    </a:lnTo>
                    <a:lnTo>
                      <a:pt x="650" y="2700"/>
                    </a:lnTo>
                    <a:lnTo>
                      <a:pt x="648" y="2694"/>
                    </a:lnTo>
                    <a:lnTo>
                      <a:pt x="646" y="2690"/>
                    </a:lnTo>
                    <a:lnTo>
                      <a:pt x="648" y="2684"/>
                    </a:lnTo>
                    <a:lnTo>
                      <a:pt x="654" y="2682"/>
                    </a:lnTo>
                    <a:lnTo>
                      <a:pt x="662" y="2680"/>
                    </a:lnTo>
                    <a:lnTo>
                      <a:pt x="668" y="2682"/>
                    </a:lnTo>
                    <a:lnTo>
                      <a:pt x="684" y="2688"/>
                    </a:lnTo>
                    <a:lnTo>
                      <a:pt x="700" y="2696"/>
                    </a:lnTo>
                    <a:lnTo>
                      <a:pt x="708" y="2698"/>
                    </a:lnTo>
                    <a:lnTo>
                      <a:pt x="714" y="2700"/>
                    </a:lnTo>
                    <a:lnTo>
                      <a:pt x="724" y="2700"/>
                    </a:lnTo>
                    <a:lnTo>
                      <a:pt x="728" y="2700"/>
                    </a:lnTo>
                    <a:lnTo>
                      <a:pt x="734" y="2700"/>
                    </a:lnTo>
                    <a:lnTo>
                      <a:pt x="748" y="2694"/>
                    </a:lnTo>
                    <a:lnTo>
                      <a:pt x="762" y="2684"/>
                    </a:lnTo>
                    <a:lnTo>
                      <a:pt x="768" y="2680"/>
                    </a:lnTo>
                    <a:lnTo>
                      <a:pt x="770" y="2676"/>
                    </a:lnTo>
                    <a:lnTo>
                      <a:pt x="770" y="2672"/>
                    </a:lnTo>
                    <a:lnTo>
                      <a:pt x="770" y="2670"/>
                    </a:lnTo>
                    <a:lnTo>
                      <a:pt x="764" y="2664"/>
                    </a:lnTo>
                    <a:lnTo>
                      <a:pt x="762" y="2660"/>
                    </a:lnTo>
                    <a:lnTo>
                      <a:pt x="760" y="2658"/>
                    </a:lnTo>
                    <a:lnTo>
                      <a:pt x="758" y="2650"/>
                    </a:lnTo>
                    <a:lnTo>
                      <a:pt x="762" y="2642"/>
                    </a:lnTo>
                    <a:lnTo>
                      <a:pt x="770" y="2632"/>
                    </a:lnTo>
                    <a:lnTo>
                      <a:pt x="776" y="2622"/>
                    </a:lnTo>
                    <a:lnTo>
                      <a:pt x="778" y="2612"/>
                    </a:lnTo>
                    <a:lnTo>
                      <a:pt x="776" y="2602"/>
                    </a:lnTo>
                    <a:lnTo>
                      <a:pt x="772" y="2598"/>
                    </a:lnTo>
                    <a:lnTo>
                      <a:pt x="770" y="2596"/>
                    </a:lnTo>
                    <a:lnTo>
                      <a:pt x="766" y="2592"/>
                    </a:lnTo>
                    <a:lnTo>
                      <a:pt x="762" y="2588"/>
                    </a:lnTo>
                    <a:lnTo>
                      <a:pt x="760" y="2578"/>
                    </a:lnTo>
                    <a:lnTo>
                      <a:pt x="760" y="2574"/>
                    </a:lnTo>
                    <a:lnTo>
                      <a:pt x="762" y="2572"/>
                    </a:lnTo>
                    <a:lnTo>
                      <a:pt x="768" y="2572"/>
                    </a:lnTo>
                    <a:lnTo>
                      <a:pt x="774" y="2576"/>
                    </a:lnTo>
                    <a:lnTo>
                      <a:pt x="784" y="2582"/>
                    </a:lnTo>
                    <a:lnTo>
                      <a:pt x="792" y="2582"/>
                    </a:lnTo>
                    <a:lnTo>
                      <a:pt x="824" y="2578"/>
                    </a:lnTo>
                    <a:lnTo>
                      <a:pt x="856" y="2574"/>
                    </a:lnTo>
                    <a:lnTo>
                      <a:pt x="890" y="2566"/>
                    </a:lnTo>
                    <a:lnTo>
                      <a:pt x="920" y="2556"/>
                    </a:lnTo>
                    <a:lnTo>
                      <a:pt x="934" y="2550"/>
                    </a:lnTo>
                    <a:lnTo>
                      <a:pt x="944" y="2544"/>
                    </a:lnTo>
                    <a:lnTo>
                      <a:pt x="952" y="2538"/>
                    </a:lnTo>
                    <a:lnTo>
                      <a:pt x="956" y="2534"/>
                    </a:lnTo>
                    <a:lnTo>
                      <a:pt x="958" y="2528"/>
                    </a:lnTo>
                    <a:lnTo>
                      <a:pt x="960" y="2524"/>
                    </a:lnTo>
                    <a:lnTo>
                      <a:pt x="962" y="2516"/>
                    </a:lnTo>
                    <a:lnTo>
                      <a:pt x="966" y="2510"/>
                    </a:lnTo>
                    <a:lnTo>
                      <a:pt x="970" y="2504"/>
                    </a:lnTo>
                    <a:lnTo>
                      <a:pt x="980" y="2492"/>
                    </a:lnTo>
                    <a:lnTo>
                      <a:pt x="986" y="2478"/>
                    </a:lnTo>
                    <a:lnTo>
                      <a:pt x="990" y="2464"/>
                    </a:lnTo>
                    <a:lnTo>
                      <a:pt x="990" y="2444"/>
                    </a:lnTo>
                    <a:lnTo>
                      <a:pt x="990" y="2436"/>
                    </a:lnTo>
                    <a:lnTo>
                      <a:pt x="990" y="2432"/>
                    </a:lnTo>
                    <a:lnTo>
                      <a:pt x="986" y="2432"/>
                    </a:lnTo>
                    <a:lnTo>
                      <a:pt x="984" y="2432"/>
                    </a:lnTo>
                    <a:lnTo>
                      <a:pt x="980" y="2432"/>
                    </a:lnTo>
                    <a:lnTo>
                      <a:pt x="976" y="2432"/>
                    </a:lnTo>
                    <a:lnTo>
                      <a:pt x="970" y="2428"/>
                    </a:lnTo>
                    <a:lnTo>
                      <a:pt x="964" y="2420"/>
                    </a:lnTo>
                    <a:lnTo>
                      <a:pt x="962" y="2410"/>
                    </a:lnTo>
                    <a:lnTo>
                      <a:pt x="962" y="2404"/>
                    </a:lnTo>
                    <a:lnTo>
                      <a:pt x="964" y="2400"/>
                    </a:lnTo>
                    <a:lnTo>
                      <a:pt x="968" y="2396"/>
                    </a:lnTo>
                    <a:lnTo>
                      <a:pt x="970" y="2392"/>
                    </a:lnTo>
                    <a:lnTo>
                      <a:pt x="970" y="2388"/>
                    </a:lnTo>
                    <a:lnTo>
                      <a:pt x="968" y="2380"/>
                    </a:lnTo>
                    <a:lnTo>
                      <a:pt x="962" y="2368"/>
                    </a:lnTo>
                    <a:lnTo>
                      <a:pt x="954" y="2360"/>
                    </a:lnTo>
                    <a:lnTo>
                      <a:pt x="946" y="2354"/>
                    </a:lnTo>
                    <a:lnTo>
                      <a:pt x="928" y="2344"/>
                    </a:lnTo>
                    <a:lnTo>
                      <a:pt x="922" y="2338"/>
                    </a:lnTo>
                    <a:lnTo>
                      <a:pt x="918" y="2332"/>
                    </a:lnTo>
                    <a:lnTo>
                      <a:pt x="918" y="2330"/>
                    </a:lnTo>
                    <a:lnTo>
                      <a:pt x="920" y="2326"/>
                    </a:lnTo>
                    <a:lnTo>
                      <a:pt x="926" y="2316"/>
                    </a:lnTo>
                    <a:lnTo>
                      <a:pt x="928" y="2320"/>
                    </a:lnTo>
                    <a:lnTo>
                      <a:pt x="934" y="2326"/>
                    </a:lnTo>
                    <a:lnTo>
                      <a:pt x="946" y="2332"/>
                    </a:lnTo>
                    <a:lnTo>
                      <a:pt x="952" y="2334"/>
                    </a:lnTo>
                    <a:lnTo>
                      <a:pt x="958" y="2334"/>
                    </a:lnTo>
                    <a:lnTo>
                      <a:pt x="966" y="2336"/>
                    </a:lnTo>
                    <a:lnTo>
                      <a:pt x="976" y="2338"/>
                    </a:lnTo>
                    <a:lnTo>
                      <a:pt x="992" y="2348"/>
                    </a:lnTo>
                    <a:lnTo>
                      <a:pt x="1002" y="2352"/>
                    </a:lnTo>
                    <a:lnTo>
                      <a:pt x="1010" y="2356"/>
                    </a:lnTo>
                    <a:lnTo>
                      <a:pt x="1018" y="2358"/>
                    </a:lnTo>
                    <a:lnTo>
                      <a:pt x="1026" y="2356"/>
                    </a:lnTo>
                    <a:lnTo>
                      <a:pt x="1032" y="2354"/>
                    </a:lnTo>
                    <a:lnTo>
                      <a:pt x="1038" y="2352"/>
                    </a:lnTo>
                    <a:lnTo>
                      <a:pt x="1050" y="2356"/>
                    </a:lnTo>
                    <a:lnTo>
                      <a:pt x="1056" y="2358"/>
                    </a:lnTo>
                    <a:lnTo>
                      <a:pt x="1062" y="2358"/>
                    </a:lnTo>
                    <a:lnTo>
                      <a:pt x="1068" y="2358"/>
                    </a:lnTo>
                    <a:lnTo>
                      <a:pt x="1076" y="2354"/>
                    </a:lnTo>
                    <a:lnTo>
                      <a:pt x="1090" y="2344"/>
                    </a:lnTo>
                    <a:lnTo>
                      <a:pt x="1100" y="2334"/>
                    </a:lnTo>
                    <a:lnTo>
                      <a:pt x="1110" y="2320"/>
                    </a:lnTo>
                    <a:lnTo>
                      <a:pt x="1122" y="2300"/>
                    </a:lnTo>
                    <a:lnTo>
                      <a:pt x="1120" y="2294"/>
                    </a:lnTo>
                    <a:lnTo>
                      <a:pt x="1124" y="2288"/>
                    </a:lnTo>
                    <a:lnTo>
                      <a:pt x="1130" y="2282"/>
                    </a:lnTo>
                    <a:lnTo>
                      <a:pt x="1140" y="2276"/>
                    </a:lnTo>
                    <a:lnTo>
                      <a:pt x="1150" y="2270"/>
                    </a:lnTo>
                    <a:lnTo>
                      <a:pt x="1154" y="2264"/>
                    </a:lnTo>
                    <a:lnTo>
                      <a:pt x="1158" y="2256"/>
                    </a:lnTo>
                    <a:lnTo>
                      <a:pt x="1166" y="2232"/>
                    </a:lnTo>
                    <a:lnTo>
                      <a:pt x="1170" y="2224"/>
                    </a:lnTo>
                    <a:lnTo>
                      <a:pt x="1174" y="2218"/>
                    </a:lnTo>
                    <a:lnTo>
                      <a:pt x="1188" y="2204"/>
                    </a:lnTo>
                    <a:lnTo>
                      <a:pt x="1210" y="2184"/>
                    </a:lnTo>
                    <a:lnTo>
                      <a:pt x="1220" y="2174"/>
                    </a:lnTo>
                    <a:lnTo>
                      <a:pt x="1228" y="2164"/>
                    </a:lnTo>
                    <a:lnTo>
                      <a:pt x="1240" y="2140"/>
                    </a:lnTo>
                    <a:lnTo>
                      <a:pt x="1254" y="2110"/>
                    </a:lnTo>
                    <a:lnTo>
                      <a:pt x="1270" y="2074"/>
                    </a:lnTo>
                    <a:lnTo>
                      <a:pt x="1278" y="2058"/>
                    </a:lnTo>
                    <a:lnTo>
                      <a:pt x="1284" y="2048"/>
                    </a:lnTo>
                    <a:lnTo>
                      <a:pt x="1290" y="2042"/>
                    </a:lnTo>
                    <a:lnTo>
                      <a:pt x="1294" y="2038"/>
                    </a:lnTo>
                    <a:lnTo>
                      <a:pt x="1304" y="2030"/>
                    </a:lnTo>
                    <a:lnTo>
                      <a:pt x="1308" y="2022"/>
                    </a:lnTo>
                    <a:lnTo>
                      <a:pt x="1314" y="2012"/>
                    </a:lnTo>
                    <a:lnTo>
                      <a:pt x="1320" y="1998"/>
                    </a:lnTo>
                    <a:lnTo>
                      <a:pt x="1322" y="1984"/>
                    </a:lnTo>
                    <a:lnTo>
                      <a:pt x="1322" y="1970"/>
                    </a:lnTo>
                    <a:lnTo>
                      <a:pt x="1322" y="1956"/>
                    </a:lnTo>
                    <a:lnTo>
                      <a:pt x="1322" y="1926"/>
                    </a:lnTo>
                    <a:lnTo>
                      <a:pt x="1320" y="1910"/>
                    </a:lnTo>
                    <a:lnTo>
                      <a:pt x="1322" y="1894"/>
                    </a:lnTo>
                    <a:lnTo>
                      <a:pt x="1324" y="1878"/>
                    </a:lnTo>
                    <a:lnTo>
                      <a:pt x="1332" y="1862"/>
                    </a:lnTo>
                    <a:lnTo>
                      <a:pt x="1340" y="1848"/>
                    </a:lnTo>
                    <a:lnTo>
                      <a:pt x="1352" y="1836"/>
                    </a:lnTo>
                    <a:lnTo>
                      <a:pt x="1364" y="1824"/>
                    </a:lnTo>
                    <a:lnTo>
                      <a:pt x="1376" y="1816"/>
                    </a:lnTo>
                    <a:lnTo>
                      <a:pt x="1388" y="1808"/>
                    </a:lnTo>
                    <a:lnTo>
                      <a:pt x="1398" y="1802"/>
                    </a:lnTo>
                    <a:lnTo>
                      <a:pt x="1422" y="1792"/>
                    </a:lnTo>
                    <a:lnTo>
                      <a:pt x="1438" y="1782"/>
                    </a:lnTo>
                    <a:lnTo>
                      <a:pt x="1452" y="1772"/>
                    </a:lnTo>
                    <a:lnTo>
                      <a:pt x="1462" y="1764"/>
                    </a:lnTo>
                    <a:lnTo>
                      <a:pt x="1476" y="1750"/>
                    </a:lnTo>
                    <a:lnTo>
                      <a:pt x="1482" y="1744"/>
                    </a:lnTo>
                    <a:lnTo>
                      <a:pt x="1490" y="1740"/>
                    </a:lnTo>
                    <a:lnTo>
                      <a:pt x="1498" y="1738"/>
                    </a:lnTo>
                    <a:lnTo>
                      <a:pt x="1502" y="1738"/>
                    </a:lnTo>
                    <a:lnTo>
                      <a:pt x="1506" y="1740"/>
                    </a:lnTo>
                    <a:lnTo>
                      <a:pt x="1508" y="1742"/>
                    </a:lnTo>
                    <a:lnTo>
                      <a:pt x="1514" y="1742"/>
                    </a:lnTo>
                    <a:lnTo>
                      <a:pt x="1520" y="1742"/>
                    </a:lnTo>
                    <a:lnTo>
                      <a:pt x="1530" y="1740"/>
                    </a:lnTo>
                    <a:lnTo>
                      <a:pt x="1544" y="1738"/>
                    </a:lnTo>
                    <a:lnTo>
                      <a:pt x="1556" y="1738"/>
                    </a:lnTo>
                    <a:lnTo>
                      <a:pt x="1576" y="1738"/>
                    </a:lnTo>
                    <a:lnTo>
                      <a:pt x="1584" y="1738"/>
                    </a:lnTo>
                    <a:lnTo>
                      <a:pt x="1588" y="1736"/>
                    </a:lnTo>
                    <a:lnTo>
                      <a:pt x="1592" y="1734"/>
                    </a:lnTo>
                    <a:lnTo>
                      <a:pt x="1590" y="1728"/>
                    </a:lnTo>
                    <a:lnTo>
                      <a:pt x="1590" y="1724"/>
                    </a:lnTo>
                    <a:lnTo>
                      <a:pt x="1590" y="1722"/>
                    </a:lnTo>
                    <a:lnTo>
                      <a:pt x="1594" y="1716"/>
                    </a:lnTo>
                    <a:lnTo>
                      <a:pt x="1608" y="1702"/>
                    </a:lnTo>
                    <a:lnTo>
                      <a:pt x="1616" y="1696"/>
                    </a:lnTo>
                    <a:lnTo>
                      <a:pt x="1622" y="1690"/>
                    </a:lnTo>
                    <a:lnTo>
                      <a:pt x="1626" y="1682"/>
                    </a:lnTo>
                    <a:lnTo>
                      <a:pt x="1626" y="1676"/>
                    </a:lnTo>
                    <a:lnTo>
                      <a:pt x="1624" y="1672"/>
                    </a:lnTo>
                    <a:lnTo>
                      <a:pt x="1622" y="1662"/>
                    </a:lnTo>
                    <a:lnTo>
                      <a:pt x="1624" y="1654"/>
                    </a:lnTo>
                    <a:lnTo>
                      <a:pt x="1628" y="1644"/>
                    </a:lnTo>
                    <a:lnTo>
                      <a:pt x="1634" y="1634"/>
                    </a:lnTo>
                    <a:lnTo>
                      <a:pt x="1650" y="1610"/>
                    </a:lnTo>
                    <a:lnTo>
                      <a:pt x="1668" y="1580"/>
                    </a:lnTo>
                    <a:lnTo>
                      <a:pt x="1674" y="1564"/>
                    </a:lnTo>
                    <a:lnTo>
                      <a:pt x="1678" y="1550"/>
                    </a:lnTo>
                    <a:lnTo>
                      <a:pt x="1678" y="1536"/>
                    </a:lnTo>
                    <a:lnTo>
                      <a:pt x="1678" y="1524"/>
                    </a:lnTo>
                    <a:lnTo>
                      <a:pt x="1678" y="1514"/>
                    </a:lnTo>
                    <a:lnTo>
                      <a:pt x="1680" y="1506"/>
                    </a:lnTo>
                    <a:lnTo>
                      <a:pt x="1682" y="1498"/>
                    </a:lnTo>
                    <a:lnTo>
                      <a:pt x="1688" y="1494"/>
                    </a:lnTo>
                    <a:lnTo>
                      <a:pt x="1694" y="1488"/>
                    </a:lnTo>
                    <a:lnTo>
                      <a:pt x="1698" y="1480"/>
                    </a:lnTo>
                    <a:lnTo>
                      <a:pt x="1698" y="1470"/>
                    </a:lnTo>
                    <a:lnTo>
                      <a:pt x="1700" y="1460"/>
                    </a:lnTo>
                    <a:lnTo>
                      <a:pt x="1700" y="1434"/>
                    </a:lnTo>
                    <a:lnTo>
                      <a:pt x="1702" y="1418"/>
                    </a:lnTo>
                    <a:lnTo>
                      <a:pt x="1704" y="1404"/>
                    </a:lnTo>
                    <a:lnTo>
                      <a:pt x="1708" y="1390"/>
                    </a:lnTo>
                    <a:lnTo>
                      <a:pt x="1708" y="1378"/>
                    </a:lnTo>
                    <a:lnTo>
                      <a:pt x="1708" y="1368"/>
                    </a:lnTo>
                    <a:lnTo>
                      <a:pt x="1706" y="1360"/>
                    </a:lnTo>
                    <a:lnTo>
                      <a:pt x="1702" y="1342"/>
                    </a:lnTo>
                    <a:lnTo>
                      <a:pt x="1702" y="1334"/>
                    </a:lnTo>
                    <a:lnTo>
                      <a:pt x="1702" y="1324"/>
                    </a:lnTo>
                    <a:lnTo>
                      <a:pt x="1706" y="1252"/>
                    </a:lnTo>
                    <a:lnTo>
                      <a:pt x="1708" y="1234"/>
                    </a:lnTo>
                    <a:lnTo>
                      <a:pt x="1710" y="1224"/>
                    </a:lnTo>
                    <a:lnTo>
                      <a:pt x="1712" y="1220"/>
                    </a:lnTo>
                    <a:lnTo>
                      <a:pt x="1714" y="1220"/>
                    </a:lnTo>
                    <a:lnTo>
                      <a:pt x="1718" y="1222"/>
                    </a:lnTo>
                    <a:lnTo>
                      <a:pt x="1720" y="1226"/>
                    </a:lnTo>
                    <a:lnTo>
                      <a:pt x="1726" y="1234"/>
                    </a:lnTo>
                    <a:lnTo>
                      <a:pt x="1730" y="1238"/>
                    </a:lnTo>
                    <a:lnTo>
                      <a:pt x="1736" y="1238"/>
                    </a:lnTo>
                    <a:lnTo>
                      <a:pt x="1740" y="1234"/>
                    </a:lnTo>
                    <a:lnTo>
                      <a:pt x="1746" y="1224"/>
                    </a:lnTo>
                    <a:lnTo>
                      <a:pt x="1752" y="1212"/>
                    </a:lnTo>
                    <a:lnTo>
                      <a:pt x="1766" y="1176"/>
                    </a:lnTo>
                    <a:lnTo>
                      <a:pt x="1774" y="1158"/>
                    </a:lnTo>
                    <a:lnTo>
                      <a:pt x="1780" y="1146"/>
                    </a:lnTo>
                    <a:lnTo>
                      <a:pt x="1788" y="1136"/>
                    </a:lnTo>
                    <a:lnTo>
                      <a:pt x="1794" y="1128"/>
                    </a:lnTo>
                    <a:lnTo>
                      <a:pt x="1810" y="1112"/>
                    </a:lnTo>
                    <a:lnTo>
                      <a:pt x="1820" y="1100"/>
                    </a:lnTo>
                    <a:lnTo>
                      <a:pt x="1830" y="1082"/>
                    </a:lnTo>
                    <a:lnTo>
                      <a:pt x="1852" y="1044"/>
                    </a:lnTo>
                    <a:lnTo>
                      <a:pt x="1860" y="1030"/>
                    </a:lnTo>
                    <a:lnTo>
                      <a:pt x="1866" y="1016"/>
                    </a:lnTo>
                    <a:lnTo>
                      <a:pt x="1872" y="1002"/>
                    </a:lnTo>
                    <a:lnTo>
                      <a:pt x="1874" y="988"/>
                    </a:lnTo>
                    <a:lnTo>
                      <a:pt x="1874" y="972"/>
                    </a:lnTo>
                    <a:lnTo>
                      <a:pt x="1872" y="956"/>
                    </a:lnTo>
                    <a:close/>
                    <a:moveTo>
                      <a:pt x="1128" y="2234"/>
                    </a:moveTo>
                    <a:lnTo>
                      <a:pt x="1128" y="2234"/>
                    </a:lnTo>
                    <a:lnTo>
                      <a:pt x="1132" y="2242"/>
                    </a:lnTo>
                    <a:lnTo>
                      <a:pt x="1128" y="2234"/>
                    </a:lnTo>
                    <a:close/>
                    <a:moveTo>
                      <a:pt x="698" y="3490"/>
                    </a:moveTo>
                    <a:lnTo>
                      <a:pt x="698" y="3490"/>
                    </a:lnTo>
                    <a:lnTo>
                      <a:pt x="692" y="3492"/>
                    </a:lnTo>
                    <a:lnTo>
                      <a:pt x="688" y="3490"/>
                    </a:lnTo>
                    <a:lnTo>
                      <a:pt x="684" y="3490"/>
                    </a:lnTo>
                    <a:lnTo>
                      <a:pt x="678" y="3492"/>
                    </a:lnTo>
                    <a:lnTo>
                      <a:pt x="670" y="3496"/>
                    </a:lnTo>
                    <a:lnTo>
                      <a:pt x="666" y="3498"/>
                    </a:lnTo>
                    <a:lnTo>
                      <a:pt x="670" y="3500"/>
                    </a:lnTo>
                    <a:lnTo>
                      <a:pt x="672" y="3500"/>
                    </a:lnTo>
                    <a:lnTo>
                      <a:pt x="678" y="3498"/>
                    </a:lnTo>
                    <a:lnTo>
                      <a:pt x="682" y="3494"/>
                    </a:lnTo>
                    <a:lnTo>
                      <a:pt x="684" y="3496"/>
                    </a:lnTo>
                    <a:lnTo>
                      <a:pt x="686" y="3498"/>
                    </a:lnTo>
                    <a:lnTo>
                      <a:pt x="690" y="3496"/>
                    </a:lnTo>
                    <a:lnTo>
                      <a:pt x="694" y="3496"/>
                    </a:lnTo>
                    <a:lnTo>
                      <a:pt x="696" y="3496"/>
                    </a:lnTo>
                    <a:lnTo>
                      <a:pt x="700" y="3496"/>
                    </a:lnTo>
                    <a:lnTo>
                      <a:pt x="702" y="3494"/>
                    </a:lnTo>
                    <a:lnTo>
                      <a:pt x="704" y="3492"/>
                    </a:lnTo>
                    <a:lnTo>
                      <a:pt x="702" y="3490"/>
                    </a:lnTo>
                    <a:lnTo>
                      <a:pt x="698" y="3490"/>
                    </a:lnTo>
                    <a:close/>
                    <a:moveTo>
                      <a:pt x="294" y="3084"/>
                    </a:moveTo>
                    <a:lnTo>
                      <a:pt x="294" y="3084"/>
                    </a:lnTo>
                    <a:lnTo>
                      <a:pt x="298" y="3086"/>
                    </a:lnTo>
                    <a:lnTo>
                      <a:pt x="300" y="3084"/>
                    </a:lnTo>
                    <a:lnTo>
                      <a:pt x="300" y="3082"/>
                    </a:lnTo>
                    <a:lnTo>
                      <a:pt x="298" y="3080"/>
                    </a:lnTo>
                    <a:lnTo>
                      <a:pt x="292" y="3078"/>
                    </a:lnTo>
                    <a:lnTo>
                      <a:pt x="286" y="3078"/>
                    </a:lnTo>
                    <a:lnTo>
                      <a:pt x="282" y="3078"/>
                    </a:lnTo>
                    <a:lnTo>
                      <a:pt x="276" y="3080"/>
                    </a:lnTo>
                    <a:lnTo>
                      <a:pt x="274" y="3082"/>
                    </a:lnTo>
                    <a:lnTo>
                      <a:pt x="274" y="3084"/>
                    </a:lnTo>
                    <a:lnTo>
                      <a:pt x="280" y="3084"/>
                    </a:lnTo>
                    <a:lnTo>
                      <a:pt x="288" y="3084"/>
                    </a:lnTo>
                    <a:lnTo>
                      <a:pt x="294" y="3084"/>
                    </a:lnTo>
                    <a:close/>
                    <a:moveTo>
                      <a:pt x="338" y="3318"/>
                    </a:moveTo>
                    <a:lnTo>
                      <a:pt x="338" y="3318"/>
                    </a:lnTo>
                    <a:lnTo>
                      <a:pt x="330" y="3322"/>
                    </a:lnTo>
                    <a:lnTo>
                      <a:pt x="328" y="3324"/>
                    </a:lnTo>
                    <a:lnTo>
                      <a:pt x="330" y="3326"/>
                    </a:lnTo>
                    <a:lnTo>
                      <a:pt x="334" y="3326"/>
                    </a:lnTo>
                    <a:lnTo>
                      <a:pt x="338" y="3322"/>
                    </a:lnTo>
                    <a:lnTo>
                      <a:pt x="338" y="3318"/>
                    </a:lnTo>
                    <a:close/>
                    <a:moveTo>
                      <a:pt x="292" y="3034"/>
                    </a:moveTo>
                    <a:lnTo>
                      <a:pt x="292" y="3034"/>
                    </a:lnTo>
                    <a:lnTo>
                      <a:pt x="290" y="3032"/>
                    </a:lnTo>
                    <a:lnTo>
                      <a:pt x="288" y="3030"/>
                    </a:lnTo>
                    <a:lnTo>
                      <a:pt x="284" y="3030"/>
                    </a:lnTo>
                    <a:lnTo>
                      <a:pt x="282" y="3034"/>
                    </a:lnTo>
                    <a:lnTo>
                      <a:pt x="284" y="3036"/>
                    </a:lnTo>
                    <a:lnTo>
                      <a:pt x="286" y="3038"/>
                    </a:lnTo>
                    <a:lnTo>
                      <a:pt x="290" y="3036"/>
                    </a:lnTo>
                    <a:lnTo>
                      <a:pt x="292" y="3034"/>
                    </a:lnTo>
                    <a:close/>
                    <a:moveTo>
                      <a:pt x="420" y="3442"/>
                    </a:moveTo>
                    <a:lnTo>
                      <a:pt x="420" y="3442"/>
                    </a:lnTo>
                    <a:lnTo>
                      <a:pt x="420" y="3446"/>
                    </a:lnTo>
                    <a:lnTo>
                      <a:pt x="424" y="3452"/>
                    </a:lnTo>
                    <a:lnTo>
                      <a:pt x="440" y="3462"/>
                    </a:lnTo>
                    <a:lnTo>
                      <a:pt x="444" y="3464"/>
                    </a:lnTo>
                    <a:lnTo>
                      <a:pt x="444" y="3462"/>
                    </a:lnTo>
                    <a:lnTo>
                      <a:pt x="442" y="3458"/>
                    </a:lnTo>
                    <a:lnTo>
                      <a:pt x="438" y="3454"/>
                    </a:lnTo>
                    <a:lnTo>
                      <a:pt x="430" y="3446"/>
                    </a:lnTo>
                    <a:lnTo>
                      <a:pt x="434" y="3448"/>
                    </a:lnTo>
                    <a:lnTo>
                      <a:pt x="438" y="3450"/>
                    </a:lnTo>
                    <a:lnTo>
                      <a:pt x="442" y="3450"/>
                    </a:lnTo>
                    <a:lnTo>
                      <a:pt x="442" y="3448"/>
                    </a:lnTo>
                    <a:lnTo>
                      <a:pt x="440" y="3444"/>
                    </a:lnTo>
                    <a:lnTo>
                      <a:pt x="436" y="3438"/>
                    </a:lnTo>
                    <a:lnTo>
                      <a:pt x="434" y="3432"/>
                    </a:lnTo>
                    <a:lnTo>
                      <a:pt x="434" y="3420"/>
                    </a:lnTo>
                    <a:lnTo>
                      <a:pt x="434" y="3418"/>
                    </a:lnTo>
                    <a:lnTo>
                      <a:pt x="434" y="3420"/>
                    </a:lnTo>
                    <a:lnTo>
                      <a:pt x="430" y="3422"/>
                    </a:lnTo>
                    <a:lnTo>
                      <a:pt x="426" y="3428"/>
                    </a:lnTo>
                    <a:lnTo>
                      <a:pt x="426" y="3432"/>
                    </a:lnTo>
                    <a:lnTo>
                      <a:pt x="426" y="3436"/>
                    </a:lnTo>
                    <a:lnTo>
                      <a:pt x="424" y="3436"/>
                    </a:lnTo>
                    <a:lnTo>
                      <a:pt x="422" y="3436"/>
                    </a:lnTo>
                    <a:lnTo>
                      <a:pt x="420" y="3442"/>
                    </a:lnTo>
                    <a:close/>
                    <a:moveTo>
                      <a:pt x="272" y="3186"/>
                    </a:moveTo>
                    <a:lnTo>
                      <a:pt x="272" y="3186"/>
                    </a:lnTo>
                    <a:lnTo>
                      <a:pt x="270" y="3186"/>
                    </a:lnTo>
                    <a:lnTo>
                      <a:pt x="272" y="3180"/>
                    </a:lnTo>
                    <a:lnTo>
                      <a:pt x="274" y="3174"/>
                    </a:lnTo>
                    <a:lnTo>
                      <a:pt x="274" y="3168"/>
                    </a:lnTo>
                    <a:lnTo>
                      <a:pt x="274" y="3150"/>
                    </a:lnTo>
                    <a:lnTo>
                      <a:pt x="272" y="3136"/>
                    </a:lnTo>
                    <a:lnTo>
                      <a:pt x="272" y="3132"/>
                    </a:lnTo>
                    <a:lnTo>
                      <a:pt x="270" y="3132"/>
                    </a:lnTo>
                    <a:lnTo>
                      <a:pt x="266" y="3132"/>
                    </a:lnTo>
                    <a:lnTo>
                      <a:pt x="264" y="3130"/>
                    </a:lnTo>
                    <a:lnTo>
                      <a:pt x="262" y="3130"/>
                    </a:lnTo>
                    <a:lnTo>
                      <a:pt x="258" y="3132"/>
                    </a:lnTo>
                    <a:lnTo>
                      <a:pt x="252" y="3136"/>
                    </a:lnTo>
                    <a:lnTo>
                      <a:pt x="250" y="3138"/>
                    </a:lnTo>
                    <a:lnTo>
                      <a:pt x="252" y="3140"/>
                    </a:lnTo>
                    <a:lnTo>
                      <a:pt x="254" y="3142"/>
                    </a:lnTo>
                    <a:lnTo>
                      <a:pt x="254" y="3144"/>
                    </a:lnTo>
                    <a:lnTo>
                      <a:pt x="254" y="3146"/>
                    </a:lnTo>
                    <a:lnTo>
                      <a:pt x="256" y="3148"/>
                    </a:lnTo>
                    <a:lnTo>
                      <a:pt x="258" y="3150"/>
                    </a:lnTo>
                    <a:lnTo>
                      <a:pt x="260" y="3154"/>
                    </a:lnTo>
                    <a:lnTo>
                      <a:pt x="258" y="3164"/>
                    </a:lnTo>
                    <a:lnTo>
                      <a:pt x="256" y="3166"/>
                    </a:lnTo>
                    <a:lnTo>
                      <a:pt x="252" y="3164"/>
                    </a:lnTo>
                    <a:lnTo>
                      <a:pt x="250" y="3162"/>
                    </a:lnTo>
                    <a:lnTo>
                      <a:pt x="246" y="3162"/>
                    </a:lnTo>
                    <a:lnTo>
                      <a:pt x="244" y="3164"/>
                    </a:lnTo>
                    <a:lnTo>
                      <a:pt x="242" y="3162"/>
                    </a:lnTo>
                    <a:lnTo>
                      <a:pt x="238" y="3162"/>
                    </a:lnTo>
                    <a:lnTo>
                      <a:pt x="236" y="3164"/>
                    </a:lnTo>
                    <a:lnTo>
                      <a:pt x="234" y="3168"/>
                    </a:lnTo>
                    <a:lnTo>
                      <a:pt x="236" y="3172"/>
                    </a:lnTo>
                    <a:lnTo>
                      <a:pt x="238" y="3178"/>
                    </a:lnTo>
                    <a:lnTo>
                      <a:pt x="242" y="3184"/>
                    </a:lnTo>
                    <a:lnTo>
                      <a:pt x="244" y="3190"/>
                    </a:lnTo>
                    <a:lnTo>
                      <a:pt x="246" y="3194"/>
                    </a:lnTo>
                    <a:lnTo>
                      <a:pt x="248" y="3200"/>
                    </a:lnTo>
                    <a:lnTo>
                      <a:pt x="250" y="3200"/>
                    </a:lnTo>
                    <a:lnTo>
                      <a:pt x="252" y="3200"/>
                    </a:lnTo>
                    <a:lnTo>
                      <a:pt x="254" y="3196"/>
                    </a:lnTo>
                    <a:lnTo>
                      <a:pt x="254" y="3190"/>
                    </a:lnTo>
                    <a:lnTo>
                      <a:pt x="252" y="3184"/>
                    </a:lnTo>
                    <a:lnTo>
                      <a:pt x="250" y="3180"/>
                    </a:lnTo>
                    <a:lnTo>
                      <a:pt x="252" y="3178"/>
                    </a:lnTo>
                    <a:lnTo>
                      <a:pt x="254" y="3178"/>
                    </a:lnTo>
                    <a:lnTo>
                      <a:pt x="258" y="3182"/>
                    </a:lnTo>
                    <a:lnTo>
                      <a:pt x="262" y="3184"/>
                    </a:lnTo>
                    <a:lnTo>
                      <a:pt x="262" y="3186"/>
                    </a:lnTo>
                    <a:lnTo>
                      <a:pt x="260" y="3186"/>
                    </a:lnTo>
                    <a:lnTo>
                      <a:pt x="258" y="3190"/>
                    </a:lnTo>
                    <a:lnTo>
                      <a:pt x="258" y="3192"/>
                    </a:lnTo>
                    <a:lnTo>
                      <a:pt x="258" y="3194"/>
                    </a:lnTo>
                    <a:lnTo>
                      <a:pt x="258" y="3198"/>
                    </a:lnTo>
                    <a:lnTo>
                      <a:pt x="258" y="3202"/>
                    </a:lnTo>
                    <a:lnTo>
                      <a:pt x="258" y="3206"/>
                    </a:lnTo>
                    <a:lnTo>
                      <a:pt x="260" y="3208"/>
                    </a:lnTo>
                    <a:lnTo>
                      <a:pt x="266" y="3208"/>
                    </a:lnTo>
                    <a:lnTo>
                      <a:pt x="270" y="3208"/>
                    </a:lnTo>
                    <a:lnTo>
                      <a:pt x="272" y="3206"/>
                    </a:lnTo>
                    <a:lnTo>
                      <a:pt x="274" y="3200"/>
                    </a:lnTo>
                    <a:lnTo>
                      <a:pt x="274" y="3194"/>
                    </a:lnTo>
                    <a:lnTo>
                      <a:pt x="276" y="3192"/>
                    </a:lnTo>
                    <a:lnTo>
                      <a:pt x="276" y="3190"/>
                    </a:lnTo>
                    <a:lnTo>
                      <a:pt x="276" y="3188"/>
                    </a:lnTo>
                    <a:lnTo>
                      <a:pt x="276" y="3186"/>
                    </a:lnTo>
                    <a:lnTo>
                      <a:pt x="272" y="3186"/>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36" name="Freeform 6151">
                <a:extLst>
                  <a:ext uri="{FF2B5EF4-FFF2-40B4-BE49-F238E27FC236}">
                    <a16:creationId xmlns:a16="http://schemas.microsoft.com/office/drawing/2014/main" id="{A84D8475-1282-F997-B0B9-3FAFA52F11C3}"/>
                  </a:ext>
                </a:extLst>
              </p:cNvPr>
              <p:cNvSpPr>
                <a:spLocks noEditPoints="1"/>
              </p:cNvSpPr>
              <p:nvPr/>
            </p:nvSpPr>
            <p:spPr bwMode="auto">
              <a:xfrm>
                <a:off x="6834500" y="3952497"/>
                <a:ext cx="1708234" cy="1525434"/>
              </a:xfrm>
              <a:custGeom>
                <a:avLst/>
                <a:gdLst>
                  <a:gd name="T0" fmla="*/ 441960 w 2690"/>
                  <a:gd name="T1" fmla="*/ 349032 h 2404"/>
                  <a:gd name="T2" fmla="*/ 1037590 w 2690"/>
                  <a:gd name="T3" fmla="*/ 357917 h 2404"/>
                  <a:gd name="T4" fmla="*/ 979170 w 2690"/>
                  <a:gd name="T5" fmla="*/ 750102 h 2404"/>
                  <a:gd name="T6" fmla="*/ 911860 w 2690"/>
                  <a:gd name="T7" fmla="*/ 630796 h 2404"/>
                  <a:gd name="T8" fmla="*/ 789940 w 2690"/>
                  <a:gd name="T9" fmla="*/ 445492 h 2404"/>
                  <a:gd name="T10" fmla="*/ 726440 w 2690"/>
                  <a:gd name="T11" fmla="*/ 403608 h 2404"/>
                  <a:gd name="T12" fmla="*/ 579120 w 2690"/>
                  <a:gd name="T13" fmla="*/ 472145 h 2404"/>
                  <a:gd name="T14" fmla="*/ 584200 w 2690"/>
                  <a:gd name="T15" fmla="*/ 383301 h 2404"/>
                  <a:gd name="T16" fmla="*/ 478790 w 2690"/>
                  <a:gd name="T17" fmla="*/ 352840 h 2404"/>
                  <a:gd name="T18" fmla="*/ 388620 w 2690"/>
                  <a:gd name="T19" fmla="*/ 458184 h 2404"/>
                  <a:gd name="T20" fmla="*/ 262890 w 2690"/>
                  <a:gd name="T21" fmla="*/ 533067 h 2404"/>
                  <a:gd name="T22" fmla="*/ 69850 w 2690"/>
                  <a:gd name="T23" fmla="*/ 656181 h 2404"/>
                  <a:gd name="T24" fmla="*/ 5080 w 2690"/>
                  <a:gd name="T25" fmla="*/ 802139 h 2404"/>
                  <a:gd name="T26" fmla="*/ 60960 w 2690"/>
                  <a:gd name="T27" fmla="*/ 1055981 h 2404"/>
                  <a:gd name="T28" fmla="*/ 218440 w 2690"/>
                  <a:gd name="T29" fmla="*/ 1077558 h 2404"/>
                  <a:gd name="T30" fmla="*/ 490220 w 2690"/>
                  <a:gd name="T31" fmla="*/ 1012828 h 2404"/>
                  <a:gd name="T32" fmla="*/ 628650 w 2690"/>
                  <a:gd name="T33" fmla="*/ 1040751 h 2404"/>
                  <a:gd name="T34" fmla="*/ 647700 w 2690"/>
                  <a:gd name="T35" fmla="*/ 1137210 h 2404"/>
                  <a:gd name="T36" fmla="*/ 810260 w 2690"/>
                  <a:gd name="T37" fmla="*/ 1215901 h 2404"/>
                  <a:gd name="T38" fmla="*/ 938530 w 2690"/>
                  <a:gd name="T39" fmla="*/ 1189248 h 2404"/>
                  <a:gd name="T40" fmla="*/ 1033780 w 2690"/>
                  <a:gd name="T41" fmla="*/ 896061 h 2404"/>
                  <a:gd name="T42" fmla="*/ 1059180 w 2690"/>
                  <a:gd name="T43" fmla="*/ 154843 h 2404"/>
                  <a:gd name="T44" fmla="*/ 788670 w 2690"/>
                  <a:gd name="T45" fmla="*/ 1289515 h 2404"/>
                  <a:gd name="T46" fmla="*/ 810260 w 2690"/>
                  <a:gd name="T47" fmla="*/ 1344091 h 2404"/>
                  <a:gd name="T48" fmla="*/ 881380 w 2690"/>
                  <a:gd name="T49" fmla="*/ 1394860 h 2404"/>
                  <a:gd name="T50" fmla="*/ 623570 w 2690"/>
                  <a:gd name="T51" fmla="*/ 1148633 h 2404"/>
                  <a:gd name="T52" fmla="*/ 1405890 w 2690"/>
                  <a:gd name="T53" fmla="*/ 516568 h 2404"/>
                  <a:gd name="T54" fmla="*/ 1370330 w 2690"/>
                  <a:gd name="T55" fmla="*/ 696795 h 2404"/>
                  <a:gd name="T56" fmla="*/ 1367790 w 2690"/>
                  <a:gd name="T57" fmla="*/ 455646 h 2404"/>
                  <a:gd name="T58" fmla="*/ 1125220 w 2690"/>
                  <a:gd name="T59" fmla="*/ 244957 h 2404"/>
                  <a:gd name="T60" fmla="*/ 1106170 w 2690"/>
                  <a:gd name="T61" fmla="*/ 201804 h 2404"/>
                  <a:gd name="T62" fmla="*/ 1162050 w 2690"/>
                  <a:gd name="T63" fmla="*/ 242419 h 2404"/>
                  <a:gd name="T64" fmla="*/ 1210310 w 2690"/>
                  <a:gd name="T65" fmla="*/ 365532 h 2404"/>
                  <a:gd name="T66" fmla="*/ 1394460 w 2690"/>
                  <a:gd name="T67" fmla="*/ 512760 h 2404"/>
                  <a:gd name="T68" fmla="*/ 1545590 w 2690"/>
                  <a:gd name="T69" fmla="*/ 1325053 h 2404"/>
                  <a:gd name="T70" fmla="*/ 1426210 w 2690"/>
                  <a:gd name="T71" fmla="*/ 1426590 h 2404"/>
                  <a:gd name="T72" fmla="*/ 1432560 w 2690"/>
                  <a:gd name="T73" fmla="*/ 1525588 h 2404"/>
                  <a:gd name="T74" fmla="*/ 1534160 w 2690"/>
                  <a:gd name="T75" fmla="*/ 1393590 h 2404"/>
                  <a:gd name="T76" fmla="*/ 1692910 w 2690"/>
                  <a:gd name="T77" fmla="*/ 521644 h 2404"/>
                  <a:gd name="T78" fmla="*/ 1576070 w 2690"/>
                  <a:gd name="T79" fmla="*/ 1165133 h 2404"/>
                  <a:gd name="T80" fmla="*/ 1564640 w 2690"/>
                  <a:gd name="T81" fmla="*/ 1161325 h 2404"/>
                  <a:gd name="T82" fmla="*/ 1588770 w 2690"/>
                  <a:gd name="T83" fmla="*/ 1345360 h 2404"/>
                  <a:gd name="T84" fmla="*/ 1651000 w 2690"/>
                  <a:gd name="T85" fmla="*/ 1208286 h 2404"/>
                  <a:gd name="T86" fmla="*/ 1428750 w 2690"/>
                  <a:gd name="T87" fmla="*/ 587643 h 2404"/>
                  <a:gd name="T88" fmla="*/ 966470 w 2690"/>
                  <a:gd name="T89" fmla="*/ 312225 h 2404"/>
                  <a:gd name="T90" fmla="*/ 867410 w 2690"/>
                  <a:gd name="T91" fmla="*/ 159920 h 2404"/>
                  <a:gd name="T92" fmla="*/ 584200 w 2690"/>
                  <a:gd name="T93" fmla="*/ 49499 h 2404"/>
                  <a:gd name="T94" fmla="*/ 539750 w 2690"/>
                  <a:gd name="T95" fmla="*/ 182766 h 2404"/>
                  <a:gd name="T96" fmla="*/ 631190 w 2690"/>
                  <a:gd name="T97" fmla="*/ 243688 h 2404"/>
                  <a:gd name="T98" fmla="*/ 673100 w 2690"/>
                  <a:gd name="T99" fmla="*/ 510222 h 2404"/>
                  <a:gd name="T100" fmla="*/ 769620 w 2690"/>
                  <a:gd name="T101" fmla="*/ 279226 h 2404"/>
                  <a:gd name="T102" fmla="*/ 889000 w 2690"/>
                  <a:gd name="T103" fmla="*/ 312225 h 2404"/>
                  <a:gd name="T104" fmla="*/ 885190 w 2690"/>
                  <a:gd name="T105" fmla="*/ 244957 h 2404"/>
                  <a:gd name="T106" fmla="*/ 774700 w 2690"/>
                  <a:gd name="T107" fmla="*/ 107883 h 2404"/>
                  <a:gd name="T108" fmla="*/ 922020 w 2690"/>
                  <a:gd name="T109" fmla="*/ 187843 h 2404"/>
                  <a:gd name="T110" fmla="*/ 971550 w 2690"/>
                  <a:gd name="T111" fmla="*/ 153574 h 2404"/>
                  <a:gd name="T112" fmla="*/ 1008380 w 2690"/>
                  <a:gd name="T113" fmla="*/ 128190 h 2404"/>
                  <a:gd name="T114" fmla="*/ 952500 w 2690"/>
                  <a:gd name="T115" fmla="*/ 81229 h 2404"/>
                  <a:gd name="T116" fmla="*/ 487680 w 2690"/>
                  <a:gd name="T117" fmla="*/ 92652 h 2404"/>
                  <a:gd name="T118" fmla="*/ 637540 w 2690"/>
                  <a:gd name="T119" fmla="*/ 180228 h 2404"/>
                  <a:gd name="T120" fmla="*/ 613410 w 2690"/>
                  <a:gd name="T121" fmla="*/ 60922 h 2404"/>
                  <a:gd name="T122" fmla="*/ 499110 w 2690"/>
                  <a:gd name="T123" fmla="*/ 11423 h 2404"/>
                  <a:gd name="T124" fmla="*/ 1026160 w 2690"/>
                  <a:gd name="T125" fmla="*/ 776755 h 24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90"/>
                  <a:gd name="T190" fmla="*/ 0 h 2404"/>
                  <a:gd name="T191" fmla="*/ 2690 w 2690"/>
                  <a:gd name="T192" fmla="*/ 2404 h 24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90" h="2404">
                    <a:moveTo>
                      <a:pt x="692" y="12"/>
                    </a:moveTo>
                    <a:lnTo>
                      <a:pt x="692" y="12"/>
                    </a:lnTo>
                    <a:lnTo>
                      <a:pt x="698" y="14"/>
                    </a:lnTo>
                    <a:lnTo>
                      <a:pt x="702" y="18"/>
                    </a:lnTo>
                    <a:lnTo>
                      <a:pt x="708" y="20"/>
                    </a:lnTo>
                    <a:lnTo>
                      <a:pt x="714" y="20"/>
                    </a:lnTo>
                    <a:lnTo>
                      <a:pt x="716" y="20"/>
                    </a:lnTo>
                    <a:lnTo>
                      <a:pt x="714" y="18"/>
                    </a:lnTo>
                    <a:lnTo>
                      <a:pt x="712" y="16"/>
                    </a:lnTo>
                    <a:lnTo>
                      <a:pt x="710" y="12"/>
                    </a:lnTo>
                    <a:lnTo>
                      <a:pt x="708" y="12"/>
                    </a:lnTo>
                    <a:lnTo>
                      <a:pt x="710" y="12"/>
                    </a:lnTo>
                    <a:lnTo>
                      <a:pt x="714" y="12"/>
                    </a:lnTo>
                    <a:lnTo>
                      <a:pt x="718" y="16"/>
                    </a:lnTo>
                    <a:lnTo>
                      <a:pt x="722" y="18"/>
                    </a:lnTo>
                    <a:lnTo>
                      <a:pt x="728" y="18"/>
                    </a:lnTo>
                    <a:lnTo>
                      <a:pt x="730" y="16"/>
                    </a:lnTo>
                    <a:lnTo>
                      <a:pt x="730" y="12"/>
                    </a:lnTo>
                    <a:lnTo>
                      <a:pt x="724" y="6"/>
                    </a:lnTo>
                    <a:lnTo>
                      <a:pt x="714" y="2"/>
                    </a:lnTo>
                    <a:lnTo>
                      <a:pt x="708" y="0"/>
                    </a:lnTo>
                    <a:lnTo>
                      <a:pt x="702" y="2"/>
                    </a:lnTo>
                    <a:lnTo>
                      <a:pt x="694" y="4"/>
                    </a:lnTo>
                    <a:lnTo>
                      <a:pt x="688" y="8"/>
                    </a:lnTo>
                    <a:lnTo>
                      <a:pt x="688" y="10"/>
                    </a:lnTo>
                    <a:lnTo>
                      <a:pt x="692" y="12"/>
                    </a:lnTo>
                    <a:close/>
                    <a:moveTo>
                      <a:pt x="742" y="352"/>
                    </a:moveTo>
                    <a:lnTo>
                      <a:pt x="742" y="352"/>
                    </a:lnTo>
                    <a:lnTo>
                      <a:pt x="740" y="350"/>
                    </a:lnTo>
                    <a:lnTo>
                      <a:pt x="736" y="352"/>
                    </a:lnTo>
                    <a:lnTo>
                      <a:pt x="732" y="358"/>
                    </a:lnTo>
                    <a:lnTo>
                      <a:pt x="728" y="366"/>
                    </a:lnTo>
                    <a:lnTo>
                      <a:pt x="724" y="382"/>
                    </a:lnTo>
                    <a:lnTo>
                      <a:pt x="724" y="386"/>
                    </a:lnTo>
                    <a:lnTo>
                      <a:pt x="724" y="388"/>
                    </a:lnTo>
                    <a:lnTo>
                      <a:pt x="726" y="388"/>
                    </a:lnTo>
                    <a:lnTo>
                      <a:pt x="736" y="382"/>
                    </a:lnTo>
                    <a:lnTo>
                      <a:pt x="742" y="374"/>
                    </a:lnTo>
                    <a:lnTo>
                      <a:pt x="744" y="364"/>
                    </a:lnTo>
                    <a:lnTo>
                      <a:pt x="742" y="352"/>
                    </a:lnTo>
                    <a:close/>
                    <a:moveTo>
                      <a:pt x="696" y="550"/>
                    </a:moveTo>
                    <a:lnTo>
                      <a:pt x="696" y="550"/>
                    </a:lnTo>
                    <a:lnTo>
                      <a:pt x="692" y="548"/>
                    </a:lnTo>
                    <a:lnTo>
                      <a:pt x="690" y="548"/>
                    </a:lnTo>
                    <a:lnTo>
                      <a:pt x="690" y="552"/>
                    </a:lnTo>
                    <a:lnTo>
                      <a:pt x="692" y="556"/>
                    </a:lnTo>
                    <a:lnTo>
                      <a:pt x="700" y="566"/>
                    </a:lnTo>
                    <a:lnTo>
                      <a:pt x="710" y="578"/>
                    </a:lnTo>
                    <a:lnTo>
                      <a:pt x="714" y="580"/>
                    </a:lnTo>
                    <a:lnTo>
                      <a:pt x="718" y="578"/>
                    </a:lnTo>
                    <a:lnTo>
                      <a:pt x="724" y="576"/>
                    </a:lnTo>
                    <a:lnTo>
                      <a:pt x="728" y="574"/>
                    </a:lnTo>
                    <a:lnTo>
                      <a:pt x="734" y="568"/>
                    </a:lnTo>
                    <a:lnTo>
                      <a:pt x="736" y="564"/>
                    </a:lnTo>
                    <a:lnTo>
                      <a:pt x="738" y="558"/>
                    </a:lnTo>
                    <a:lnTo>
                      <a:pt x="736" y="552"/>
                    </a:lnTo>
                    <a:lnTo>
                      <a:pt x="730" y="546"/>
                    </a:lnTo>
                    <a:lnTo>
                      <a:pt x="728" y="544"/>
                    </a:lnTo>
                    <a:lnTo>
                      <a:pt x="724" y="546"/>
                    </a:lnTo>
                    <a:lnTo>
                      <a:pt x="722" y="548"/>
                    </a:lnTo>
                    <a:lnTo>
                      <a:pt x="718" y="552"/>
                    </a:lnTo>
                    <a:lnTo>
                      <a:pt x="712" y="554"/>
                    </a:lnTo>
                    <a:lnTo>
                      <a:pt x="706" y="554"/>
                    </a:lnTo>
                    <a:lnTo>
                      <a:pt x="696" y="550"/>
                    </a:lnTo>
                    <a:close/>
                    <a:moveTo>
                      <a:pt x="936" y="688"/>
                    </a:moveTo>
                    <a:lnTo>
                      <a:pt x="936" y="688"/>
                    </a:lnTo>
                    <a:lnTo>
                      <a:pt x="938" y="696"/>
                    </a:lnTo>
                    <a:lnTo>
                      <a:pt x="940" y="696"/>
                    </a:lnTo>
                    <a:lnTo>
                      <a:pt x="942" y="696"/>
                    </a:lnTo>
                    <a:lnTo>
                      <a:pt x="946" y="692"/>
                    </a:lnTo>
                    <a:lnTo>
                      <a:pt x="950" y="684"/>
                    </a:lnTo>
                    <a:lnTo>
                      <a:pt x="950" y="680"/>
                    </a:lnTo>
                    <a:lnTo>
                      <a:pt x="950" y="678"/>
                    </a:lnTo>
                    <a:lnTo>
                      <a:pt x="946" y="676"/>
                    </a:lnTo>
                    <a:lnTo>
                      <a:pt x="942" y="676"/>
                    </a:lnTo>
                    <a:lnTo>
                      <a:pt x="940" y="676"/>
                    </a:lnTo>
                    <a:lnTo>
                      <a:pt x="936" y="680"/>
                    </a:lnTo>
                    <a:lnTo>
                      <a:pt x="934" y="684"/>
                    </a:lnTo>
                    <a:lnTo>
                      <a:pt x="936" y="688"/>
                    </a:lnTo>
                    <a:close/>
                    <a:moveTo>
                      <a:pt x="1610" y="556"/>
                    </a:moveTo>
                    <a:lnTo>
                      <a:pt x="1610" y="556"/>
                    </a:lnTo>
                    <a:lnTo>
                      <a:pt x="1616" y="560"/>
                    </a:lnTo>
                    <a:lnTo>
                      <a:pt x="1624" y="562"/>
                    </a:lnTo>
                    <a:lnTo>
                      <a:pt x="1632" y="564"/>
                    </a:lnTo>
                    <a:lnTo>
                      <a:pt x="1634" y="564"/>
                    </a:lnTo>
                    <a:lnTo>
                      <a:pt x="1634" y="562"/>
                    </a:lnTo>
                    <a:lnTo>
                      <a:pt x="1628" y="558"/>
                    </a:lnTo>
                    <a:lnTo>
                      <a:pt x="1618" y="552"/>
                    </a:lnTo>
                    <a:lnTo>
                      <a:pt x="1610" y="550"/>
                    </a:lnTo>
                    <a:lnTo>
                      <a:pt x="1610" y="552"/>
                    </a:lnTo>
                    <a:lnTo>
                      <a:pt x="1610" y="556"/>
                    </a:lnTo>
                    <a:close/>
                    <a:moveTo>
                      <a:pt x="1402" y="2052"/>
                    </a:moveTo>
                    <a:lnTo>
                      <a:pt x="1402" y="2052"/>
                    </a:lnTo>
                    <a:lnTo>
                      <a:pt x="1404" y="2054"/>
                    </a:lnTo>
                    <a:lnTo>
                      <a:pt x="1410" y="2056"/>
                    </a:lnTo>
                    <a:lnTo>
                      <a:pt x="1416" y="2056"/>
                    </a:lnTo>
                    <a:lnTo>
                      <a:pt x="1420" y="2054"/>
                    </a:lnTo>
                    <a:lnTo>
                      <a:pt x="1420" y="2052"/>
                    </a:lnTo>
                    <a:lnTo>
                      <a:pt x="1418" y="2048"/>
                    </a:lnTo>
                    <a:lnTo>
                      <a:pt x="1412" y="2048"/>
                    </a:lnTo>
                    <a:lnTo>
                      <a:pt x="1404" y="2048"/>
                    </a:lnTo>
                    <a:lnTo>
                      <a:pt x="1402" y="2050"/>
                    </a:lnTo>
                    <a:lnTo>
                      <a:pt x="1402" y="2052"/>
                    </a:lnTo>
                    <a:close/>
                    <a:moveTo>
                      <a:pt x="1610" y="1344"/>
                    </a:moveTo>
                    <a:lnTo>
                      <a:pt x="1610" y="1344"/>
                    </a:lnTo>
                    <a:lnTo>
                      <a:pt x="1612" y="1338"/>
                    </a:lnTo>
                    <a:lnTo>
                      <a:pt x="1614" y="1334"/>
                    </a:lnTo>
                    <a:lnTo>
                      <a:pt x="1612" y="1324"/>
                    </a:lnTo>
                    <a:lnTo>
                      <a:pt x="1610" y="1312"/>
                    </a:lnTo>
                    <a:lnTo>
                      <a:pt x="1608" y="1304"/>
                    </a:lnTo>
                    <a:lnTo>
                      <a:pt x="1610" y="1294"/>
                    </a:lnTo>
                    <a:lnTo>
                      <a:pt x="1610" y="1280"/>
                    </a:lnTo>
                    <a:lnTo>
                      <a:pt x="1608" y="1276"/>
                    </a:lnTo>
                    <a:lnTo>
                      <a:pt x="1606" y="1276"/>
                    </a:lnTo>
                    <a:lnTo>
                      <a:pt x="1604" y="1274"/>
                    </a:lnTo>
                    <a:lnTo>
                      <a:pt x="1600" y="1270"/>
                    </a:lnTo>
                    <a:lnTo>
                      <a:pt x="1598" y="1266"/>
                    </a:lnTo>
                    <a:lnTo>
                      <a:pt x="1596" y="1256"/>
                    </a:lnTo>
                    <a:lnTo>
                      <a:pt x="1594" y="1246"/>
                    </a:lnTo>
                    <a:lnTo>
                      <a:pt x="1590" y="1238"/>
                    </a:lnTo>
                    <a:lnTo>
                      <a:pt x="1582" y="1226"/>
                    </a:lnTo>
                    <a:lnTo>
                      <a:pt x="1570" y="1214"/>
                    </a:lnTo>
                    <a:lnTo>
                      <a:pt x="1560" y="1198"/>
                    </a:lnTo>
                    <a:lnTo>
                      <a:pt x="1550" y="1184"/>
                    </a:lnTo>
                    <a:lnTo>
                      <a:pt x="1548" y="1182"/>
                    </a:lnTo>
                    <a:lnTo>
                      <a:pt x="1546" y="1182"/>
                    </a:lnTo>
                    <a:lnTo>
                      <a:pt x="1542" y="1182"/>
                    </a:lnTo>
                    <a:lnTo>
                      <a:pt x="1538" y="1180"/>
                    </a:lnTo>
                    <a:lnTo>
                      <a:pt x="1534" y="1176"/>
                    </a:lnTo>
                    <a:lnTo>
                      <a:pt x="1526" y="1166"/>
                    </a:lnTo>
                    <a:lnTo>
                      <a:pt x="1518" y="1156"/>
                    </a:lnTo>
                    <a:lnTo>
                      <a:pt x="1514" y="1146"/>
                    </a:lnTo>
                    <a:lnTo>
                      <a:pt x="1514" y="1136"/>
                    </a:lnTo>
                    <a:lnTo>
                      <a:pt x="1514" y="1126"/>
                    </a:lnTo>
                    <a:lnTo>
                      <a:pt x="1514" y="1110"/>
                    </a:lnTo>
                    <a:lnTo>
                      <a:pt x="1514" y="1104"/>
                    </a:lnTo>
                    <a:lnTo>
                      <a:pt x="1510" y="1098"/>
                    </a:lnTo>
                    <a:lnTo>
                      <a:pt x="1508" y="1096"/>
                    </a:lnTo>
                    <a:lnTo>
                      <a:pt x="1506" y="1096"/>
                    </a:lnTo>
                    <a:lnTo>
                      <a:pt x="1502" y="1102"/>
                    </a:lnTo>
                    <a:lnTo>
                      <a:pt x="1502" y="1104"/>
                    </a:lnTo>
                    <a:lnTo>
                      <a:pt x="1498" y="1104"/>
                    </a:lnTo>
                    <a:lnTo>
                      <a:pt x="1494" y="1102"/>
                    </a:lnTo>
                    <a:lnTo>
                      <a:pt x="1490" y="1096"/>
                    </a:lnTo>
                    <a:lnTo>
                      <a:pt x="1484" y="1090"/>
                    </a:lnTo>
                    <a:lnTo>
                      <a:pt x="1480" y="1090"/>
                    </a:lnTo>
                    <a:lnTo>
                      <a:pt x="1480" y="1092"/>
                    </a:lnTo>
                    <a:lnTo>
                      <a:pt x="1480" y="1098"/>
                    </a:lnTo>
                    <a:lnTo>
                      <a:pt x="1478" y="1102"/>
                    </a:lnTo>
                    <a:lnTo>
                      <a:pt x="1478" y="1106"/>
                    </a:lnTo>
                    <a:lnTo>
                      <a:pt x="1474" y="1104"/>
                    </a:lnTo>
                    <a:lnTo>
                      <a:pt x="1470" y="1100"/>
                    </a:lnTo>
                    <a:lnTo>
                      <a:pt x="1464" y="1092"/>
                    </a:lnTo>
                    <a:lnTo>
                      <a:pt x="1462" y="1086"/>
                    </a:lnTo>
                    <a:lnTo>
                      <a:pt x="1462" y="1080"/>
                    </a:lnTo>
                    <a:lnTo>
                      <a:pt x="1462" y="1076"/>
                    </a:lnTo>
                    <a:lnTo>
                      <a:pt x="1464" y="1066"/>
                    </a:lnTo>
                    <a:lnTo>
                      <a:pt x="1462" y="1060"/>
                    </a:lnTo>
                    <a:lnTo>
                      <a:pt x="1462" y="1054"/>
                    </a:lnTo>
                    <a:lnTo>
                      <a:pt x="1458" y="1046"/>
                    </a:lnTo>
                    <a:lnTo>
                      <a:pt x="1452" y="1038"/>
                    </a:lnTo>
                    <a:lnTo>
                      <a:pt x="1440" y="1022"/>
                    </a:lnTo>
                    <a:lnTo>
                      <a:pt x="1430" y="1012"/>
                    </a:lnTo>
                    <a:lnTo>
                      <a:pt x="1428" y="1008"/>
                    </a:lnTo>
                    <a:lnTo>
                      <a:pt x="1432" y="1008"/>
                    </a:lnTo>
                    <a:lnTo>
                      <a:pt x="1436" y="1008"/>
                    </a:lnTo>
                    <a:lnTo>
                      <a:pt x="1438" y="1006"/>
                    </a:lnTo>
                    <a:lnTo>
                      <a:pt x="1440" y="1002"/>
                    </a:lnTo>
                    <a:lnTo>
                      <a:pt x="1438" y="998"/>
                    </a:lnTo>
                    <a:lnTo>
                      <a:pt x="1436" y="994"/>
                    </a:lnTo>
                    <a:lnTo>
                      <a:pt x="1430" y="988"/>
                    </a:lnTo>
                    <a:lnTo>
                      <a:pt x="1422" y="984"/>
                    </a:lnTo>
                    <a:lnTo>
                      <a:pt x="1410" y="978"/>
                    </a:lnTo>
                    <a:lnTo>
                      <a:pt x="1398" y="974"/>
                    </a:lnTo>
                    <a:lnTo>
                      <a:pt x="1392" y="968"/>
                    </a:lnTo>
                    <a:lnTo>
                      <a:pt x="1388" y="964"/>
                    </a:lnTo>
                    <a:lnTo>
                      <a:pt x="1386" y="960"/>
                    </a:lnTo>
                    <a:lnTo>
                      <a:pt x="1384" y="956"/>
                    </a:lnTo>
                    <a:lnTo>
                      <a:pt x="1380" y="952"/>
                    </a:lnTo>
                    <a:lnTo>
                      <a:pt x="1374" y="950"/>
                    </a:lnTo>
                    <a:lnTo>
                      <a:pt x="1364" y="946"/>
                    </a:lnTo>
                    <a:lnTo>
                      <a:pt x="1354" y="942"/>
                    </a:lnTo>
                    <a:lnTo>
                      <a:pt x="1346" y="938"/>
                    </a:lnTo>
                    <a:lnTo>
                      <a:pt x="1340" y="934"/>
                    </a:lnTo>
                    <a:lnTo>
                      <a:pt x="1338" y="928"/>
                    </a:lnTo>
                    <a:lnTo>
                      <a:pt x="1334" y="916"/>
                    </a:lnTo>
                    <a:lnTo>
                      <a:pt x="1332" y="908"/>
                    </a:lnTo>
                    <a:lnTo>
                      <a:pt x="1328" y="902"/>
                    </a:lnTo>
                    <a:lnTo>
                      <a:pt x="1324" y="896"/>
                    </a:lnTo>
                    <a:lnTo>
                      <a:pt x="1324" y="886"/>
                    </a:lnTo>
                    <a:lnTo>
                      <a:pt x="1322" y="864"/>
                    </a:lnTo>
                    <a:lnTo>
                      <a:pt x="1322" y="852"/>
                    </a:lnTo>
                    <a:lnTo>
                      <a:pt x="1320" y="840"/>
                    </a:lnTo>
                    <a:lnTo>
                      <a:pt x="1316" y="828"/>
                    </a:lnTo>
                    <a:lnTo>
                      <a:pt x="1308" y="818"/>
                    </a:lnTo>
                    <a:lnTo>
                      <a:pt x="1304" y="812"/>
                    </a:lnTo>
                    <a:lnTo>
                      <a:pt x="1302" y="806"/>
                    </a:lnTo>
                    <a:lnTo>
                      <a:pt x="1298" y="794"/>
                    </a:lnTo>
                    <a:lnTo>
                      <a:pt x="1296" y="780"/>
                    </a:lnTo>
                    <a:lnTo>
                      <a:pt x="1296" y="764"/>
                    </a:lnTo>
                    <a:lnTo>
                      <a:pt x="1296" y="750"/>
                    </a:lnTo>
                    <a:lnTo>
                      <a:pt x="1294" y="736"/>
                    </a:lnTo>
                    <a:lnTo>
                      <a:pt x="1290" y="726"/>
                    </a:lnTo>
                    <a:lnTo>
                      <a:pt x="1286" y="722"/>
                    </a:lnTo>
                    <a:lnTo>
                      <a:pt x="1282" y="718"/>
                    </a:lnTo>
                    <a:lnTo>
                      <a:pt x="1274" y="712"/>
                    </a:lnTo>
                    <a:lnTo>
                      <a:pt x="1268" y="704"/>
                    </a:lnTo>
                    <a:lnTo>
                      <a:pt x="1262" y="692"/>
                    </a:lnTo>
                    <a:lnTo>
                      <a:pt x="1258" y="690"/>
                    </a:lnTo>
                    <a:lnTo>
                      <a:pt x="1256" y="688"/>
                    </a:lnTo>
                    <a:lnTo>
                      <a:pt x="1254" y="690"/>
                    </a:lnTo>
                    <a:lnTo>
                      <a:pt x="1250" y="698"/>
                    </a:lnTo>
                    <a:lnTo>
                      <a:pt x="1244" y="702"/>
                    </a:lnTo>
                    <a:lnTo>
                      <a:pt x="1240" y="704"/>
                    </a:lnTo>
                    <a:lnTo>
                      <a:pt x="1236" y="702"/>
                    </a:lnTo>
                    <a:lnTo>
                      <a:pt x="1232" y="696"/>
                    </a:lnTo>
                    <a:lnTo>
                      <a:pt x="1228" y="690"/>
                    </a:lnTo>
                    <a:lnTo>
                      <a:pt x="1226" y="682"/>
                    </a:lnTo>
                    <a:lnTo>
                      <a:pt x="1224" y="664"/>
                    </a:lnTo>
                    <a:lnTo>
                      <a:pt x="1224" y="650"/>
                    </a:lnTo>
                    <a:lnTo>
                      <a:pt x="1224" y="634"/>
                    </a:lnTo>
                    <a:lnTo>
                      <a:pt x="1220" y="620"/>
                    </a:lnTo>
                    <a:lnTo>
                      <a:pt x="1216" y="614"/>
                    </a:lnTo>
                    <a:lnTo>
                      <a:pt x="1212" y="606"/>
                    </a:lnTo>
                    <a:lnTo>
                      <a:pt x="1208" y="600"/>
                    </a:lnTo>
                    <a:lnTo>
                      <a:pt x="1206" y="596"/>
                    </a:lnTo>
                    <a:lnTo>
                      <a:pt x="1206" y="588"/>
                    </a:lnTo>
                    <a:lnTo>
                      <a:pt x="1208" y="584"/>
                    </a:lnTo>
                    <a:lnTo>
                      <a:pt x="1206" y="582"/>
                    </a:lnTo>
                    <a:lnTo>
                      <a:pt x="1204" y="578"/>
                    </a:lnTo>
                    <a:lnTo>
                      <a:pt x="1200" y="576"/>
                    </a:lnTo>
                    <a:lnTo>
                      <a:pt x="1196" y="572"/>
                    </a:lnTo>
                    <a:lnTo>
                      <a:pt x="1194" y="562"/>
                    </a:lnTo>
                    <a:lnTo>
                      <a:pt x="1192" y="548"/>
                    </a:lnTo>
                    <a:lnTo>
                      <a:pt x="1190" y="534"/>
                    </a:lnTo>
                    <a:lnTo>
                      <a:pt x="1188" y="526"/>
                    </a:lnTo>
                    <a:lnTo>
                      <a:pt x="1184" y="522"/>
                    </a:lnTo>
                    <a:lnTo>
                      <a:pt x="1180" y="520"/>
                    </a:lnTo>
                    <a:lnTo>
                      <a:pt x="1176" y="520"/>
                    </a:lnTo>
                    <a:lnTo>
                      <a:pt x="1172" y="522"/>
                    </a:lnTo>
                    <a:lnTo>
                      <a:pt x="1170" y="526"/>
                    </a:lnTo>
                    <a:lnTo>
                      <a:pt x="1166" y="532"/>
                    </a:lnTo>
                    <a:lnTo>
                      <a:pt x="1166" y="538"/>
                    </a:lnTo>
                    <a:lnTo>
                      <a:pt x="1164" y="552"/>
                    </a:lnTo>
                    <a:lnTo>
                      <a:pt x="1162" y="564"/>
                    </a:lnTo>
                    <a:lnTo>
                      <a:pt x="1150" y="594"/>
                    </a:lnTo>
                    <a:lnTo>
                      <a:pt x="1146" y="602"/>
                    </a:lnTo>
                    <a:lnTo>
                      <a:pt x="1146" y="608"/>
                    </a:lnTo>
                    <a:lnTo>
                      <a:pt x="1146" y="612"/>
                    </a:lnTo>
                    <a:lnTo>
                      <a:pt x="1150" y="614"/>
                    </a:lnTo>
                    <a:lnTo>
                      <a:pt x="1152" y="616"/>
                    </a:lnTo>
                    <a:lnTo>
                      <a:pt x="1152" y="618"/>
                    </a:lnTo>
                    <a:lnTo>
                      <a:pt x="1150" y="622"/>
                    </a:lnTo>
                    <a:lnTo>
                      <a:pt x="1144" y="630"/>
                    </a:lnTo>
                    <a:lnTo>
                      <a:pt x="1144" y="636"/>
                    </a:lnTo>
                    <a:lnTo>
                      <a:pt x="1144" y="646"/>
                    </a:lnTo>
                    <a:lnTo>
                      <a:pt x="1138" y="658"/>
                    </a:lnTo>
                    <a:lnTo>
                      <a:pt x="1136" y="668"/>
                    </a:lnTo>
                    <a:lnTo>
                      <a:pt x="1136" y="676"/>
                    </a:lnTo>
                    <a:lnTo>
                      <a:pt x="1140" y="700"/>
                    </a:lnTo>
                    <a:lnTo>
                      <a:pt x="1144" y="724"/>
                    </a:lnTo>
                    <a:lnTo>
                      <a:pt x="1144" y="736"/>
                    </a:lnTo>
                    <a:lnTo>
                      <a:pt x="1142" y="748"/>
                    </a:lnTo>
                    <a:lnTo>
                      <a:pt x="1136" y="768"/>
                    </a:lnTo>
                    <a:lnTo>
                      <a:pt x="1136" y="780"/>
                    </a:lnTo>
                    <a:lnTo>
                      <a:pt x="1136" y="792"/>
                    </a:lnTo>
                    <a:lnTo>
                      <a:pt x="1130" y="806"/>
                    </a:lnTo>
                    <a:lnTo>
                      <a:pt x="1124" y="816"/>
                    </a:lnTo>
                    <a:lnTo>
                      <a:pt x="1120" y="826"/>
                    </a:lnTo>
                    <a:lnTo>
                      <a:pt x="1116" y="840"/>
                    </a:lnTo>
                    <a:lnTo>
                      <a:pt x="1114" y="850"/>
                    </a:lnTo>
                    <a:lnTo>
                      <a:pt x="1110" y="856"/>
                    </a:lnTo>
                    <a:lnTo>
                      <a:pt x="1102" y="862"/>
                    </a:lnTo>
                    <a:lnTo>
                      <a:pt x="1096" y="866"/>
                    </a:lnTo>
                    <a:lnTo>
                      <a:pt x="1088" y="866"/>
                    </a:lnTo>
                    <a:lnTo>
                      <a:pt x="1078" y="864"/>
                    </a:lnTo>
                    <a:lnTo>
                      <a:pt x="1068" y="860"/>
                    </a:lnTo>
                    <a:lnTo>
                      <a:pt x="1060" y="854"/>
                    </a:lnTo>
                    <a:lnTo>
                      <a:pt x="1052" y="848"/>
                    </a:lnTo>
                    <a:lnTo>
                      <a:pt x="1046" y="842"/>
                    </a:lnTo>
                    <a:lnTo>
                      <a:pt x="1044" y="836"/>
                    </a:lnTo>
                    <a:lnTo>
                      <a:pt x="1040" y="830"/>
                    </a:lnTo>
                    <a:lnTo>
                      <a:pt x="1036" y="826"/>
                    </a:lnTo>
                    <a:lnTo>
                      <a:pt x="1028" y="824"/>
                    </a:lnTo>
                    <a:lnTo>
                      <a:pt x="1022" y="822"/>
                    </a:lnTo>
                    <a:lnTo>
                      <a:pt x="1014" y="818"/>
                    </a:lnTo>
                    <a:lnTo>
                      <a:pt x="1004" y="812"/>
                    </a:lnTo>
                    <a:lnTo>
                      <a:pt x="990" y="800"/>
                    </a:lnTo>
                    <a:lnTo>
                      <a:pt x="978" y="788"/>
                    </a:lnTo>
                    <a:lnTo>
                      <a:pt x="968" y="782"/>
                    </a:lnTo>
                    <a:lnTo>
                      <a:pt x="962" y="780"/>
                    </a:lnTo>
                    <a:lnTo>
                      <a:pt x="956" y="778"/>
                    </a:lnTo>
                    <a:lnTo>
                      <a:pt x="948" y="776"/>
                    </a:lnTo>
                    <a:lnTo>
                      <a:pt x="942" y="772"/>
                    </a:lnTo>
                    <a:lnTo>
                      <a:pt x="934" y="764"/>
                    </a:lnTo>
                    <a:lnTo>
                      <a:pt x="922" y="752"/>
                    </a:lnTo>
                    <a:lnTo>
                      <a:pt x="912" y="744"/>
                    </a:lnTo>
                    <a:lnTo>
                      <a:pt x="898" y="732"/>
                    </a:lnTo>
                    <a:lnTo>
                      <a:pt x="896" y="728"/>
                    </a:lnTo>
                    <a:lnTo>
                      <a:pt x="896" y="722"/>
                    </a:lnTo>
                    <a:lnTo>
                      <a:pt x="900" y="712"/>
                    </a:lnTo>
                    <a:lnTo>
                      <a:pt x="908" y="700"/>
                    </a:lnTo>
                    <a:lnTo>
                      <a:pt x="916" y="684"/>
                    </a:lnTo>
                    <a:lnTo>
                      <a:pt x="920" y="674"/>
                    </a:lnTo>
                    <a:lnTo>
                      <a:pt x="920" y="670"/>
                    </a:lnTo>
                    <a:lnTo>
                      <a:pt x="918" y="670"/>
                    </a:lnTo>
                    <a:lnTo>
                      <a:pt x="916" y="668"/>
                    </a:lnTo>
                    <a:lnTo>
                      <a:pt x="914" y="666"/>
                    </a:lnTo>
                    <a:lnTo>
                      <a:pt x="914" y="662"/>
                    </a:lnTo>
                    <a:lnTo>
                      <a:pt x="918" y="652"/>
                    </a:lnTo>
                    <a:lnTo>
                      <a:pt x="924" y="644"/>
                    </a:lnTo>
                    <a:lnTo>
                      <a:pt x="928" y="640"/>
                    </a:lnTo>
                    <a:lnTo>
                      <a:pt x="930" y="642"/>
                    </a:lnTo>
                    <a:lnTo>
                      <a:pt x="934" y="646"/>
                    </a:lnTo>
                    <a:lnTo>
                      <a:pt x="936" y="648"/>
                    </a:lnTo>
                    <a:lnTo>
                      <a:pt x="936" y="650"/>
                    </a:lnTo>
                    <a:lnTo>
                      <a:pt x="938" y="646"/>
                    </a:lnTo>
                    <a:lnTo>
                      <a:pt x="940" y="638"/>
                    </a:lnTo>
                    <a:lnTo>
                      <a:pt x="942" y="626"/>
                    </a:lnTo>
                    <a:lnTo>
                      <a:pt x="946" y="618"/>
                    </a:lnTo>
                    <a:lnTo>
                      <a:pt x="950" y="612"/>
                    </a:lnTo>
                    <a:lnTo>
                      <a:pt x="956" y="606"/>
                    </a:lnTo>
                    <a:lnTo>
                      <a:pt x="958" y="604"/>
                    </a:lnTo>
                    <a:lnTo>
                      <a:pt x="960" y="602"/>
                    </a:lnTo>
                    <a:lnTo>
                      <a:pt x="960" y="598"/>
                    </a:lnTo>
                    <a:lnTo>
                      <a:pt x="956" y="596"/>
                    </a:lnTo>
                    <a:lnTo>
                      <a:pt x="950" y="590"/>
                    </a:lnTo>
                    <a:lnTo>
                      <a:pt x="946" y="586"/>
                    </a:lnTo>
                    <a:lnTo>
                      <a:pt x="942" y="580"/>
                    </a:lnTo>
                    <a:lnTo>
                      <a:pt x="942" y="578"/>
                    </a:lnTo>
                    <a:lnTo>
                      <a:pt x="940" y="578"/>
                    </a:lnTo>
                    <a:lnTo>
                      <a:pt x="934" y="582"/>
                    </a:lnTo>
                    <a:lnTo>
                      <a:pt x="930" y="584"/>
                    </a:lnTo>
                    <a:lnTo>
                      <a:pt x="928" y="588"/>
                    </a:lnTo>
                    <a:lnTo>
                      <a:pt x="928" y="594"/>
                    </a:lnTo>
                    <a:lnTo>
                      <a:pt x="930" y="598"/>
                    </a:lnTo>
                    <a:lnTo>
                      <a:pt x="928" y="600"/>
                    </a:lnTo>
                    <a:lnTo>
                      <a:pt x="926" y="602"/>
                    </a:lnTo>
                    <a:lnTo>
                      <a:pt x="922" y="604"/>
                    </a:lnTo>
                    <a:lnTo>
                      <a:pt x="920" y="604"/>
                    </a:lnTo>
                    <a:lnTo>
                      <a:pt x="918" y="598"/>
                    </a:lnTo>
                    <a:lnTo>
                      <a:pt x="918" y="592"/>
                    </a:lnTo>
                    <a:lnTo>
                      <a:pt x="918" y="590"/>
                    </a:lnTo>
                    <a:lnTo>
                      <a:pt x="916" y="590"/>
                    </a:lnTo>
                    <a:lnTo>
                      <a:pt x="914" y="588"/>
                    </a:lnTo>
                    <a:lnTo>
                      <a:pt x="914" y="586"/>
                    </a:lnTo>
                    <a:lnTo>
                      <a:pt x="914" y="578"/>
                    </a:lnTo>
                    <a:lnTo>
                      <a:pt x="914" y="574"/>
                    </a:lnTo>
                    <a:lnTo>
                      <a:pt x="912" y="574"/>
                    </a:lnTo>
                    <a:lnTo>
                      <a:pt x="906" y="576"/>
                    </a:lnTo>
                    <a:lnTo>
                      <a:pt x="898" y="584"/>
                    </a:lnTo>
                    <a:lnTo>
                      <a:pt x="888" y="590"/>
                    </a:lnTo>
                    <a:lnTo>
                      <a:pt x="882" y="594"/>
                    </a:lnTo>
                    <a:lnTo>
                      <a:pt x="878" y="594"/>
                    </a:lnTo>
                    <a:lnTo>
                      <a:pt x="874" y="592"/>
                    </a:lnTo>
                    <a:lnTo>
                      <a:pt x="870" y="586"/>
                    </a:lnTo>
                    <a:lnTo>
                      <a:pt x="866" y="584"/>
                    </a:lnTo>
                    <a:lnTo>
                      <a:pt x="860" y="584"/>
                    </a:lnTo>
                    <a:lnTo>
                      <a:pt x="854" y="586"/>
                    </a:lnTo>
                    <a:lnTo>
                      <a:pt x="848" y="586"/>
                    </a:lnTo>
                    <a:lnTo>
                      <a:pt x="844" y="584"/>
                    </a:lnTo>
                    <a:lnTo>
                      <a:pt x="842" y="580"/>
                    </a:lnTo>
                    <a:lnTo>
                      <a:pt x="834" y="572"/>
                    </a:lnTo>
                    <a:lnTo>
                      <a:pt x="830" y="570"/>
                    </a:lnTo>
                    <a:lnTo>
                      <a:pt x="822" y="570"/>
                    </a:lnTo>
                    <a:lnTo>
                      <a:pt x="814" y="570"/>
                    </a:lnTo>
                    <a:lnTo>
                      <a:pt x="808" y="568"/>
                    </a:lnTo>
                    <a:lnTo>
                      <a:pt x="804" y="564"/>
                    </a:lnTo>
                    <a:lnTo>
                      <a:pt x="802" y="560"/>
                    </a:lnTo>
                    <a:lnTo>
                      <a:pt x="798" y="554"/>
                    </a:lnTo>
                    <a:lnTo>
                      <a:pt x="796" y="554"/>
                    </a:lnTo>
                    <a:lnTo>
                      <a:pt x="792" y="554"/>
                    </a:lnTo>
                    <a:lnTo>
                      <a:pt x="788" y="554"/>
                    </a:lnTo>
                    <a:lnTo>
                      <a:pt x="784" y="554"/>
                    </a:lnTo>
                    <a:lnTo>
                      <a:pt x="782" y="550"/>
                    </a:lnTo>
                    <a:lnTo>
                      <a:pt x="776" y="546"/>
                    </a:lnTo>
                    <a:lnTo>
                      <a:pt x="774" y="544"/>
                    </a:lnTo>
                    <a:lnTo>
                      <a:pt x="768" y="542"/>
                    </a:lnTo>
                    <a:lnTo>
                      <a:pt x="758" y="542"/>
                    </a:lnTo>
                    <a:lnTo>
                      <a:pt x="752" y="544"/>
                    </a:lnTo>
                    <a:lnTo>
                      <a:pt x="750" y="546"/>
                    </a:lnTo>
                    <a:lnTo>
                      <a:pt x="750" y="548"/>
                    </a:lnTo>
                    <a:lnTo>
                      <a:pt x="754" y="556"/>
                    </a:lnTo>
                    <a:lnTo>
                      <a:pt x="756" y="558"/>
                    </a:lnTo>
                    <a:lnTo>
                      <a:pt x="762" y="560"/>
                    </a:lnTo>
                    <a:lnTo>
                      <a:pt x="774" y="560"/>
                    </a:lnTo>
                    <a:lnTo>
                      <a:pt x="778" y="560"/>
                    </a:lnTo>
                    <a:lnTo>
                      <a:pt x="782" y="564"/>
                    </a:lnTo>
                    <a:lnTo>
                      <a:pt x="784" y="570"/>
                    </a:lnTo>
                    <a:lnTo>
                      <a:pt x="782" y="580"/>
                    </a:lnTo>
                    <a:lnTo>
                      <a:pt x="778" y="594"/>
                    </a:lnTo>
                    <a:lnTo>
                      <a:pt x="778" y="596"/>
                    </a:lnTo>
                    <a:lnTo>
                      <a:pt x="776" y="596"/>
                    </a:lnTo>
                    <a:lnTo>
                      <a:pt x="768" y="594"/>
                    </a:lnTo>
                    <a:lnTo>
                      <a:pt x="760" y="594"/>
                    </a:lnTo>
                    <a:lnTo>
                      <a:pt x="750" y="596"/>
                    </a:lnTo>
                    <a:lnTo>
                      <a:pt x="742" y="596"/>
                    </a:lnTo>
                    <a:lnTo>
                      <a:pt x="736" y="596"/>
                    </a:lnTo>
                    <a:lnTo>
                      <a:pt x="728" y="592"/>
                    </a:lnTo>
                    <a:lnTo>
                      <a:pt x="726" y="592"/>
                    </a:lnTo>
                    <a:lnTo>
                      <a:pt x="720" y="594"/>
                    </a:lnTo>
                    <a:lnTo>
                      <a:pt x="700" y="608"/>
                    </a:lnTo>
                    <a:lnTo>
                      <a:pt x="688" y="620"/>
                    </a:lnTo>
                    <a:lnTo>
                      <a:pt x="680" y="628"/>
                    </a:lnTo>
                    <a:lnTo>
                      <a:pt x="678" y="634"/>
                    </a:lnTo>
                    <a:lnTo>
                      <a:pt x="676" y="638"/>
                    </a:lnTo>
                    <a:lnTo>
                      <a:pt x="676" y="644"/>
                    </a:lnTo>
                    <a:lnTo>
                      <a:pt x="674" y="652"/>
                    </a:lnTo>
                    <a:lnTo>
                      <a:pt x="670" y="662"/>
                    </a:lnTo>
                    <a:lnTo>
                      <a:pt x="662" y="674"/>
                    </a:lnTo>
                    <a:lnTo>
                      <a:pt x="654" y="688"/>
                    </a:lnTo>
                    <a:lnTo>
                      <a:pt x="650" y="698"/>
                    </a:lnTo>
                    <a:lnTo>
                      <a:pt x="652" y="706"/>
                    </a:lnTo>
                    <a:lnTo>
                      <a:pt x="654" y="710"/>
                    </a:lnTo>
                    <a:lnTo>
                      <a:pt x="662" y="716"/>
                    </a:lnTo>
                    <a:lnTo>
                      <a:pt x="662" y="720"/>
                    </a:lnTo>
                    <a:lnTo>
                      <a:pt x="658" y="724"/>
                    </a:lnTo>
                    <a:lnTo>
                      <a:pt x="652" y="728"/>
                    </a:lnTo>
                    <a:lnTo>
                      <a:pt x="648" y="730"/>
                    </a:lnTo>
                    <a:lnTo>
                      <a:pt x="644" y="730"/>
                    </a:lnTo>
                    <a:lnTo>
                      <a:pt x="640" y="728"/>
                    </a:lnTo>
                    <a:lnTo>
                      <a:pt x="630" y="722"/>
                    </a:lnTo>
                    <a:lnTo>
                      <a:pt x="626" y="722"/>
                    </a:lnTo>
                    <a:lnTo>
                      <a:pt x="618" y="722"/>
                    </a:lnTo>
                    <a:lnTo>
                      <a:pt x="612" y="722"/>
                    </a:lnTo>
                    <a:lnTo>
                      <a:pt x="608" y="718"/>
                    </a:lnTo>
                    <a:lnTo>
                      <a:pt x="596" y="712"/>
                    </a:lnTo>
                    <a:lnTo>
                      <a:pt x="574" y="688"/>
                    </a:lnTo>
                    <a:lnTo>
                      <a:pt x="562" y="676"/>
                    </a:lnTo>
                    <a:lnTo>
                      <a:pt x="554" y="670"/>
                    </a:lnTo>
                    <a:lnTo>
                      <a:pt x="550" y="668"/>
                    </a:lnTo>
                    <a:lnTo>
                      <a:pt x="548" y="668"/>
                    </a:lnTo>
                    <a:lnTo>
                      <a:pt x="546" y="670"/>
                    </a:lnTo>
                    <a:lnTo>
                      <a:pt x="544" y="674"/>
                    </a:lnTo>
                    <a:lnTo>
                      <a:pt x="542" y="682"/>
                    </a:lnTo>
                    <a:lnTo>
                      <a:pt x="540" y="684"/>
                    </a:lnTo>
                    <a:lnTo>
                      <a:pt x="536" y="684"/>
                    </a:lnTo>
                    <a:lnTo>
                      <a:pt x="532" y="682"/>
                    </a:lnTo>
                    <a:lnTo>
                      <a:pt x="526" y="678"/>
                    </a:lnTo>
                    <a:lnTo>
                      <a:pt x="522" y="678"/>
                    </a:lnTo>
                    <a:lnTo>
                      <a:pt x="518" y="682"/>
                    </a:lnTo>
                    <a:lnTo>
                      <a:pt x="516" y="690"/>
                    </a:lnTo>
                    <a:lnTo>
                      <a:pt x="516" y="698"/>
                    </a:lnTo>
                    <a:lnTo>
                      <a:pt x="514" y="700"/>
                    </a:lnTo>
                    <a:lnTo>
                      <a:pt x="510" y="700"/>
                    </a:lnTo>
                    <a:lnTo>
                      <a:pt x="508" y="698"/>
                    </a:lnTo>
                    <a:lnTo>
                      <a:pt x="502" y="696"/>
                    </a:lnTo>
                    <a:lnTo>
                      <a:pt x="498" y="698"/>
                    </a:lnTo>
                    <a:lnTo>
                      <a:pt x="490" y="704"/>
                    </a:lnTo>
                    <a:lnTo>
                      <a:pt x="482" y="718"/>
                    </a:lnTo>
                    <a:lnTo>
                      <a:pt x="474" y="732"/>
                    </a:lnTo>
                    <a:lnTo>
                      <a:pt x="468" y="742"/>
                    </a:lnTo>
                    <a:lnTo>
                      <a:pt x="458" y="752"/>
                    </a:lnTo>
                    <a:lnTo>
                      <a:pt x="454" y="756"/>
                    </a:lnTo>
                    <a:lnTo>
                      <a:pt x="452" y="762"/>
                    </a:lnTo>
                    <a:lnTo>
                      <a:pt x="450" y="768"/>
                    </a:lnTo>
                    <a:lnTo>
                      <a:pt x="448" y="780"/>
                    </a:lnTo>
                    <a:lnTo>
                      <a:pt x="448" y="794"/>
                    </a:lnTo>
                    <a:lnTo>
                      <a:pt x="446" y="798"/>
                    </a:lnTo>
                    <a:lnTo>
                      <a:pt x="444" y="800"/>
                    </a:lnTo>
                    <a:lnTo>
                      <a:pt x="440" y="798"/>
                    </a:lnTo>
                    <a:lnTo>
                      <a:pt x="434" y="794"/>
                    </a:lnTo>
                    <a:lnTo>
                      <a:pt x="428" y="792"/>
                    </a:lnTo>
                    <a:lnTo>
                      <a:pt x="426" y="792"/>
                    </a:lnTo>
                    <a:lnTo>
                      <a:pt x="422" y="794"/>
                    </a:lnTo>
                    <a:lnTo>
                      <a:pt x="420" y="798"/>
                    </a:lnTo>
                    <a:lnTo>
                      <a:pt x="418" y="804"/>
                    </a:lnTo>
                    <a:lnTo>
                      <a:pt x="416" y="824"/>
                    </a:lnTo>
                    <a:lnTo>
                      <a:pt x="414" y="840"/>
                    </a:lnTo>
                    <a:lnTo>
                      <a:pt x="414" y="842"/>
                    </a:lnTo>
                    <a:lnTo>
                      <a:pt x="412" y="842"/>
                    </a:lnTo>
                    <a:lnTo>
                      <a:pt x="408" y="828"/>
                    </a:lnTo>
                    <a:lnTo>
                      <a:pt x="402" y="818"/>
                    </a:lnTo>
                    <a:lnTo>
                      <a:pt x="400" y="812"/>
                    </a:lnTo>
                    <a:lnTo>
                      <a:pt x="396" y="810"/>
                    </a:lnTo>
                    <a:lnTo>
                      <a:pt x="392" y="810"/>
                    </a:lnTo>
                    <a:lnTo>
                      <a:pt x="386" y="812"/>
                    </a:lnTo>
                    <a:lnTo>
                      <a:pt x="382" y="816"/>
                    </a:lnTo>
                    <a:lnTo>
                      <a:pt x="376" y="822"/>
                    </a:lnTo>
                    <a:lnTo>
                      <a:pt x="366" y="840"/>
                    </a:lnTo>
                    <a:lnTo>
                      <a:pt x="360" y="852"/>
                    </a:lnTo>
                    <a:lnTo>
                      <a:pt x="360" y="864"/>
                    </a:lnTo>
                    <a:lnTo>
                      <a:pt x="362" y="872"/>
                    </a:lnTo>
                    <a:lnTo>
                      <a:pt x="362" y="880"/>
                    </a:lnTo>
                    <a:lnTo>
                      <a:pt x="362" y="886"/>
                    </a:lnTo>
                    <a:lnTo>
                      <a:pt x="358" y="894"/>
                    </a:lnTo>
                    <a:lnTo>
                      <a:pt x="350" y="902"/>
                    </a:lnTo>
                    <a:lnTo>
                      <a:pt x="344" y="908"/>
                    </a:lnTo>
                    <a:lnTo>
                      <a:pt x="338" y="916"/>
                    </a:lnTo>
                    <a:lnTo>
                      <a:pt x="334" y="930"/>
                    </a:lnTo>
                    <a:lnTo>
                      <a:pt x="330" y="940"/>
                    </a:lnTo>
                    <a:lnTo>
                      <a:pt x="324" y="948"/>
                    </a:lnTo>
                    <a:lnTo>
                      <a:pt x="316" y="958"/>
                    </a:lnTo>
                    <a:lnTo>
                      <a:pt x="304" y="968"/>
                    </a:lnTo>
                    <a:lnTo>
                      <a:pt x="290" y="976"/>
                    </a:lnTo>
                    <a:lnTo>
                      <a:pt x="276" y="980"/>
                    </a:lnTo>
                    <a:lnTo>
                      <a:pt x="266" y="982"/>
                    </a:lnTo>
                    <a:lnTo>
                      <a:pt x="256" y="980"/>
                    </a:lnTo>
                    <a:lnTo>
                      <a:pt x="240" y="980"/>
                    </a:lnTo>
                    <a:lnTo>
                      <a:pt x="234" y="982"/>
                    </a:lnTo>
                    <a:lnTo>
                      <a:pt x="232" y="986"/>
                    </a:lnTo>
                    <a:lnTo>
                      <a:pt x="228" y="990"/>
                    </a:lnTo>
                    <a:lnTo>
                      <a:pt x="224" y="994"/>
                    </a:lnTo>
                    <a:lnTo>
                      <a:pt x="212" y="998"/>
                    </a:lnTo>
                    <a:lnTo>
                      <a:pt x="198" y="1002"/>
                    </a:lnTo>
                    <a:lnTo>
                      <a:pt x="180" y="1012"/>
                    </a:lnTo>
                    <a:lnTo>
                      <a:pt x="170" y="1016"/>
                    </a:lnTo>
                    <a:lnTo>
                      <a:pt x="162" y="1016"/>
                    </a:lnTo>
                    <a:lnTo>
                      <a:pt x="150" y="1012"/>
                    </a:lnTo>
                    <a:lnTo>
                      <a:pt x="142" y="1012"/>
                    </a:lnTo>
                    <a:lnTo>
                      <a:pt x="134" y="1014"/>
                    </a:lnTo>
                    <a:lnTo>
                      <a:pt x="124" y="1020"/>
                    </a:lnTo>
                    <a:lnTo>
                      <a:pt x="110" y="1034"/>
                    </a:lnTo>
                    <a:lnTo>
                      <a:pt x="98" y="1048"/>
                    </a:lnTo>
                    <a:lnTo>
                      <a:pt x="86" y="1058"/>
                    </a:lnTo>
                    <a:lnTo>
                      <a:pt x="78" y="1062"/>
                    </a:lnTo>
                    <a:lnTo>
                      <a:pt x="72" y="1066"/>
                    </a:lnTo>
                    <a:lnTo>
                      <a:pt x="66" y="1068"/>
                    </a:lnTo>
                    <a:lnTo>
                      <a:pt x="60" y="1074"/>
                    </a:lnTo>
                    <a:lnTo>
                      <a:pt x="54" y="1082"/>
                    </a:lnTo>
                    <a:lnTo>
                      <a:pt x="50" y="1094"/>
                    </a:lnTo>
                    <a:lnTo>
                      <a:pt x="44" y="1104"/>
                    </a:lnTo>
                    <a:lnTo>
                      <a:pt x="42" y="1106"/>
                    </a:lnTo>
                    <a:lnTo>
                      <a:pt x="42" y="1104"/>
                    </a:lnTo>
                    <a:lnTo>
                      <a:pt x="40" y="1100"/>
                    </a:lnTo>
                    <a:lnTo>
                      <a:pt x="38" y="1092"/>
                    </a:lnTo>
                    <a:lnTo>
                      <a:pt x="38" y="1084"/>
                    </a:lnTo>
                    <a:lnTo>
                      <a:pt x="36" y="1078"/>
                    </a:lnTo>
                    <a:lnTo>
                      <a:pt x="34" y="1078"/>
                    </a:lnTo>
                    <a:lnTo>
                      <a:pt x="30" y="1078"/>
                    </a:lnTo>
                    <a:lnTo>
                      <a:pt x="24" y="1088"/>
                    </a:lnTo>
                    <a:lnTo>
                      <a:pt x="18" y="1100"/>
                    </a:lnTo>
                    <a:lnTo>
                      <a:pt x="16" y="1110"/>
                    </a:lnTo>
                    <a:lnTo>
                      <a:pt x="18" y="1118"/>
                    </a:lnTo>
                    <a:lnTo>
                      <a:pt x="20" y="1126"/>
                    </a:lnTo>
                    <a:lnTo>
                      <a:pt x="22" y="1134"/>
                    </a:lnTo>
                    <a:lnTo>
                      <a:pt x="22" y="1144"/>
                    </a:lnTo>
                    <a:lnTo>
                      <a:pt x="20" y="1154"/>
                    </a:lnTo>
                    <a:lnTo>
                      <a:pt x="12" y="1170"/>
                    </a:lnTo>
                    <a:lnTo>
                      <a:pt x="8" y="1180"/>
                    </a:lnTo>
                    <a:lnTo>
                      <a:pt x="4" y="1188"/>
                    </a:lnTo>
                    <a:lnTo>
                      <a:pt x="4" y="1196"/>
                    </a:lnTo>
                    <a:lnTo>
                      <a:pt x="4" y="1204"/>
                    </a:lnTo>
                    <a:lnTo>
                      <a:pt x="8" y="1220"/>
                    </a:lnTo>
                    <a:lnTo>
                      <a:pt x="16" y="1236"/>
                    </a:lnTo>
                    <a:lnTo>
                      <a:pt x="34" y="1266"/>
                    </a:lnTo>
                    <a:lnTo>
                      <a:pt x="40" y="1280"/>
                    </a:lnTo>
                    <a:lnTo>
                      <a:pt x="40" y="1288"/>
                    </a:lnTo>
                    <a:lnTo>
                      <a:pt x="42" y="1294"/>
                    </a:lnTo>
                    <a:lnTo>
                      <a:pt x="40" y="1304"/>
                    </a:lnTo>
                    <a:lnTo>
                      <a:pt x="38" y="1304"/>
                    </a:lnTo>
                    <a:lnTo>
                      <a:pt x="36" y="1304"/>
                    </a:lnTo>
                    <a:lnTo>
                      <a:pt x="32" y="1298"/>
                    </a:lnTo>
                    <a:lnTo>
                      <a:pt x="26" y="1288"/>
                    </a:lnTo>
                    <a:lnTo>
                      <a:pt x="14" y="1268"/>
                    </a:lnTo>
                    <a:lnTo>
                      <a:pt x="10" y="1264"/>
                    </a:lnTo>
                    <a:lnTo>
                      <a:pt x="8" y="1264"/>
                    </a:lnTo>
                    <a:lnTo>
                      <a:pt x="6" y="1270"/>
                    </a:lnTo>
                    <a:lnTo>
                      <a:pt x="8" y="1276"/>
                    </a:lnTo>
                    <a:lnTo>
                      <a:pt x="14" y="1290"/>
                    </a:lnTo>
                    <a:lnTo>
                      <a:pt x="20" y="1304"/>
                    </a:lnTo>
                    <a:lnTo>
                      <a:pt x="22" y="1310"/>
                    </a:lnTo>
                    <a:lnTo>
                      <a:pt x="22" y="1316"/>
                    </a:lnTo>
                    <a:lnTo>
                      <a:pt x="20" y="1316"/>
                    </a:lnTo>
                    <a:lnTo>
                      <a:pt x="16" y="1312"/>
                    </a:lnTo>
                    <a:lnTo>
                      <a:pt x="10" y="1298"/>
                    </a:lnTo>
                    <a:lnTo>
                      <a:pt x="6" y="1292"/>
                    </a:lnTo>
                    <a:lnTo>
                      <a:pt x="2" y="1288"/>
                    </a:lnTo>
                    <a:lnTo>
                      <a:pt x="0" y="1290"/>
                    </a:lnTo>
                    <a:lnTo>
                      <a:pt x="0" y="1298"/>
                    </a:lnTo>
                    <a:lnTo>
                      <a:pt x="0" y="1306"/>
                    </a:lnTo>
                    <a:lnTo>
                      <a:pt x="4" y="1316"/>
                    </a:lnTo>
                    <a:lnTo>
                      <a:pt x="18" y="1334"/>
                    </a:lnTo>
                    <a:lnTo>
                      <a:pt x="30" y="1354"/>
                    </a:lnTo>
                    <a:lnTo>
                      <a:pt x="34" y="1364"/>
                    </a:lnTo>
                    <a:lnTo>
                      <a:pt x="36" y="1374"/>
                    </a:lnTo>
                    <a:lnTo>
                      <a:pt x="36" y="1390"/>
                    </a:lnTo>
                    <a:lnTo>
                      <a:pt x="40" y="1402"/>
                    </a:lnTo>
                    <a:lnTo>
                      <a:pt x="48" y="1414"/>
                    </a:lnTo>
                    <a:lnTo>
                      <a:pt x="60" y="1438"/>
                    </a:lnTo>
                    <a:lnTo>
                      <a:pt x="66" y="1452"/>
                    </a:lnTo>
                    <a:lnTo>
                      <a:pt x="68" y="1462"/>
                    </a:lnTo>
                    <a:lnTo>
                      <a:pt x="68" y="1482"/>
                    </a:lnTo>
                    <a:lnTo>
                      <a:pt x="70" y="1494"/>
                    </a:lnTo>
                    <a:lnTo>
                      <a:pt x="72" y="1510"/>
                    </a:lnTo>
                    <a:lnTo>
                      <a:pt x="76" y="1530"/>
                    </a:lnTo>
                    <a:lnTo>
                      <a:pt x="86" y="1556"/>
                    </a:lnTo>
                    <a:lnTo>
                      <a:pt x="96" y="1580"/>
                    </a:lnTo>
                    <a:lnTo>
                      <a:pt x="100" y="1598"/>
                    </a:lnTo>
                    <a:lnTo>
                      <a:pt x="102" y="1610"/>
                    </a:lnTo>
                    <a:lnTo>
                      <a:pt x="100" y="1620"/>
                    </a:lnTo>
                    <a:lnTo>
                      <a:pt x="96" y="1632"/>
                    </a:lnTo>
                    <a:lnTo>
                      <a:pt x="94" y="1638"/>
                    </a:lnTo>
                    <a:lnTo>
                      <a:pt x="94" y="1646"/>
                    </a:lnTo>
                    <a:lnTo>
                      <a:pt x="96" y="1656"/>
                    </a:lnTo>
                    <a:lnTo>
                      <a:pt x="96" y="1664"/>
                    </a:lnTo>
                    <a:lnTo>
                      <a:pt x="94" y="1672"/>
                    </a:lnTo>
                    <a:lnTo>
                      <a:pt x="92" y="1678"/>
                    </a:lnTo>
                    <a:lnTo>
                      <a:pt x="88" y="1682"/>
                    </a:lnTo>
                    <a:lnTo>
                      <a:pt x="84" y="1684"/>
                    </a:lnTo>
                    <a:lnTo>
                      <a:pt x="80" y="1684"/>
                    </a:lnTo>
                    <a:lnTo>
                      <a:pt x="74" y="1684"/>
                    </a:lnTo>
                    <a:lnTo>
                      <a:pt x="70" y="1684"/>
                    </a:lnTo>
                    <a:lnTo>
                      <a:pt x="68" y="1688"/>
                    </a:lnTo>
                    <a:lnTo>
                      <a:pt x="66" y="1694"/>
                    </a:lnTo>
                    <a:lnTo>
                      <a:pt x="66" y="1702"/>
                    </a:lnTo>
                    <a:lnTo>
                      <a:pt x="68" y="1710"/>
                    </a:lnTo>
                    <a:lnTo>
                      <a:pt x="70" y="1716"/>
                    </a:lnTo>
                    <a:lnTo>
                      <a:pt x="76" y="1722"/>
                    </a:lnTo>
                    <a:lnTo>
                      <a:pt x="82" y="1722"/>
                    </a:lnTo>
                    <a:lnTo>
                      <a:pt x="88" y="1722"/>
                    </a:lnTo>
                    <a:lnTo>
                      <a:pt x="92" y="1726"/>
                    </a:lnTo>
                    <a:lnTo>
                      <a:pt x="104" y="1738"/>
                    </a:lnTo>
                    <a:lnTo>
                      <a:pt x="114" y="1746"/>
                    </a:lnTo>
                    <a:lnTo>
                      <a:pt x="124" y="1754"/>
                    </a:lnTo>
                    <a:lnTo>
                      <a:pt x="138" y="1760"/>
                    </a:lnTo>
                    <a:lnTo>
                      <a:pt x="156" y="1762"/>
                    </a:lnTo>
                    <a:lnTo>
                      <a:pt x="174" y="1764"/>
                    </a:lnTo>
                    <a:lnTo>
                      <a:pt x="188" y="1760"/>
                    </a:lnTo>
                    <a:lnTo>
                      <a:pt x="200" y="1756"/>
                    </a:lnTo>
                    <a:lnTo>
                      <a:pt x="208" y="1750"/>
                    </a:lnTo>
                    <a:lnTo>
                      <a:pt x="222" y="1736"/>
                    </a:lnTo>
                    <a:lnTo>
                      <a:pt x="230" y="1732"/>
                    </a:lnTo>
                    <a:lnTo>
                      <a:pt x="238" y="1730"/>
                    </a:lnTo>
                    <a:lnTo>
                      <a:pt x="246" y="1728"/>
                    </a:lnTo>
                    <a:lnTo>
                      <a:pt x="252" y="1724"/>
                    </a:lnTo>
                    <a:lnTo>
                      <a:pt x="254" y="1720"/>
                    </a:lnTo>
                    <a:lnTo>
                      <a:pt x="258" y="1714"/>
                    </a:lnTo>
                    <a:lnTo>
                      <a:pt x="260" y="1708"/>
                    </a:lnTo>
                    <a:lnTo>
                      <a:pt x="264" y="1704"/>
                    </a:lnTo>
                    <a:lnTo>
                      <a:pt x="270" y="1702"/>
                    </a:lnTo>
                    <a:lnTo>
                      <a:pt x="278" y="1700"/>
                    </a:lnTo>
                    <a:lnTo>
                      <a:pt x="290" y="1700"/>
                    </a:lnTo>
                    <a:lnTo>
                      <a:pt x="300" y="1700"/>
                    </a:lnTo>
                    <a:lnTo>
                      <a:pt x="316" y="1696"/>
                    </a:lnTo>
                    <a:lnTo>
                      <a:pt x="322" y="1694"/>
                    </a:lnTo>
                    <a:lnTo>
                      <a:pt x="328" y="1694"/>
                    </a:lnTo>
                    <a:lnTo>
                      <a:pt x="336" y="1694"/>
                    </a:lnTo>
                    <a:lnTo>
                      <a:pt x="344" y="1698"/>
                    </a:lnTo>
                    <a:lnTo>
                      <a:pt x="354" y="1702"/>
                    </a:lnTo>
                    <a:lnTo>
                      <a:pt x="360" y="1704"/>
                    </a:lnTo>
                    <a:lnTo>
                      <a:pt x="364" y="1704"/>
                    </a:lnTo>
                    <a:lnTo>
                      <a:pt x="368" y="1702"/>
                    </a:lnTo>
                    <a:lnTo>
                      <a:pt x="372" y="1698"/>
                    </a:lnTo>
                    <a:lnTo>
                      <a:pt x="378" y="1698"/>
                    </a:lnTo>
                    <a:lnTo>
                      <a:pt x="386" y="1698"/>
                    </a:lnTo>
                    <a:lnTo>
                      <a:pt x="398" y="1702"/>
                    </a:lnTo>
                    <a:lnTo>
                      <a:pt x="406" y="1702"/>
                    </a:lnTo>
                    <a:lnTo>
                      <a:pt x="410" y="1702"/>
                    </a:lnTo>
                    <a:lnTo>
                      <a:pt x="416" y="1702"/>
                    </a:lnTo>
                    <a:lnTo>
                      <a:pt x="420" y="1698"/>
                    </a:lnTo>
                    <a:lnTo>
                      <a:pt x="426" y="1690"/>
                    </a:lnTo>
                    <a:lnTo>
                      <a:pt x="430" y="1678"/>
                    </a:lnTo>
                    <a:lnTo>
                      <a:pt x="434" y="1668"/>
                    </a:lnTo>
                    <a:lnTo>
                      <a:pt x="438" y="1656"/>
                    </a:lnTo>
                    <a:lnTo>
                      <a:pt x="446" y="1650"/>
                    </a:lnTo>
                    <a:lnTo>
                      <a:pt x="450" y="1646"/>
                    </a:lnTo>
                    <a:lnTo>
                      <a:pt x="454" y="1646"/>
                    </a:lnTo>
                    <a:lnTo>
                      <a:pt x="464" y="1644"/>
                    </a:lnTo>
                    <a:lnTo>
                      <a:pt x="472" y="1640"/>
                    </a:lnTo>
                    <a:lnTo>
                      <a:pt x="484" y="1628"/>
                    </a:lnTo>
                    <a:lnTo>
                      <a:pt x="492" y="1622"/>
                    </a:lnTo>
                    <a:lnTo>
                      <a:pt x="502" y="1616"/>
                    </a:lnTo>
                    <a:lnTo>
                      <a:pt x="514" y="1614"/>
                    </a:lnTo>
                    <a:lnTo>
                      <a:pt x="530" y="1614"/>
                    </a:lnTo>
                    <a:lnTo>
                      <a:pt x="544" y="1614"/>
                    </a:lnTo>
                    <a:lnTo>
                      <a:pt x="556" y="1614"/>
                    </a:lnTo>
                    <a:lnTo>
                      <a:pt x="578" y="1610"/>
                    </a:lnTo>
                    <a:lnTo>
                      <a:pt x="596" y="1602"/>
                    </a:lnTo>
                    <a:lnTo>
                      <a:pt x="614" y="1594"/>
                    </a:lnTo>
                    <a:lnTo>
                      <a:pt x="630" y="1586"/>
                    </a:lnTo>
                    <a:lnTo>
                      <a:pt x="644" y="1580"/>
                    </a:lnTo>
                    <a:lnTo>
                      <a:pt x="660" y="1574"/>
                    </a:lnTo>
                    <a:lnTo>
                      <a:pt x="668" y="1574"/>
                    </a:lnTo>
                    <a:lnTo>
                      <a:pt x="676" y="1574"/>
                    </a:lnTo>
                    <a:lnTo>
                      <a:pt x="696" y="1578"/>
                    </a:lnTo>
                    <a:lnTo>
                      <a:pt x="706" y="1576"/>
                    </a:lnTo>
                    <a:lnTo>
                      <a:pt x="712" y="1574"/>
                    </a:lnTo>
                    <a:lnTo>
                      <a:pt x="716" y="1572"/>
                    </a:lnTo>
                    <a:lnTo>
                      <a:pt x="718" y="1570"/>
                    </a:lnTo>
                    <a:lnTo>
                      <a:pt x="724" y="1572"/>
                    </a:lnTo>
                    <a:lnTo>
                      <a:pt x="752" y="1586"/>
                    </a:lnTo>
                    <a:lnTo>
                      <a:pt x="772" y="1596"/>
                    </a:lnTo>
                    <a:lnTo>
                      <a:pt x="786" y="1602"/>
                    </a:lnTo>
                    <a:lnTo>
                      <a:pt x="798" y="1606"/>
                    </a:lnTo>
                    <a:lnTo>
                      <a:pt x="806" y="1606"/>
                    </a:lnTo>
                    <a:lnTo>
                      <a:pt x="822" y="1608"/>
                    </a:lnTo>
                    <a:lnTo>
                      <a:pt x="828" y="1612"/>
                    </a:lnTo>
                    <a:lnTo>
                      <a:pt x="838" y="1618"/>
                    </a:lnTo>
                    <a:lnTo>
                      <a:pt x="846" y="1626"/>
                    </a:lnTo>
                    <a:lnTo>
                      <a:pt x="848" y="1632"/>
                    </a:lnTo>
                    <a:lnTo>
                      <a:pt x="848" y="1636"/>
                    </a:lnTo>
                    <a:lnTo>
                      <a:pt x="846" y="1642"/>
                    </a:lnTo>
                    <a:lnTo>
                      <a:pt x="844" y="1646"/>
                    </a:lnTo>
                    <a:lnTo>
                      <a:pt x="844" y="1650"/>
                    </a:lnTo>
                    <a:lnTo>
                      <a:pt x="848" y="1656"/>
                    </a:lnTo>
                    <a:lnTo>
                      <a:pt x="860" y="1662"/>
                    </a:lnTo>
                    <a:lnTo>
                      <a:pt x="866" y="1666"/>
                    </a:lnTo>
                    <a:lnTo>
                      <a:pt x="870" y="1672"/>
                    </a:lnTo>
                    <a:lnTo>
                      <a:pt x="876" y="1682"/>
                    </a:lnTo>
                    <a:lnTo>
                      <a:pt x="880" y="1694"/>
                    </a:lnTo>
                    <a:lnTo>
                      <a:pt x="882" y="1708"/>
                    </a:lnTo>
                    <a:lnTo>
                      <a:pt x="884" y="1722"/>
                    </a:lnTo>
                    <a:lnTo>
                      <a:pt x="886" y="1732"/>
                    </a:lnTo>
                    <a:lnTo>
                      <a:pt x="892" y="1742"/>
                    </a:lnTo>
                    <a:lnTo>
                      <a:pt x="894" y="1746"/>
                    </a:lnTo>
                    <a:lnTo>
                      <a:pt x="900" y="1748"/>
                    </a:lnTo>
                    <a:lnTo>
                      <a:pt x="914" y="1756"/>
                    </a:lnTo>
                    <a:lnTo>
                      <a:pt x="914" y="1758"/>
                    </a:lnTo>
                    <a:lnTo>
                      <a:pt x="914" y="1756"/>
                    </a:lnTo>
                    <a:lnTo>
                      <a:pt x="914" y="1750"/>
                    </a:lnTo>
                    <a:lnTo>
                      <a:pt x="916" y="1742"/>
                    </a:lnTo>
                    <a:lnTo>
                      <a:pt x="920" y="1730"/>
                    </a:lnTo>
                    <a:lnTo>
                      <a:pt x="932" y="1716"/>
                    </a:lnTo>
                    <a:lnTo>
                      <a:pt x="944" y="1702"/>
                    </a:lnTo>
                    <a:lnTo>
                      <a:pt x="952" y="1694"/>
                    </a:lnTo>
                    <a:lnTo>
                      <a:pt x="958" y="1690"/>
                    </a:lnTo>
                    <a:lnTo>
                      <a:pt x="962" y="1690"/>
                    </a:lnTo>
                    <a:lnTo>
                      <a:pt x="964" y="1690"/>
                    </a:lnTo>
                    <a:lnTo>
                      <a:pt x="966" y="1680"/>
                    </a:lnTo>
                    <a:lnTo>
                      <a:pt x="968" y="1672"/>
                    </a:lnTo>
                    <a:lnTo>
                      <a:pt x="972" y="1666"/>
                    </a:lnTo>
                    <a:lnTo>
                      <a:pt x="980" y="1658"/>
                    </a:lnTo>
                    <a:lnTo>
                      <a:pt x="986" y="1650"/>
                    </a:lnTo>
                    <a:lnTo>
                      <a:pt x="988" y="1646"/>
                    </a:lnTo>
                    <a:lnTo>
                      <a:pt x="990" y="1640"/>
                    </a:lnTo>
                    <a:lnTo>
                      <a:pt x="990" y="1632"/>
                    </a:lnTo>
                    <a:lnTo>
                      <a:pt x="990" y="1630"/>
                    </a:lnTo>
                    <a:lnTo>
                      <a:pt x="990" y="1632"/>
                    </a:lnTo>
                    <a:lnTo>
                      <a:pt x="998" y="1646"/>
                    </a:lnTo>
                    <a:lnTo>
                      <a:pt x="998" y="1654"/>
                    </a:lnTo>
                    <a:lnTo>
                      <a:pt x="996" y="1664"/>
                    </a:lnTo>
                    <a:lnTo>
                      <a:pt x="988" y="1686"/>
                    </a:lnTo>
                    <a:lnTo>
                      <a:pt x="980" y="1710"/>
                    </a:lnTo>
                    <a:lnTo>
                      <a:pt x="978" y="1718"/>
                    </a:lnTo>
                    <a:lnTo>
                      <a:pt x="978" y="1726"/>
                    </a:lnTo>
                    <a:lnTo>
                      <a:pt x="980" y="1736"/>
                    </a:lnTo>
                    <a:lnTo>
                      <a:pt x="980" y="1746"/>
                    </a:lnTo>
                    <a:lnTo>
                      <a:pt x="976" y="1750"/>
                    </a:lnTo>
                    <a:lnTo>
                      <a:pt x="972" y="1752"/>
                    </a:lnTo>
                    <a:lnTo>
                      <a:pt x="968" y="1752"/>
                    </a:lnTo>
                    <a:lnTo>
                      <a:pt x="964" y="1754"/>
                    </a:lnTo>
                    <a:lnTo>
                      <a:pt x="960" y="1756"/>
                    </a:lnTo>
                    <a:lnTo>
                      <a:pt x="956" y="1758"/>
                    </a:lnTo>
                    <a:lnTo>
                      <a:pt x="954" y="1762"/>
                    </a:lnTo>
                    <a:lnTo>
                      <a:pt x="954" y="1766"/>
                    </a:lnTo>
                    <a:lnTo>
                      <a:pt x="958" y="1770"/>
                    </a:lnTo>
                    <a:lnTo>
                      <a:pt x="962" y="1770"/>
                    </a:lnTo>
                    <a:lnTo>
                      <a:pt x="972" y="1770"/>
                    </a:lnTo>
                    <a:lnTo>
                      <a:pt x="978" y="1770"/>
                    </a:lnTo>
                    <a:lnTo>
                      <a:pt x="982" y="1766"/>
                    </a:lnTo>
                    <a:lnTo>
                      <a:pt x="990" y="1758"/>
                    </a:lnTo>
                    <a:lnTo>
                      <a:pt x="994" y="1750"/>
                    </a:lnTo>
                    <a:lnTo>
                      <a:pt x="996" y="1740"/>
                    </a:lnTo>
                    <a:lnTo>
                      <a:pt x="1000" y="1730"/>
                    </a:lnTo>
                    <a:lnTo>
                      <a:pt x="1002" y="1726"/>
                    </a:lnTo>
                    <a:lnTo>
                      <a:pt x="1004" y="1726"/>
                    </a:lnTo>
                    <a:lnTo>
                      <a:pt x="1006" y="1726"/>
                    </a:lnTo>
                    <a:lnTo>
                      <a:pt x="1012" y="1734"/>
                    </a:lnTo>
                    <a:lnTo>
                      <a:pt x="1016" y="1744"/>
                    </a:lnTo>
                    <a:lnTo>
                      <a:pt x="1018" y="1754"/>
                    </a:lnTo>
                    <a:lnTo>
                      <a:pt x="1016" y="1762"/>
                    </a:lnTo>
                    <a:lnTo>
                      <a:pt x="1014" y="1770"/>
                    </a:lnTo>
                    <a:lnTo>
                      <a:pt x="1006" y="1784"/>
                    </a:lnTo>
                    <a:lnTo>
                      <a:pt x="1004" y="1788"/>
                    </a:lnTo>
                    <a:lnTo>
                      <a:pt x="1006" y="1792"/>
                    </a:lnTo>
                    <a:lnTo>
                      <a:pt x="1008" y="1794"/>
                    </a:lnTo>
                    <a:lnTo>
                      <a:pt x="1012" y="1794"/>
                    </a:lnTo>
                    <a:lnTo>
                      <a:pt x="1020" y="1792"/>
                    </a:lnTo>
                    <a:lnTo>
                      <a:pt x="1030" y="1792"/>
                    </a:lnTo>
                    <a:lnTo>
                      <a:pt x="1036" y="1792"/>
                    </a:lnTo>
                    <a:lnTo>
                      <a:pt x="1042" y="1794"/>
                    </a:lnTo>
                    <a:lnTo>
                      <a:pt x="1048" y="1800"/>
                    </a:lnTo>
                    <a:lnTo>
                      <a:pt x="1054" y="1806"/>
                    </a:lnTo>
                    <a:lnTo>
                      <a:pt x="1060" y="1814"/>
                    </a:lnTo>
                    <a:lnTo>
                      <a:pt x="1066" y="1824"/>
                    </a:lnTo>
                    <a:lnTo>
                      <a:pt x="1070" y="1832"/>
                    </a:lnTo>
                    <a:lnTo>
                      <a:pt x="1072" y="1842"/>
                    </a:lnTo>
                    <a:lnTo>
                      <a:pt x="1072" y="1850"/>
                    </a:lnTo>
                    <a:lnTo>
                      <a:pt x="1070" y="1858"/>
                    </a:lnTo>
                    <a:lnTo>
                      <a:pt x="1068" y="1866"/>
                    </a:lnTo>
                    <a:lnTo>
                      <a:pt x="1068" y="1874"/>
                    </a:lnTo>
                    <a:lnTo>
                      <a:pt x="1074" y="1886"/>
                    </a:lnTo>
                    <a:lnTo>
                      <a:pt x="1080" y="1896"/>
                    </a:lnTo>
                    <a:lnTo>
                      <a:pt x="1088" y="1904"/>
                    </a:lnTo>
                    <a:lnTo>
                      <a:pt x="1098" y="1914"/>
                    </a:lnTo>
                    <a:lnTo>
                      <a:pt x="1106" y="1920"/>
                    </a:lnTo>
                    <a:lnTo>
                      <a:pt x="1114" y="1924"/>
                    </a:lnTo>
                    <a:lnTo>
                      <a:pt x="1120" y="1926"/>
                    </a:lnTo>
                    <a:lnTo>
                      <a:pt x="1126" y="1930"/>
                    </a:lnTo>
                    <a:lnTo>
                      <a:pt x="1134" y="1938"/>
                    </a:lnTo>
                    <a:lnTo>
                      <a:pt x="1138" y="1944"/>
                    </a:lnTo>
                    <a:lnTo>
                      <a:pt x="1142" y="1944"/>
                    </a:lnTo>
                    <a:lnTo>
                      <a:pt x="1146" y="1942"/>
                    </a:lnTo>
                    <a:lnTo>
                      <a:pt x="1152" y="1936"/>
                    </a:lnTo>
                    <a:lnTo>
                      <a:pt x="1156" y="1936"/>
                    </a:lnTo>
                    <a:lnTo>
                      <a:pt x="1160" y="1936"/>
                    </a:lnTo>
                    <a:lnTo>
                      <a:pt x="1176" y="1942"/>
                    </a:lnTo>
                    <a:lnTo>
                      <a:pt x="1198" y="1956"/>
                    </a:lnTo>
                    <a:lnTo>
                      <a:pt x="1210" y="1962"/>
                    </a:lnTo>
                    <a:lnTo>
                      <a:pt x="1218" y="1964"/>
                    </a:lnTo>
                    <a:lnTo>
                      <a:pt x="1224" y="1964"/>
                    </a:lnTo>
                    <a:lnTo>
                      <a:pt x="1230" y="1960"/>
                    </a:lnTo>
                    <a:lnTo>
                      <a:pt x="1238" y="1952"/>
                    </a:lnTo>
                    <a:lnTo>
                      <a:pt x="1244" y="1946"/>
                    </a:lnTo>
                    <a:lnTo>
                      <a:pt x="1252" y="1940"/>
                    </a:lnTo>
                    <a:lnTo>
                      <a:pt x="1260" y="1936"/>
                    </a:lnTo>
                    <a:lnTo>
                      <a:pt x="1264" y="1930"/>
                    </a:lnTo>
                    <a:lnTo>
                      <a:pt x="1270" y="1920"/>
                    </a:lnTo>
                    <a:lnTo>
                      <a:pt x="1270" y="1918"/>
                    </a:lnTo>
                    <a:lnTo>
                      <a:pt x="1272" y="1916"/>
                    </a:lnTo>
                    <a:lnTo>
                      <a:pt x="1276" y="1916"/>
                    </a:lnTo>
                    <a:lnTo>
                      <a:pt x="1282" y="1918"/>
                    </a:lnTo>
                    <a:lnTo>
                      <a:pt x="1286" y="1924"/>
                    </a:lnTo>
                    <a:lnTo>
                      <a:pt x="1288" y="1928"/>
                    </a:lnTo>
                    <a:lnTo>
                      <a:pt x="1284" y="1930"/>
                    </a:lnTo>
                    <a:lnTo>
                      <a:pt x="1280" y="1934"/>
                    </a:lnTo>
                    <a:lnTo>
                      <a:pt x="1274" y="1940"/>
                    </a:lnTo>
                    <a:lnTo>
                      <a:pt x="1274" y="1944"/>
                    </a:lnTo>
                    <a:lnTo>
                      <a:pt x="1278" y="1946"/>
                    </a:lnTo>
                    <a:lnTo>
                      <a:pt x="1282" y="1948"/>
                    </a:lnTo>
                    <a:lnTo>
                      <a:pt x="1288" y="1948"/>
                    </a:lnTo>
                    <a:lnTo>
                      <a:pt x="1290" y="1944"/>
                    </a:lnTo>
                    <a:lnTo>
                      <a:pt x="1292" y="1942"/>
                    </a:lnTo>
                    <a:lnTo>
                      <a:pt x="1296" y="1936"/>
                    </a:lnTo>
                    <a:lnTo>
                      <a:pt x="1296" y="1942"/>
                    </a:lnTo>
                    <a:lnTo>
                      <a:pt x="1298" y="1948"/>
                    </a:lnTo>
                    <a:lnTo>
                      <a:pt x="1300" y="1952"/>
                    </a:lnTo>
                    <a:lnTo>
                      <a:pt x="1306" y="1956"/>
                    </a:lnTo>
                    <a:lnTo>
                      <a:pt x="1316" y="1964"/>
                    </a:lnTo>
                    <a:lnTo>
                      <a:pt x="1324" y="1970"/>
                    </a:lnTo>
                    <a:lnTo>
                      <a:pt x="1334" y="1982"/>
                    </a:lnTo>
                    <a:lnTo>
                      <a:pt x="1338" y="1988"/>
                    </a:lnTo>
                    <a:lnTo>
                      <a:pt x="1340" y="1988"/>
                    </a:lnTo>
                    <a:lnTo>
                      <a:pt x="1340" y="1980"/>
                    </a:lnTo>
                    <a:lnTo>
                      <a:pt x="1340" y="1974"/>
                    </a:lnTo>
                    <a:lnTo>
                      <a:pt x="1340" y="1968"/>
                    </a:lnTo>
                    <a:lnTo>
                      <a:pt x="1342" y="1962"/>
                    </a:lnTo>
                    <a:lnTo>
                      <a:pt x="1346" y="1960"/>
                    </a:lnTo>
                    <a:lnTo>
                      <a:pt x="1354" y="1956"/>
                    </a:lnTo>
                    <a:lnTo>
                      <a:pt x="1362" y="1950"/>
                    </a:lnTo>
                    <a:lnTo>
                      <a:pt x="1386" y="1930"/>
                    </a:lnTo>
                    <a:lnTo>
                      <a:pt x="1398" y="1920"/>
                    </a:lnTo>
                    <a:lnTo>
                      <a:pt x="1412" y="1912"/>
                    </a:lnTo>
                    <a:lnTo>
                      <a:pt x="1428" y="1908"/>
                    </a:lnTo>
                    <a:lnTo>
                      <a:pt x="1434" y="1908"/>
                    </a:lnTo>
                    <a:lnTo>
                      <a:pt x="1442" y="1908"/>
                    </a:lnTo>
                    <a:lnTo>
                      <a:pt x="1456" y="1910"/>
                    </a:lnTo>
                    <a:lnTo>
                      <a:pt x="1466" y="1906"/>
                    </a:lnTo>
                    <a:lnTo>
                      <a:pt x="1474" y="1902"/>
                    </a:lnTo>
                    <a:lnTo>
                      <a:pt x="1478" y="1896"/>
                    </a:lnTo>
                    <a:lnTo>
                      <a:pt x="1482" y="1890"/>
                    </a:lnTo>
                    <a:lnTo>
                      <a:pt x="1482" y="1884"/>
                    </a:lnTo>
                    <a:lnTo>
                      <a:pt x="1482" y="1878"/>
                    </a:lnTo>
                    <a:lnTo>
                      <a:pt x="1478" y="1874"/>
                    </a:lnTo>
                    <a:lnTo>
                      <a:pt x="1476" y="1870"/>
                    </a:lnTo>
                    <a:lnTo>
                      <a:pt x="1476" y="1866"/>
                    </a:lnTo>
                    <a:lnTo>
                      <a:pt x="1480" y="1856"/>
                    </a:lnTo>
                    <a:lnTo>
                      <a:pt x="1486" y="1842"/>
                    </a:lnTo>
                    <a:lnTo>
                      <a:pt x="1488" y="1836"/>
                    </a:lnTo>
                    <a:lnTo>
                      <a:pt x="1488" y="1828"/>
                    </a:lnTo>
                    <a:lnTo>
                      <a:pt x="1490" y="1812"/>
                    </a:lnTo>
                    <a:lnTo>
                      <a:pt x="1494" y="1794"/>
                    </a:lnTo>
                    <a:lnTo>
                      <a:pt x="1502" y="1776"/>
                    </a:lnTo>
                    <a:lnTo>
                      <a:pt x="1506" y="1770"/>
                    </a:lnTo>
                    <a:lnTo>
                      <a:pt x="1510" y="1766"/>
                    </a:lnTo>
                    <a:lnTo>
                      <a:pt x="1514" y="1760"/>
                    </a:lnTo>
                    <a:lnTo>
                      <a:pt x="1518" y="1750"/>
                    </a:lnTo>
                    <a:lnTo>
                      <a:pt x="1526" y="1718"/>
                    </a:lnTo>
                    <a:lnTo>
                      <a:pt x="1530" y="1700"/>
                    </a:lnTo>
                    <a:lnTo>
                      <a:pt x="1538" y="1680"/>
                    </a:lnTo>
                    <a:lnTo>
                      <a:pt x="1548" y="1662"/>
                    </a:lnTo>
                    <a:lnTo>
                      <a:pt x="1554" y="1654"/>
                    </a:lnTo>
                    <a:lnTo>
                      <a:pt x="1562" y="1646"/>
                    </a:lnTo>
                    <a:lnTo>
                      <a:pt x="1574" y="1634"/>
                    </a:lnTo>
                    <a:lnTo>
                      <a:pt x="1582" y="1626"/>
                    </a:lnTo>
                    <a:lnTo>
                      <a:pt x="1586" y="1618"/>
                    </a:lnTo>
                    <a:lnTo>
                      <a:pt x="1588" y="1612"/>
                    </a:lnTo>
                    <a:lnTo>
                      <a:pt x="1588" y="1604"/>
                    </a:lnTo>
                    <a:lnTo>
                      <a:pt x="1590" y="1598"/>
                    </a:lnTo>
                    <a:lnTo>
                      <a:pt x="1594" y="1590"/>
                    </a:lnTo>
                    <a:lnTo>
                      <a:pt x="1598" y="1576"/>
                    </a:lnTo>
                    <a:lnTo>
                      <a:pt x="1602" y="1566"/>
                    </a:lnTo>
                    <a:lnTo>
                      <a:pt x="1602" y="1556"/>
                    </a:lnTo>
                    <a:lnTo>
                      <a:pt x="1602" y="1546"/>
                    </a:lnTo>
                    <a:lnTo>
                      <a:pt x="1602" y="1532"/>
                    </a:lnTo>
                    <a:lnTo>
                      <a:pt x="1604" y="1524"/>
                    </a:lnTo>
                    <a:lnTo>
                      <a:pt x="1606" y="1516"/>
                    </a:lnTo>
                    <a:lnTo>
                      <a:pt x="1612" y="1504"/>
                    </a:lnTo>
                    <a:lnTo>
                      <a:pt x="1614" y="1494"/>
                    </a:lnTo>
                    <a:lnTo>
                      <a:pt x="1616" y="1476"/>
                    </a:lnTo>
                    <a:lnTo>
                      <a:pt x="1618" y="1458"/>
                    </a:lnTo>
                    <a:lnTo>
                      <a:pt x="1620" y="1448"/>
                    </a:lnTo>
                    <a:lnTo>
                      <a:pt x="1626" y="1438"/>
                    </a:lnTo>
                    <a:lnTo>
                      <a:pt x="1628" y="1432"/>
                    </a:lnTo>
                    <a:lnTo>
                      <a:pt x="1630" y="1426"/>
                    </a:lnTo>
                    <a:lnTo>
                      <a:pt x="1628" y="1412"/>
                    </a:lnTo>
                    <a:lnTo>
                      <a:pt x="1626" y="1398"/>
                    </a:lnTo>
                    <a:lnTo>
                      <a:pt x="1622" y="1384"/>
                    </a:lnTo>
                    <a:lnTo>
                      <a:pt x="1612" y="1358"/>
                    </a:lnTo>
                    <a:lnTo>
                      <a:pt x="1610" y="1350"/>
                    </a:lnTo>
                    <a:lnTo>
                      <a:pt x="1610" y="1344"/>
                    </a:lnTo>
                    <a:close/>
                    <a:moveTo>
                      <a:pt x="1412" y="2026"/>
                    </a:moveTo>
                    <a:lnTo>
                      <a:pt x="1412" y="2026"/>
                    </a:lnTo>
                    <a:lnTo>
                      <a:pt x="1408" y="2024"/>
                    </a:lnTo>
                    <a:lnTo>
                      <a:pt x="1406" y="2020"/>
                    </a:lnTo>
                    <a:lnTo>
                      <a:pt x="1404" y="2016"/>
                    </a:lnTo>
                    <a:lnTo>
                      <a:pt x="1402" y="2014"/>
                    </a:lnTo>
                    <a:lnTo>
                      <a:pt x="1400" y="2014"/>
                    </a:lnTo>
                    <a:lnTo>
                      <a:pt x="1396" y="2018"/>
                    </a:lnTo>
                    <a:lnTo>
                      <a:pt x="1392" y="2022"/>
                    </a:lnTo>
                    <a:lnTo>
                      <a:pt x="1392" y="2024"/>
                    </a:lnTo>
                    <a:lnTo>
                      <a:pt x="1394" y="2024"/>
                    </a:lnTo>
                    <a:lnTo>
                      <a:pt x="1396" y="2026"/>
                    </a:lnTo>
                    <a:lnTo>
                      <a:pt x="1398" y="2028"/>
                    </a:lnTo>
                    <a:lnTo>
                      <a:pt x="1400" y="2038"/>
                    </a:lnTo>
                    <a:lnTo>
                      <a:pt x="1402" y="2040"/>
                    </a:lnTo>
                    <a:lnTo>
                      <a:pt x="1404" y="2042"/>
                    </a:lnTo>
                    <a:lnTo>
                      <a:pt x="1410" y="2044"/>
                    </a:lnTo>
                    <a:lnTo>
                      <a:pt x="1414" y="2042"/>
                    </a:lnTo>
                    <a:lnTo>
                      <a:pt x="1414" y="2040"/>
                    </a:lnTo>
                    <a:lnTo>
                      <a:pt x="1414" y="2036"/>
                    </a:lnTo>
                    <a:lnTo>
                      <a:pt x="1412" y="2034"/>
                    </a:lnTo>
                    <a:lnTo>
                      <a:pt x="1412" y="2032"/>
                    </a:lnTo>
                    <a:lnTo>
                      <a:pt x="1414" y="2030"/>
                    </a:lnTo>
                    <a:lnTo>
                      <a:pt x="1416" y="2028"/>
                    </a:lnTo>
                    <a:lnTo>
                      <a:pt x="1412" y="2026"/>
                    </a:lnTo>
                    <a:close/>
                    <a:moveTo>
                      <a:pt x="1708" y="300"/>
                    </a:moveTo>
                    <a:lnTo>
                      <a:pt x="1708" y="300"/>
                    </a:lnTo>
                    <a:lnTo>
                      <a:pt x="1704" y="298"/>
                    </a:lnTo>
                    <a:lnTo>
                      <a:pt x="1700" y="294"/>
                    </a:lnTo>
                    <a:lnTo>
                      <a:pt x="1694" y="284"/>
                    </a:lnTo>
                    <a:lnTo>
                      <a:pt x="1688" y="274"/>
                    </a:lnTo>
                    <a:lnTo>
                      <a:pt x="1686" y="272"/>
                    </a:lnTo>
                    <a:lnTo>
                      <a:pt x="1682" y="268"/>
                    </a:lnTo>
                    <a:lnTo>
                      <a:pt x="1678" y="266"/>
                    </a:lnTo>
                    <a:lnTo>
                      <a:pt x="1676" y="262"/>
                    </a:lnTo>
                    <a:lnTo>
                      <a:pt x="1672" y="252"/>
                    </a:lnTo>
                    <a:lnTo>
                      <a:pt x="1668" y="244"/>
                    </a:lnTo>
                    <a:lnTo>
                      <a:pt x="1668" y="242"/>
                    </a:lnTo>
                    <a:lnTo>
                      <a:pt x="1664" y="244"/>
                    </a:lnTo>
                    <a:lnTo>
                      <a:pt x="1662" y="248"/>
                    </a:lnTo>
                    <a:lnTo>
                      <a:pt x="1662" y="250"/>
                    </a:lnTo>
                    <a:lnTo>
                      <a:pt x="1666" y="256"/>
                    </a:lnTo>
                    <a:lnTo>
                      <a:pt x="1670" y="264"/>
                    </a:lnTo>
                    <a:lnTo>
                      <a:pt x="1672" y="268"/>
                    </a:lnTo>
                    <a:lnTo>
                      <a:pt x="1672" y="276"/>
                    </a:lnTo>
                    <a:lnTo>
                      <a:pt x="1672" y="282"/>
                    </a:lnTo>
                    <a:lnTo>
                      <a:pt x="1672" y="288"/>
                    </a:lnTo>
                    <a:lnTo>
                      <a:pt x="1680" y="298"/>
                    </a:lnTo>
                    <a:lnTo>
                      <a:pt x="1688" y="306"/>
                    </a:lnTo>
                    <a:lnTo>
                      <a:pt x="1690" y="310"/>
                    </a:lnTo>
                    <a:lnTo>
                      <a:pt x="1692" y="316"/>
                    </a:lnTo>
                    <a:lnTo>
                      <a:pt x="1694" y="324"/>
                    </a:lnTo>
                    <a:lnTo>
                      <a:pt x="1700" y="330"/>
                    </a:lnTo>
                    <a:lnTo>
                      <a:pt x="1708" y="332"/>
                    </a:lnTo>
                    <a:lnTo>
                      <a:pt x="1716" y="330"/>
                    </a:lnTo>
                    <a:lnTo>
                      <a:pt x="1720" y="328"/>
                    </a:lnTo>
                    <a:lnTo>
                      <a:pt x="1722" y="326"/>
                    </a:lnTo>
                    <a:lnTo>
                      <a:pt x="1722" y="322"/>
                    </a:lnTo>
                    <a:lnTo>
                      <a:pt x="1720" y="316"/>
                    </a:lnTo>
                    <a:lnTo>
                      <a:pt x="1716" y="306"/>
                    </a:lnTo>
                    <a:lnTo>
                      <a:pt x="1712" y="304"/>
                    </a:lnTo>
                    <a:lnTo>
                      <a:pt x="1708" y="300"/>
                    </a:lnTo>
                    <a:close/>
                    <a:moveTo>
                      <a:pt x="1712" y="342"/>
                    </a:moveTo>
                    <a:lnTo>
                      <a:pt x="1712" y="342"/>
                    </a:lnTo>
                    <a:lnTo>
                      <a:pt x="1712" y="346"/>
                    </a:lnTo>
                    <a:lnTo>
                      <a:pt x="1716" y="346"/>
                    </a:lnTo>
                    <a:lnTo>
                      <a:pt x="1718" y="346"/>
                    </a:lnTo>
                    <a:lnTo>
                      <a:pt x="1720" y="344"/>
                    </a:lnTo>
                    <a:lnTo>
                      <a:pt x="1718" y="340"/>
                    </a:lnTo>
                    <a:lnTo>
                      <a:pt x="1716" y="338"/>
                    </a:lnTo>
                    <a:lnTo>
                      <a:pt x="1712" y="340"/>
                    </a:lnTo>
                    <a:lnTo>
                      <a:pt x="1712" y="342"/>
                    </a:lnTo>
                    <a:close/>
                    <a:moveTo>
                      <a:pt x="1238" y="2006"/>
                    </a:moveTo>
                    <a:lnTo>
                      <a:pt x="1238" y="2006"/>
                    </a:lnTo>
                    <a:lnTo>
                      <a:pt x="1236" y="2012"/>
                    </a:lnTo>
                    <a:lnTo>
                      <a:pt x="1234" y="2024"/>
                    </a:lnTo>
                    <a:lnTo>
                      <a:pt x="1236" y="2032"/>
                    </a:lnTo>
                    <a:lnTo>
                      <a:pt x="1240" y="2034"/>
                    </a:lnTo>
                    <a:lnTo>
                      <a:pt x="1242" y="2032"/>
                    </a:lnTo>
                    <a:lnTo>
                      <a:pt x="1244" y="2028"/>
                    </a:lnTo>
                    <a:lnTo>
                      <a:pt x="1246" y="2024"/>
                    </a:lnTo>
                    <a:lnTo>
                      <a:pt x="1246" y="2014"/>
                    </a:lnTo>
                    <a:lnTo>
                      <a:pt x="1242" y="2006"/>
                    </a:lnTo>
                    <a:lnTo>
                      <a:pt x="1240" y="2004"/>
                    </a:lnTo>
                    <a:lnTo>
                      <a:pt x="1238" y="2006"/>
                    </a:lnTo>
                    <a:close/>
                    <a:moveTo>
                      <a:pt x="1414" y="2116"/>
                    </a:moveTo>
                    <a:lnTo>
                      <a:pt x="1414" y="2116"/>
                    </a:lnTo>
                    <a:lnTo>
                      <a:pt x="1414" y="2106"/>
                    </a:lnTo>
                    <a:lnTo>
                      <a:pt x="1414" y="2096"/>
                    </a:lnTo>
                    <a:lnTo>
                      <a:pt x="1414" y="2088"/>
                    </a:lnTo>
                    <a:lnTo>
                      <a:pt x="1412" y="2082"/>
                    </a:lnTo>
                    <a:lnTo>
                      <a:pt x="1408" y="2076"/>
                    </a:lnTo>
                    <a:lnTo>
                      <a:pt x="1406" y="2072"/>
                    </a:lnTo>
                    <a:lnTo>
                      <a:pt x="1402" y="2072"/>
                    </a:lnTo>
                    <a:lnTo>
                      <a:pt x="1400" y="2074"/>
                    </a:lnTo>
                    <a:lnTo>
                      <a:pt x="1398" y="2078"/>
                    </a:lnTo>
                    <a:lnTo>
                      <a:pt x="1396" y="2078"/>
                    </a:lnTo>
                    <a:lnTo>
                      <a:pt x="1392" y="2076"/>
                    </a:lnTo>
                    <a:lnTo>
                      <a:pt x="1388" y="2076"/>
                    </a:lnTo>
                    <a:lnTo>
                      <a:pt x="1386" y="2078"/>
                    </a:lnTo>
                    <a:lnTo>
                      <a:pt x="1382" y="2080"/>
                    </a:lnTo>
                    <a:lnTo>
                      <a:pt x="1380" y="2082"/>
                    </a:lnTo>
                    <a:lnTo>
                      <a:pt x="1378" y="2082"/>
                    </a:lnTo>
                    <a:lnTo>
                      <a:pt x="1370" y="2082"/>
                    </a:lnTo>
                    <a:lnTo>
                      <a:pt x="1352" y="2088"/>
                    </a:lnTo>
                    <a:lnTo>
                      <a:pt x="1340" y="2092"/>
                    </a:lnTo>
                    <a:lnTo>
                      <a:pt x="1332" y="2094"/>
                    </a:lnTo>
                    <a:lnTo>
                      <a:pt x="1324" y="2092"/>
                    </a:lnTo>
                    <a:lnTo>
                      <a:pt x="1320" y="2088"/>
                    </a:lnTo>
                    <a:lnTo>
                      <a:pt x="1310" y="2080"/>
                    </a:lnTo>
                    <a:lnTo>
                      <a:pt x="1304" y="2076"/>
                    </a:lnTo>
                    <a:lnTo>
                      <a:pt x="1296" y="2076"/>
                    </a:lnTo>
                    <a:lnTo>
                      <a:pt x="1288" y="2074"/>
                    </a:lnTo>
                    <a:lnTo>
                      <a:pt x="1282" y="2072"/>
                    </a:lnTo>
                    <a:lnTo>
                      <a:pt x="1274" y="2066"/>
                    </a:lnTo>
                    <a:lnTo>
                      <a:pt x="1272" y="2064"/>
                    </a:lnTo>
                    <a:lnTo>
                      <a:pt x="1270" y="2064"/>
                    </a:lnTo>
                    <a:lnTo>
                      <a:pt x="1266" y="2078"/>
                    </a:lnTo>
                    <a:lnTo>
                      <a:pt x="1264" y="2086"/>
                    </a:lnTo>
                    <a:lnTo>
                      <a:pt x="1266" y="2094"/>
                    </a:lnTo>
                    <a:lnTo>
                      <a:pt x="1276" y="2118"/>
                    </a:lnTo>
                    <a:lnTo>
                      <a:pt x="1280" y="2130"/>
                    </a:lnTo>
                    <a:lnTo>
                      <a:pt x="1284" y="2134"/>
                    </a:lnTo>
                    <a:lnTo>
                      <a:pt x="1288" y="2136"/>
                    </a:lnTo>
                    <a:lnTo>
                      <a:pt x="1288" y="2144"/>
                    </a:lnTo>
                    <a:lnTo>
                      <a:pt x="1288" y="2158"/>
                    </a:lnTo>
                    <a:lnTo>
                      <a:pt x="1292" y="2174"/>
                    </a:lnTo>
                    <a:lnTo>
                      <a:pt x="1296" y="2186"/>
                    </a:lnTo>
                    <a:lnTo>
                      <a:pt x="1300" y="2192"/>
                    </a:lnTo>
                    <a:lnTo>
                      <a:pt x="1304" y="2198"/>
                    </a:lnTo>
                    <a:lnTo>
                      <a:pt x="1310" y="2202"/>
                    </a:lnTo>
                    <a:lnTo>
                      <a:pt x="1312" y="2206"/>
                    </a:lnTo>
                    <a:lnTo>
                      <a:pt x="1318" y="2216"/>
                    </a:lnTo>
                    <a:lnTo>
                      <a:pt x="1322" y="2224"/>
                    </a:lnTo>
                    <a:lnTo>
                      <a:pt x="1324" y="2226"/>
                    </a:lnTo>
                    <a:lnTo>
                      <a:pt x="1328" y="2226"/>
                    </a:lnTo>
                    <a:lnTo>
                      <a:pt x="1332" y="2226"/>
                    </a:lnTo>
                    <a:lnTo>
                      <a:pt x="1338" y="2226"/>
                    </a:lnTo>
                    <a:lnTo>
                      <a:pt x="1352" y="2230"/>
                    </a:lnTo>
                    <a:lnTo>
                      <a:pt x="1356" y="2232"/>
                    </a:lnTo>
                    <a:lnTo>
                      <a:pt x="1358" y="2230"/>
                    </a:lnTo>
                    <a:lnTo>
                      <a:pt x="1360" y="2226"/>
                    </a:lnTo>
                    <a:lnTo>
                      <a:pt x="1362" y="2220"/>
                    </a:lnTo>
                    <a:lnTo>
                      <a:pt x="1366" y="2214"/>
                    </a:lnTo>
                    <a:lnTo>
                      <a:pt x="1370" y="2212"/>
                    </a:lnTo>
                    <a:lnTo>
                      <a:pt x="1372" y="2208"/>
                    </a:lnTo>
                    <a:lnTo>
                      <a:pt x="1374" y="2200"/>
                    </a:lnTo>
                    <a:lnTo>
                      <a:pt x="1376" y="2194"/>
                    </a:lnTo>
                    <a:lnTo>
                      <a:pt x="1378" y="2194"/>
                    </a:lnTo>
                    <a:lnTo>
                      <a:pt x="1378" y="2196"/>
                    </a:lnTo>
                    <a:lnTo>
                      <a:pt x="1380" y="2198"/>
                    </a:lnTo>
                    <a:lnTo>
                      <a:pt x="1382" y="2198"/>
                    </a:lnTo>
                    <a:lnTo>
                      <a:pt x="1382" y="2194"/>
                    </a:lnTo>
                    <a:lnTo>
                      <a:pt x="1384" y="2190"/>
                    </a:lnTo>
                    <a:lnTo>
                      <a:pt x="1386" y="2188"/>
                    </a:lnTo>
                    <a:lnTo>
                      <a:pt x="1388" y="2188"/>
                    </a:lnTo>
                    <a:lnTo>
                      <a:pt x="1392" y="2192"/>
                    </a:lnTo>
                    <a:lnTo>
                      <a:pt x="1394" y="2194"/>
                    </a:lnTo>
                    <a:lnTo>
                      <a:pt x="1394" y="2196"/>
                    </a:lnTo>
                    <a:lnTo>
                      <a:pt x="1392" y="2196"/>
                    </a:lnTo>
                    <a:lnTo>
                      <a:pt x="1388" y="2198"/>
                    </a:lnTo>
                    <a:lnTo>
                      <a:pt x="1388" y="2202"/>
                    </a:lnTo>
                    <a:lnTo>
                      <a:pt x="1390" y="2206"/>
                    </a:lnTo>
                    <a:lnTo>
                      <a:pt x="1398" y="2210"/>
                    </a:lnTo>
                    <a:lnTo>
                      <a:pt x="1402" y="2208"/>
                    </a:lnTo>
                    <a:lnTo>
                      <a:pt x="1404" y="2206"/>
                    </a:lnTo>
                    <a:lnTo>
                      <a:pt x="1402" y="2194"/>
                    </a:lnTo>
                    <a:lnTo>
                      <a:pt x="1400" y="2180"/>
                    </a:lnTo>
                    <a:lnTo>
                      <a:pt x="1400" y="2174"/>
                    </a:lnTo>
                    <a:lnTo>
                      <a:pt x="1402" y="2170"/>
                    </a:lnTo>
                    <a:lnTo>
                      <a:pt x="1404" y="2168"/>
                    </a:lnTo>
                    <a:lnTo>
                      <a:pt x="1404" y="2166"/>
                    </a:lnTo>
                    <a:lnTo>
                      <a:pt x="1402" y="2160"/>
                    </a:lnTo>
                    <a:lnTo>
                      <a:pt x="1402" y="2152"/>
                    </a:lnTo>
                    <a:lnTo>
                      <a:pt x="1402" y="2150"/>
                    </a:lnTo>
                    <a:lnTo>
                      <a:pt x="1404" y="2146"/>
                    </a:lnTo>
                    <a:lnTo>
                      <a:pt x="1408" y="2144"/>
                    </a:lnTo>
                    <a:lnTo>
                      <a:pt x="1410" y="2144"/>
                    </a:lnTo>
                    <a:lnTo>
                      <a:pt x="1410" y="2150"/>
                    </a:lnTo>
                    <a:lnTo>
                      <a:pt x="1412" y="2154"/>
                    </a:lnTo>
                    <a:lnTo>
                      <a:pt x="1414" y="2152"/>
                    </a:lnTo>
                    <a:lnTo>
                      <a:pt x="1416" y="2148"/>
                    </a:lnTo>
                    <a:lnTo>
                      <a:pt x="1416" y="2146"/>
                    </a:lnTo>
                    <a:lnTo>
                      <a:pt x="1414" y="2140"/>
                    </a:lnTo>
                    <a:lnTo>
                      <a:pt x="1412" y="2132"/>
                    </a:lnTo>
                    <a:lnTo>
                      <a:pt x="1412" y="2124"/>
                    </a:lnTo>
                    <a:lnTo>
                      <a:pt x="1414" y="2116"/>
                    </a:lnTo>
                    <a:close/>
                    <a:moveTo>
                      <a:pt x="984" y="1792"/>
                    </a:moveTo>
                    <a:lnTo>
                      <a:pt x="984" y="1792"/>
                    </a:lnTo>
                    <a:lnTo>
                      <a:pt x="980" y="1788"/>
                    </a:lnTo>
                    <a:lnTo>
                      <a:pt x="974" y="1788"/>
                    </a:lnTo>
                    <a:lnTo>
                      <a:pt x="966" y="1788"/>
                    </a:lnTo>
                    <a:lnTo>
                      <a:pt x="958" y="1792"/>
                    </a:lnTo>
                    <a:lnTo>
                      <a:pt x="950" y="1794"/>
                    </a:lnTo>
                    <a:lnTo>
                      <a:pt x="944" y="1798"/>
                    </a:lnTo>
                    <a:lnTo>
                      <a:pt x="942" y="1804"/>
                    </a:lnTo>
                    <a:lnTo>
                      <a:pt x="940" y="1808"/>
                    </a:lnTo>
                    <a:lnTo>
                      <a:pt x="942" y="1810"/>
                    </a:lnTo>
                    <a:lnTo>
                      <a:pt x="948" y="1812"/>
                    </a:lnTo>
                    <a:lnTo>
                      <a:pt x="960" y="1814"/>
                    </a:lnTo>
                    <a:lnTo>
                      <a:pt x="974" y="1812"/>
                    </a:lnTo>
                    <a:lnTo>
                      <a:pt x="982" y="1810"/>
                    </a:lnTo>
                    <a:lnTo>
                      <a:pt x="990" y="1808"/>
                    </a:lnTo>
                    <a:lnTo>
                      <a:pt x="998" y="1808"/>
                    </a:lnTo>
                    <a:lnTo>
                      <a:pt x="1004" y="1806"/>
                    </a:lnTo>
                    <a:lnTo>
                      <a:pt x="1004" y="1804"/>
                    </a:lnTo>
                    <a:lnTo>
                      <a:pt x="1002" y="1800"/>
                    </a:lnTo>
                    <a:lnTo>
                      <a:pt x="1000" y="1798"/>
                    </a:lnTo>
                    <a:lnTo>
                      <a:pt x="994" y="1798"/>
                    </a:lnTo>
                    <a:lnTo>
                      <a:pt x="990" y="1796"/>
                    </a:lnTo>
                    <a:lnTo>
                      <a:pt x="984" y="1792"/>
                    </a:lnTo>
                    <a:close/>
                    <a:moveTo>
                      <a:pt x="2204" y="1064"/>
                    </a:moveTo>
                    <a:lnTo>
                      <a:pt x="2204" y="1064"/>
                    </a:lnTo>
                    <a:lnTo>
                      <a:pt x="2206" y="1066"/>
                    </a:lnTo>
                    <a:lnTo>
                      <a:pt x="2208" y="1066"/>
                    </a:lnTo>
                    <a:lnTo>
                      <a:pt x="2212" y="1066"/>
                    </a:lnTo>
                    <a:lnTo>
                      <a:pt x="2214" y="1060"/>
                    </a:lnTo>
                    <a:lnTo>
                      <a:pt x="2214" y="1058"/>
                    </a:lnTo>
                    <a:lnTo>
                      <a:pt x="2212" y="1054"/>
                    </a:lnTo>
                    <a:lnTo>
                      <a:pt x="2210" y="1050"/>
                    </a:lnTo>
                    <a:lnTo>
                      <a:pt x="2208" y="1048"/>
                    </a:lnTo>
                    <a:lnTo>
                      <a:pt x="2206" y="1048"/>
                    </a:lnTo>
                    <a:lnTo>
                      <a:pt x="2204" y="1050"/>
                    </a:lnTo>
                    <a:lnTo>
                      <a:pt x="2202" y="1054"/>
                    </a:lnTo>
                    <a:lnTo>
                      <a:pt x="2204" y="1064"/>
                    </a:lnTo>
                    <a:close/>
                    <a:moveTo>
                      <a:pt x="2218" y="862"/>
                    </a:moveTo>
                    <a:lnTo>
                      <a:pt x="2218" y="862"/>
                    </a:lnTo>
                    <a:lnTo>
                      <a:pt x="2216" y="866"/>
                    </a:lnTo>
                    <a:lnTo>
                      <a:pt x="2218" y="870"/>
                    </a:lnTo>
                    <a:lnTo>
                      <a:pt x="2222" y="872"/>
                    </a:lnTo>
                    <a:lnTo>
                      <a:pt x="2228" y="874"/>
                    </a:lnTo>
                    <a:lnTo>
                      <a:pt x="2230" y="872"/>
                    </a:lnTo>
                    <a:lnTo>
                      <a:pt x="2230" y="870"/>
                    </a:lnTo>
                    <a:lnTo>
                      <a:pt x="2228" y="864"/>
                    </a:lnTo>
                    <a:lnTo>
                      <a:pt x="2222" y="860"/>
                    </a:lnTo>
                    <a:lnTo>
                      <a:pt x="2220" y="860"/>
                    </a:lnTo>
                    <a:lnTo>
                      <a:pt x="2218" y="862"/>
                    </a:lnTo>
                    <a:close/>
                    <a:moveTo>
                      <a:pt x="2220" y="824"/>
                    </a:moveTo>
                    <a:lnTo>
                      <a:pt x="2220" y="824"/>
                    </a:lnTo>
                    <a:lnTo>
                      <a:pt x="2222" y="824"/>
                    </a:lnTo>
                    <a:lnTo>
                      <a:pt x="2222" y="822"/>
                    </a:lnTo>
                    <a:lnTo>
                      <a:pt x="2216" y="814"/>
                    </a:lnTo>
                    <a:lnTo>
                      <a:pt x="2216" y="812"/>
                    </a:lnTo>
                    <a:lnTo>
                      <a:pt x="2214" y="814"/>
                    </a:lnTo>
                    <a:lnTo>
                      <a:pt x="2212" y="816"/>
                    </a:lnTo>
                    <a:lnTo>
                      <a:pt x="2214" y="822"/>
                    </a:lnTo>
                    <a:lnTo>
                      <a:pt x="2216" y="822"/>
                    </a:lnTo>
                    <a:lnTo>
                      <a:pt x="2220" y="824"/>
                    </a:lnTo>
                    <a:close/>
                    <a:moveTo>
                      <a:pt x="2124" y="1064"/>
                    </a:moveTo>
                    <a:lnTo>
                      <a:pt x="2124" y="1064"/>
                    </a:lnTo>
                    <a:lnTo>
                      <a:pt x="2118" y="1060"/>
                    </a:lnTo>
                    <a:lnTo>
                      <a:pt x="2116" y="1060"/>
                    </a:lnTo>
                    <a:lnTo>
                      <a:pt x="2114" y="1062"/>
                    </a:lnTo>
                    <a:lnTo>
                      <a:pt x="2096" y="1042"/>
                    </a:lnTo>
                    <a:lnTo>
                      <a:pt x="2094" y="1038"/>
                    </a:lnTo>
                    <a:lnTo>
                      <a:pt x="2090" y="1032"/>
                    </a:lnTo>
                    <a:lnTo>
                      <a:pt x="2076" y="1018"/>
                    </a:lnTo>
                    <a:lnTo>
                      <a:pt x="2060" y="1008"/>
                    </a:lnTo>
                    <a:lnTo>
                      <a:pt x="2050" y="1000"/>
                    </a:lnTo>
                    <a:lnTo>
                      <a:pt x="2050" y="1004"/>
                    </a:lnTo>
                    <a:lnTo>
                      <a:pt x="2044" y="998"/>
                    </a:lnTo>
                    <a:lnTo>
                      <a:pt x="2040" y="994"/>
                    </a:lnTo>
                    <a:lnTo>
                      <a:pt x="2036" y="992"/>
                    </a:lnTo>
                    <a:lnTo>
                      <a:pt x="2040" y="1000"/>
                    </a:lnTo>
                    <a:lnTo>
                      <a:pt x="2050" y="1020"/>
                    </a:lnTo>
                    <a:lnTo>
                      <a:pt x="2052" y="1024"/>
                    </a:lnTo>
                    <a:lnTo>
                      <a:pt x="2052" y="1026"/>
                    </a:lnTo>
                    <a:lnTo>
                      <a:pt x="2064" y="1036"/>
                    </a:lnTo>
                    <a:lnTo>
                      <a:pt x="2070" y="1042"/>
                    </a:lnTo>
                    <a:lnTo>
                      <a:pt x="2076" y="1056"/>
                    </a:lnTo>
                    <a:lnTo>
                      <a:pt x="2076" y="1054"/>
                    </a:lnTo>
                    <a:lnTo>
                      <a:pt x="2078" y="1058"/>
                    </a:lnTo>
                    <a:lnTo>
                      <a:pt x="2082" y="1058"/>
                    </a:lnTo>
                    <a:lnTo>
                      <a:pt x="2088" y="1064"/>
                    </a:lnTo>
                    <a:lnTo>
                      <a:pt x="2094" y="1070"/>
                    </a:lnTo>
                    <a:lnTo>
                      <a:pt x="2102" y="1074"/>
                    </a:lnTo>
                    <a:lnTo>
                      <a:pt x="2110" y="1080"/>
                    </a:lnTo>
                    <a:lnTo>
                      <a:pt x="2116" y="1086"/>
                    </a:lnTo>
                    <a:lnTo>
                      <a:pt x="2136" y="1098"/>
                    </a:lnTo>
                    <a:lnTo>
                      <a:pt x="2136" y="1102"/>
                    </a:lnTo>
                    <a:lnTo>
                      <a:pt x="2136" y="1104"/>
                    </a:lnTo>
                    <a:lnTo>
                      <a:pt x="2154" y="1100"/>
                    </a:lnTo>
                    <a:lnTo>
                      <a:pt x="2158" y="1098"/>
                    </a:lnTo>
                    <a:lnTo>
                      <a:pt x="2158" y="1096"/>
                    </a:lnTo>
                    <a:lnTo>
                      <a:pt x="2148" y="1086"/>
                    </a:lnTo>
                    <a:lnTo>
                      <a:pt x="2124" y="1064"/>
                    </a:lnTo>
                    <a:close/>
                    <a:moveTo>
                      <a:pt x="2172" y="1036"/>
                    </a:moveTo>
                    <a:lnTo>
                      <a:pt x="2172" y="1036"/>
                    </a:lnTo>
                    <a:lnTo>
                      <a:pt x="2178" y="1038"/>
                    </a:lnTo>
                    <a:lnTo>
                      <a:pt x="2182" y="1040"/>
                    </a:lnTo>
                    <a:lnTo>
                      <a:pt x="2184" y="1038"/>
                    </a:lnTo>
                    <a:lnTo>
                      <a:pt x="2186" y="1036"/>
                    </a:lnTo>
                    <a:lnTo>
                      <a:pt x="2186" y="1030"/>
                    </a:lnTo>
                    <a:lnTo>
                      <a:pt x="2182" y="1024"/>
                    </a:lnTo>
                    <a:lnTo>
                      <a:pt x="2176" y="1018"/>
                    </a:lnTo>
                    <a:lnTo>
                      <a:pt x="2172" y="1016"/>
                    </a:lnTo>
                    <a:lnTo>
                      <a:pt x="2168" y="1018"/>
                    </a:lnTo>
                    <a:lnTo>
                      <a:pt x="2168" y="1020"/>
                    </a:lnTo>
                    <a:lnTo>
                      <a:pt x="2170" y="1020"/>
                    </a:lnTo>
                    <a:lnTo>
                      <a:pt x="2172" y="1022"/>
                    </a:lnTo>
                    <a:lnTo>
                      <a:pt x="2172" y="1024"/>
                    </a:lnTo>
                    <a:lnTo>
                      <a:pt x="2170" y="1028"/>
                    </a:lnTo>
                    <a:lnTo>
                      <a:pt x="2168" y="1032"/>
                    </a:lnTo>
                    <a:lnTo>
                      <a:pt x="2170" y="1034"/>
                    </a:lnTo>
                    <a:lnTo>
                      <a:pt x="2172" y="1036"/>
                    </a:lnTo>
                    <a:close/>
                    <a:moveTo>
                      <a:pt x="2152" y="752"/>
                    </a:moveTo>
                    <a:lnTo>
                      <a:pt x="2152" y="752"/>
                    </a:lnTo>
                    <a:lnTo>
                      <a:pt x="2154" y="760"/>
                    </a:lnTo>
                    <a:lnTo>
                      <a:pt x="2156" y="764"/>
                    </a:lnTo>
                    <a:lnTo>
                      <a:pt x="2160" y="766"/>
                    </a:lnTo>
                    <a:lnTo>
                      <a:pt x="2168" y="764"/>
                    </a:lnTo>
                    <a:lnTo>
                      <a:pt x="2172" y="762"/>
                    </a:lnTo>
                    <a:lnTo>
                      <a:pt x="2174" y="760"/>
                    </a:lnTo>
                    <a:lnTo>
                      <a:pt x="2176" y="758"/>
                    </a:lnTo>
                    <a:lnTo>
                      <a:pt x="2176" y="754"/>
                    </a:lnTo>
                    <a:lnTo>
                      <a:pt x="2174" y="746"/>
                    </a:lnTo>
                    <a:lnTo>
                      <a:pt x="2170" y="736"/>
                    </a:lnTo>
                    <a:lnTo>
                      <a:pt x="2168" y="732"/>
                    </a:lnTo>
                    <a:lnTo>
                      <a:pt x="2166" y="732"/>
                    </a:lnTo>
                    <a:lnTo>
                      <a:pt x="2164" y="734"/>
                    </a:lnTo>
                    <a:lnTo>
                      <a:pt x="2162" y="736"/>
                    </a:lnTo>
                    <a:lnTo>
                      <a:pt x="2158" y="730"/>
                    </a:lnTo>
                    <a:lnTo>
                      <a:pt x="2156" y="724"/>
                    </a:lnTo>
                    <a:lnTo>
                      <a:pt x="2154" y="718"/>
                    </a:lnTo>
                    <a:lnTo>
                      <a:pt x="2152" y="716"/>
                    </a:lnTo>
                    <a:lnTo>
                      <a:pt x="2148" y="716"/>
                    </a:lnTo>
                    <a:lnTo>
                      <a:pt x="2146" y="718"/>
                    </a:lnTo>
                    <a:lnTo>
                      <a:pt x="2146" y="722"/>
                    </a:lnTo>
                    <a:lnTo>
                      <a:pt x="2148" y="726"/>
                    </a:lnTo>
                    <a:lnTo>
                      <a:pt x="2152" y="736"/>
                    </a:lnTo>
                    <a:lnTo>
                      <a:pt x="2152" y="742"/>
                    </a:lnTo>
                    <a:lnTo>
                      <a:pt x="2152" y="746"/>
                    </a:lnTo>
                    <a:lnTo>
                      <a:pt x="2152" y="752"/>
                    </a:lnTo>
                    <a:close/>
                    <a:moveTo>
                      <a:pt x="2196" y="758"/>
                    </a:moveTo>
                    <a:lnTo>
                      <a:pt x="2196" y="758"/>
                    </a:lnTo>
                    <a:lnTo>
                      <a:pt x="2202" y="754"/>
                    </a:lnTo>
                    <a:lnTo>
                      <a:pt x="2206" y="750"/>
                    </a:lnTo>
                    <a:lnTo>
                      <a:pt x="2208" y="748"/>
                    </a:lnTo>
                    <a:lnTo>
                      <a:pt x="2206" y="746"/>
                    </a:lnTo>
                    <a:lnTo>
                      <a:pt x="2202" y="746"/>
                    </a:lnTo>
                    <a:lnTo>
                      <a:pt x="2198" y="748"/>
                    </a:lnTo>
                    <a:lnTo>
                      <a:pt x="2194" y="752"/>
                    </a:lnTo>
                    <a:lnTo>
                      <a:pt x="2194" y="754"/>
                    </a:lnTo>
                    <a:lnTo>
                      <a:pt x="2196" y="758"/>
                    </a:lnTo>
                    <a:close/>
                    <a:moveTo>
                      <a:pt x="2206" y="798"/>
                    </a:moveTo>
                    <a:lnTo>
                      <a:pt x="2206" y="798"/>
                    </a:lnTo>
                    <a:lnTo>
                      <a:pt x="2210" y="800"/>
                    </a:lnTo>
                    <a:lnTo>
                      <a:pt x="2214" y="800"/>
                    </a:lnTo>
                    <a:lnTo>
                      <a:pt x="2216" y="798"/>
                    </a:lnTo>
                    <a:lnTo>
                      <a:pt x="2216" y="792"/>
                    </a:lnTo>
                    <a:lnTo>
                      <a:pt x="2216" y="790"/>
                    </a:lnTo>
                    <a:lnTo>
                      <a:pt x="2214" y="788"/>
                    </a:lnTo>
                    <a:lnTo>
                      <a:pt x="2208" y="790"/>
                    </a:lnTo>
                    <a:lnTo>
                      <a:pt x="2204" y="794"/>
                    </a:lnTo>
                    <a:lnTo>
                      <a:pt x="2204" y="796"/>
                    </a:lnTo>
                    <a:lnTo>
                      <a:pt x="2206" y="798"/>
                    </a:lnTo>
                    <a:close/>
                    <a:moveTo>
                      <a:pt x="1762" y="382"/>
                    </a:moveTo>
                    <a:lnTo>
                      <a:pt x="1762" y="382"/>
                    </a:lnTo>
                    <a:lnTo>
                      <a:pt x="1762" y="386"/>
                    </a:lnTo>
                    <a:lnTo>
                      <a:pt x="1764" y="392"/>
                    </a:lnTo>
                    <a:lnTo>
                      <a:pt x="1768" y="394"/>
                    </a:lnTo>
                    <a:lnTo>
                      <a:pt x="1770" y="394"/>
                    </a:lnTo>
                    <a:lnTo>
                      <a:pt x="1772" y="392"/>
                    </a:lnTo>
                    <a:lnTo>
                      <a:pt x="1774" y="390"/>
                    </a:lnTo>
                    <a:lnTo>
                      <a:pt x="1772" y="386"/>
                    </a:lnTo>
                    <a:lnTo>
                      <a:pt x="1770" y="382"/>
                    </a:lnTo>
                    <a:lnTo>
                      <a:pt x="1766" y="378"/>
                    </a:lnTo>
                    <a:lnTo>
                      <a:pt x="1764" y="380"/>
                    </a:lnTo>
                    <a:lnTo>
                      <a:pt x="1762" y="382"/>
                    </a:lnTo>
                    <a:close/>
                    <a:moveTo>
                      <a:pt x="1786" y="386"/>
                    </a:moveTo>
                    <a:lnTo>
                      <a:pt x="1786" y="386"/>
                    </a:lnTo>
                    <a:lnTo>
                      <a:pt x="1784" y="386"/>
                    </a:lnTo>
                    <a:lnTo>
                      <a:pt x="1780" y="388"/>
                    </a:lnTo>
                    <a:lnTo>
                      <a:pt x="1776" y="396"/>
                    </a:lnTo>
                    <a:lnTo>
                      <a:pt x="1776" y="402"/>
                    </a:lnTo>
                    <a:lnTo>
                      <a:pt x="1778" y="404"/>
                    </a:lnTo>
                    <a:lnTo>
                      <a:pt x="1780" y="404"/>
                    </a:lnTo>
                    <a:lnTo>
                      <a:pt x="1784" y="402"/>
                    </a:lnTo>
                    <a:lnTo>
                      <a:pt x="1788" y="404"/>
                    </a:lnTo>
                    <a:lnTo>
                      <a:pt x="1790" y="410"/>
                    </a:lnTo>
                    <a:lnTo>
                      <a:pt x="1794" y="414"/>
                    </a:lnTo>
                    <a:lnTo>
                      <a:pt x="1796" y="416"/>
                    </a:lnTo>
                    <a:lnTo>
                      <a:pt x="1800" y="412"/>
                    </a:lnTo>
                    <a:lnTo>
                      <a:pt x="1798" y="408"/>
                    </a:lnTo>
                    <a:lnTo>
                      <a:pt x="1794" y="402"/>
                    </a:lnTo>
                    <a:lnTo>
                      <a:pt x="1790" y="396"/>
                    </a:lnTo>
                    <a:lnTo>
                      <a:pt x="1790" y="392"/>
                    </a:lnTo>
                    <a:lnTo>
                      <a:pt x="1790" y="390"/>
                    </a:lnTo>
                    <a:lnTo>
                      <a:pt x="1786" y="386"/>
                    </a:lnTo>
                    <a:close/>
                    <a:moveTo>
                      <a:pt x="1754" y="340"/>
                    </a:moveTo>
                    <a:lnTo>
                      <a:pt x="1754" y="340"/>
                    </a:lnTo>
                    <a:lnTo>
                      <a:pt x="1758" y="346"/>
                    </a:lnTo>
                    <a:lnTo>
                      <a:pt x="1766" y="354"/>
                    </a:lnTo>
                    <a:lnTo>
                      <a:pt x="1776" y="360"/>
                    </a:lnTo>
                    <a:lnTo>
                      <a:pt x="1780" y="360"/>
                    </a:lnTo>
                    <a:lnTo>
                      <a:pt x="1784" y="360"/>
                    </a:lnTo>
                    <a:lnTo>
                      <a:pt x="1788" y="358"/>
                    </a:lnTo>
                    <a:lnTo>
                      <a:pt x="1784" y="356"/>
                    </a:lnTo>
                    <a:lnTo>
                      <a:pt x="1776" y="352"/>
                    </a:lnTo>
                    <a:lnTo>
                      <a:pt x="1774" y="348"/>
                    </a:lnTo>
                    <a:lnTo>
                      <a:pt x="1772" y="344"/>
                    </a:lnTo>
                    <a:lnTo>
                      <a:pt x="1768" y="336"/>
                    </a:lnTo>
                    <a:lnTo>
                      <a:pt x="1764" y="332"/>
                    </a:lnTo>
                    <a:lnTo>
                      <a:pt x="1746" y="320"/>
                    </a:lnTo>
                    <a:lnTo>
                      <a:pt x="1742" y="318"/>
                    </a:lnTo>
                    <a:lnTo>
                      <a:pt x="1740" y="320"/>
                    </a:lnTo>
                    <a:lnTo>
                      <a:pt x="1742" y="328"/>
                    </a:lnTo>
                    <a:lnTo>
                      <a:pt x="1744" y="332"/>
                    </a:lnTo>
                    <a:lnTo>
                      <a:pt x="1748" y="334"/>
                    </a:lnTo>
                    <a:lnTo>
                      <a:pt x="1752" y="336"/>
                    </a:lnTo>
                    <a:lnTo>
                      <a:pt x="1754" y="340"/>
                    </a:lnTo>
                    <a:close/>
                    <a:moveTo>
                      <a:pt x="1744" y="368"/>
                    </a:moveTo>
                    <a:lnTo>
                      <a:pt x="1744" y="368"/>
                    </a:lnTo>
                    <a:lnTo>
                      <a:pt x="1744" y="374"/>
                    </a:lnTo>
                    <a:lnTo>
                      <a:pt x="1748" y="378"/>
                    </a:lnTo>
                    <a:lnTo>
                      <a:pt x="1752" y="382"/>
                    </a:lnTo>
                    <a:lnTo>
                      <a:pt x="1754" y="380"/>
                    </a:lnTo>
                    <a:lnTo>
                      <a:pt x="1756" y="380"/>
                    </a:lnTo>
                    <a:lnTo>
                      <a:pt x="1758" y="376"/>
                    </a:lnTo>
                    <a:lnTo>
                      <a:pt x="1758" y="374"/>
                    </a:lnTo>
                    <a:lnTo>
                      <a:pt x="1752" y="368"/>
                    </a:lnTo>
                    <a:lnTo>
                      <a:pt x="1746" y="366"/>
                    </a:lnTo>
                    <a:lnTo>
                      <a:pt x="1744" y="366"/>
                    </a:lnTo>
                    <a:lnTo>
                      <a:pt x="1744" y="368"/>
                    </a:lnTo>
                    <a:close/>
                    <a:moveTo>
                      <a:pt x="1802" y="416"/>
                    </a:moveTo>
                    <a:lnTo>
                      <a:pt x="1802" y="416"/>
                    </a:lnTo>
                    <a:lnTo>
                      <a:pt x="1800" y="420"/>
                    </a:lnTo>
                    <a:lnTo>
                      <a:pt x="1800" y="424"/>
                    </a:lnTo>
                    <a:lnTo>
                      <a:pt x="1804" y="426"/>
                    </a:lnTo>
                    <a:lnTo>
                      <a:pt x="1810" y="424"/>
                    </a:lnTo>
                    <a:lnTo>
                      <a:pt x="1810" y="422"/>
                    </a:lnTo>
                    <a:lnTo>
                      <a:pt x="1812" y="420"/>
                    </a:lnTo>
                    <a:lnTo>
                      <a:pt x="1810" y="416"/>
                    </a:lnTo>
                    <a:lnTo>
                      <a:pt x="1806" y="414"/>
                    </a:lnTo>
                    <a:lnTo>
                      <a:pt x="1804" y="414"/>
                    </a:lnTo>
                    <a:lnTo>
                      <a:pt x="1802" y="416"/>
                    </a:lnTo>
                    <a:close/>
                    <a:moveTo>
                      <a:pt x="1858" y="386"/>
                    </a:moveTo>
                    <a:lnTo>
                      <a:pt x="1858" y="386"/>
                    </a:lnTo>
                    <a:lnTo>
                      <a:pt x="1848" y="382"/>
                    </a:lnTo>
                    <a:lnTo>
                      <a:pt x="1844" y="378"/>
                    </a:lnTo>
                    <a:lnTo>
                      <a:pt x="1840" y="374"/>
                    </a:lnTo>
                    <a:lnTo>
                      <a:pt x="1832" y="368"/>
                    </a:lnTo>
                    <a:lnTo>
                      <a:pt x="1828" y="366"/>
                    </a:lnTo>
                    <a:lnTo>
                      <a:pt x="1826" y="368"/>
                    </a:lnTo>
                    <a:lnTo>
                      <a:pt x="1828" y="378"/>
                    </a:lnTo>
                    <a:lnTo>
                      <a:pt x="1830" y="382"/>
                    </a:lnTo>
                    <a:lnTo>
                      <a:pt x="1834" y="386"/>
                    </a:lnTo>
                    <a:lnTo>
                      <a:pt x="1848" y="394"/>
                    </a:lnTo>
                    <a:lnTo>
                      <a:pt x="1864" y="404"/>
                    </a:lnTo>
                    <a:lnTo>
                      <a:pt x="1878" y="414"/>
                    </a:lnTo>
                    <a:lnTo>
                      <a:pt x="1880" y="416"/>
                    </a:lnTo>
                    <a:lnTo>
                      <a:pt x="1882" y="416"/>
                    </a:lnTo>
                    <a:lnTo>
                      <a:pt x="1878" y="408"/>
                    </a:lnTo>
                    <a:lnTo>
                      <a:pt x="1870" y="396"/>
                    </a:lnTo>
                    <a:lnTo>
                      <a:pt x="1864" y="390"/>
                    </a:lnTo>
                    <a:lnTo>
                      <a:pt x="1858" y="386"/>
                    </a:lnTo>
                    <a:close/>
                    <a:moveTo>
                      <a:pt x="1882" y="456"/>
                    </a:moveTo>
                    <a:lnTo>
                      <a:pt x="1882" y="456"/>
                    </a:lnTo>
                    <a:lnTo>
                      <a:pt x="1876" y="450"/>
                    </a:lnTo>
                    <a:lnTo>
                      <a:pt x="1872" y="450"/>
                    </a:lnTo>
                    <a:lnTo>
                      <a:pt x="1870" y="454"/>
                    </a:lnTo>
                    <a:lnTo>
                      <a:pt x="1870" y="462"/>
                    </a:lnTo>
                    <a:lnTo>
                      <a:pt x="1870" y="468"/>
                    </a:lnTo>
                    <a:lnTo>
                      <a:pt x="1876" y="474"/>
                    </a:lnTo>
                    <a:lnTo>
                      <a:pt x="1882" y="478"/>
                    </a:lnTo>
                    <a:lnTo>
                      <a:pt x="1892" y="478"/>
                    </a:lnTo>
                    <a:lnTo>
                      <a:pt x="1900" y="476"/>
                    </a:lnTo>
                    <a:lnTo>
                      <a:pt x="1900" y="478"/>
                    </a:lnTo>
                    <a:lnTo>
                      <a:pt x="1902" y="480"/>
                    </a:lnTo>
                    <a:lnTo>
                      <a:pt x="1912" y="482"/>
                    </a:lnTo>
                    <a:lnTo>
                      <a:pt x="1916" y="482"/>
                    </a:lnTo>
                    <a:lnTo>
                      <a:pt x="1920" y="482"/>
                    </a:lnTo>
                    <a:lnTo>
                      <a:pt x="1920" y="480"/>
                    </a:lnTo>
                    <a:lnTo>
                      <a:pt x="1918" y="476"/>
                    </a:lnTo>
                    <a:lnTo>
                      <a:pt x="1914" y="468"/>
                    </a:lnTo>
                    <a:lnTo>
                      <a:pt x="1906" y="460"/>
                    </a:lnTo>
                    <a:lnTo>
                      <a:pt x="1902" y="458"/>
                    </a:lnTo>
                    <a:lnTo>
                      <a:pt x="1900" y="456"/>
                    </a:lnTo>
                    <a:lnTo>
                      <a:pt x="1892" y="456"/>
                    </a:lnTo>
                    <a:lnTo>
                      <a:pt x="1886" y="458"/>
                    </a:lnTo>
                    <a:lnTo>
                      <a:pt x="1884" y="456"/>
                    </a:lnTo>
                    <a:lnTo>
                      <a:pt x="1882" y="456"/>
                    </a:lnTo>
                    <a:close/>
                    <a:moveTo>
                      <a:pt x="1884" y="560"/>
                    </a:moveTo>
                    <a:lnTo>
                      <a:pt x="1884" y="560"/>
                    </a:lnTo>
                    <a:lnTo>
                      <a:pt x="1886" y="564"/>
                    </a:lnTo>
                    <a:lnTo>
                      <a:pt x="1894" y="570"/>
                    </a:lnTo>
                    <a:lnTo>
                      <a:pt x="1902" y="576"/>
                    </a:lnTo>
                    <a:lnTo>
                      <a:pt x="1906" y="576"/>
                    </a:lnTo>
                    <a:lnTo>
                      <a:pt x="1910" y="576"/>
                    </a:lnTo>
                    <a:lnTo>
                      <a:pt x="1910" y="574"/>
                    </a:lnTo>
                    <a:lnTo>
                      <a:pt x="1908" y="570"/>
                    </a:lnTo>
                    <a:lnTo>
                      <a:pt x="1900" y="562"/>
                    </a:lnTo>
                    <a:lnTo>
                      <a:pt x="1890" y="558"/>
                    </a:lnTo>
                    <a:lnTo>
                      <a:pt x="1886" y="558"/>
                    </a:lnTo>
                    <a:lnTo>
                      <a:pt x="1884" y="560"/>
                    </a:lnTo>
                    <a:close/>
                    <a:moveTo>
                      <a:pt x="1966" y="508"/>
                    </a:moveTo>
                    <a:lnTo>
                      <a:pt x="1966" y="508"/>
                    </a:lnTo>
                    <a:lnTo>
                      <a:pt x="1958" y="506"/>
                    </a:lnTo>
                    <a:lnTo>
                      <a:pt x="1950" y="502"/>
                    </a:lnTo>
                    <a:lnTo>
                      <a:pt x="1942" y="498"/>
                    </a:lnTo>
                    <a:lnTo>
                      <a:pt x="1938" y="498"/>
                    </a:lnTo>
                    <a:lnTo>
                      <a:pt x="1936" y="500"/>
                    </a:lnTo>
                    <a:lnTo>
                      <a:pt x="1934" y="500"/>
                    </a:lnTo>
                    <a:lnTo>
                      <a:pt x="1934" y="502"/>
                    </a:lnTo>
                    <a:lnTo>
                      <a:pt x="1938" y="504"/>
                    </a:lnTo>
                    <a:lnTo>
                      <a:pt x="1942" y="506"/>
                    </a:lnTo>
                    <a:lnTo>
                      <a:pt x="1944" y="510"/>
                    </a:lnTo>
                    <a:lnTo>
                      <a:pt x="1944" y="512"/>
                    </a:lnTo>
                    <a:lnTo>
                      <a:pt x="1946" y="516"/>
                    </a:lnTo>
                    <a:lnTo>
                      <a:pt x="1948" y="518"/>
                    </a:lnTo>
                    <a:lnTo>
                      <a:pt x="1956" y="524"/>
                    </a:lnTo>
                    <a:lnTo>
                      <a:pt x="1966" y="528"/>
                    </a:lnTo>
                    <a:lnTo>
                      <a:pt x="1974" y="528"/>
                    </a:lnTo>
                    <a:lnTo>
                      <a:pt x="1976" y="528"/>
                    </a:lnTo>
                    <a:lnTo>
                      <a:pt x="1978" y="526"/>
                    </a:lnTo>
                    <a:lnTo>
                      <a:pt x="1976" y="518"/>
                    </a:lnTo>
                    <a:lnTo>
                      <a:pt x="1972" y="512"/>
                    </a:lnTo>
                    <a:lnTo>
                      <a:pt x="1968" y="510"/>
                    </a:lnTo>
                    <a:lnTo>
                      <a:pt x="1966" y="508"/>
                    </a:lnTo>
                    <a:close/>
                    <a:moveTo>
                      <a:pt x="2174" y="784"/>
                    </a:moveTo>
                    <a:lnTo>
                      <a:pt x="2174" y="784"/>
                    </a:lnTo>
                    <a:lnTo>
                      <a:pt x="2174" y="788"/>
                    </a:lnTo>
                    <a:lnTo>
                      <a:pt x="2180" y="792"/>
                    </a:lnTo>
                    <a:lnTo>
                      <a:pt x="2182" y="794"/>
                    </a:lnTo>
                    <a:lnTo>
                      <a:pt x="2184" y="798"/>
                    </a:lnTo>
                    <a:lnTo>
                      <a:pt x="2186" y="804"/>
                    </a:lnTo>
                    <a:lnTo>
                      <a:pt x="2188" y="808"/>
                    </a:lnTo>
                    <a:lnTo>
                      <a:pt x="2192" y="808"/>
                    </a:lnTo>
                    <a:lnTo>
                      <a:pt x="2196" y="808"/>
                    </a:lnTo>
                    <a:lnTo>
                      <a:pt x="2198" y="806"/>
                    </a:lnTo>
                    <a:lnTo>
                      <a:pt x="2198" y="800"/>
                    </a:lnTo>
                    <a:lnTo>
                      <a:pt x="2196" y="794"/>
                    </a:lnTo>
                    <a:lnTo>
                      <a:pt x="2190" y="788"/>
                    </a:lnTo>
                    <a:lnTo>
                      <a:pt x="2186" y="784"/>
                    </a:lnTo>
                    <a:lnTo>
                      <a:pt x="2180" y="780"/>
                    </a:lnTo>
                    <a:lnTo>
                      <a:pt x="2176" y="780"/>
                    </a:lnTo>
                    <a:lnTo>
                      <a:pt x="2174" y="784"/>
                    </a:lnTo>
                    <a:close/>
                    <a:moveTo>
                      <a:pt x="1938" y="458"/>
                    </a:moveTo>
                    <a:lnTo>
                      <a:pt x="1938" y="458"/>
                    </a:lnTo>
                    <a:lnTo>
                      <a:pt x="1938" y="454"/>
                    </a:lnTo>
                    <a:lnTo>
                      <a:pt x="1938" y="448"/>
                    </a:lnTo>
                    <a:lnTo>
                      <a:pt x="1936" y="444"/>
                    </a:lnTo>
                    <a:lnTo>
                      <a:pt x="1930" y="438"/>
                    </a:lnTo>
                    <a:lnTo>
                      <a:pt x="1928" y="434"/>
                    </a:lnTo>
                    <a:lnTo>
                      <a:pt x="1926" y="428"/>
                    </a:lnTo>
                    <a:lnTo>
                      <a:pt x="1922" y="420"/>
                    </a:lnTo>
                    <a:lnTo>
                      <a:pt x="1920" y="410"/>
                    </a:lnTo>
                    <a:lnTo>
                      <a:pt x="1916" y="408"/>
                    </a:lnTo>
                    <a:lnTo>
                      <a:pt x="1910" y="406"/>
                    </a:lnTo>
                    <a:lnTo>
                      <a:pt x="1908" y="404"/>
                    </a:lnTo>
                    <a:lnTo>
                      <a:pt x="1906" y="406"/>
                    </a:lnTo>
                    <a:lnTo>
                      <a:pt x="1906" y="412"/>
                    </a:lnTo>
                    <a:lnTo>
                      <a:pt x="1912" y="422"/>
                    </a:lnTo>
                    <a:lnTo>
                      <a:pt x="1916" y="440"/>
                    </a:lnTo>
                    <a:lnTo>
                      <a:pt x="1918" y="446"/>
                    </a:lnTo>
                    <a:lnTo>
                      <a:pt x="1920" y="448"/>
                    </a:lnTo>
                    <a:lnTo>
                      <a:pt x="1926" y="452"/>
                    </a:lnTo>
                    <a:lnTo>
                      <a:pt x="1930" y="460"/>
                    </a:lnTo>
                    <a:lnTo>
                      <a:pt x="1936" y="466"/>
                    </a:lnTo>
                    <a:lnTo>
                      <a:pt x="1940" y="470"/>
                    </a:lnTo>
                    <a:lnTo>
                      <a:pt x="1942" y="468"/>
                    </a:lnTo>
                    <a:lnTo>
                      <a:pt x="1938" y="458"/>
                    </a:lnTo>
                    <a:close/>
                    <a:moveTo>
                      <a:pt x="2456" y="2102"/>
                    </a:moveTo>
                    <a:lnTo>
                      <a:pt x="2456" y="2102"/>
                    </a:lnTo>
                    <a:lnTo>
                      <a:pt x="2460" y="2096"/>
                    </a:lnTo>
                    <a:lnTo>
                      <a:pt x="2460" y="2090"/>
                    </a:lnTo>
                    <a:lnTo>
                      <a:pt x="2458" y="2084"/>
                    </a:lnTo>
                    <a:lnTo>
                      <a:pt x="2456" y="2082"/>
                    </a:lnTo>
                    <a:lnTo>
                      <a:pt x="2450" y="2082"/>
                    </a:lnTo>
                    <a:lnTo>
                      <a:pt x="2442" y="2084"/>
                    </a:lnTo>
                    <a:lnTo>
                      <a:pt x="2434" y="2088"/>
                    </a:lnTo>
                    <a:lnTo>
                      <a:pt x="2426" y="2094"/>
                    </a:lnTo>
                    <a:lnTo>
                      <a:pt x="2418" y="2100"/>
                    </a:lnTo>
                    <a:lnTo>
                      <a:pt x="2412" y="2100"/>
                    </a:lnTo>
                    <a:lnTo>
                      <a:pt x="2410" y="2098"/>
                    </a:lnTo>
                    <a:lnTo>
                      <a:pt x="2410" y="2094"/>
                    </a:lnTo>
                    <a:lnTo>
                      <a:pt x="2410" y="2080"/>
                    </a:lnTo>
                    <a:lnTo>
                      <a:pt x="2410" y="2076"/>
                    </a:lnTo>
                    <a:lnTo>
                      <a:pt x="2408" y="2074"/>
                    </a:lnTo>
                    <a:lnTo>
                      <a:pt x="2400" y="2072"/>
                    </a:lnTo>
                    <a:lnTo>
                      <a:pt x="2398" y="2070"/>
                    </a:lnTo>
                    <a:lnTo>
                      <a:pt x="2398" y="2068"/>
                    </a:lnTo>
                    <a:lnTo>
                      <a:pt x="2404" y="2064"/>
                    </a:lnTo>
                    <a:lnTo>
                      <a:pt x="2408" y="2062"/>
                    </a:lnTo>
                    <a:lnTo>
                      <a:pt x="2408" y="2058"/>
                    </a:lnTo>
                    <a:lnTo>
                      <a:pt x="2408" y="2056"/>
                    </a:lnTo>
                    <a:lnTo>
                      <a:pt x="2404" y="2054"/>
                    </a:lnTo>
                    <a:lnTo>
                      <a:pt x="2400" y="2054"/>
                    </a:lnTo>
                    <a:lnTo>
                      <a:pt x="2396" y="2056"/>
                    </a:lnTo>
                    <a:lnTo>
                      <a:pt x="2388" y="2060"/>
                    </a:lnTo>
                    <a:lnTo>
                      <a:pt x="2380" y="2068"/>
                    </a:lnTo>
                    <a:lnTo>
                      <a:pt x="2376" y="2074"/>
                    </a:lnTo>
                    <a:lnTo>
                      <a:pt x="2374" y="2080"/>
                    </a:lnTo>
                    <a:lnTo>
                      <a:pt x="2374" y="2096"/>
                    </a:lnTo>
                    <a:lnTo>
                      <a:pt x="2372" y="2104"/>
                    </a:lnTo>
                    <a:lnTo>
                      <a:pt x="2370" y="2110"/>
                    </a:lnTo>
                    <a:lnTo>
                      <a:pt x="2366" y="2116"/>
                    </a:lnTo>
                    <a:lnTo>
                      <a:pt x="2358" y="2120"/>
                    </a:lnTo>
                    <a:lnTo>
                      <a:pt x="2352" y="2126"/>
                    </a:lnTo>
                    <a:lnTo>
                      <a:pt x="2346" y="2134"/>
                    </a:lnTo>
                    <a:lnTo>
                      <a:pt x="2336" y="2156"/>
                    </a:lnTo>
                    <a:lnTo>
                      <a:pt x="2324" y="2180"/>
                    </a:lnTo>
                    <a:lnTo>
                      <a:pt x="2318" y="2190"/>
                    </a:lnTo>
                    <a:lnTo>
                      <a:pt x="2310" y="2196"/>
                    </a:lnTo>
                    <a:lnTo>
                      <a:pt x="2298" y="2206"/>
                    </a:lnTo>
                    <a:lnTo>
                      <a:pt x="2286" y="2218"/>
                    </a:lnTo>
                    <a:lnTo>
                      <a:pt x="2274" y="2228"/>
                    </a:lnTo>
                    <a:lnTo>
                      <a:pt x="2270" y="2230"/>
                    </a:lnTo>
                    <a:lnTo>
                      <a:pt x="2264" y="2232"/>
                    </a:lnTo>
                    <a:lnTo>
                      <a:pt x="2260" y="2234"/>
                    </a:lnTo>
                    <a:lnTo>
                      <a:pt x="2256" y="2236"/>
                    </a:lnTo>
                    <a:lnTo>
                      <a:pt x="2250" y="2242"/>
                    </a:lnTo>
                    <a:lnTo>
                      <a:pt x="2246" y="2248"/>
                    </a:lnTo>
                    <a:lnTo>
                      <a:pt x="2242" y="2250"/>
                    </a:lnTo>
                    <a:lnTo>
                      <a:pt x="2236" y="2250"/>
                    </a:lnTo>
                    <a:lnTo>
                      <a:pt x="2228" y="2250"/>
                    </a:lnTo>
                    <a:lnTo>
                      <a:pt x="2222" y="2254"/>
                    </a:lnTo>
                    <a:lnTo>
                      <a:pt x="2216" y="2260"/>
                    </a:lnTo>
                    <a:lnTo>
                      <a:pt x="2210" y="2266"/>
                    </a:lnTo>
                    <a:lnTo>
                      <a:pt x="2200" y="2282"/>
                    </a:lnTo>
                    <a:lnTo>
                      <a:pt x="2186" y="2298"/>
                    </a:lnTo>
                    <a:lnTo>
                      <a:pt x="2174" y="2310"/>
                    </a:lnTo>
                    <a:lnTo>
                      <a:pt x="2162" y="2322"/>
                    </a:lnTo>
                    <a:lnTo>
                      <a:pt x="2160" y="2328"/>
                    </a:lnTo>
                    <a:lnTo>
                      <a:pt x="2156" y="2334"/>
                    </a:lnTo>
                    <a:lnTo>
                      <a:pt x="2156" y="2338"/>
                    </a:lnTo>
                    <a:lnTo>
                      <a:pt x="2158" y="2344"/>
                    </a:lnTo>
                    <a:lnTo>
                      <a:pt x="2160" y="2348"/>
                    </a:lnTo>
                    <a:lnTo>
                      <a:pt x="2158" y="2352"/>
                    </a:lnTo>
                    <a:lnTo>
                      <a:pt x="2152" y="2356"/>
                    </a:lnTo>
                    <a:lnTo>
                      <a:pt x="2146" y="2360"/>
                    </a:lnTo>
                    <a:lnTo>
                      <a:pt x="2146" y="2362"/>
                    </a:lnTo>
                    <a:lnTo>
                      <a:pt x="2146" y="2368"/>
                    </a:lnTo>
                    <a:lnTo>
                      <a:pt x="2152" y="2376"/>
                    </a:lnTo>
                    <a:lnTo>
                      <a:pt x="2162" y="2382"/>
                    </a:lnTo>
                    <a:lnTo>
                      <a:pt x="2168" y="2384"/>
                    </a:lnTo>
                    <a:lnTo>
                      <a:pt x="2172" y="2384"/>
                    </a:lnTo>
                    <a:lnTo>
                      <a:pt x="2178" y="2382"/>
                    </a:lnTo>
                    <a:lnTo>
                      <a:pt x="2184" y="2378"/>
                    </a:lnTo>
                    <a:lnTo>
                      <a:pt x="2190" y="2376"/>
                    </a:lnTo>
                    <a:lnTo>
                      <a:pt x="2192" y="2374"/>
                    </a:lnTo>
                    <a:lnTo>
                      <a:pt x="2194" y="2376"/>
                    </a:lnTo>
                    <a:lnTo>
                      <a:pt x="2196" y="2378"/>
                    </a:lnTo>
                    <a:lnTo>
                      <a:pt x="2200" y="2384"/>
                    </a:lnTo>
                    <a:lnTo>
                      <a:pt x="2202" y="2386"/>
                    </a:lnTo>
                    <a:lnTo>
                      <a:pt x="2208" y="2386"/>
                    </a:lnTo>
                    <a:lnTo>
                      <a:pt x="2212" y="2386"/>
                    </a:lnTo>
                    <a:lnTo>
                      <a:pt x="2216" y="2388"/>
                    </a:lnTo>
                    <a:lnTo>
                      <a:pt x="2218" y="2392"/>
                    </a:lnTo>
                    <a:lnTo>
                      <a:pt x="2218" y="2396"/>
                    </a:lnTo>
                    <a:lnTo>
                      <a:pt x="2220" y="2398"/>
                    </a:lnTo>
                    <a:lnTo>
                      <a:pt x="2224" y="2402"/>
                    </a:lnTo>
                    <a:lnTo>
                      <a:pt x="2232" y="2402"/>
                    </a:lnTo>
                    <a:lnTo>
                      <a:pt x="2248" y="2404"/>
                    </a:lnTo>
                    <a:lnTo>
                      <a:pt x="2256" y="2404"/>
                    </a:lnTo>
                    <a:lnTo>
                      <a:pt x="2262" y="2404"/>
                    </a:lnTo>
                    <a:lnTo>
                      <a:pt x="2268" y="2402"/>
                    </a:lnTo>
                    <a:lnTo>
                      <a:pt x="2276" y="2398"/>
                    </a:lnTo>
                    <a:lnTo>
                      <a:pt x="2282" y="2390"/>
                    </a:lnTo>
                    <a:lnTo>
                      <a:pt x="2288" y="2380"/>
                    </a:lnTo>
                    <a:lnTo>
                      <a:pt x="2296" y="2372"/>
                    </a:lnTo>
                    <a:lnTo>
                      <a:pt x="2302" y="2366"/>
                    </a:lnTo>
                    <a:lnTo>
                      <a:pt x="2308" y="2362"/>
                    </a:lnTo>
                    <a:lnTo>
                      <a:pt x="2314" y="2360"/>
                    </a:lnTo>
                    <a:lnTo>
                      <a:pt x="2320" y="2358"/>
                    </a:lnTo>
                    <a:lnTo>
                      <a:pt x="2320" y="2356"/>
                    </a:lnTo>
                    <a:lnTo>
                      <a:pt x="2318" y="2352"/>
                    </a:lnTo>
                    <a:lnTo>
                      <a:pt x="2318" y="2346"/>
                    </a:lnTo>
                    <a:lnTo>
                      <a:pt x="2318" y="2340"/>
                    </a:lnTo>
                    <a:lnTo>
                      <a:pt x="2324" y="2328"/>
                    </a:lnTo>
                    <a:lnTo>
                      <a:pt x="2332" y="2312"/>
                    </a:lnTo>
                    <a:lnTo>
                      <a:pt x="2336" y="2300"/>
                    </a:lnTo>
                    <a:lnTo>
                      <a:pt x="2336" y="2288"/>
                    </a:lnTo>
                    <a:lnTo>
                      <a:pt x="2340" y="2276"/>
                    </a:lnTo>
                    <a:lnTo>
                      <a:pt x="2346" y="2266"/>
                    </a:lnTo>
                    <a:lnTo>
                      <a:pt x="2354" y="2258"/>
                    </a:lnTo>
                    <a:lnTo>
                      <a:pt x="2364" y="2252"/>
                    </a:lnTo>
                    <a:lnTo>
                      <a:pt x="2376" y="2248"/>
                    </a:lnTo>
                    <a:lnTo>
                      <a:pt x="2386" y="2246"/>
                    </a:lnTo>
                    <a:lnTo>
                      <a:pt x="2394" y="2244"/>
                    </a:lnTo>
                    <a:lnTo>
                      <a:pt x="2400" y="2246"/>
                    </a:lnTo>
                    <a:lnTo>
                      <a:pt x="2406" y="2246"/>
                    </a:lnTo>
                    <a:lnTo>
                      <a:pt x="2410" y="2246"/>
                    </a:lnTo>
                    <a:lnTo>
                      <a:pt x="2414" y="2244"/>
                    </a:lnTo>
                    <a:lnTo>
                      <a:pt x="2416" y="2242"/>
                    </a:lnTo>
                    <a:lnTo>
                      <a:pt x="2418" y="2238"/>
                    </a:lnTo>
                    <a:lnTo>
                      <a:pt x="2418" y="2236"/>
                    </a:lnTo>
                    <a:lnTo>
                      <a:pt x="2416" y="2232"/>
                    </a:lnTo>
                    <a:lnTo>
                      <a:pt x="2410" y="2230"/>
                    </a:lnTo>
                    <a:lnTo>
                      <a:pt x="2404" y="2228"/>
                    </a:lnTo>
                    <a:lnTo>
                      <a:pt x="2402" y="2224"/>
                    </a:lnTo>
                    <a:lnTo>
                      <a:pt x="2400" y="2218"/>
                    </a:lnTo>
                    <a:lnTo>
                      <a:pt x="2400" y="2214"/>
                    </a:lnTo>
                    <a:lnTo>
                      <a:pt x="2400" y="2208"/>
                    </a:lnTo>
                    <a:lnTo>
                      <a:pt x="2402" y="2204"/>
                    </a:lnTo>
                    <a:lnTo>
                      <a:pt x="2406" y="2200"/>
                    </a:lnTo>
                    <a:lnTo>
                      <a:pt x="2410" y="2198"/>
                    </a:lnTo>
                    <a:lnTo>
                      <a:pt x="2416" y="2196"/>
                    </a:lnTo>
                    <a:lnTo>
                      <a:pt x="2420" y="2192"/>
                    </a:lnTo>
                    <a:lnTo>
                      <a:pt x="2430" y="2178"/>
                    </a:lnTo>
                    <a:lnTo>
                      <a:pt x="2440" y="2160"/>
                    </a:lnTo>
                    <a:lnTo>
                      <a:pt x="2454" y="2138"/>
                    </a:lnTo>
                    <a:lnTo>
                      <a:pt x="2460" y="2130"/>
                    </a:lnTo>
                    <a:lnTo>
                      <a:pt x="2462" y="2124"/>
                    </a:lnTo>
                    <a:lnTo>
                      <a:pt x="2462" y="2120"/>
                    </a:lnTo>
                    <a:lnTo>
                      <a:pt x="2460" y="2118"/>
                    </a:lnTo>
                    <a:lnTo>
                      <a:pt x="2456" y="2116"/>
                    </a:lnTo>
                    <a:lnTo>
                      <a:pt x="2454" y="2114"/>
                    </a:lnTo>
                    <a:lnTo>
                      <a:pt x="2454" y="2110"/>
                    </a:lnTo>
                    <a:lnTo>
                      <a:pt x="2456" y="2102"/>
                    </a:lnTo>
                    <a:close/>
                    <a:moveTo>
                      <a:pt x="2684" y="808"/>
                    </a:moveTo>
                    <a:lnTo>
                      <a:pt x="2684" y="808"/>
                    </a:lnTo>
                    <a:lnTo>
                      <a:pt x="2680" y="812"/>
                    </a:lnTo>
                    <a:lnTo>
                      <a:pt x="2678" y="810"/>
                    </a:lnTo>
                    <a:lnTo>
                      <a:pt x="2682" y="802"/>
                    </a:lnTo>
                    <a:lnTo>
                      <a:pt x="2688" y="794"/>
                    </a:lnTo>
                    <a:lnTo>
                      <a:pt x="2690" y="792"/>
                    </a:lnTo>
                    <a:lnTo>
                      <a:pt x="2690" y="790"/>
                    </a:lnTo>
                    <a:lnTo>
                      <a:pt x="2688" y="788"/>
                    </a:lnTo>
                    <a:lnTo>
                      <a:pt x="2684" y="790"/>
                    </a:lnTo>
                    <a:lnTo>
                      <a:pt x="2676" y="794"/>
                    </a:lnTo>
                    <a:lnTo>
                      <a:pt x="2664" y="800"/>
                    </a:lnTo>
                    <a:lnTo>
                      <a:pt x="2658" y="804"/>
                    </a:lnTo>
                    <a:lnTo>
                      <a:pt x="2652" y="806"/>
                    </a:lnTo>
                    <a:lnTo>
                      <a:pt x="2648" y="806"/>
                    </a:lnTo>
                    <a:lnTo>
                      <a:pt x="2646" y="812"/>
                    </a:lnTo>
                    <a:lnTo>
                      <a:pt x="2644" y="814"/>
                    </a:lnTo>
                    <a:lnTo>
                      <a:pt x="2642" y="816"/>
                    </a:lnTo>
                    <a:lnTo>
                      <a:pt x="2636" y="814"/>
                    </a:lnTo>
                    <a:lnTo>
                      <a:pt x="2634" y="814"/>
                    </a:lnTo>
                    <a:lnTo>
                      <a:pt x="2634" y="816"/>
                    </a:lnTo>
                    <a:lnTo>
                      <a:pt x="2636" y="826"/>
                    </a:lnTo>
                    <a:lnTo>
                      <a:pt x="2640" y="832"/>
                    </a:lnTo>
                    <a:lnTo>
                      <a:pt x="2642" y="832"/>
                    </a:lnTo>
                    <a:lnTo>
                      <a:pt x="2656" y="822"/>
                    </a:lnTo>
                    <a:lnTo>
                      <a:pt x="2660" y="820"/>
                    </a:lnTo>
                    <a:lnTo>
                      <a:pt x="2662" y="820"/>
                    </a:lnTo>
                    <a:lnTo>
                      <a:pt x="2664" y="820"/>
                    </a:lnTo>
                    <a:lnTo>
                      <a:pt x="2666" y="822"/>
                    </a:lnTo>
                    <a:lnTo>
                      <a:pt x="2666" y="824"/>
                    </a:lnTo>
                    <a:lnTo>
                      <a:pt x="2668" y="824"/>
                    </a:lnTo>
                    <a:lnTo>
                      <a:pt x="2670" y="824"/>
                    </a:lnTo>
                    <a:lnTo>
                      <a:pt x="2678" y="820"/>
                    </a:lnTo>
                    <a:lnTo>
                      <a:pt x="2684" y="820"/>
                    </a:lnTo>
                    <a:lnTo>
                      <a:pt x="2690" y="820"/>
                    </a:lnTo>
                    <a:lnTo>
                      <a:pt x="2688" y="816"/>
                    </a:lnTo>
                    <a:lnTo>
                      <a:pt x="2688" y="810"/>
                    </a:lnTo>
                    <a:lnTo>
                      <a:pt x="2688" y="806"/>
                    </a:lnTo>
                    <a:lnTo>
                      <a:pt x="2684" y="808"/>
                    </a:lnTo>
                    <a:close/>
                    <a:moveTo>
                      <a:pt x="2600" y="1904"/>
                    </a:moveTo>
                    <a:lnTo>
                      <a:pt x="2600" y="1904"/>
                    </a:lnTo>
                    <a:lnTo>
                      <a:pt x="2596" y="1910"/>
                    </a:lnTo>
                    <a:lnTo>
                      <a:pt x="2592" y="1916"/>
                    </a:lnTo>
                    <a:lnTo>
                      <a:pt x="2586" y="1918"/>
                    </a:lnTo>
                    <a:lnTo>
                      <a:pt x="2580" y="1918"/>
                    </a:lnTo>
                    <a:lnTo>
                      <a:pt x="2574" y="1918"/>
                    </a:lnTo>
                    <a:lnTo>
                      <a:pt x="2566" y="1914"/>
                    </a:lnTo>
                    <a:lnTo>
                      <a:pt x="2548" y="1906"/>
                    </a:lnTo>
                    <a:lnTo>
                      <a:pt x="2540" y="1900"/>
                    </a:lnTo>
                    <a:lnTo>
                      <a:pt x="2534" y="1892"/>
                    </a:lnTo>
                    <a:lnTo>
                      <a:pt x="2530" y="1884"/>
                    </a:lnTo>
                    <a:lnTo>
                      <a:pt x="2528" y="1876"/>
                    </a:lnTo>
                    <a:lnTo>
                      <a:pt x="2522" y="1856"/>
                    </a:lnTo>
                    <a:lnTo>
                      <a:pt x="2518" y="1848"/>
                    </a:lnTo>
                    <a:lnTo>
                      <a:pt x="2514" y="1840"/>
                    </a:lnTo>
                    <a:lnTo>
                      <a:pt x="2508" y="1834"/>
                    </a:lnTo>
                    <a:lnTo>
                      <a:pt x="2504" y="1832"/>
                    </a:lnTo>
                    <a:lnTo>
                      <a:pt x="2504" y="1834"/>
                    </a:lnTo>
                    <a:lnTo>
                      <a:pt x="2504" y="1838"/>
                    </a:lnTo>
                    <a:lnTo>
                      <a:pt x="2506" y="1850"/>
                    </a:lnTo>
                    <a:lnTo>
                      <a:pt x="2512" y="1868"/>
                    </a:lnTo>
                    <a:lnTo>
                      <a:pt x="2514" y="1874"/>
                    </a:lnTo>
                    <a:lnTo>
                      <a:pt x="2512" y="1876"/>
                    </a:lnTo>
                    <a:lnTo>
                      <a:pt x="2506" y="1874"/>
                    </a:lnTo>
                    <a:lnTo>
                      <a:pt x="2498" y="1868"/>
                    </a:lnTo>
                    <a:lnTo>
                      <a:pt x="2490" y="1862"/>
                    </a:lnTo>
                    <a:lnTo>
                      <a:pt x="2484" y="1854"/>
                    </a:lnTo>
                    <a:lnTo>
                      <a:pt x="2482" y="1844"/>
                    </a:lnTo>
                    <a:lnTo>
                      <a:pt x="2482" y="1836"/>
                    </a:lnTo>
                    <a:lnTo>
                      <a:pt x="2482" y="1830"/>
                    </a:lnTo>
                    <a:lnTo>
                      <a:pt x="2482" y="1826"/>
                    </a:lnTo>
                    <a:lnTo>
                      <a:pt x="2478" y="1818"/>
                    </a:lnTo>
                    <a:lnTo>
                      <a:pt x="2474" y="1810"/>
                    </a:lnTo>
                    <a:lnTo>
                      <a:pt x="2472" y="1806"/>
                    </a:lnTo>
                    <a:lnTo>
                      <a:pt x="2472" y="1802"/>
                    </a:lnTo>
                    <a:lnTo>
                      <a:pt x="2472" y="1792"/>
                    </a:lnTo>
                    <a:lnTo>
                      <a:pt x="2470" y="1786"/>
                    </a:lnTo>
                    <a:lnTo>
                      <a:pt x="2466" y="1780"/>
                    </a:lnTo>
                    <a:lnTo>
                      <a:pt x="2462" y="1770"/>
                    </a:lnTo>
                    <a:lnTo>
                      <a:pt x="2454" y="1762"/>
                    </a:lnTo>
                    <a:lnTo>
                      <a:pt x="2448" y="1758"/>
                    </a:lnTo>
                    <a:lnTo>
                      <a:pt x="2440" y="1754"/>
                    </a:lnTo>
                    <a:lnTo>
                      <a:pt x="2428" y="1752"/>
                    </a:lnTo>
                    <a:lnTo>
                      <a:pt x="2424" y="1750"/>
                    </a:lnTo>
                    <a:lnTo>
                      <a:pt x="2422" y="1748"/>
                    </a:lnTo>
                    <a:lnTo>
                      <a:pt x="2418" y="1738"/>
                    </a:lnTo>
                    <a:lnTo>
                      <a:pt x="2412" y="1730"/>
                    </a:lnTo>
                    <a:lnTo>
                      <a:pt x="2408" y="1726"/>
                    </a:lnTo>
                    <a:lnTo>
                      <a:pt x="2402" y="1726"/>
                    </a:lnTo>
                    <a:lnTo>
                      <a:pt x="2394" y="1726"/>
                    </a:lnTo>
                    <a:lnTo>
                      <a:pt x="2394" y="1728"/>
                    </a:lnTo>
                    <a:lnTo>
                      <a:pt x="2394" y="1730"/>
                    </a:lnTo>
                    <a:lnTo>
                      <a:pt x="2400" y="1736"/>
                    </a:lnTo>
                    <a:lnTo>
                      <a:pt x="2410" y="1748"/>
                    </a:lnTo>
                    <a:lnTo>
                      <a:pt x="2414" y="1754"/>
                    </a:lnTo>
                    <a:lnTo>
                      <a:pt x="2416" y="1758"/>
                    </a:lnTo>
                    <a:lnTo>
                      <a:pt x="2416" y="1762"/>
                    </a:lnTo>
                    <a:lnTo>
                      <a:pt x="2416" y="1764"/>
                    </a:lnTo>
                    <a:lnTo>
                      <a:pt x="2414" y="1768"/>
                    </a:lnTo>
                    <a:lnTo>
                      <a:pt x="2420" y="1776"/>
                    </a:lnTo>
                    <a:lnTo>
                      <a:pt x="2426" y="1784"/>
                    </a:lnTo>
                    <a:lnTo>
                      <a:pt x="2430" y="1794"/>
                    </a:lnTo>
                    <a:lnTo>
                      <a:pt x="2440" y="1814"/>
                    </a:lnTo>
                    <a:lnTo>
                      <a:pt x="2444" y="1822"/>
                    </a:lnTo>
                    <a:lnTo>
                      <a:pt x="2448" y="1828"/>
                    </a:lnTo>
                    <a:lnTo>
                      <a:pt x="2452" y="1830"/>
                    </a:lnTo>
                    <a:lnTo>
                      <a:pt x="2454" y="1826"/>
                    </a:lnTo>
                    <a:lnTo>
                      <a:pt x="2456" y="1822"/>
                    </a:lnTo>
                    <a:lnTo>
                      <a:pt x="2460" y="1822"/>
                    </a:lnTo>
                    <a:lnTo>
                      <a:pt x="2464" y="1830"/>
                    </a:lnTo>
                    <a:lnTo>
                      <a:pt x="2466" y="1840"/>
                    </a:lnTo>
                    <a:lnTo>
                      <a:pt x="2466" y="1842"/>
                    </a:lnTo>
                    <a:lnTo>
                      <a:pt x="2464" y="1842"/>
                    </a:lnTo>
                    <a:lnTo>
                      <a:pt x="2458" y="1838"/>
                    </a:lnTo>
                    <a:lnTo>
                      <a:pt x="2458" y="1842"/>
                    </a:lnTo>
                    <a:lnTo>
                      <a:pt x="2474" y="1878"/>
                    </a:lnTo>
                    <a:lnTo>
                      <a:pt x="2480" y="1892"/>
                    </a:lnTo>
                    <a:lnTo>
                      <a:pt x="2482" y="1902"/>
                    </a:lnTo>
                    <a:lnTo>
                      <a:pt x="2482" y="1910"/>
                    </a:lnTo>
                    <a:lnTo>
                      <a:pt x="2482" y="1916"/>
                    </a:lnTo>
                    <a:lnTo>
                      <a:pt x="2478" y="1928"/>
                    </a:lnTo>
                    <a:lnTo>
                      <a:pt x="2476" y="1936"/>
                    </a:lnTo>
                    <a:lnTo>
                      <a:pt x="2476" y="1946"/>
                    </a:lnTo>
                    <a:lnTo>
                      <a:pt x="2476" y="1954"/>
                    </a:lnTo>
                    <a:lnTo>
                      <a:pt x="2472" y="1962"/>
                    </a:lnTo>
                    <a:lnTo>
                      <a:pt x="2466" y="1968"/>
                    </a:lnTo>
                    <a:lnTo>
                      <a:pt x="2460" y="1972"/>
                    </a:lnTo>
                    <a:lnTo>
                      <a:pt x="2446" y="1980"/>
                    </a:lnTo>
                    <a:lnTo>
                      <a:pt x="2442" y="1984"/>
                    </a:lnTo>
                    <a:lnTo>
                      <a:pt x="2440" y="1988"/>
                    </a:lnTo>
                    <a:lnTo>
                      <a:pt x="2440" y="1994"/>
                    </a:lnTo>
                    <a:lnTo>
                      <a:pt x="2444" y="2000"/>
                    </a:lnTo>
                    <a:lnTo>
                      <a:pt x="2456" y="2010"/>
                    </a:lnTo>
                    <a:lnTo>
                      <a:pt x="2474" y="2020"/>
                    </a:lnTo>
                    <a:lnTo>
                      <a:pt x="2488" y="2028"/>
                    </a:lnTo>
                    <a:lnTo>
                      <a:pt x="2494" y="2032"/>
                    </a:lnTo>
                    <a:lnTo>
                      <a:pt x="2496" y="2040"/>
                    </a:lnTo>
                    <a:lnTo>
                      <a:pt x="2498" y="2048"/>
                    </a:lnTo>
                    <a:lnTo>
                      <a:pt x="2496" y="2058"/>
                    </a:lnTo>
                    <a:lnTo>
                      <a:pt x="2492" y="2076"/>
                    </a:lnTo>
                    <a:lnTo>
                      <a:pt x="2488" y="2082"/>
                    </a:lnTo>
                    <a:lnTo>
                      <a:pt x="2484" y="2088"/>
                    </a:lnTo>
                    <a:lnTo>
                      <a:pt x="2478" y="2092"/>
                    </a:lnTo>
                    <a:lnTo>
                      <a:pt x="2474" y="2098"/>
                    </a:lnTo>
                    <a:lnTo>
                      <a:pt x="2474" y="2100"/>
                    </a:lnTo>
                    <a:lnTo>
                      <a:pt x="2476" y="2100"/>
                    </a:lnTo>
                    <a:lnTo>
                      <a:pt x="2488" y="2106"/>
                    </a:lnTo>
                    <a:lnTo>
                      <a:pt x="2492" y="2108"/>
                    </a:lnTo>
                    <a:lnTo>
                      <a:pt x="2494" y="2110"/>
                    </a:lnTo>
                    <a:lnTo>
                      <a:pt x="2498" y="2116"/>
                    </a:lnTo>
                    <a:lnTo>
                      <a:pt x="2498" y="2120"/>
                    </a:lnTo>
                    <a:lnTo>
                      <a:pt x="2502" y="2120"/>
                    </a:lnTo>
                    <a:lnTo>
                      <a:pt x="2506" y="2118"/>
                    </a:lnTo>
                    <a:lnTo>
                      <a:pt x="2512" y="2114"/>
                    </a:lnTo>
                    <a:lnTo>
                      <a:pt x="2520" y="2108"/>
                    </a:lnTo>
                    <a:lnTo>
                      <a:pt x="2530" y="2094"/>
                    </a:lnTo>
                    <a:lnTo>
                      <a:pt x="2552" y="2062"/>
                    </a:lnTo>
                    <a:lnTo>
                      <a:pt x="2560" y="2044"/>
                    </a:lnTo>
                    <a:lnTo>
                      <a:pt x="2568" y="2028"/>
                    </a:lnTo>
                    <a:lnTo>
                      <a:pt x="2570" y="2016"/>
                    </a:lnTo>
                    <a:lnTo>
                      <a:pt x="2570" y="2010"/>
                    </a:lnTo>
                    <a:lnTo>
                      <a:pt x="2568" y="2006"/>
                    </a:lnTo>
                    <a:lnTo>
                      <a:pt x="2566" y="2002"/>
                    </a:lnTo>
                    <a:lnTo>
                      <a:pt x="2568" y="1998"/>
                    </a:lnTo>
                    <a:lnTo>
                      <a:pt x="2570" y="1992"/>
                    </a:lnTo>
                    <a:lnTo>
                      <a:pt x="2574" y="1986"/>
                    </a:lnTo>
                    <a:lnTo>
                      <a:pt x="2580" y="1982"/>
                    </a:lnTo>
                    <a:lnTo>
                      <a:pt x="2586" y="1980"/>
                    </a:lnTo>
                    <a:lnTo>
                      <a:pt x="2594" y="1982"/>
                    </a:lnTo>
                    <a:lnTo>
                      <a:pt x="2602" y="1986"/>
                    </a:lnTo>
                    <a:lnTo>
                      <a:pt x="2608" y="1990"/>
                    </a:lnTo>
                    <a:lnTo>
                      <a:pt x="2610" y="1990"/>
                    </a:lnTo>
                    <a:lnTo>
                      <a:pt x="2612" y="1988"/>
                    </a:lnTo>
                    <a:lnTo>
                      <a:pt x="2612" y="1984"/>
                    </a:lnTo>
                    <a:lnTo>
                      <a:pt x="2610" y="1978"/>
                    </a:lnTo>
                    <a:lnTo>
                      <a:pt x="2608" y="1970"/>
                    </a:lnTo>
                    <a:lnTo>
                      <a:pt x="2608" y="1964"/>
                    </a:lnTo>
                    <a:lnTo>
                      <a:pt x="2610" y="1958"/>
                    </a:lnTo>
                    <a:lnTo>
                      <a:pt x="2612" y="1956"/>
                    </a:lnTo>
                    <a:lnTo>
                      <a:pt x="2614" y="1954"/>
                    </a:lnTo>
                    <a:lnTo>
                      <a:pt x="2620" y="1952"/>
                    </a:lnTo>
                    <a:lnTo>
                      <a:pt x="2624" y="1948"/>
                    </a:lnTo>
                    <a:lnTo>
                      <a:pt x="2626" y="1942"/>
                    </a:lnTo>
                    <a:lnTo>
                      <a:pt x="2626" y="1934"/>
                    </a:lnTo>
                    <a:lnTo>
                      <a:pt x="2628" y="1920"/>
                    </a:lnTo>
                    <a:lnTo>
                      <a:pt x="2628" y="1912"/>
                    </a:lnTo>
                    <a:lnTo>
                      <a:pt x="2630" y="1908"/>
                    </a:lnTo>
                    <a:lnTo>
                      <a:pt x="2632" y="1904"/>
                    </a:lnTo>
                    <a:lnTo>
                      <a:pt x="2630" y="1900"/>
                    </a:lnTo>
                    <a:lnTo>
                      <a:pt x="2626" y="1896"/>
                    </a:lnTo>
                    <a:lnTo>
                      <a:pt x="2620" y="1894"/>
                    </a:lnTo>
                    <a:lnTo>
                      <a:pt x="2614" y="1894"/>
                    </a:lnTo>
                    <a:lnTo>
                      <a:pt x="2608" y="1896"/>
                    </a:lnTo>
                    <a:lnTo>
                      <a:pt x="2604" y="1900"/>
                    </a:lnTo>
                    <a:lnTo>
                      <a:pt x="2600" y="1904"/>
                    </a:lnTo>
                    <a:close/>
                    <a:moveTo>
                      <a:pt x="2636" y="868"/>
                    </a:moveTo>
                    <a:lnTo>
                      <a:pt x="2636" y="868"/>
                    </a:lnTo>
                    <a:lnTo>
                      <a:pt x="2636" y="864"/>
                    </a:lnTo>
                    <a:lnTo>
                      <a:pt x="2634" y="860"/>
                    </a:lnTo>
                    <a:lnTo>
                      <a:pt x="2630" y="856"/>
                    </a:lnTo>
                    <a:lnTo>
                      <a:pt x="2626" y="854"/>
                    </a:lnTo>
                    <a:lnTo>
                      <a:pt x="2616" y="850"/>
                    </a:lnTo>
                    <a:lnTo>
                      <a:pt x="2606" y="852"/>
                    </a:lnTo>
                    <a:lnTo>
                      <a:pt x="2596" y="858"/>
                    </a:lnTo>
                    <a:lnTo>
                      <a:pt x="2588" y="864"/>
                    </a:lnTo>
                    <a:lnTo>
                      <a:pt x="2582" y="870"/>
                    </a:lnTo>
                    <a:lnTo>
                      <a:pt x="2580" y="876"/>
                    </a:lnTo>
                    <a:lnTo>
                      <a:pt x="2580" y="880"/>
                    </a:lnTo>
                    <a:lnTo>
                      <a:pt x="2580" y="882"/>
                    </a:lnTo>
                    <a:lnTo>
                      <a:pt x="2582" y="886"/>
                    </a:lnTo>
                    <a:lnTo>
                      <a:pt x="2586" y="888"/>
                    </a:lnTo>
                    <a:lnTo>
                      <a:pt x="2600" y="892"/>
                    </a:lnTo>
                    <a:lnTo>
                      <a:pt x="2610" y="896"/>
                    </a:lnTo>
                    <a:lnTo>
                      <a:pt x="2616" y="894"/>
                    </a:lnTo>
                    <a:lnTo>
                      <a:pt x="2620" y="890"/>
                    </a:lnTo>
                    <a:lnTo>
                      <a:pt x="2624" y="888"/>
                    </a:lnTo>
                    <a:lnTo>
                      <a:pt x="2626" y="886"/>
                    </a:lnTo>
                    <a:lnTo>
                      <a:pt x="2630" y="888"/>
                    </a:lnTo>
                    <a:lnTo>
                      <a:pt x="2636" y="890"/>
                    </a:lnTo>
                    <a:lnTo>
                      <a:pt x="2638" y="890"/>
                    </a:lnTo>
                    <a:lnTo>
                      <a:pt x="2640" y="888"/>
                    </a:lnTo>
                    <a:lnTo>
                      <a:pt x="2642" y="886"/>
                    </a:lnTo>
                    <a:lnTo>
                      <a:pt x="2640" y="882"/>
                    </a:lnTo>
                    <a:lnTo>
                      <a:pt x="2636" y="876"/>
                    </a:lnTo>
                    <a:lnTo>
                      <a:pt x="2636" y="872"/>
                    </a:lnTo>
                    <a:lnTo>
                      <a:pt x="2636" y="868"/>
                    </a:lnTo>
                    <a:close/>
                    <a:moveTo>
                      <a:pt x="2260" y="930"/>
                    </a:moveTo>
                    <a:lnTo>
                      <a:pt x="2260" y="930"/>
                    </a:lnTo>
                    <a:lnTo>
                      <a:pt x="2260" y="928"/>
                    </a:lnTo>
                    <a:lnTo>
                      <a:pt x="2262" y="924"/>
                    </a:lnTo>
                    <a:lnTo>
                      <a:pt x="2258" y="918"/>
                    </a:lnTo>
                    <a:lnTo>
                      <a:pt x="2254" y="912"/>
                    </a:lnTo>
                    <a:lnTo>
                      <a:pt x="2252" y="912"/>
                    </a:lnTo>
                    <a:lnTo>
                      <a:pt x="2248" y="914"/>
                    </a:lnTo>
                    <a:lnTo>
                      <a:pt x="2248" y="918"/>
                    </a:lnTo>
                    <a:lnTo>
                      <a:pt x="2248" y="920"/>
                    </a:lnTo>
                    <a:lnTo>
                      <a:pt x="2250" y="926"/>
                    </a:lnTo>
                    <a:lnTo>
                      <a:pt x="2256" y="930"/>
                    </a:lnTo>
                    <a:lnTo>
                      <a:pt x="2258" y="930"/>
                    </a:lnTo>
                    <a:lnTo>
                      <a:pt x="2260" y="930"/>
                    </a:lnTo>
                    <a:close/>
                    <a:moveTo>
                      <a:pt x="2258" y="948"/>
                    </a:moveTo>
                    <a:lnTo>
                      <a:pt x="2258" y="948"/>
                    </a:lnTo>
                    <a:lnTo>
                      <a:pt x="2256" y="950"/>
                    </a:lnTo>
                    <a:lnTo>
                      <a:pt x="2256" y="954"/>
                    </a:lnTo>
                    <a:lnTo>
                      <a:pt x="2258" y="960"/>
                    </a:lnTo>
                    <a:lnTo>
                      <a:pt x="2262" y="964"/>
                    </a:lnTo>
                    <a:lnTo>
                      <a:pt x="2266" y="966"/>
                    </a:lnTo>
                    <a:lnTo>
                      <a:pt x="2268" y="964"/>
                    </a:lnTo>
                    <a:lnTo>
                      <a:pt x="2268" y="962"/>
                    </a:lnTo>
                    <a:lnTo>
                      <a:pt x="2266" y="954"/>
                    </a:lnTo>
                    <a:lnTo>
                      <a:pt x="2262" y="948"/>
                    </a:lnTo>
                    <a:lnTo>
                      <a:pt x="2260" y="948"/>
                    </a:lnTo>
                    <a:lnTo>
                      <a:pt x="2258" y="948"/>
                    </a:lnTo>
                    <a:close/>
                    <a:moveTo>
                      <a:pt x="1490" y="460"/>
                    </a:moveTo>
                    <a:lnTo>
                      <a:pt x="1490" y="460"/>
                    </a:lnTo>
                    <a:lnTo>
                      <a:pt x="1492" y="462"/>
                    </a:lnTo>
                    <a:lnTo>
                      <a:pt x="1494" y="464"/>
                    </a:lnTo>
                    <a:lnTo>
                      <a:pt x="1496" y="462"/>
                    </a:lnTo>
                    <a:lnTo>
                      <a:pt x="1496" y="460"/>
                    </a:lnTo>
                    <a:lnTo>
                      <a:pt x="1496" y="454"/>
                    </a:lnTo>
                    <a:lnTo>
                      <a:pt x="1494" y="448"/>
                    </a:lnTo>
                    <a:lnTo>
                      <a:pt x="1490" y="446"/>
                    </a:lnTo>
                    <a:lnTo>
                      <a:pt x="1486" y="448"/>
                    </a:lnTo>
                    <a:lnTo>
                      <a:pt x="1486" y="452"/>
                    </a:lnTo>
                    <a:lnTo>
                      <a:pt x="1490" y="460"/>
                    </a:lnTo>
                    <a:close/>
                    <a:moveTo>
                      <a:pt x="1532" y="492"/>
                    </a:moveTo>
                    <a:lnTo>
                      <a:pt x="1532" y="492"/>
                    </a:lnTo>
                    <a:lnTo>
                      <a:pt x="1534" y="486"/>
                    </a:lnTo>
                    <a:lnTo>
                      <a:pt x="1534" y="482"/>
                    </a:lnTo>
                    <a:lnTo>
                      <a:pt x="1532" y="482"/>
                    </a:lnTo>
                    <a:lnTo>
                      <a:pt x="1530" y="482"/>
                    </a:lnTo>
                    <a:lnTo>
                      <a:pt x="1528" y="484"/>
                    </a:lnTo>
                    <a:lnTo>
                      <a:pt x="1526" y="484"/>
                    </a:lnTo>
                    <a:lnTo>
                      <a:pt x="1522" y="480"/>
                    </a:lnTo>
                    <a:lnTo>
                      <a:pt x="1518" y="478"/>
                    </a:lnTo>
                    <a:lnTo>
                      <a:pt x="1516" y="478"/>
                    </a:lnTo>
                    <a:lnTo>
                      <a:pt x="1518" y="486"/>
                    </a:lnTo>
                    <a:lnTo>
                      <a:pt x="1522" y="492"/>
                    </a:lnTo>
                    <a:lnTo>
                      <a:pt x="1528" y="496"/>
                    </a:lnTo>
                    <a:lnTo>
                      <a:pt x="1532" y="496"/>
                    </a:lnTo>
                    <a:lnTo>
                      <a:pt x="1532" y="492"/>
                    </a:lnTo>
                    <a:close/>
                    <a:moveTo>
                      <a:pt x="1520" y="466"/>
                    </a:moveTo>
                    <a:lnTo>
                      <a:pt x="1520" y="466"/>
                    </a:lnTo>
                    <a:lnTo>
                      <a:pt x="1516" y="458"/>
                    </a:lnTo>
                    <a:lnTo>
                      <a:pt x="1512" y="454"/>
                    </a:lnTo>
                    <a:lnTo>
                      <a:pt x="1508" y="454"/>
                    </a:lnTo>
                    <a:lnTo>
                      <a:pt x="1506" y="454"/>
                    </a:lnTo>
                    <a:lnTo>
                      <a:pt x="1504" y="456"/>
                    </a:lnTo>
                    <a:lnTo>
                      <a:pt x="1502" y="460"/>
                    </a:lnTo>
                    <a:lnTo>
                      <a:pt x="1500" y="468"/>
                    </a:lnTo>
                    <a:lnTo>
                      <a:pt x="1500" y="470"/>
                    </a:lnTo>
                    <a:lnTo>
                      <a:pt x="1504" y="470"/>
                    </a:lnTo>
                    <a:lnTo>
                      <a:pt x="1514" y="472"/>
                    </a:lnTo>
                    <a:lnTo>
                      <a:pt x="1518" y="470"/>
                    </a:lnTo>
                    <a:lnTo>
                      <a:pt x="1520" y="466"/>
                    </a:lnTo>
                    <a:close/>
                    <a:moveTo>
                      <a:pt x="1400" y="268"/>
                    </a:moveTo>
                    <a:lnTo>
                      <a:pt x="1400" y="268"/>
                    </a:lnTo>
                    <a:lnTo>
                      <a:pt x="1394" y="264"/>
                    </a:lnTo>
                    <a:lnTo>
                      <a:pt x="1392" y="264"/>
                    </a:lnTo>
                    <a:lnTo>
                      <a:pt x="1390" y="266"/>
                    </a:lnTo>
                    <a:lnTo>
                      <a:pt x="1392" y="272"/>
                    </a:lnTo>
                    <a:lnTo>
                      <a:pt x="1396" y="280"/>
                    </a:lnTo>
                    <a:lnTo>
                      <a:pt x="1398" y="282"/>
                    </a:lnTo>
                    <a:lnTo>
                      <a:pt x="1400" y="284"/>
                    </a:lnTo>
                    <a:lnTo>
                      <a:pt x="1402" y="282"/>
                    </a:lnTo>
                    <a:lnTo>
                      <a:pt x="1404" y="280"/>
                    </a:lnTo>
                    <a:lnTo>
                      <a:pt x="1404" y="274"/>
                    </a:lnTo>
                    <a:lnTo>
                      <a:pt x="1402" y="272"/>
                    </a:lnTo>
                    <a:lnTo>
                      <a:pt x="1400" y="268"/>
                    </a:lnTo>
                    <a:close/>
                    <a:moveTo>
                      <a:pt x="1360" y="254"/>
                    </a:moveTo>
                    <a:lnTo>
                      <a:pt x="1360" y="254"/>
                    </a:lnTo>
                    <a:lnTo>
                      <a:pt x="1360" y="256"/>
                    </a:lnTo>
                    <a:lnTo>
                      <a:pt x="1360" y="260"/>
                    </a:lnTo>
                    <a:lnTo>
                      <a:pt x="1362" y="264"/>
                    </a:lnTo>
                    <a:lnTo>
                      <a:pt x="1368" y="266"/>
                    </a:lnTo>
                    <a:lnTo>
                      <a:pt x="1372" y="264"/>
                    </a:lnTo>
                    <a:lnTo>
                      <a:pt x="1372" y="262"/>
                    </a:lnTo>
                    <a:lnTo>
                      <a:pt x="1372" y="260"/>
                    </a:lnTo>
                    <a:lnTo>
                      <a:pt x="1370" y="254"/>
                    </a:lnTo>
                    <a:lnTo>
                      <a:pt x="1366" y="252"/>
                    </a:lnTo>
                    <a:lnTo>
                      <a:pt x="1364" y="252"/>
                    </a:lnTo>
                    <a:lnTo>
                      <a:pt x="1360" y="254"/>
                    </a:lnTo>
                    <a:close/>
                    <a:moveTo>
                      <a:pt x="1320" y="218"/>
                    </a:moveTo>
                    <a:lnTo>
                      <a:pt x="1320" y="218"/>
                    </a:lnTo>
                    <a:lnTo>
                      <a:pt x="1318" y="216"/>
                    </a:lnTo>
                    <a:lnTo>
                      <a:pt x="1316" y="218"/>
                    </a:lnTo>
                    <a:lnTo>
                      <a:pt x="1314" y="220"/>
                    </a:lnTo>
                    <a:lnTo>
                      <a:pt x="1314" y="226"/>
                    </a:lnTo>
                    <a:lnTo>
                      <a:pt x="1316" y="232"/>
                    </a:lnTo>
                    <a:lnTo>
                      <a:pt x="1318" y="232"/>
                    </a:lnTo>
                    <a:lnTo>
                      <a:pt x="1320" y="232"/>
                    </a:lnTo>
                    <a:lnTo>
                      <a:pt x="1324" y="228"/>
                    </a:lnTo>
                    <a:lnTo>
                      <a:pt x="1324" y="224"/>
                    </a:lnTo>
                    <a:lnTo>
                      <a:pt x="1324" y="220"/>
                    </a:lnTo>
                    <a:lnTo>
                      <a:pt x="1320" y="218"/>
                    </a:lnTo>
                    <a:close/>
                    <a:moveTo>
                      <a:pt x="1360" y="106"/>
                    </a:moveTo>
                    <a:lnTo>
                      <a:pt x="1360" y="106"/>
                    </a:lnTo>
                    <a:lnTo>
                      <a:pt x="1370" y="106"/>
                    </a:lnTo>
                    <a:lnTo>
                      <a:pt x="1376" y="102"/>
                    </a:lnTo>
                    <a:lnTo>
                      <a:pt x="1376" y="100"/>
                    </a:lnTo>
                    <a:lnTo>
                      <a:pt x="1376" y="98"/>
                    </a:lnTo>
                    <a:lnTo>
                      <a:pt x="1374" y="98"/>
                    </a:lnTo>
                    <a:lnTo>
                      <a:pt x="1370" y="96"/>
                    </a:lnTo>
                    <a:lnTo>
                      <a:pt x="1362" y="94"/>
                    </a:lnTo>
                    <a:lnTo>
                      <a:pt x="1352" y="94"/>
                    </a:lnTo>
                    <a:lnTo>
                      <a:pt x="1344" y="96"/>
                    </a:lnTo>
                    <a:lnTo>
                      <a:pt x="1342" y="100"/>
                    </a:lnTo>
                    <a:lnTo>
                      <a:pt x="1340" y="102"/>
                    </a:lnTo>
                    <a:lnTo>
                      <a:pt x="1340" y="108"/>
                    </a:lnTo>
                    <a:lnTo>
                      <a:pt x="1344" y="108"/>
                    </a:lnTo>
                    <a:lnTo>
                      <a:pt x="1352" y="108"/>
                    </a:lnTo>
                    <a:lnTo>
                      <a:pt x="1360" y="106"/>
                    </a:lnTo>
                    <a:close/>
                    <a:moveTo>
                      <a:pt x="918" y="88"/>
                    </a:moveTo>
                    <a:lnTo>
                      <a:pt x="918" y="88"/>
                    </a:lnTo>
                    <a:lnTo>
                      <a:pt x="922" y="90"/>
                    </a:lnTo>
                    <a:lnTo>
                      <a:pt x="926" y="92"/>
                    </a:lnTo>
                    <a:lnTo>
                      <a:pt x="948" y="88"/>
                    </a:lnTo>
                    <a:lnTo>
                      <a:pt x="958" y="84"/>
                    </a:lnTo>
                    <a:lnTo>
                      <a:pt x="954" y="82"/>
                    </a:lnTo>
                    <a:lnTo>
                      <a:pt x="920" y="78"/>
                    </a:lnTo>
                    <a:lnTo>
                      <a:pt x="906" y="76"/>
                    </a:lnTo>
                    <a:lnTo>
                      <a:pt x="902" y="78"/>
                    </a:lnTo>
                    <a:lnTo>
                      <a:pt x="908" y="80"/>
                    </a:lnTo>
                    <a:lnTo>
                      <a:pt x="918" y="88"/>
                    </a:lnTo>
                    <a:close/>
                    <a:moveTo>
                      <a:pt x="910" y="44"/>
                    </a:moveTo>
                    <a:lnTo>
                      <a:pt x="910" y="44"/>
                    </a:lnTo>
                    <a:lnTo>
                      <a:pt x="912" y="46"/>
                    </a:lnTo>
                    <a:lnTo>
                      <a:pt x="914" y="48"/>
                    </a:lnTo>
                    <a:lnTo>
                      <a:pt x="914" y="54"/>
                    </a:lnTo>
                    <a:lnTo>
                      <a:pt x="916" y="56"/>
                    </a:lnTo>
                    <a:lnTo>
                      <a:pt x="918" y="56"/>
                    </a:lnTo>
                    <a:lnTo>
                      <a:pt x="922" y="58"/>
                    </a:lnTo>
                    <a:lnTo>
                      <a:pt x="930" y="56"/>
                    </a:lnTo>
                    <a:lnTo>
                      <a:pt x="936" y="54"/>
                    </a:lnTo>
                    <a:lnTo>
                      <a:pt x="938" y="52"/>
                    </a:lnTo>
                    <a:lnTo>
                      <a:pt x="936" y="50"/>
                    </a:lnTo>
                    <a:lnTo>
                      <a:pt x="928" y="46"/>
                    </a:lnTo>
                    <a:lnTo>
                      <a:pt x="924" y="44"/>
                    </a:lnTo>
                    <a:lnTo>
                      <a:pt x="920" y="38"/>
                    </a:lnTo>
                    <a:lnTo>
                      <a:pt x="916" y="34"/>
                    </a:lnTo>
                    <a:lnTo>
                      <a:pt x="906" y="30"/>
                    </a:lnTo>
                    <a:lnTo>
                      <a:pt x="896" y="30"/>
                    </a:lnTo>
                    <a:lnTo>
                      <a:pt x="894" y="30"/>
                    </a:lnTo>
                    <a:lnTo>
                      <a:pt x="896" y="32"/>
                    </a:lnTo>
                    <a:lnTo>
                      <a:pt x="902" y="38"/>
                    </a:lnTo>
                    <a:lnTo>
                      <a:pt x="910" y="44"/>
                    </a:lnTo>
                    <a:close/>
                    <a:moveTo>
                      <a:pt x="868" y="284"/>
                    </a:moveTo>
                    <a:lnTo>
                      <a:pt x="868" y="284"/>
                    </a:lnTo>
                    <a:lnTo>
                      <a:pt x="866" y="272"/>
                    </a:lnTo>
                    <a:lnTo>
                      <a:pt x="862" y="266"/>
                    </a:lnTo>
                    <a:lnTo>
                      <a:pt x="860" y="264"/>
                    </a:lnTo>
                    <a:lnTo>
                      <a:pt x="858" y="264"/>
                    </a:lnTo>
                    <a:lnTo>
                      <a:pt x="856" y="270"/>
                    </a:lnTo>
                    <a:lnTo>
                      <a:pt x="852" y="276"/>
                    </a:lnTo>
                    <a:lnTo>
                      <a:pt x="850" y="276"/>
                    </a:lnTo>
                    <a:lnTo>
                      <a:pt x="848" y="276"/>
                    </a:lnTo>
                    <a:lnTo>
                      <a:pt x="846" y="278"/>
                    </a:lnTo>
                    <a:lnTo>
                      <a:pt x="848" y="280"/>
                    </a:lnTo>
                    <a:lnTo>
                      <a:pt x="848" y="282"/>
                    </a:lnTo>
                    <a:lnTo>
                      <a:pt x="850" y="284"/>
                    </a:lnTo>
                    <a:lnTo>
                      <a:pt x="850" y="288"/>
                    </a:lnTo>
                    <a:lnTo>
                      <a:pt x="850" y="296"/>
                    </a:lnTo>
                    <a:lnTo>
                      <a:pt x="852" y="300"/>
                    </a:lnTo>
                    <a:lnTo>
                      <a:pt x="860" y="308"/>
                    </a:lnTo>
                    <a:lnTo>
                      <a:pt x="864" y="310"/>
                    </a:lnTo>
                    <a:lnTo>
                      <a:pt x="866" y="306"/>
                    </a:lnTo>
                    <a:lnTo>
                      <a:pt x="868" y="298"/>
                    </a:lnTo>
                    <a:lnTo>
                      <a:pt x="868" y="284"/>
                    </a:lnTo>
                    <a:close/>
                    <a:moveTo>
                      <a:pt x="852" y="306"/>
                    </a:moveTo>
                    <a:lnTo>
                      <a:pt x="852" y="306"/>
                    </a:lnTo>
                    <a:lnTo>
                      <a:pt x="848" y="302"/>
                    </a:lnTo>
                    <a:lnTo>
                      <a:pt x="846" y="298"/>
                    </a:lnTo>
                    <a:lnTo>
                      <a:pt x="844" y="296"/>
                    </a:lnTo>
                    <a:lnTo>
                      <a:pt x="844" y="302"/>
                    </a:lnTo>
                    <a:lnTo>
                      <a:pt x="846" y="304"/>
                    </a:lnTo>
                    <a:lnTo>
                      <a:pt x="852" y="310"/>
                    </a:lnTo>
                    <a:lnTo>
                      <a:pt x="858" y="318"/>
                    </a:lnTo>
                    <a:lnTo>
                      <a:pt x="858" y="314"/>
                    </a:lnTo>
                    <a:lnTo>
                      <a:pt x="856" y="310"/>
                    </a:lnTo>
                    <a:lnTo>
                      <a:pt x="852" y="306"/>
                    </a:lnTo>
                    <a:close/>
                    <a:moveTo>
                      <a:pt x="1028" y="396"/>
                    </a:moveTo>
                    <a:lnTo>
                      <a:pt x="1028" y="396"/>
                    </a:lnTo>
                    <a:lnTo>
                      <a:pt x="1032" y="394"/>
                    </a:lnTo>
                    <a:lnTo>
                      <a:pt x="1032" y="392"/>
                    </a:lnTo>
                    <a:lnTo>
                      <a:pt x="1036" y="380"/>
                    </a:lnTo>
                    <a:lnTo>
                      <a:pt x="1040" y="372"/>
                    </a:lnTo>
                    <a:lnTo>
                      <a:pt x="1040" y="370"/>
                    </a:lnTo>
                    <a:lnTo>
                      <a:pt x="1036" y="368"/>
                    </a:lnTo>
                    <a:lnTo>
                      <a:pt x="1034" y="366"/>
                    </a:lnTo>
                    <a:lnTo>
                      <a:pt x="1032" y="364"/>
                    </a:lnTo>
                    <a:lnTo>
                      <a:pt x="1032" y="362"/>
                    </a:lnTo>
                    <a:lnTo>
                      <a:pt x="1028" y="360"/>
                    </a:lnTo>
                    <a:lnTo>
                      <a:pt x="1024" y="358"/>
                    </a:lnTo>
                    <a:lnTo>
                      <a:pt x="1018" y="360"/>
                    </a:lnTo>
                    <a:lnTo>
                      <a:pt x="1008" y="366"/>
                    </a:lnTo>
                    <a:lnTo>
                      <a:pt x="998" y="374"/>
                    </a:lnTo>
                    <a:lnTo>
                      <a:pt x="994" y="378"/>
                    </a:lnTo>
                    <a:lnTo>
                      <a:pt x="994" y="384"/>
                    </a:lnTo>
                    <a:lnTo>
                      <a:pt x="992" y="388"/>
                    </a:lnTo>
                    <a:lnTo>
                      <a:pt x="988" y="396"/>
                    </a:lnTo>
                    <a:lnTo>
                      <a:pt x="984" y="402"/>
                    </a:lnTo>
                    <a:lnTo>
                      <a:pt x="984" y="408"/>
                    </a:lnTo>
                    <a:lnTo>
                      <a:pt x="984" y="410"/>
                    </a:lnTo>
                    <a:lnTo>
                      <a:pt x="984" y="412"/>
                    </a:lnTo>
                    <a:lnTo>
                      <a:pt x="988" y="410"/>
                    </a:lnTo>
                    <a:lnTo>
                      <a:pt x="996" y="408"/>
                    </a:lnTo>
                    <a:lnTo>
                      <a:pt x="1000" y="408"/>
                    </a:lnTo>
                    <a:lnTo>
                      <a:pt x="1006" y="410"/>
                    </a:lnTo>
                    <a:lnTo>
                      <a:pt x="1012" y="410"/>
                    </a:lnTo>
                    <a:lnTo>
                      <a:pt x="1016" y="410"/>
                    </a:lnTo>
                    <a:lnTo>
                      <a:pt x="1020" y="406"/>
                    </a:lnTo>
                    <a:lnTo>
                      <a:pt x="1024" y="400"/>
                    </a:lnTo>
                    <a:lnTo>
                      <a:pt x="1028" y="396"/>
                    </a:lnTo>
                    <a:close/>
                    <a:moveTo>
                      <a:pt x="1032" y="410"/>
                    </a:moveTo>
                    <a:lnTo>
                      <a:pt x="1032" y="410"/>
                    </a:lnTo>
                    <a:lnTo>
                      <a:pt x="1036" y="410"/>
                    </a:lnTo>
                    <a:lnTo>
                      <a:pt x="1036" y="406"/>
                    </a:lnTo>
                    <a:lnTo>
                      <a:pt x="1034" y="402"/>
                    </a:lnTo>
                    <a:lnTo>
                      <a:pt x="1032" y="400"/>
                    </a:lnTo>
                    <a:lnTo>
                      <a:pt x="1032" y="398"/>
                    </a:lnTo>
                    <a:lnTo>
                      <a:pt x="1030" y="398"/>
                    </a:lnTo>
                    <a:lnTo>
                      <a:pt x="1026" y="400"/>
                    </a:lnTo>
                    <a:lnTo>
                      <a:pt x="1024" y="404"/>
                    </a:lnTo>
                    <a:lnTo>
                      <a:pt x="1024" y="408"/>
                    </a:lnTo>
                    <a:lnTo>
                      <a:pt x="1024" y="410"/>
                    </a:lnTo>
                    <a:lnTo>
                      <a:pt x="1032" y="410"/>
                    </a:lnTo>
                    <a:close/>
                    <a:moveTo>
                      <a:pt x="1044" y="820"/>
                    </a:moveTo>
                    <a:lnTo>
                      <a:pt x="1044" y="820"/>
                    </a:lnTo>
                    <a:lnTo>
                      <a:pt x="1046" y="820"/>
                    </a:lnTo>
                    <a:lnTo>
                      <a:pt x="1050" y="820"/>
                    </a:lnTo>
                    <a:lnTo>
                      <a:pt x="1054" y="816"/>
                    </a:lnTo>
                    <a:lnTo>
                      <a:pt x="1056" y="812"/>
                    </a:lnTo>
                    <a:lnTo>
                      <a:pt x="1060" y="812"/>
                    </a:lnTo>
                    <a:lnTo>
                      <a:pt x="1064" y="810"/>
                    </a:lnTo>
                    <a:lnTo>
                      <a:pt x="1068" y="808"/>
                    </a:lnTo>
                    <a:lnTo>
                      <a:pt x="1068" y="806"/>
                    </a:lnTo>
                    <a:lnTo>
                      <a:pt x="1066" y="804"/>
                    </a:lnTo>
                    <a:lnTo>
                      <a:pt x="1064" y="802"/>
                    </a:lnTo>
                    <a:lnTo>
                      <a:pt x="1060" y="804"/>
                    </a:lnTo>
                    <a:lnTo>
                      <a:pt x="1052" y="808"/>
                    </a:lnTo>
                    <a:lnTo>
                      <a:pt x="1046" y="814"/>
                    </a:lnTo>
                    <a:lnTo>
                      <a:pt x="1044" y="818"/>
                    </a:lnTo>
                    <a:lnTo>
                      <a:pt x="1044" y="820"/>
                    </a:lnTo>
                    <a:close/>
                    <a:moveTo>
                      <a:pt x="844" y="336"/>
                    </a:moveTo>
                    <a:lnTo>
                      <a:pt x="844" y="336"/>
                    </a:lnTo>
                    <a:lnTo>
                      <a:pt x="852" y="332"/>
                    </a:lnTo>
                    <a:lnTo>
                      <a:pt x="856" y="326"/>
                    </a:lnTo>
                    <a:lnTo>
                      <a:pt x="854" y="320"/>
                    </a:lnTo>
                    <a:lnTo>
                      <a:pt x="850" y="312"/>
                    </a:lnTo>
                    <a:lnTo>
                      <a:pt x="846" y="306"/>
                    </a:lnTo>
                    <a:lnTo>
                      <a:pt x="842" y="306"/>
                    </a:lnTo>
                    <a:lnTo>
                      <a:pt x="840" y="310"/>
                    </a:lnTo>
                    <a:lnTo>
                      <a:pt x="840" y="316"/>
                    </a:lnTo>
                    <a:lnTo>
                      <a:pt x="840" y="330"/>
                    </a:lnTo>
                    <a:lnTo>
                      <a:pt x="842" y="336"/>
                    </a:lnTo>
                    <a:lnTo>
                      <a:pt x="844" y="336"/>
                    </a:lnTo>
                    <a:close/>
                    <a:moveTo>
                      <a:pt x="794" y="292"/>
                    </a:moveTo>
                    <a:lnTo>
                      <a:pt x="794" y="292"/>
                    </a:lnTo>
                    <a:lnTo>
                      <a:pt x="800" y="276"/>
                    </a:lnTo>
                    <a:lnTo>
                      <a:pt x="804" y="264"/>
                    </a:lnTo>
                    <a:lnTo>
                      <a:pt x="806" y="256"/>
                    </a:lnTo>
                    <a:lnTo>
                      <a:pt x="804" y="256"/>
                    </a:lnTo>
                    <a:lnTo>
                      <a:pt x="798" y="264"/>
                    </a:lnTo>
                    <a:lnTo>
                      <a:pt x="794" y="278"/>
                    </a:lnTo>
                    <a:lnTo>
                      <a:pt x="794" y="292"/>
                    </a:lnTo>
                    <a:close/>
                    <a:moveTo>
                      <a:pt x="1118" y="446"/>
                    </a:moveTo>
                    <a:lnTo>
                      <a:pt x="1118" y="446"/>
                    </a:lnTo>
                    <a:lnTo>
                      <a:pt x="1122" y="448"/>
                    </a:lnTo>
                    <a:lnTo>
                      <a:pt x="1128" y="450"/>
                    </a:lnTo>
                    <a:lnTo>
                      <a:pt x="1142" y="448"/>
                    </a:lnTo>
                    <a:lnTo>
                      <a:pt x="1158" y="448"/>
                    </a:lnTo>
                    <a:lnTo>
                      <a:pt x="1166" y="450"/>
                    </a:lnTo>
                    <a:lnTo>
                      <a:pt x="1172" y="452"/>
                    </a:lnTo>
                    <a:lnTo>
                      <a:pt x="1180" y="454"/>
                    </a:lnTo>
                    <a:lnTo>
                      <a:pt x="1186" y="454"/>
                    </a:lnTo>
                    <a:lnTo>
                      <a:pt x="1190" y="452"/>
                    </a:lnTo>
                    <a:lnTo>
                      <a:pt x="1194" y="450"/>
                    </a:lnTo>
                    <a:lnTo>
                      <a:pt x="1204" y="442"/>
                    </a:lnTo>
                    <a:lnTo>
                      <a:pt x="1208" y="440"/>
                    </a:lnTo>
                    <a:lnTo>
                      <a:pt x="1212" y="440"/>
                    </a:lnTo>
                    <a:lnTo>
                      <a:pt x="1216" y="440"/>
                    </a:lnTo>
                    <a:lnTo>
                      <a:pt x="1218" y="438"/>
                    </a:lnTo>
                    <a:lnTo>
                      <a:pt x="1218" y="434"/>
                    </a:lnTo>
                    <a:lnTo>
                      <a:pt x="1218" y="430"/>
                    </a:lnTo>
                    <a:lnTo>
                      <a:pt x="1214" y="420"/>
                    </a:lnTo>
                    <a:lnTo>
                      <a:pt x="1206" y="414"/>
                    </a:lnTo>
                    <a:lnTo>
                      <a:pt x="1200" y="410"/>
                    </a:lnTo>
                    <a:lnTo>
                      <a:pt x="1198" y="406"/>
                    </a:lnTo>
                    <a:lnTo>
                      <a:pt x="1200" y="406"/>
                    </a:lnTo>
                    <a:lnTo>
                      <a:pt x="1206" y="404"/>
                    </a:lnTo>
                    <a:lnTo>
                      <a:pt x="1218" y="402"/>
                    </a:lnTo>
                    <a:lnTo>
                      <a:pt x="1222" y="398"/>
                    </a:lnTo>
                    <a:lnTo>
                      <a:pt x="1222" y="394"/>
                    </a:lnTo>
                    <a:lnTo>
                      <a:pt x="1222" y="392"/>
                    </a:lnTo>
                    <a:lnTo>
                      <a:pt x="1224" y="390"/>
                    </a:lnTo>
                    <a:lnTo>
                      <a:pt x="1230" y="388"/>
                    </a:lnTo>
                    <a:lnTo>
                      <a:pt x="1232" y="388"/>
                    </a:lnTo>
                    <a:lnTo>
                      <a:pt x="1232" y="384"/>
                    </a:lnTo>
                    <a:lnTo>
                      <a:pt x="1232" y="376"/>
                    </a:lnTo>
                    <a:lnTo>
                      <a:pt x="1228" y="364"/>
                    </a:lnTo>
                    <a:lnTo>
                      <a:pt x="1234" y="372"/>
                    </a:lnTo>
                    <a:lnTo>
                      <a:pt x="1240" y="376"/>
                    </a:lnTo>
                    <a:lnTo>
                      <a:pt x="1246" y="378"/>
                    </a:lnTo>
                    <a:lnTo>
                      <a:pt x="1256" y="376"/>
                    </a:lnTo>
                    <a:lnTo>
                      <a:pt x="1268" y="372"/>
                    </a:lnTo>
                    <a:lnTo>
                      <a:pt x="1272" y="374"/>
                    </a:lnTo>
                    <a:lnTo>
                      <a:pt x="1272" y="376"/>
                    </a:lnTo>
                    <a:lnTo>
                      <a:pt x="1274" y="378"/>
                    </a:lnTo>
                    <a:lnTo>
                      <a:pt x="1278" y="382"/>
                    </a:lnTo>
                    <a:lnTo>
                      <a:pt x="1284" y="384"/>
                    </a:lnTo>
                    <a:lnTo>
                      <a:pt x="1296" y="386"/>
                    </a:lnTo>
                    <a:lnTo>
                      <a:pt x="1308" y="388"/>
                    </a:lnTo>
                    <a:lnTo>
                      <a:pt x="1316" y="392"/>
                    </a:lnTo>
                    <a:lnTo>
                      <a:pt x="1324" y="398"/>
                    </a:lnTo>
                    <a:lnTo>
                      <a:pt x="1330" y="406"/>
                    </a:lnTo>
                    <a:lnTo>
                      <a:pt x="1340" y="426"/>
                    </a:lnTo>
                    <a:lnTo>
                      <a:pt x="1348" y="438"/>
                    </a:lnTo>
                    <a:lnTo>
                      <a:pt x="1358" y="450"/>
                    </a:lnTo>
                    <a:lnTo>
                      <a:pt x="1374" y="472"/>
                    </a:lnTo>
                    <a:lnTo>
                      <a:pt x="1380" y="480"/>
                    </a:lnTo>
                    <a:lnTo>
                      <a:pt x="1384" y="486"/>
                    </a:lnTo>
                    <a:lnTo>
                      <a:pt x="1392" y="488"/>
                    </a:lnTo>
                    <a:lnTo>
                      <a:pt x="1400" y="492"/>
                    </a:lnTo>
                    <a:lnTo>
                      <a:pt x="1432" y="498"/>
                    </a:lnTo>
                    <a:lnTo>
                      <a:pt x="1450" y="502"/>
                    </a:lnTo>
                    <a:lnTo>
                      <a:pt x="1462" y="506"/>
                    </a:lnTo>
                    <a:lnTo>
                      <a:pt x="1470" y="510"/>
                    </a:lnTo>
                    <a:lnTo>
                      <a:pt x="1476" y="512"/>
                    </a:lnTo>
                    <a:lnTo>
                      <a:pt x="1482" y="518"/>
                    </a:lnTo>
                    <a:lnTo>
                      <a:pt x="1488" y="520"/>
                    </a:lnTo>
                    <a:lnTo>
                      <a:pt x="1492" y="520"/>
                    </a:lnTo>
                    <a:lnTo>
                      <a:pt x="1500" y="520"/>
                    </a:lnTo>
                    <a:lnTo>
                      <a:pt x="1506" y="518"/>
                    </a:lnTo>
                    <a:lnTo>
                      <a:pt x="1512" y="514"/>
                    </a:lnTo>
                    <a:lnTo>
                      <a:pt x="1514" y="510"/>
                    </a:lnTo>
                    <a:lnTo>
                      <a:pt x="1514" y="506"/>
                    </a:lnTo>
                    <a:lnTo>
                      <a:pt x="1512" y="502"/>
                    </a:lnTo>
                    <a:lnTo>
                      <a:pt x="1508" y="498"/>
                    </a:lnTo>
                    <a:lnTo>
                      <a:pt x="1498" y="494"/>
                    </a:lnTo>
                    <a:lnTo>
                      <a:pt x="1482" y="490"/>
                    </a:lnTo>
                    <a:lnTo>
                      <a:pt x="1474" y="484"/>
                    </a:lnTo>
                    <a:lnTo>
                      <a:pt x="1472" y="482"/>
                    </a:lnTo>
                    <a:lnTo>
                      <a:pt x="1472" y="480"/>
                    </a:lnTo>
                    <a:lnTo>
                      <a:pt x="1474" y="476"/>
                    </a:lnTo>
                    <a:lnTo>
                      <a:pt x="1478" y="472"/>
                    </a:lnTo>
                    <a:lnTo>
                      <a:pt x="1478" y="470"/>
                    </a:lnTo>
                    <a:lnTo>
                      <a:pt x="1476" y="468"/>
                    </a:lnTo>
                    <a:lnTo>
                      <a:pt x="1464" y="466"/>
                    </a:lnTo>
                    <a:lnTo>
                      <a:pt x="1454" y="464"/>
                    </a:lnTo>
                    <a:lnTo>
                      <a:pt x="1450" y="462"/>
                    </a:lnTo>
                    <a:lnTo>
                      <a:pt x="1448" y="458"/>
                    </a:lnTo>
                    <a:lnTo>
                      <a:pt x="1448" y="454"/>
                    </a:lnTo>
                    <a:lnTo>
                      <a:pt x="1450" y="448"/>
                    </a:lnTo>
                    <a:lnTo>
                      <a:pt x="1454" y="442"/>
                    </a:lnTo>
                    <a:lnTo>
                      <a:pt x="1454" y="438"/>
                    </a:lnTo>
                    <a:lnTo>
                      <a:pt x="1448" y="438"/>
                    </a:lnTo>
                    <a:lnTo>
                      <a:pt x="1436" y="440"/>
                    </a:lnTo>
                    <a:lnTo>
                      <a:pt x="1432" y="440"/>
                    </a:lnTo>
                    <a:lnTo>
                      <a:pt x="1428" y="440"/>
                    </a:lnTo>
                    <a:lnTo>
                      <a:pt x="1422" y="436"/>
                    </a:lnTo>
                    <a:lnTo>
                      <a:pt x="1416" y="428"/>
                    </a:lnTo>
                    <a:lnTo>
                      <a:pt x="1412" y="420"/>
                    </a:lnTo>
                    <a:lnTo>
                      <a:pt x="1408" y="400"/>
                    </a:lnTo>
                    <a:lnTo>
                      <a:pt x="1404" y="394"/>
                    </a:lnTo>
                    <a:lnTo>
                      <a:pt x="1400" y="390"/>
                    </a:lnTo>
                    <a:lnTo>
                      <a:pt x="1394" y="386"/>
                    </a:lnTo>
                    <a:lnTo>
                      <a:pt x="1386" y="378"/>
                    </a:lnTo>
                    <a:lnTo>
                      <a:pt x="1370" y="360"/>
                    </a:lnTo>
                    <a:lnTo>
                      <a:pt x="1364" y="350"/>
                    </a:lnTo>
                    <a:lnTo>
                      <a:pt x="1358" y="340"/>
                    </a:lnTo>
                    <a:lnTo>
                      <a:pt x="1356" y="334"/>
                    </a:lnTo>
                    <a:lnTo>
                      <a:pt x="1356" y="332"/>
                    </a:lnTo>
                    <a:lnTo>
                      <a:pt x="1358" y="330"/>
                    </a:lnTo>
                    <a:lnTo>
                      <a:pt x="1362" y="328"/>
                    </a:lnTo>
                    <a:lnTo>
                      <a:pt x="1366" y="326"/>
                    </a:lnTo>
                    <a:lnTo>
                      <a:pt x="1376" y="328"/>
                    </a:lnTo>
                    <a:lnTo>
                      <a:pt x="1388" y="328"/>
                    </a:lnTo>
                    <a:lnTo>
                      <a:pt x="1392" y="326"/>
                    </a:lnTo>
                    <a:lnTo>
                      <a:pt x="1394" y="324"/>
                    </a:lnTo>
                    <a:lnTo>
                      <a:pt x="1396" y="320"/>
                    </a:lnTo>
                    <a:lnTo>
                      <a:pt x="1396" y="314"/>
                    </a:lnTo>
                    <a:lnTo>
                      <a:pt x="1390" y="302"/>
                    </a:lnTo>
                    <a:lnTo>
                      <a:pt x="1386" y="296"/>
                    </a:lnTo>
                    <a:lnTo>
                      <a:pt x="1380" y="292"/>
                    </a:lnTo>
                    <a:lnTo>
                      <a:pt x="1374" y="290"/>
                    </a:lnTo>
                    <a:lnTo>
                      <a:pt x="1370" y="290"/>
                    </a:lnTo>
                    <a:lnTo>
                      <a:pt x="1364" y="290"/>
                    </a:lnTo>
                    <a:lnTo>
                      <a:pt x="1360" y="290"/>
                    </a:lnTo>
                    <a:lnTo>
                      <a:pt x="1354" y="284"/>
                    </a:lnTo>
                    <a:lnTo>
                      <a:pt x="1344" y="276"/>
                    </a:lnTo>
                    <a:lnTo>
                      <a:pt x="1338" y="272"/>
                    </a:lnTo>
                    <a:lnTo>
                      <a:pt x="1328" y="270"/>
                    </a:lnTo>
                    <a:lnTo>
                      <a:pt x="1312" y="264"/>
                    </a:lnTo>
                    <a:lnTo>
                      <a:pt x="1310" y="262"/>
                    </a:lnTo>
                    <a:lnTo>
                      <a:pt x="1308" y="260"/>
                    </a:lnTo>
                    <a:lnTo>
                      <a:pt x="1310" y="256"/>
                    </a:lnTo>
                    <a:lnTo>
                      <a:pt x="1312" y="246"/>
                    </a:lnTo>
                    <a:lnTo>
                      <a:pt x="1312" y="238"/>
                    </a:lnTo>
                    <a:lnTo>
                      <a:pt x="1306" y="230"/>
                    </a:lnTo>
                    <a:lnTo>
                      <a:pt x="1298" y="220"/>
                    </a:lnTo>
                    <a:lnTo>
                      <a:pt x="1288" y="210"/>
                    </a:lnTo>
                    <a:lnTo>
                      <a:pt x="1278" y="200"/>
                    </a:lnTo>
                    <a:lnTo>
                      <a:pt x="1266" y="192"/>
                    </a:lnTo>
                    <a:lnTo>
                      <a:pt x="1256" y="188"/>
                    </a:lnTo>
                    <a:lnTo>
                      <a:pt x="1248" y="186"/>
                    </a:lnTo>
                    <a:lnTo>
                      <a:pt x="1242" y="186"/>
                    </a:lnTo>
                    <a:lnTo>
                      <a:pt x="1238" y="184"/>
                    </a:lnTo>
                    <a:lnTo>
                      <a:pt x="1230" y="178"/>
                    </a:lnTo>
                    <a:lnTo>
                      <a:pt x="1220" y="170"/>
                    </a:lnTo>
                    <a:lnTo>
                      <a:pt x="1214" y="166"/>
                    </a:lnTo>
                    <a:lnTo>
                      <a:pt x="1202" y="162"/>
                    </a:lnTo>
                    <a:lnTo>
                      <a:pt x="1190" y="158"/>
                    </a:lnTo>
                    <a:lnTo>
                      <a:pt x="1174" y="152"/>
                    </a:lnTo>
                    <a:lnTo>
                      <a:pt x="1140" y="134"/>
                    </a:lnTo>
                    <a:lnTo>
                      <a:pt x="1106" y="120"/>
                    </a:lnTo>
                    <a:lnTo>
                      <a:pt x="1092" y="116"/>
                    </a:lnTo>
                    <a:lnTo>
                      <a:pt x="1078" y="116"/>
                    </a:lnTo>
                    <a:lnTo>
                      <a:pt x="1080" y="404"/>
                    </a:lnTo>
                    <a:lnTo>
                      <a:pt x="1094" y="414"/>
                    </a:lnTo>
                    <a:lnTo>
                      <a:pt x="1104" y="426"/>
                    </a:lnTo>
                    <a:lnTo>
                      <a:pt x="1118" y="446"/>
                    </a:lnTo>
                    <a:close/>
                    <a:moveTo>
                      <a:pt x="784" y="288"/>
                    </a:moveTo>
                    <a:lnTo>
                      <a:pt x="784" y="288"/>
                    </a:lnTo>
                    <a:lnTo>
                      <a:pt x="786" y="290"/>
                    </a:lnTo>
                    <a:lnTo>
                      <a:pt x="788" y="288"/>
                    </a:lnTo>
                    <a:lnTo>
                      <a:pt x="790" y="286"/>
                    </a:lnTo>
                    <a:lnTo>
                      <a:pt x="790" y="282"/>
                    </a:lnTo>
                    <a:lnTo>
                      <a:pt x="788" y="278"/>
                    </a:lnTo>
                    <a:lnTo>
                      <a:pt x="784" y="274"/>
                    </a:lnTo>
                    <a:lnTo>
                      <a:pt x="782" y="276"/>
                    </a:lnTo>
                    <a:lnTo>
                      <a:pt x="784" y="288"/>
                    </a:lnTo>
                    <a:close/>
                    <a:moveTo>
                      <a:pt x="1474" y="80"/>
                    </a:moveTo>
                    <a:lnTo>
                      <a:pt x="1474" y="80"/>
                    </a:lnTo>
                    <a:lnTo>
                      <a:pt x="1476" y="80"/>
                    </a:lnTo>
                    <a:lnTo>
                      <a:pt x="1476" y="78"/>
                    </a:lnTo>
                    <a:lnTo>
                      <a:pt x="1474" y="72"/>
                    </a:lnTo>
                    <a:lnTo>
                      <a:pt x="1468" y="68"/>
                    </a:lnTo>
                    <a:lnTo>
                      <a:pt x="1466" y="68"/>
                    </a:lnTo>
                    <a:lnTo>
                      <a:pt x="1464" y="68"/>
                    </a:lnTo>
                    <a:lnTo>
                      <a:pt x="1464" y="72"/>
                    </a:lnTo>
                    <a:lnTo>
                      <a:pt x="1464" y="76"/>
                    </a:lnTo>
                    <a:lnTo>
                      <a:pt x="1468" y="78"/>
                    </a:lnTo>
                    <a:lnTo>
                      <a:pt x="1474" y="80"/>
                    </a:lnTo>
                    <a:close/>
                    <a:moveTo>
                      <a:pt x="1436" y="292"/>
                    </a:moveTo>
                    <a:lnTo>
                      <a:pt x="1436" y="292"/>
                    </a:lnTo>
                    <a:lnTo>
                      <a:pt x="1442" y="296"/>
                    </a:lnTo>
                    <a:lnTo>
                      <a:pt x="1446" y="298"/>
                    </a:lnTo>
                    <a:lnTo>
                      <a:pt x="1448" y="298"/>
                    </a:lnTo>
                    <a:lnTo>
                      <a:pt x="1450" y="298"/>
                    </a:lnTo>
                    <a:lnTo>
                      <a:pt x="1452" y="296"/>
                    </a:lnTo>
                    <a:lnTo>
                      <a:pt x="1454" y="296"/>
                    </a:lnTo>
                    <a:lnTo>
                      <a:pt x="1458" y="298"/>
                    </a:lnTo>
                    <a:lnTo>
                      <a:pt x="1462" y="302"/>
                    </a:lnTo>
                    <a:lnTo>
                      <a:pt x="1468" y="306"/>
                    </a:lnTo>
                    <a:lnTo>
                      <a:pt x="1478" y="308"/>
                    </a:lnTo>
                    <a:lnTo>
                      <a:pt x="1490" y="306"/>
                    </a:lnTo>
                    <a:lnTo>
                      <a:pt x="1502" y="302"/>
                    </a:lnTo>
                    <a:lnTo>
                      <a:pt x="1514" y="298"/>
                    </a:lnTo>
                    <a:lnTo>
                      <a:pt x="1524" y="292"/>
                    </a:lnTo>
                    <a:lnTo>
                      <a:pt x="1534" y="284"/>
                    </a:lnTo>
                    <a:lnTo>
                      <a:pt x="1538" y="278"/>
                    </a:lnTo>
                    <a:lnTo>
                      <a:pt x="1542" y="272"/>
                    </a:lnTo>
                    <a:lnTo>
                      <a:pt x="1544" y="270"/>
                    </a:lnTo>
                    <a:lnTo>
                      <a:pt x="1548" y="270"/>
                    </a:lnTo>
                    <a:lnTo>
                      <a:pt x="1550" y="270"/>
                    </a:lnTo>
                    <a:lnTo>
                      <a:pt x="1556" y="272"/>
                    </a:lnTo>
                    <a:lnTo>
                      <a:pt x="1560" y="270"/>
                    </a:lnTo>
                    <a:lnTo>
                      <a:pt x="1566" y="268"/>
                    </a:lnTo>
                    <a:lnTo>
                      <a:pt x="1568" y="264"/>
                    </a:lnTo>
                    <a:lnTo>
                      <a:pt x="1570" y="260"/>
                    </a:lnTo>
                    <a:lnTo>
                      <a:pt x="1566" y="252"/>
                    </a:lnTo>
                    <a:lnTo>
                      <a:pt x="1564" y="246"/>
                    </a:lnTo>
                    <a:lnTo>
                      <a:pt x="1564" y="244"/>
                    </a:lnTo>
                    <a:lnTo>
                      <a:pt x="1566" y="242"/>
                    </a:lnTo>
                    <a:lnTo>
                      <a:pt x="1572" y="240"/>
                    </a:lnTo>
                    <a:lnTo>
                      <a:pt x="1574" y="238"/>
                    </a:lnTo>
                    <a:lnTo>
                      <a:pt x="1580" y="228"/>
                    </a:lnTo>
                    <a:lnTo>
                      <a:pt x="1580" y="216"/>
                    </a:lnTo>
                    <a:lnTo>
                      <a:pt x="1578" y="212"/>
                    </a:lnTo>
                    <a:lnTo>
                      <a:pt x="1576" y="208"/>
                    </a:lnTo>
                    <a:lnTo>
                      <a:pt x="1572" y="202"/>
                    </a:lnTo>
                    <a:lnTo>
                      <a:pt x="1566" y="202"/>
                    </a:lnTo>
                    <a:lnTo>
                      <a:pt x="1548" y="202"/>
                    </a:lnTo>
                    <a:lnTo>
                      <a:pt x="1546" y="204"/>
                    </a:lnTo>
                    <a:lnTo>
                      <a:pt x="1544" y="206"/>
                    </a:lnTo>
                    <a:lnTo>
                      <a:pt x="1542" y="210"/>
                    </a:lnTo>
                    <a:lnTo>
                      <a:pt x="1546" y="224"/>
                    </a:lnTo>
                    <a:lnTo>
                      <a:pt x="1550" y="236"/>
                    </a:lnTo>
                    <a:lnTo>
                      <a:pt x="1548" y="240"/>
                    </a:lnTo>
                    <a:lnTo>
                      <a:pt x="1542" y="240"/>
                    </a:lnTo>
                    <a:lnTo>
                      <a:pt x="1536" y="238"/>
                    </a:lnTo>
                    <a:lnTo>
                      <a:pt x="1530" y="242"/>
                    </a:lnTo>
                    <a:lnTo>
                      <a:pt x="1526" y="248"/>
                    </a:lnTo>
                    <a:lnTo>
                      <a:pt x="1522" y="254"/>
                    </a:lnTo>
                    <a:lnTo>
                      <a:pt x="1518" y="262"/>
                    </a:lnTo>
                    <a:lnTo>
                      <a:pt x="1514" y="266"/>
                    </a:lnTo>
                    <a:lnTo>
                      <a:pt x="1510" y="268"/>
                    </a:lnTo>
                    <a:lnTo>
                      <a:pt x="1504" y="266"/>
                    </a:lnTo>
                    <a:lnTo>
                      <a:pt x="1500" y="264"/>
                    </a:lnTo>
                    <a:lnTo>
                      <a:pt x="1498" y="264"/>
                    </a:lnTo>
                    <a:lnTo>
                      <a:pt x="1494" y="268"/>
                    </a:lnTo>
                    <a:lnTo>
                      <a:pt x="1490" y="270"/>
                    </a:lnTo>
                    <a:lnTo>
                      <a:pt x="1488" y="264"/>
                    </a:lnTo>
                    <a:lnTo>
                      <a:pt x="1486" y="256"/>
                    </a:lnTo>
                    <a:lnTo>
                      <a:pt x="1488" y="250"/>
                    </a:lnTo>
                    <a:lnTo>
                      <a:pt x="1490" y="248"/>
                    </a:lnTo>
                    <a:lnTo>
                      <a:pt x="1490" y="244"/>
                    </a:lnTo>
                    <a:lnTo>
                      <a:pt x="1488" y="242"/>
                    </a:lnTo>
                    <a:lnTo>
                      <a:pt x="1484" y="244"/>
                    </a:lnTo>
                    <a:lnTo>
                      <a:pt x="1480" y="250"/>
                    </a:lnTo>
                    <a:lnTo>
                      <a:pt x="1480" y="262"/>
                    </a:lnTo>
                    <a:lnTo>
                      <a:pt x="1478" y="266"/>
                    </a:lnTo>
                    <a:lnTo>
                      <a:pt x="1476" y="268"/>
                    </a:lnTo>
                    <a:lnTo>
                      <a:pt x="1470" y="270"/>
                    </a:lnTo>
                    <a:lnTo>
                      <a:pt x="1460" y="268"/>
                    </a:lnTo>
                    <a:lnTo>
                      <a:pt x="1448" y="266"/>
                    </a:lnTo>
                    <a:lnTo>
                      <a:pt x="1434" y="266"/>
                    </a:lnTo>
                    <a:lnTo>
                      <a:pt x="1424" y="264"/>
                    </a:lnTo>
                    <a:lnTo>
                      <a:pt x="1416" y="266"/>
                    </a:lnTo>
                    <a:lnTo>
                      <a:pt x="1414" y="268"/>
                    </a:lnTo>
                    <a:lnTo>
                      <a:pt x="1414" y="270"/>
                    </a:lnTo>
                    <a:lnTo>
                      <a:pt x="1416" y="278"/>
                    </a:lnTo>
                    <a:lnTo>
                      <a:pt x="1420" y="280"/>
                    </a:lnTo>
                    <a:lnTo>
                      <a:pt x="1428" y="284"/>
                    </a:lnTo>
                    <a:lnTo>
                      <a:pt x="1436" y="292"/>
                    </a:lnTo>
                    <a:close/>
                    <a:moveTo>
                      <a:pt x="1546" y="156"/>
                    </a:moveTo>
                    <a:lnTo>
                      <a:pt x="1546" y="156"/>
                    </a:lnTo>
                    <a:lnTo>
                      <a:pt x="1552" y="162"/>
                    </a:lnTo>
                    <a:lnTo>
                      <a:pt x="1562" y="170"/>
                    </a:lnTo>
                    <a:lnTo>
                      <a:pt x="1572" y="178"/>
                    </a:lnTo>
                    <a:lnTo>
                      <a:pt x="1582" y="190"/>
                    </a:lnTo>
                    <a:lnTo>
                      <a:pt x="1586" y="196"/>
                    </a:lnTo>
                    <a:lnTo>
                      <a:pt x="1588" y="202"/>
                    </a:lnTo>
                    <a:lnTo>
                      <a:pt x="1590" y="210"/>
                    </a:lnTo>
                    <a:lnTo>
                      <a:pt x="1590" y="220"/>
                    </a:lnTo>
                    <a:lnTo>
                      <a:pt x="1592" y="224"/>
                    </a:lnTo>
                    <a:lnTo>
                      <a:pt x="1594" y="232"/>
                    </a:lnTo>
                    <a:lnTo>
                      <a:pt x="1598" y="236"/>
                    </a:lnTo>
                    <a:lnTo>
                      <a:pt x="1602" y="234"/>
                    </a:lnTo>
                    <a:lnTo>
                      <a:pt x="1604" y="230"/>
                    </a:lnTo>
                    <a:lnTo>
                      <a:pt x="1608" y="222"/>
                    </a:lnTo>
                    <a:lnTo>
                      <a:pt x="1608" y="214"/>
                    </a:lnTo>
                    <a:lnTo>
                      <a:pt x="1608" y="206"/>
                    </a:lnTo>
                    <a:lnTo>
                      <a:pt x="1604" y="196"/>
                    </a:lnTo>
                    <a:lnTo>
                      <a:pt x="1596" y="190"/>
                    </a:lnTo>
                    <a:lnTo>
                      <a:pt x="1582" y="178"/>
                    </a:lnTo>
                    <a:lnTo>
                      <a:pt x="1574" y="168"/>
                    </a:lnTo>
                    <a:lnTo>
                      <a:pt x="1566" y="160"/>
                    </a:lnTo>
                    <a:lnTo>
                      <a:pt x="1556" y="154"/>
                    </a:lnTo>
                    <a:lnTo>
                      <a:pt x="1538" y="142"/>
                    </a:lnTo>
                    <a:lnTo>
                      <a:pt x="1526" y="132"/>
                    </a:lnTo>
                    <a:lnTo>
                      <a:pt x="1518" y="126"/>
                    </a:lnTo>
                    <a:lnTo>
                      <a:pt x="1516" y="126"/>
                    </a:lnTo>
                    <a:lnTo>
                      <a:pt x="1514" y="128"/>
                    </a:lnTo>
                    <a:lnTo>
                      <a:pt x="1510" y="132"/>
                    </a:lnTo>
                    <a:lnTo>
                      <a:pt x="1508" y="134"/>
                    </a:lnTo>
                    <a:lnTo>
                      <a:pt x="1510" y="136"/>
                    </a:lnTo>
                    <a:lnTo>
                      <a:pt x="1516" y="138"/>
                    </a:lnTo>
                    <a:lnTo>
                      <a:pt x="1530" y="144"/>
                    </a:lnTo>
                    <a:lnTo>
                      <a:pt x="1538" y="150"/>
                    </a:lnTo>
                    <a:lnTo>
                      <a:pt x="1546" y="156"/>
                    </a:lnTo>
                    <a:close/>
                    <a:moveTo>
                      <a:pt x="1500" y="128"/>
                    </a:moveTo>
                    <a:lnTo>
                      <a:pt x="1500" y="128"/>
                    </a:lnTo>
                    <a:lnTo>
                      <a:pt x="1502" y="126"/>
                    </a:lnTo>
                    <a:lnTo>
                      <a:pt x="1502" y="122"/>
                    </a:lnTo>
                    <a:lnTo>
                      <a:pt x="1496" y="116"/>
                    </a:lnTo>
                    <a:lnTo>
                      <a:pt x="1492" y="114"/>
                    </a:lnTo>
                    <a:lnTo>
                      <a:pt x="1490" y="114"/>
                    </a:lnTo>
                    <a:lnTo>
                      <a:pt x="1486" y="114"/>
                    </a:lnTo>
                    <a:lnTo>
                      <a:pt x="1484" y="118"/>
                    </a:lnTo>
                    <a:lnTo>
                      <a:pt x="1484" y="120"/>
                    </a:lnTo>
                    <a:lnTo>
                      <a:pt x="1484" y="124"/>
                    </a:lnTo>
                    <a:lnTo>
                      <a:pt x="1488" y="128"/>
                    </a:lnTo>
                    <a:lnTo>
                      <a:pt x="1494" y="130"/>
                    </a:lnTo>
                    <a:lnTo>
                      <a:pt x="1498" y="130"/>
                    </a:lnTo>
                    <a:lnTo>
                      <a:pt x="1500" y="128"/>
                    </a:lnTo>
                    <a:close/>
                    <a:moveTo>
                      <a:pt x="726" y="46"/>
                    </a:moveTo>
                    <a:lnTo>
                      <a:pt x="726" y="46"/>
                    </a:lnTo>
                    <a:lnTo>
                      <a:pt x="726" y="50"/>
                    </a:lnTo>
                    <a:lnTo>
                      <a:pt x="724" y="54"/>
                    </a:lnTo>
                    <a:lnTo>
                      <a:pt x="716" y="62"/>
                    </a:lnTo>
                    <a:lnTo>
                      <a:pt x="714" y="66"/>
                    </a:lnTo>
                    <a:lnTo>
                      <a:pt x="716" y="70"/>
                    </a:lnTo>
                    <a:lnTo>
                      <a:pt x="718" y="72"/>
                    </a:lnTo>
                    <a:lnTo>
                      <a:pt x="726" y="72"/>
                    </a:lnTo>
                    <a:lnTo>
                      <a:pt x="738" y="72"/>
                    </a:lnTo>
                    <a:lnTo>
                      <a:pt x="742" y="74"/>
                    </a:lnTo>
                    <a:lnTo>
                      <a:pt x="746" y="78"/>
                    </a:lnTo>
                    <a:lnTo>
                      <a:pt x="752" y="88"/>
                    </a:lnTo>
                    <a:lnTo>
                      <a:pt x="758" y="104"/>
                    </a:lnTo>
                    <a:lnTo>
                      <a:pt x="762" y="106"/>
                    </a:lnTo>
                    <a:lnTo>
                      <a:pt x="764" y="108"/>
                    </a:lnTo>
                    <a:lnTo>
                      <a:pt x="774" y="110"/>
                    </a:lnTo>
                    <a:lnTo>
                      <a:pt x="786" y="110"/>
                    </a:lnTo>
                    <a:lnTo>
                      <a:pt x="798" y="110"/>
                    </a:lnTo>
                    <a:lnTo>
                      <a:pt x="810" y="108"/>
                    </a:lnTo>
                    <a:lnTo>
                      <a:pt x="820" y="108"/>
                    </a:lnTo>
                    <a:lnTo>
                      <a:pt x="828" y="110"/>
                    </a:lnTo>
                    <a:lnTo>
                      <a:pt x="830" y="112"/>
                    </a:lnTo>
                    <a:lnTo>
                      <a:pt x="830" y="114"/>
                    </a:lnTo>
                    <a:lnTo>
                      <a:pt x="830" y="120"/>
                    </a:lnTo>
                    <a:lnTo>
                      <a:pt x="826" y="122"/>
                    </a:lnTo>
                    <a:lnTo>
                      <a:pt x="822" y="122"/>
                    </a:lnTo>
                    <a:lnTo>
                      <a:pt x="816" y="120"/>
                    </a:lnTo>
                    <a:lnTo>
                      <a:pt x="808" y="120"/>
                    </a:lnTo>
                    <a:lnTo>
                      <a:pt x="802" y="118"/>
                    </a:lnTo>
                    <a:lnTo>
                      <a:pt x="798" y="120"/>
                    </a:lnTo>
                    <a:lnTo>
                      <a:pt x="794" y="124"/>
                    </a:lnTo>
                    <a:lnTo>
                      <a:pt x="790" y="130"/>
                    </a:lnTo>
                    <a:lnTo>
                      <a:pt x="784" y="134"/>
                    </a:lnTo>
                    <a:lnTo>
                      <a:pt x="778" y="134"/>
                    </a:lnTo>
                    <a:lnTo>
                      <a:pt x="772" y="132"/>
                    </a:lnTo>
                    <a:lnTo>
                      <a:pt x="766" y="130"/>
                    </a:lnTo>
                    <a:lnTo>
                      <a:pt x="760" y="130"/>
                    </a:lnTo>
                    <a:lnTo>
                      <a:pt x="756" y="132"/>
                    </a:lnTo>
                    <a:lnTo>
                      <a:pt x="756" y="138"/>
                    </a:lnTo>
                    <a:lnTo>
                      <a:pt x="756" y="142"/>
                    </a:lnTo>
                    <a:lnTo>
                      <a:pt x="760" y="144"/>
                    </a:lnTo>
                    <a:lnTo>
                      <a:pt x="768" y="146"/>
                    </a:lnTo>
                    <a:lnTo>
                      <a:pt x="780" y="156"/>
                    </a:lnTo>
                    <a:lnTo>
                      <a:pt x="786" y="164"/>
                    </a:lnTo>
                    <a:lnTo>
                      <a:pt x="790" y="170"/>
                    </a:lnTo>
                    <a:lnTo>
                      <a:pt x="790" y="174"/>
                    </a:lnTo>
                    <a:lnTo>
                      <a:pt x="788" y="176"/>
                    </a:lnTo>
                    <a:lnTo>
                      <a:pt x="784" y="180"/>
                    </a:lnTo>
                    <a:lnTo>
                      <a:pt x="784" y="184"/>
                    </a:lnTo>
                    <a:lnTo>
                      <a:pt x="784" y="188"/>
                    </a:lnTo>
                    <a:lnTo>
                      <a:pt x="788" y="194"/>
                    </a:lnTo>
                    <a:lnTo>
                      <a:pt x="792" y="196"/>
                    </a:lnTo>
                    <a:lnTo>
                      <a:pt x="796" y="198"/>
                    </a:lnTo>
                    <a:lnTo>
                      <a:pt x="802" y="198"/>
                    </a:lnTo>
                    <a:lnTo>
                      <a:pt x="806" y="196"/>
                    </a:lnTo>
                    <a:lnTo>
                      <a:pt x="810" y="192"/>
                    </a:lnTo>
                    <a:lnTo>
                      <a:pt x="814" y="186"/>
                    </a:lnTo>
                    <a:lnTo>
                      <a:pt x="816" y="178"/>
                    </a:lnTo>
                    <a:lnTo>
                      <a:pt x="822" y="158"/>
                    </a:lnTo>
                    <a:lnTo>
                      <a:pt x="826" y="150"/>
                    </a:lnTo>
                    <a:lnTo>
                      <a:pt x="828" y="150"/>
                    </a:lnTo>
                    <a:lnTo>
                      <a:pt x="828" y="154"/>
                    </a:lnTo>
                    <a:lnTo>
                      <a:pt x="824" y="168"/>
                    </a:lnTo>
                    <a:lnTo>
                      <a:pt x="824" y="174"/>
                    </a:lnTo>
                    <a:lnTo>
                      <a:pt x="824" y="178"/>
                    </a:lnTo>
                    <a:lnTo>
                      <a:pt x="828" y="180"/>
                    </a:lnTo>
                    <a:lnTo>
                      <a:pt x="832" y="184"/>
                    </a:lnTo>
                    <a:lnTo>
                      <a:pt x="844" y="188"/>
                    </a:lnTo>
                    <a:lnTo>
                      <a:pt x="852" y="192"/>
                    </a:lnTo>
                    <a:lnTo>
                      <a:pt x="860" y="198"/>
                    </a:lnTo>
                    <a:lnTo>
                      <a:pt x="870" y="206"/>
                    </a:lnTo>
                    <a:lnTo>
                      <a:pt x="878" y="212"/>
                    </a:lnTo>
                    <a:lnTo>
                      <a:pt x="886" y="214"/>
                    </a:lnTo>
                    <a:lnTo>
                      <a:pt x="892" y="216"/>
                    </a:lnTo>
                    <a:lnTo>
                      <a:pt x="906" y="218"/>
                    </a:lnTo>
                    <a:lnTo>
                      <a:pt x="916" y="220"/>
                    </a:lnTo>
                    <a:lnTo>
                      <a:pt x="926" y="226"/>
                    </a:lnTo>
                    <a:lnTo>
                      <a:pt x="940" y="232"/>
                    </a:lnTo>
                    <a:lnTo>
                      <a:pt x="954" y="238"/>
                    </a:lnTo>
                    <a:lnTo>
                      <a:pt x="966" y="242"/>
                    </a:lnTo>
                    <a:lnTo>
                      <a:pt x="980" y="252"/>
                    </a:lnTo>
                    <a:lnTo>
                      <a:pt x="988" y="258"/>
                    </a:lnTo>
                    <a:lnTo>
                      <a:pt x="994" y="266"/>
                    </a:lnTo>
                    <a:lnTo>
                      <a:pt x="1004" y="284"/>
                    </a:lnTo>
                    <a:lnTo>
                      <a:pt x="1014" y="302"/>
                    </a:lnTo>
                    <a:lnTo>
                      <a:pt x="1024" y="318"/>
                    </a:lnTo>
                    <a:lnTo>
                      <a:pt x="1028" y="324"/>
                    </a:lnTo>
                    <a:lnTo>
                      <a:pt x="1030" y="328"/>
                    </a:lnTo>
                    <a:lnTo>
                      <a:pt x="1028" y="330"/>
                    </a:lnTo>
                    <a:lnTo>
                      <a:pt x="1026" y="332"/>
                    </a:lnTo>
                    <a:lnTo>
                      <a:pt x="1022" y="336"/>
                    </a:lnTo>
                    <a:lnTo>
                      <a:pt x="1020" y="338"/>
                    </a:lnTo>
                    <a:lnTo>
                      <a:pt x="1020" y="344"/>
                    </a:lnTo>
                    <a:lnTo>
                      <a:pt x="1024" y="350"/>
                    </a:lnTo>
                    <a:lnTo>
                      <a:pt x="1028" y="354"/>
                    </a:lnTo>
                    <a:lnTo>
                      <a:pt x="1036" y="360"/>
                    </a:lnTo>
                    <a:lnTo>
                      <a:pt x="1040" y="364"/>
                    </a:lnTo>
                    <a:lnTo>
                      <a:pt x="1044" y="368"/>
                    </a:lnTo>
                    <a:lnTo>
                      <a:pt x="1044" y="372"/>
                    </a:lnTo>
                    <a:lnTo>
                      <a:pt x="1040" y="380"/>
                    </a:lnTo>
                    <a:lnTo>
                      <a:pt x="1036" y="394"/>
                    </a:lnTo>
                    <a:lnTo>
                      <a:pt x="1036" y="396"/>
                    </a:lnTo>
                    <a:lnTo>
                      <a:pt x="1038" y="398"/>
                    </a:lnTo>
                    <a:lnTo>
                      <a:pt x="1044" y="396"/>
                    </a:lnTo>
                    <a:lnTo>
                      <a:pt x="1046" y="396"/>
                    </a:lnTo>
                    <a:lnTo>
                      <a:pt x="1050" y="396"/>
                    </a:lnTo>
                    <a:lnTo>
                      <a:pt x="1052" y="398"/>
                    </a:lnTo>
                    <a:lnTo>
                      <a:pt x="1054" y="398"/>
                    </a:lnTo>
                    <a:lnTo>
                      <a:pt x="1060" y="398"/>
                    </a:lnTo>
                    <a:lnTo>
                      <a:pt x="1068" y="398"/>
                    </a:lnTo>
                    <a:lnTo>
                      <a:pt x="1074" y="400"/>
                    </a:lnTo>
                    <a:lnTo>
                      <a:pt x="1080" y="404"/>
                    </a:lnTo>
                    <a:lnTo>
                      <a:pt x="1078" y="116"/>
                    </a:lnTo>
                    <a:lnTo>
                      <a:pt x="1070" y="114"/>
                    </a:lnTo>
                    <a:lnTo>
                      <a:pt x="1060" y="110"/>
                    </a:lnTo>
                    <a:lnTo>
                      <a:pt x="1038" y="100"/>
                    </a:lnTo>
                    <a:lnTo>
                      <a:pt x="1002" y="76"/>
                    </a:lnTo>
                    <a:lnTo>
                      <a:pt x="996" y="72"/>
                    </a:lnTo>
                    <a:lnTo>
                      <a:pt x="988" y="72"/>
                    </a:lnTo>
                    <a:lnTo>
                      <a:pt x="982" y="74"/>
                    </a:lnTo>
                    <a:lnTo>
                      <a:pt x="976" y="76"/>
                    </a:lnTo>
                    <a:lnTo>
                      <a:pt x="970" y="80"/>
                    </a:lnTo>
                    <a:lnTo>
                      <a:pt x="966" y="84"/>
                    </a:lnTo>
                    <a:lnTo>
                      <a:pt x="964" y="88"/>
                    </a:lnTo>
                    <a:lnTo>
                      <a:pt x="964" y="92"/>
                    </a:lnTo>
                    <a:lnTo>
                      <a:pt x="966" y="96"/>
                    </a:lnTo>
                    <a:lnTo>
                      <a:pt x="964" y="100"/>
                    </a:lnTo>
                    <a:lnTo>
                      <a:pt x="956" y="106"/>
                    </a:lnTo>
                    <a:lnTo>
                      <a:pt x="946" y="110"/>
                    </a:lnTo>
                    <a:lnTo>
                      <a:pt x="942" y="110"/>
                    </a:lnTo>
                    <a:lnTo>
                      <a:pt x="938" y="108"/>
                    </a:lnTo>
                    <a:lnTo>
                      <a:pt x="936" y="108"/>
                    </a:lnTo>
                    <a:lnTo>
                      <a:pt x="934" y="110"/>
                    </a:lnTo>
                    <a:lnTo>
                      <a:pt x="928" y="116"/>
                    </a:lnTo>
                    <a:lnTo>
                      <a:pt x="914" y="138"/>
                    </a:lnTo>
                    <a:lnTo>
                      <a:pt x="906" y="148"/>
                    </a:lnTo>
                    <a:lnTo>
                      <a:pt x="898" y="158"/>
                    </a:lnTo>
                    <a:lnTo>
                      <a:pt x="890" y="164"/>
                    </a:lnTo>
                    <a:lnTo>
                      <a:pt x="886" y="164"/>
                    </a:lnTo>
                    <a:lnTo>
                      <a:pt x="882" y="164"/>
                    </a:lnTo>
                    <a:lnTo>
                      <a:pt x="876" y="160"/>
                    </a:lnTo>
                    <a:lnTo>
                      <a:pt x="872" y="156"/>
                    </a:lnTo>
                    <a:lnTo>
                      <a:pt x="870" y="150"/>
                    </a:lnTo>
                    <a:lnTo>
                      <a:pt x="868" y="144"/>
                    </a:lnTo>
                    <a:lnTo>
                      <a:pt x="864" y="132"/>
                    </a:lnTo>
                    <a:lnTo>
                      <a:pt x="862" y="126"/>
                    </a:lnTo>
                    <a:lnTo>
                      <a:pt x="860" y="120"/>
                    </a:lnTo>
                    <a:lnTo>
                      <a:pt x="856" y="118"/>
                    </a:lnTo>
                    <a:lnTo>
                      <a:pt x="854" y="118"/>
                    </a:lnTo>
                    <a:lnTo>
                      <a:pt x="852" y="124"/>
                    </a:lnTo>
                    <a:lnTo>
                      <a:pt x="852" y="126"/>
                    </a:lnTo>
                    <a:lnTo>
                      <a:pt x="846" y="114"/>
                    </a:lnTo>
                    <a:lnTo>
                      <a:pt x="842" y="102"/>
                    </a:lnTo>
                    <a:lnTo>
                      <a:pt x="842" y="94"/>
                    </a:lnTo>
                    <a:lnTo>
                      <a:pt x="842" y="86"/>
                    </a:lnTo>
                    <a:lnTo>
                      <a:pt x="844" y="80"/>
                    </a:lnTo>
                    <a:lnTo>
                      <a:pt x="846" y="66"/>
                    </a:lnTo>
                    <a:lnTo>
                      <a:pt x="846" y="58"/>
                    </a:lnTo>
                    <a:lnTo>
                      <a:pt x="844" y="48"/>
                    </a:lnTo>
                    <a:lnTo>
                      <a:pt x="840" y="40"/>
                    </a:lnTo>
                    <a:lnTo>
                      <a:pt x="838" y="36"/>
                    </a:lnTo>
                    <a:lnTo>
                      <a:pt x="834" y="36"/>
                    </a:lnTo>
                    <a:lnTo>
                      <a:pt x="830" y="36"/>
                    </a:lnTo>
                    <a:lnTo>
                      <a:pt x="826" y="36"/>
                    </a:lnTo>
                    <a:lnTo>
                      <a:pt x="818" y="36"/>
                    </a:lnTo>
                    <a:lnTo>
                      <a:pt x="810" y="32"/>
                    </a:lnTo>
                    <a:lnTo>
                      <a:pt x="798" y="26"/>
                    </a:lnTo>
                    <a:lnTo>
                      <a:pt x="786" y="18"/>
                    </a:lnTo>
                    <a:lnTo>
                      <a:pt x="776" y="16"/>
                    </a:lnTo>
                    <a:lnTo>
                      <a:pt x="770" y="16"/>
                    </a:lnTo>
                    <a:lnTo>
                      <a:pt x="764" y="20"/>
                    </a:lnTo>
                    <a:lnTo>
                      <a:pt x="756" y="28"/>
                    </a:lnTo>
                    <a:lnTo>
                      <a:pt x="752" y="32"/>
                    </a:lnTo>
                    <a:lnTo>
                      <a:pt x="748" y="34"/>
                    </a:lnTo>
                    <a:lnTo>
                      <a:pt x="740" y="36"/>
                    </a:lnTo>
                    <a:lnTo>
                      <a:pt x="732" y="38"/>
                    </a:lnTo>
                    <a:lnTo>
                      <a:pt x="728" y="40"/>
                    </a:lnTo>
                    <a:lnTo>
                      <a:pt x="726" y="42"/>
                    </a:lnTo>
                    <a:lnTo>
                      <a:pt x="726" y="46"/>
                    </a:lnTo>
                    <a:close/>
                    <a:moveTo>
                      <a:pt x="1600" y="438"/>
                    </a:moveTo>
                    <a:lnTo>
                      <a:pt x="1600" y="438"/>
                    </a:lnTo>
                    <a:lnTo>
                      <a:pt x="1594" y="436"/>
                    </a:lnTo>
                    <a:lnTo>
                      <a:pt x="1588" y="434"/>
                    </a:lnTo>
                    <a:lnTo>
                      <a:pt x="1586" y="436"/>
                    </a:lnTo>
                    <a:lnTo>
                      <a:pt x="1588" y="438"/>
                    </a:lnTo>
                    <a:lnTo>
                      <a:pt x="1590" y="442"/>
                    </a:lnTo>
                    <a:lnTo>
                      <a:pt x="1590" y="444"/>
                    </a:lnTo>
                    <a:lnTo>
                      <a:pt x="1592" y="446"/>
                    </a:lnTo>
                    <a:lnTo>
                      <a:pt x="1596" y="448"/>
                    </a:lnTo>
                    <a:lnTo>
                      <a:pt x="1600" y="448"/>
                    </a:lnTo>
                    <a:lnTo>
                      <a:pt x="1604" y="446"/>
                    </a:lnTo>
                    <a:lnTo>
                      <a:pt x="1604" y="444"/>
                    </a:lnTo>
                    <a:lnTo>
                      <a:pt x="1600" y="438"/>
                    </a:lnTo>
                    <a:close/>
                    <a:moveTo>
                      <a:pt x="1606" y="1248"/>
                    </a:moveTo>
                    <a:lnTo>
                      <a:pt x="1606" y="1248"/>
                    </a:lnTo>
                    <a:lnTo>
                      <a:pt x="1606" y="1252"/>
                    </a:lnTo>
                    <a:lnTo>
                      <a:pt x="1604" y="1260"/>
                    </a:lnTo>
                    <a:lnTo>
                      <a:pt x="1604" y="1268"/>
                    </a:lnTo>
                    <a:lnTo>
                      <a:pt x="1604" y="1272"/>
                    </a:lnTo>
                    <a:lnTo>
                      <a:pt x="1606" y="1274"/>
                    </a:lnTo>
                    <a:lnTo>
                      <a:pt x="1608" y="1274"/>
                    </a:lnTo>
                    <a:lnTo>
                      <a:pt x="1610" y="1270"/>
                    </a:lnTo>
                    <a:lnTo>
                      <a:pt x="1610" y="1260"/>
                    </a:lnTo>
                    <a:lnTo>
                      <a:pt x="1614" y="1250"/>
                    </a:lnTo>
                    <a:lnTo>
                      <a:pt x="1620" y="1240"/>
                    </a:lnTo>
                    <a:lnTo>
                      <a:pt x="1620" y="1236"/>
                    </a:lnTo>
                    <a:lnTo>
                      <a:pt x="1618" y="1232"/>
                    </a:lnTo>
                    <a:lnTo>
                      <a:pt x="1618" y="1228"/>
                    </a:lnTo>
                    <a:lnTo>
                      <a:pt x="1616" y="1224"/>
                    </a:lnTo>
                    <a:lnTo>
                      <a:pt x="1616" y="1220"/>
                    </a:lnTo>
                    <a:lnTo>
                      <a:pt x="1614" y="1220"/>
                    </a:lnTo>
                    <a:lnTo>
                      <a:pt x="1612" y="1224"/>
                    </a:lnTo>
                    <a:lnTo>
                      <a:pt x="1612" y="1230"/>
                    </a:lnTo>
                    <a:lnTo>
                      <a:pt x="1612" y="1234"/>
                    </a:lnTo>
                    <a:lnTo>
                      <a:pt x="1612" y="1236"/>
                    </a:lnTo>
                    <a:lnTo>
                      <a:pt x="1608" y="1240"/>
                    </a:lnTo>
                    <a:lnTo>
                      <a:pt x="1606" y="1244"/>
                    </a:lnTo>
                    <a:lnTo>
                      <a:pt x="1604" y="1246"/>
                    </a:lnTo>
                    <a:lnTo>
                      <a:pt x="1606" y="1248"/>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37" name="Freeform 6153">
                <a:extLst>
                  <a:ext uri="{FF2B5EF4-FFF2-40B4-BE49-F238E27FC236}">
                    <a16:creationId xmlns:a16="http://schemas.microsoft.com/office/drawing/2014/main" id="{9CC4ED64-789D-E9D9-C181-000989B08B88}"/>
                  </a:ext>
                </a:extLst>
              </p:cNvPr>
              <p:cNvSpPr>
                <a:spLocks noEditPoints="1"/>
              </p:cNvSpPr>
              <p:nvPr/>
            </p:nvSpPr>
            <p:spPr bwMode="auto">
              <a:xfrm>
                <a:off x="3491075" y="2755632"/>
                <a:ext cx="1762208" cy="2303241"/>
              </a:xfrm>
              <a:custGeom>
                <a:avLst/>
                <a:gdLst>
                  <a:gd name="T0" fmla="*/ 1666909 w 2776"/>
                  <a:gd name="T1" fmla="*/ 1643154 h 3628"/>
                  <a:gd name="T2" fmla="*/ 1572963 w 2776"/>
                  <a:gd name="T3" fmla="*/ 1734581 h 3628"/>
                  <a:gd name="T4" fmla="*/ 1567885 w 2776"/>
                  <a:gd name="T5" fmla="*/ 1859024 h 3628"/>
                  <a:gd name="T6" fmla="*/ 1595815 w 2776"/>
                  <a:gd name="T7" fmla="*/ 1991086 h 3628"/>
                  <a:gd name="T8" fmla="*/ 1712613 w 2776"/>
                  <a:gd name="T9" fmla="*/ 1728232 h 3628"/>
                  <a:gd name="T10" fmla="*/ 1736734 w 2776"/>
                  <a:gd name="T11" fmla="*/ 1666011 h 3628"/>
                  <a:gd name="T12" fmla="*/ 1698648 w 2776"/>
                  <a:gd name="T13" fmla="*/ 844434 h 3628"/>
                  <a:gd name="T14" fmla="*/ 1576772 w 2776"/>
                  <a:gd name="T15" fmla="*/ 868560 h 3628"/>
                  <a:gd name="T16" fmla="*/ 1533607 w 2776"/>
                  <a:gd name="T17" fmla="*/ 784752 h 3628"/>
                  <a:gd name="T18" fmla="*/ 1484095 w 2776"/>
                  <a:gd name="T19" fmla="*/ 730150 h 3628"/>
                  <a:gd name="T20" fmla="*/ 1434583 w 2776"/>
                  <a:gd name="T21" fmla="*/ 633643 h 3628"/>
                  <a:gd name="T22" fmla="*/ 1401575 w 2776"/>
                  <a:gd name="T23" fmla="*/ 539676 h 3628"/>
                  <a:gd name="T24" fmla="*/ 1353332 w 2776"/>
                  <a:gd name="T25" fmla="*/ 454597 h 3628"/>
                  <a:gd name="T26" fmla="*/ 1301281 w 2776"/>
                  <a:gd name="T27" fmla="*/ 313647 h 3628"/>
                  <a:gd name="T28" fmla="*/ 1263195 w 2776"/>
                  <a:gd name="T29" fmla="*/ 199363 h 3628"/>
                  <a:gd name="T30" fmla="*/ 1197179 w 2776"/>
                  <a:gd name="T31" fmla="*/ 219680 h 3628"/>
                  <a:gd name="T32" fmla="*/ 1090537 w 2776"/>
                  <a:gd name="T33" fmla="*/ 195553 h 3628"/>
                  <a:gd name="T34" fmla="*/ 983895 w 2776"/>
                  <a:gd name="T35" fmla="*/ 156189 h 3628"/>
                  <a:gd name="T36" fmla="*/ 873445 w 2776"/>
                  <a:gd name="T37" fmla="*/ 208251 h 3628"/>
                  <a:gd name="T38" fmla="*/ 743952 w 2776"/>
                  <a:gd name="T39" fmla="*/ 142220 h 3628"/>
                  <a:gd name="T40" fmla="*/ 731256 w 2776"/>
                  <a:gd name="T41" fmla="*/ 69840 h 3628"/>
                  <a:gd name="T42" fmla="*/ 712213 w 2776"/>
                  <a:gd name="T43" fmla="*/ 20317 h 3628"/>
                  <a:gd name="T44" fmla="*/ 633502 w 2776"/>
                  <a:gd name="T45" fmla="*/ 8889 h 3628"/>
                  <a:gd name="T46" fmla="*/ 534477 w 2776"/>
                  <a:gd name="T47" fmla="*/ 17778 h 3628"/>
                  <a:gd name="T48" fmla="*/ 424027 w 2776"/>
                  <a:gd name="T49" fmla="*/ 54602 h 3628"/>
                  <a:gd name="T50" fmla="*/ 344046 w 2776"/>
                  <a:gd name="T51" fmla="*/ 72380 h 3628"/>
                  <a:gd name="T52" fmla="*/ 210744 w 2776"/>
                  <a:gd name="T53" fmla="*/ 162538 h 3628"/>
                  <a:gd name="T54" fmla="*/ 124415 w 2776"/>
                  <a:gd name="T55" fmla="*/ 312377 h 3628"/>
                  <a:gd name="T56" fmla="*/ 38086 w 2776"/>
                  <a:gd name="T57" fmla="*/ 453328 h 3628"/>
                  <a:gd name="T58" fmla="*/ 15235 w 2776"/>
                  <a:gd name="T59" fmla="*/ 537136 h 3628"/>
                  <a:gd name="T60" fmla="*/ 38086 w 2776"/>
                  <a:gd name="T61" fmla="*/ 626024 h 3628"/>
                  <a:gd name="T62" fmla="*/ 25391 w 2776"/>
                  <a:gd name="T63" fmla="*/ 775863 h 3628"/>
                  <a:gd name="T64" fmla="*/ 34278 w 2776"/>
                  <a:gd name="T65" fmla="*/ 802530 h 3628"/>
                  <a:gd name="T66" fmla="*/ 34278 w 2776"/>
                  <a:gd name="T67" fmla="*/ 825386 h 3628"/>
                  <a:gd name="T68" fmla="*/ 54590 w 2776"/>
                  <a:gd name="T69" fmla="*/ 848243 h 3628"/>
                  <a:gd name="T70" fmla="*/ 71094 w 2776"/>
                  <a:gd name="T71" fmla="*/ 863481 h 3628"/>
                  <a:gd name="T72" fmla="*/ 106642 w 2776"/>
                  <a:gd name="T73" fmla="*/ 909195 h 3628"/>
                  <a:gd name="T74" fmla="*/ 115528 w 2776"/>
                  <a:gd name="T75" fmla="*/ 940941 h 3628"/>
                  <a:gd name="T76" fmla="*/ 171388 w 2776"/>
                  <a:gd name="T77" fmla="*/ 996813 h 3628"/>
                  <a:gd name="T78" fmla="*/ 319925 w 2776"/>
                  <a:gd name="T79" fmla="*/ 1036177 h 3628"/>
                  <a:gd name="T80" fmla="*/ 411332 w 2776"/>
                  <a:gd name="T81" fmla="*/ 1038717 h 3628"/>
                  <a:gd name="T82" fmla="*/ 535747 w 2776"/>
                  <a:gd name="T83" fmla="*/ 993003 h 3628"/>
                  <a:gd name="T84" fmla="*/ 632232 w 2776"/>
                  <a:gd name="T85" fmla="*/ 1052685 h 3628"/>
                  <a:gd name="T86" fmla="*/ 690631 w 2776"/>
                  <a:gd name="T87" fmla="*/ 1069193 h 3628"/>
                  <a:gd name="T88" fmla="*/ 686822 w 2776"/>
                  <a:gd name="T89" fmla="*/ 1158081 h 3628"/>
                  <a:gd name="T90" fmla="*/ 700787 w 2776"/>
                  <a:gd name="T91" fmla="*/ 1193636 h 3628"/>
                  <a:gd name="T92" fmla="*/ 690631 w 2776"/>
                  <a:gd name="T93" fmla="*/ 1262206 h 3628"/>
                  <a:gd name="T94" fmla="*/ 766804 w 2776"/>
                  <a:gd name="T95" fmla="*/ 1376491 h 3628"/>
                  <a:gd name="T96" fmla="*/ 797273 w 2776"/>
                  <a:gd name="T97" fmla="*/ 1521251 h 3628"/>
                  <a:gd name="T98" fmla="*/ 746491 w 2776"/>
                  <a:gd name="T99" fmla="*/ 1737121 h 3628"/>
                  <a:gd name="T100" fmla="*/ 846785 w 2776"/>
                  <a:gd name="T101" fmla="*/ 2073625 h 3628"/>
                  <a:gd name="T102" fmla="*/ 903914 w 2776"/>
                  <a:gd name="T103" fmla="*/ 2242511 h 3628"/>
                  <a:gd name="T104" fmla="*/ 934383 w 2776"/>
                  <a:gd name="T105" fmla="*/ 2289495 h 3628"/>
                  <a:gd name="T106" fmla="*/ 1009286 w 2776"/>
                  <a:gd name="T107" fmla="*/ 2284416 h 3628"/>
                  <a:gd name="T108" fmla="*/ 1104502 w 2776"/>
                  <a:gd name="T109" fmla="*/ 2269178 h 3628"/>
                  <a:gd name="T110" fmla="*/ 1280968 w 2776"/>
                  <a:gd name="T111" fmla="*/ 2079974 h 3628"/>
                  <a:gd name="T112" fmla="*/ 1354602 w 2776"/>
                  <a:gd name="T113" fmla="*/ 1940293 h 3628"/>
                  <a:gd name="T114" fmla="*/ 1338098 w 2776"/>
                  <a:gd name="T115" fmla="*/ 1812041 h 3628"/>
                  <a:gd name="T116" fmla="*/ 1482826 w 2776"/>
                  <a:gd name="T117" fmla="*/ 1673630 h 3628"/>
                  <a:gd name="T118" fmla="*/ 1475208 w 2776"/>
                  <a:gd name="T119" fmla="*/ 1513632 h 3628"/>
                  <a:gd name="T120" fmla="*/ 1448548 w 2776"/>
                  <a:gd name="T121" fmla="*/ 1400617 h 3628"/>
                  <a:gd name="T122" fmla="*/ 1491712 w 2776"/>
                  <a:gd name="T123" fmla="*/ 1268555 h 3628"/>
                  <a:gd name="T124" fmla="*/ 1679605 w 2776"/>
                  <a:gd name="T125" fmla="*/ 1045066 h 362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76"/>
                  <a:gd name="T190" fmla="*/ 0 h 3628"/>
                  <a:gd name="T191" fmla="*/ 2776 w 2776"/>
                  <a:gd name="T192" fmla="*/ 3628 h 362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76" h="3628">
                    <a:moveTo>
                      <a:pt x="2710" y="2504"/>
                    </a:moveTo>
                    <a:lnTo>
                      <a:pt x="2710" y="2504"/>
                    </a:lnTo>
                    <a:lnTo>
                      <a:pt x="2706" y="2498"/>
                    </a:lnTo>
                    <a:lnTo>
                      <a:pt x="2702" y="2492"/>
                    </a:lnTo>
                    <a:lnTo>
                      <a:pt x="2698" y="2476"/>
                    </a:lnTo>
                    <a:lnTo>
                      <a:pt x="2696" y="2470"/>
                    </a:lnTo>
                    <a:lnTo>
                      <a:pt x="2692" y="2466"/>
                    </a:lnTo>
                    <a:lnTo>
                      <a:pt x="2690" y="2468"/>
                    </a:lnTo>
                    <a:lnTo>
                      <a:pt x="2684" y="2472"/>
                    </a:lnTo>
                    <a:lnTo>
                      <a:pt x="2680" y="2480"/>
                    </a:lnTo>
                    <a:lnTo>
                      <a:pt x="2678" y="2486"/>
                    </a:lnTo>
                    <a:lnTo>
                      <a:pt x="2676" y="2508"/>
                    </a:lnTo>
                    <a:lnTo>
                      <a:pt x="2674" y="2518"/>
                    </a:lnTo>
                    <a:lnTo>
                      <a:pt x="2672" y="2526"/>
                    </a:lnTo>
                    <a:lnTo>
                      <a:pt x="2668" y="2532"/>
                    </a:lnTo>
                    <a:lnTo>
                      <a:pt x="2664" y="2536"/>
                    </a:lnTo>
                    <a:lnTo>
                      <a:pt x="2656" y="2542"/>
                    </a:lnTo>
                    <a:lnTo>
                      <a:pt x="2648" y="2544"/>
                    </a:lnTo>
                    <a:lnTo>
                      <a:pt x="2634" y="2546"/>
                    </a:lnTo>
                    <a:lnTo>
                      <a:pt x="2632" y="2548"/>
                    </a:lnTo>
                    <a:lnTo>
                      <a:pt x="2632" y="2554"/>
                    </a:lnTo>
                    <a:lnTo>
                      <a:pt x="2638" y="2566"/>
                    </a:lnTo>
                    <a:lnTo>
                      <a:pt x="2636" y="2572"/>
                    </a:lnTo>
                    <a:lnTo>
                      <a:pt x="2636" y="2576"/>
                    </a:lnTo>
                    <a:lnTo>
                      <a:pt x="2626" y="2588"/>
                    </a:lnTo>
                    <a:lnTo>
                      <a:pt x="2606" y="2608"/>
                    </a:lnTo>
                    <a:lnTo>
                      <a:pt x="2596" y="2618"/>
                    </a:lnTo>
                    <a:lnTo>
                      <a:pt x="2588" y="2628"/>
                    </a:lnTo>
                    <a:lnTo>
                      <a:pt x="2578" y="2640"/>
                    </a:lnTo>
                    <a:lnTo>
                      <a:pt x="2572" y="2646"/>
                    </a:lnTo>
                    <a:lnTo>
                      <a:pt x="2564" y="2650"/>
                    </a:lnTo>
                    <a:lnTo>
                      <a:pt x="2554" y="2652"/>
                    </a:lnTo>
                    <a:lnTo>
                      <a:pt x="2538" y="2656"/>
                    </a:lnTo>
                    <a:lnTo>
                      <a:pt x="2530" y="2658"/>
                    </a:lnTo>
                    <a:lnTo>
                      <a:pt x="2526" y="2660"/>
                    </a:lnTo>
                    <a:lnTo>
                      <a:pt x="2522" y="2664"/>
                    </a:lnTo>
                    <a:lnTo>
                      <a:pt x="2520" y="2668"/>
                    </a:lnTo>
                    <a:lnTo>
                      <a:pt x="2516" y="2670"/>
                    </a:lnTo>
                    <a:lnTo>
                      <a:pt x="2512" y="2670"/>
                    </a:lnTo>
                    <a:lnTo>
                      <a:pt x="2506" y="2670"/>
                    </a:lnTo>
                    <a:lnTo>
                      <a:pt x="2500" y="2670"/>
                    </a:lnTo>
                    <a:lnTo>
                      <a:pt x="2496" y="2670"/>
                    </a:lnTo>
                    <a:lnTo>
                      <a:pt x="2496" y="2672"/>
                    </a:lnTo>
                    <a:lnTo>
                      <a:pt x="2496" y="2676"/>
                    </a:lnTo>
                    <a:lnTo>
                      <a:pt x="2494" y="2690"/>
                    </a:lnTo>
                    <a:lnTo>
                      <a:pt x="2492" y="2700"/>
                    </a:lnTo>
                    <a:lnTo>
                      <a:pt x="2486" y="2712"/>
                    </a:lnTo>
                    <a:lnTo>
                      <a:pt x="2480" y="2724"/>
                    </a:lnTo>
                    <a:lnTo>
                      <a:pt x="2478" y="2732"/>
                    </a:lnTo>
                    <a:lnTo>
                      <a:pt x="2478" y="2738"/>
                    </a:lnTo>
                    <a:lnTo>
                      <a:pt x="2478" y="2742"/>
                    </a:lnTo>
                    <a:lnTo>
                      <a:pt x="2482" y="2750"/>
                    </a:lnTo>
                    <a:lnTo>
                      <a:pt x="2482" y="2754"/>
                    </a:lnTo>
                    <a:lnTo>
                      <a:pt x="2482" y="2762"/>
                    </a:lnTo>
                    <a:lnTo>
                      <a:pt x="2480" y="2772"/>
                    </a:lnTo>
                    <a:lnTo>
                      <a:pt x="2480" y="2778"/>
                    </a:lnTo>
                    <a:lnTo>
                      <a:pt x="2484" y="2790"/>
                    </a:lnTo>
                    <a:lnTo>
                      <a:pt x="2488" y="2798"/>
                    </a:lnTo>
                    <a:lnTo>
                      <a:pt x="2488" y="2802"/>
                    </a:lnTo>
                    <a:lnTo>
                      <a:pt x="2488" y="2806"/>
                    </a:lnTo>
                    <a:lnTo>
                      <a:pt x="2488" y="2814"/>
                    </a:lnTo>
                    <a:lnTo>
                      <a:pt x="2490" y="2820"/>
                    </a:lnTo>
                    <a:lnTo>
                      <a:pt x="2494" y="2832"/>
                    </a:lnTo>
                    <a:lnTo>
                      <a:pt x="2498" y="2848"/>
                    </a:lnTo>
                    <a:lnTo>
                      <a:pt x="2498" y="2860"/>
                    </a:lnTo>
                    <a:lnTo>
                      <a:pt x="2496" y="2868"/>
                    </a:lnTo>
                    <a:lnTo>
                      <a:pt x="2492" y="2876"/>
                    </a:lnTo>
                    <a:lnTo>
                      <a:pt x="2488" y="2884"/>
                    </a:lnTo>
                    <a:lnTo>
                      <a:pt x="2480" y="2900"/>
                    </a:lnTo>
                    <a:lnTo>
                      <a:pt x="2476" y="2908"/>
                    </a:lnTo>
                    <a:lnTo>
                      <a:pt x="2474" y="2916"/>
                    </a:lnTo>
                    <a:lnTo>
                      <a:pt x="2472" y="2924"/>
                    </a:lnTo>
                    <a:lnTo>
                      <a:pt x="2470" y="2928"/>
                    </a:lnTo>
                    <a:lnTo>
                      <a:pt x="2466" y="2928"/>
                    </a:lnTo>
                    <a:lnTo>
                      <a:pt x="2464" y="2928"/>
                    </a:lnTo>
                    <a:lnTo>
                      <a:pt x="2462" y="2930"/>
                    </a:lnTo>
                    <a:lnTo>
                      <a:pt x="2458" y="2934"/>
                    </a:lnTo>
                    <a:lnTo>
                      <a:pt x="2454" y="2942"/>
                    </a:lnTo>
                    <a:lnTo>
                      <a:pt x="2450" y="2954"/>
                    </a:lnTo>
                    <a:lnTo>
                      <a:pt x="2448" y="2968"/>
                    </a:lnTo>
                    <a:lnTo>
                      <a:pt x="2446" y="2980"/>
                    </a:lnTo>
                    <a:lnTo>
                      <a:pt x="2448" y="2990"/>
                    </a:lnTo>
                    <a:lnTo>
                      <a:pt x="2448" y="2998"/>
                    </a:lnTo>
                    <a:lnTo>
                      <a:pt x="2456" y="3012"/>
                    </a:lnTo>
                    <a:lnTo>
                      <a:pt x="2464" y="3026"/>
                    </a:lnTo>
                    <a:lnTo>
                      <a:pt x="2466" y="3034"/>
                    </a:lnTo>
                    <a:lnTo>
                      <a:pt x="2466" y="3040"/>
                    </a:lnTo>
                    <a:lnTo>
                      <a:pt x="2466" y="3054"/>
                    </a:lnTo>
                    <a:lnTo>
                      <a:pt x="2464" y="3062"/>
                    </a:lnTo>
                    <a:lnTo>
                      <a:pt x="2466" y="3072"/>
                    </a:lnTo>
                    <a:lnTo>
                      <a:pt x="2468" y="3084"/>
                    </a:lnTo>
                    <a:lnTo>
                      <a:pt x="2474" y="3100"/>
                    </a:lnTo>
                    <a:lnTo>
                      <a:pt x="2480" y="3114"/>
                    </a:lnTo>
                    <a:lnTo>
                      <a:pt x="2486" y="3122"/>
                    </a:lnTo>
                    <a:lnTo>
                      <a:pt x="2492" y="3126"/>
                    </a:lnTo>
                    <a:lnTo>
                      <a:pt x="2498" y="3130"/>
                    </a:lnTo>
                    <a:lnTo>
                      <a:pt x="2510" y="3134"/>
                    </a:lnTo>
                    <a:lnTo>
                      <a:pt x="2514" y="3136"/>
                    </a:lnTo>
                    <a:lnTo>
                      <a:pt x="2520" y="3142"/>
                    </a:lnTo>
                    <a:lnTo>
                      <a:pt x="2522" y="3144"/>
                    </a:lnTo>
                    <a:lnTo>
                      <a:pt x="2526" y="3146"/>
                    </a:lnTo>
                    <a:lnTo>
                      <a:pt x="2534" y="3146"/>
                    </a:lnTo>
                    <a:lnTo>
                      <a:pt x="2544" y="3144"/>
                    </a:lnTo>
                    <a:lnTo>
                      <a:pt x="2554" y="3140"/>
                    </a:lnTo>
                    <a:lnTo>
                      <a:pt x="2574" y="3128"/>
                    </a:lnTo>
                    <a:lnTo>
                      <a:pt x="2584" y="3124"/>
                    </a:lnTo>
                    <a:lnTo>
                      <a:pt x="2594" y="3122"/>
                    </a:lnTo>
                    <a:lnTo>
                      <a:pt x="2598" y="3120"/>
                    </a:lnTo>
                    <a:lnTo>
                      <a:pt x="2602" y="3116"/>
                    </a:lnTo>
                    <a:lnTo>
                      <a:pt x="2610" y="3096"/>
                    </a:lnTo>
                    <a:lnTo>
                      <a:pt x="2620" y="3068"/>
                    </a:lnTo>
                    <a:lnTo>
                      <a:pt x="2628" y="3034"/>
                    </a:lnTo>
                    <a:lnTo>
                      <a:pt x="2648" y="2952"/>
                    </a:lnTo>
                    <a:lnTo>
                      <a:pt x="2668" y="2870"/>
                    </a:lnTo>
                    <a:lnTo>
                      <a:pt x="2682" y="2822"/>
                    </a:lnTo>
                    <a:lnTo>
                      <a:pt x="2694" y="2792"/>
                    </a:lnTo>
                    <a:lnTo>
                      <a:pt x="2696" y="2780"/>
                    </a:lnTo>
                    <a:lnTo>
                      <a:pt x="2700" y="2768"/>
                    </a:lnTo>
                    <a:lnTo>
                      <a:pt x="2700" y="2756"/>
                    </a:lnTo>
                    <a:lnTo>
                      <a:pt x="2698" y="2742"/>
                    </a:lnTo>
                    <a:lnTo>
                      <a:pt x="2698" y="2730"/>
                    </a:lnTo>
                    <a:lnTo>
                      <a:pt x="2698" y="2722"/>
                    </a:lnTo>
                    <a:lnTo>
                      <a:pt x="2700" y="2718"/>
                    </a:lnTo>
                    <a:lnTo>
                      <a:pt x="2704" y="2714"/>
                    </a:lnTo>
                    <a:lnTo>
                      <a:pt x="2710" y="2710"/>
                    </a:lnTo>
                    <a:lnTo>
                      <a:pt x="2712" y="2706"/>
                    </a:lnTo>
                    <a:lnTo>
                      <a:pt x="2710" y="2700"/>
                    </a:lnTo>
                    <a:lnTo>
                      <a:pt x="2710" y="2690"/>
                    </a:lnTo>
                    <a:lnTo>
                      <a:pt x="2712" y="2684"/>
                    </a:lnTo>
                    <a:lnTo>
                      <a:pt x="2712" y="2674"/>
                    </a:lnTo>
                    <a:lnTo>
                      <a:pt x="2712" y="2670"/>
                    </a:lnTo>
                    <a:lnTo>
                      <a:pt x="2710" y="2662"/>
                    </a:lnTo>
                    <a:lnTo>
                      <a:pt x="2706" y="2654"/>
                    </a:lnTo>
                    <a:lnTo>
                      <a:pt x="2706" y="2648"/>
                    </a:lnTo>
                    <a:lnTo>
                      <a:pt x="2706" y="2642"/>
                    </a:lnTo>
                    <a:lnTo>
                      <a:pt x="2708" y="2638"/>
                    </a:lnTo>
                    <a:lnTo>
                      <a:pt x="2710" y="2636"/>
                    </a:lnTo>
                    <a:lnTo>
                      <a:pt x="2714" y="2640"/>
                    </a:lnTo>
                    <a:lnTo>
                      <a:pt x="2718" y="2646"/>
                    </a:lnTo>
                    <a:lnTo>
                      <a:pt x="2722" y="2658"/>
                    </a:lnTo>
                    <a:lnTo>
                      <a:pt x="2724" y="2662"/>
                    </a:lnTo>
                    <a:lnTo>
                      <a:pt x="2728" y="2662"/>
                    </a:lnTo>
                    <a:lnTo>
                      <a:pt x="2732" y="2658"/>
                    </a:lnTo>
                    <a:lnTo>
                      <a:pt x="2734" y="2652"/>
                    </a:lnTo>
                    <a:lnTo>
                      <a:pt x="2736" y="2644"/>
                    </a:lnTo>
                    <a:lnTo>
                      <a:pt x="2738" y="2634"/>
                    </a:lnTo>
                    <a:lnTo>
                      <a:pt x="2736" y="2624"/>
                    </a:lnTo>
                    <a:lnTo>
                      <a:pt x="2734" y="2614"/>
                    </a:lnTo>
                    <a:lnTo>
                      <a:pt x="2732" y="2604"/>
                    </a:lnTo>
                    <a:lnTo>
                      <a:pt x="2730" y="2590"/>
                    </a:lnTo>
                    <a:lnTo>
                      <a:pt x="2724" y="2556"/>
                    </a:lnTo>
                    <a:lnTo>
                      <a:pt x="2720" y="2522"/>
                    </a:lnTo>
                    <a:lnTo>
                      <a:pt x="2716" y="2510"/>
                    </a:lnTo>
                    <a:lnTo>
                      <a:pt x="2710" y="2504"/>
                    </a:lnTo>
                    <a:close/>
                    <a:moveTo>
                      <a:pt x="2770" y="1364"/>
                    </a:moveTo>
                    <a:lnTo>
                      <a:pt x="2770" y="1364"/>
                    </a:lnTo>
                    <a:lnTo>
                      <a:pt x="2764" y="1352"/>
                    </a:lnTo>
                    <a:lnTo>
                      <a:pt x="2762" y="1342"/>
                    </a:lnTo>
                    <a:lnTo>
                      <a:pt x="2764" y="1332"/>
                    </a:lnTo>
                    <a:lnTo>
                      <a:pt x="2766" y="1322"/>
                    </a:lnTo>
                    <a:lnTo>
                      <a:pt x="2770" y="1316"/>
                    </a:lnTo>
                    <a:lnTo>
                      <a:pt x="2770" y="1308"/>
                    </a:lnTo>
                    <a:lnTo>
                      <a:pt x="2768" y="1304"/>
                    </a:lnTo>
                    <a:lnTo>
                      <a:pt x="2762" y="1300"/>
                    </a:lnTo>
                    <a:lnTo>
                      <a:pt x="2752" y="1300"/>
                    </a:lnTo>
                    <a:lnTo>
                      <a:pt x="2746" y="1302"/>
                    </a:lnTo>
                    <a:lnTo>
                      <a:pt x="2730" y="1314"/>
                    </a:lnTo>
                    <a:lnTo>
                      <a:pt x="2720" y="1320"/>
                    </a:lnTo>
                    <a:lnTo>
                      <a:pt x="2708" y="1326"/>
                    </a:lnTo>
                    <a:lnTo>
                      <a:pt x="2694" y="1330"/>
                    </a:lnTo>
                    <a:lnTo>
                      <a:pt x="2676" y="1330"/>
                    </a:lnTo>
                    <a:lnTo>
                      <a:pt x="2660" y="1332"/>
                    </a:lnTo>
                    <a:lnTo>
                      <a:pt x="2650" y="1332"/>
                    </a:lnTo>
                    <a:lnTo>
                      <a:pt x="2646" y="1334"/>
                    </a:lnTo>
                    <a:lnTo>
                      <a:pt x="2646" y="1336"/>
                    </a:lnTo>
                    <a:lnTo>
                      <a:pt x="2646" y="1338"/>
                    </a:lnTo>
                    <a:lnTo>
                      <a:pt x="2644" y="1340"/>
                    </a:lnTo>
                    <a:lnTo>
                      <a:pt x="2640" y="1340"/>
                    </a:lnTo>
                    <a:lnTo>
                      <a:pt x="2630" y="1340"/>
                    </a:lnTo>
                    <a:lnTo>
                      <a:pt x="2618" y="1340"/>
                    </a:lnTo>
                    <a:lnTo>
                      <a:pt x="2608" y="1342"/>
                    </a:lnTo>
                    <a:lnTo>
                      <a:pt x="2602" y="1346"/>
                    </a:lnTo>
                    <a:lnTo>
                      <a:pt x="2596" y="1352"/>
                    </a:lnTo>
                    <a:lnTo>
                      <a:pt x="2590" y="1356"/>
                    </a:lnTo>
                    <a:lnTo>
                      <a:pt x="2584" y="1360"/>
                    </a:lnTo>
                    <a:lnTo>
                      <a:pt x="2574" y="1360"/>
                    </a:lnTo>
                    <a:lnTo>
                      <a:pt x="2564" y="1358"/>
                    </a:lnTo>
                    <a:lnTo>
                      <a:pt x="2552" y="1356"/>
                    </a:lnTo>
                    <a:lnTo>
                      <a:pt x="2542" y="1356"/>
                    </a:lnTo>
                    <a:lnTo>
                      <a:pt x="2534" y="1360"/>
                    </a:lnTo>
                    <a:lnTo>
                      <a:pt x="2528" y="1366"/>
                    </a:lnTo>
                    <a:lnTo>
                      <a:pt x="2520" y="1370"/>
                    </a:lnTo>
                    <a:lnTo>
                      <a:pt x="2512" y="1374"/>
                    </a:lnTo>
                    <a:lnTo>
                      <a:pt x="2504" y="1376"/>
                    </a:lnTo>
                    <a:lnTo>
                      <a:pt x="2494" y="1374"/>
                    </a:lnTo>
                    <a:lnTo>
                      <a:pt x="2484" y="1368"/>
                    </a:lnTo>
                    <a:lnTo>
                      <a:pt x="2476" y="1362"/>
                    </a:lnTo>
                    <a:lnTo>
                      <a:pt x="2470" y="1356"/>
                    </a:lnTo>
                    <a:lnTo>
                      <a:pt x="2466" y="1350"/>
                    </a:lnTo>
                    <a:lnTo>
                      <a:pt x="2458" y="1334"/>
                    </a:lnTo>
                    <a:lnTo>
                      <a:pt x="2454" y="1328"/>
                    </a:lnTo>
                    <a:lnTo>
                      <a:pt x="2448" y="1320"/>
                    </a:lnTo>
                    <a:lnTo>
                      <a:pt x="2444" y="1318"/>
                    </a:lnTo>
                    <a:lnTo>
                      <a:pt x="2438" y="1316"/>
                    </a:lnTo>
                    <a:lnTo>
                      <a:pt x="2428" y="1316"/>
                    </a:lnTo>
                    <a:lnTo>
                      <a:pt x="2426" y="1316"/>
                    </a:lnTo>
                    <a:lnTo>
                      <a:pt x="2428" y="1314"/>
                    </a:lnTo>
                    <a:lnTo>
                      <a:pt x="2444" y="1302"/>
                    </a:lnTo>
                    <a:lnTo>
                      <a:pt x="2450" y="1298"/>
                    </a:lnTo>
                    <a:lnTo>
                      <a:pt x="2452" y="1294"/>
                    </a:lnTo>
                    <a:lnTo>
                      <a:pt x="2452" y="1288"/>
                    </a:lnTo>
                    <a:lnTo>
                      <a:pt x="2452" y="1284"/>
                    </a:lnTo>
                    <a:lnTo>
                      <a:pt x="2448" y="1272"/>
                    </a:lnTo>
                    <a:lnTo>
                      <a:pt x="2440" y="1260"/>
                    </a:lnTo>
                    <a:lnTo>
                      <a:pt x="2436" y="1256"/>
                    </a:lnTo>
                    <a:lnTo>
                      <a:pt x="2432" y="1254"/>
                    </a:lnTo>
                    <a:lnTo>
                      <a:pt x="2426" y="1252"/>
                    </a:lnTo>
                    <a:lnTo>
                      <a:pt x="2422" y="1244"/>
                    </a:lnTo>
                    <a:lnTo>
                      <a:pt x="2418" y="1238"/>
                    </a:lnTo>
                    <a:lnTo>
                      <a:pt x="2416" y="1236"/>
                    </a:lnTo>
                    <a:lnTo>
                      <a:pt x="2414" y="1232"/>
                    </a:lnTo>
                    <a:lnTo>
                      <a:pt x="2410" y="1224"/>
                    </a:lnTo>
                    <a:lnTo>
                      <a:pt x="2404" y="1214"/>
                    </a:lnTo>
                    <a:lnTo>
                      <a:pt x="2402" y="1214"/>
                    </a:lnTo>
                    <a:lnTo>
                      <a:pt x="2402" y="1216"/>
                    </a:lnTo>
                    <a:lnTo>
                      <a:pt x="2396" y="1208"/>
                    </a:lnTo>
                    <a:lnTo>
                      <a:pt x="2394" y="1204"/>
                    </a:lnTo>
                    <a:lnTo>
                      <a:pt x="2392" y="1202"/>
                    </a:lnTo>
                    <a:lnTo>
                      <a:pt x="2388" y="1202"/>
                    </a:lnTo>
                    <a:lnTo>
                      <a:pt x="2384" y="1202"/>
                    </a:lnTo>
                    <a:lnTo>
                      <a:pt x="2382" y="1198"/>
                    </a:lnTo>
                    <a:lnTo>
                      <a:pt x="2378" y="1192"/>
                    </a:lnTo>
                    <a:lnTo>
                      <a:pt x="2372" y="1182"/>
                    </a:lnTo>
                    <a:lnTo>
                      <a:pt x="2366" y="1172"/>
                    </a:lnTo>
                    <a:lnTo>
                      <a:pt x="2362" y="1166"/>
                    </a:lnTo>
                    <a:lnTo>
                      <a:pt x="2358" y="1164"/>
                    </a:lnTo>
                    <a:lnTo>
                      <a:pt x="2356" y="1164"/>
                    </a:lnTo>
                    <a:lnTo>
                      <a:pt x="2354" y="1166"/>
                    </a:lnTo>
                    <a:lnTo>
                      <a:pt x="2352" y="1166"/>
                    </a:lnTo>
                    <a:lnTo>
                      <a:pt x="2348" y="1162"/>
                    </a:lnTo>
                    <a:lnTo>
                      <a:pt x="2344" y="1156"/>
                    </a:lnTo>
                    <a:lnTo>
                      <a:pt x="2340" y="1150"/>
                    </a:lnTo>
                    <a:lnTo>
                      <a:pt x="2338" y="1150"/>
                    </a:lnTo>
                    <a:lnTo>
                      <a:pt x="2334" y="1150"/>
                    </a:lnTo>
                    <a:lnTo>
                      <a:pt x="2332" y="1152"/>
                    </a:lnTo>
                    <a:lnTo>
                      <a:pt x="2330" y="1152"/>
                    </a:lnTo>
                    <a:lnTo>
                      <a:pt x="2326" y="1150"/>
                    </a:lnTo>
                    <a:lnTo>
                      <a:pt x="2322" y="1144"/>
                    </a:lnTo>
                    <a:lnTo>
                      <a:pt x="2316" y="1132"/>
                    </a:lnTo>
                    <a:lnTo>
                      <a:pt x="2312" y="1124"/>
                    </a:lnTo>
                    <a:lnTo>
                      <a:pt x="2310" y="1122"/>
                    </a:lnTo>
                    <a:lnTo>
                      <a:pt x="2308" y="1124"/>
                    </a:lnTo>
                    <a:lnTo>
                      <a:pt x="2308" y="1128"/>
                    </a:lnTo>
                    <a:lnTo>
                      <a:pt x="2308" y="1140"/>
                    </a:lnTo>
                    <a:lnTo>
                      <a:pt x="2308" y="1144"/>
                    </a:lnTo>
                    <a:lnTo>
                      <a:pt x="2306" y="1146"/>
                    </a:lnTo>
                    <a:lnTo>
                      <a:pt x="2304" y="1142"/>
                    </a:lnTo>
                    <a:lnTo>
                      <a:pt x="2300" y="1136"/>
                    </a:lnTo>
                    <a:lnTo>
                      <a:pt x="2298" y="1126"/>
                    </a:lnTo>
                    <a:lnTo>
                      <a:pt x="2290" y="1110"/>
                    </a:lnTo>
                    <a:lnTo>
                      <a:pt x="2286" y="1100"/>
                    </a:lnTo>
                    <a:lnTo>
                      <a:pt x="2284" y="1086"/>
                    </a:lnTo>
                    <a:lnTo>
                      <a:pt x="2280" y="1058"/>
                    </a:lnTo>
                    <a:lnTo>
                      <a:pt x="2276" y="1042"/>
                    </a:lnTo>
                    <a:lnTo>
                      <a:pt x="2272" y="1026"/>
                    </a:lnTo>
                    <a:lnTo>
                      <a:pt x="2268" y="1012"/>
                    </a:lnTo>
                    <a:lnTo>
                      <a:pt x="2260" y="998"/>
                    </a:lnTo>
                    <a:lnTo>
                      <a:pt x="2252" y="988"/>
                    </a:lnTo>
                    <a:lnTo>
                      <a:pt x="2248" y="984"/>
                    </a:lnTo>
                    <a:lnTo>
                      <a:pt x="2244" y="986"/>
                    </a:lnTo>
                    <a:lnTo>
                      <a:pt x="2242" y="986"/>
                    </a:lnTo>
                    <a:lnTo>
                      <a:pt x="2240" y="984"/>
                    </a:lnTo>
                    <a:lnTo>
                      <a:pt x="2236" y="976"/>
                    </a:lnTo>
                    <a:lnTo>
                      <a:pt x="2230" y="968"/>
                    </a:lnTo>
                    <a:lnTo>
                      <a:pt x="2226" y="966"/>
                    </a:lnTo>
                    <a:lnTo>
                      <a:pt x="2222" y="966"/>
                    </a:lnTo>
                    <a:lnTo>
                      <a:pt x="2220" y="966"/>
                    </a:lnTo>
                    <a:lnTo>
                      <a:pt x="2218" y="964"/>
                    </a:lnTo>
                    <a:lnTo>
                      <a:pt x="2212" y="956"/>
                    </a:lnTo>
                    <a:lnTo>
                      <a:pt x="2208" y="944"/>
                    </a:lnTo>
                    <a:lnTo>
                      <a:pt x="2206" y="928"/>
                    </a:lnTo>
                    <a:lnTo>
                      <a:pt x="2202" y="900"/>
                    </a:lnTo>
                    <a:lnTo>
                      <a:pt x="2200" y="890"/>
                    </a:lnTo>
                    <a:lnTo>
                      <a:pt x="2202" y="884"/>
                    </a:lnTo>
                    <a:lnTo>
                      <a:pt x="2204" y="876"/>
                    </a:lnTo>
                    <a:lnTo>
                      <a:pt x="2204" y="870"/>
                    </a:lnTo>
                    <a:lnTo>
                      <a:pt x="2200" y="858"/>
                    </a:lnTo>
                    <a:lnTo>
                      <a:pt x="2198" y="850"/>
                    </a:lnTo>
                    <a:lnTo>
                      <a:pt x="2200" y="848"/>
                    </a:lnTo>
                    <a:lnTo>
                      <a:pt x="2204" y="850"/>
                    </a:lnTo>
                    <a:lnTo>
                      <a:pt x="2208" y="850"/>
                    </a:lnTo>
                    <a:lnTo>
                      <a:pt x="2210" y="848"/>
                    </a:lnTo>
                    <a:lnTo>
                      <a:pt x="2204" y="842"/>
                    </a:lnTo>
                    <a:lnTo>
                      <a:pt x="2198" y="826"/>
                    </a:lnTo>
                    <a:lnTo>
                      <a:pt x="2194" y="816"/>
                    </a:lnTo>
                    <a:lnTo>
                      <a:pt x="2192" y="802"/>
                    </a:lnTo>
                    <a:lnTo>
                      <a:pt x="2190" y="794"/>
                    </a:lnTo>
                    <a:lnTo>
                      <a:pt x="2188" y="790"/>
                    </a:lnTo>
                    <a:lnTo>
                      <a:pt x="2184" y="786"/>
                    </a:lnTo>
                    <a:lnTo>
                      <a:pt x="2176" y="784"/>
                    </a:lnTo>
                    <a:lnTo>
                      <a:pt x="2174" y="782"/>
                    </a:lnTo>
                    <a:lnTo>
                      <a:pt x="2170" y="780"/>
                    </a:lnTo>
                    <a:lnTo>
                      <a:pt x="2166" y="772"/>
                    </a:lnTo>
                    <a:lnTo>
                      <a:pt x="2162" y="766"/>
                    </a:lnTo>
                    <a:lnTo>
                      <a:pt x="2160" y="764"/>
                    </a:lnTo>
                    <a:lnTo>
                      <a:pt x="2154" y="764"/>
                    </a:lnTo>
                    <a:lnTo>
                      <a:pt x="2150" y="762"/>
                    </a:lnTo>
                    <a:lnTo>
                      <a:pt x="2146" y="758"/>
                    </a:lnTo>
                    <a:lnTo>
                      <a:pt x="2138" y="746"/>
                    </a:lnTo>
                    <a:lnTo>
                      <a:pt x="2134" y="752"/>
                    </a:lnTo>
                    <a:lnTo>
                      <a:pt x="2138" y="746"/>
                    </a:lnTo>
                    <a:lnTo>
                      <a:pt x="2134" y="732"/>
                    </a:lnTo>
                    <a:lnTo>
                      <a:pt x="2132" y="716"/>
                    </a:lnTo>
                    <a:lnTo>
                      <a:pt x="2132" y="710"/>
                    </a:lnTo>
                    <a:lnTo>
                      <a:pt x="2134" y="706"/>
                    </a:lnTo>
                    <a:lnTo>
                      <a:pt x="2136" y="702"/>
                    </a:lnTo>
                    <a:lnTo>
                      <a:pt x="2142" y="702"/>
                    </a:lnTo>
                    <a:lnTo>
                      <a:pt x="2144" y="702"/>
                    </a:lnTo>
                    <a:lnTo>
                      <a:pt x="2138" y="698"/>
                    </a:lnTo>
                    <a:lnTo>
                      <a:pt x="2134" y="692"/>
                    </a:lnTo>
                    <a:lnTo>
                      <a:pt x="2128" y="684"/>
                    </a:lnTo>
                    <a:lnTo>
                      <a:pt x="2120" y="674"/>
                    </a:lnTo>
                    <a:lnTo>
                      <a:pt x="2116" y="662"/>
                    </a:lnTo>
                    <a:lnTo>
                      <a:pt x="2108" y="642"/>
                    </a:lnTo>
                    <a:lnTo>
                      <a:pt x="2098" y="624"/>
                    </a:lnTo>
                    <a:lnTo>
                      <a:pt x="2082" y="594"/>
                    </a:lnTo>
                    <a:lnTo>
                      <a:pt x="2072" y="572"/>
                    </a:lnTo>
                    <a:lnTo>
                      <a:pt x="2070" y="564"/>
                    </a:lnTo>
                    <a:lnTo>
                      <a:pt x="2070" y="556"/>
                    </a:lnTo>
                    <a:lnTo>
                      <a:pt x="2070" y="550"/>
                    </a:lnTo>
                    <a:lnTo>
                      <a:pt x="2070" y="544"/>
                    </a:lnTo>
                    <a:lnTo>
                      <a:pt x="2064" y="534"/>
                    </a:lnTo>
                    <a:lnTo>
                      <a:pt x="2058" y="526"/>
                    </a:lnTo>
                    <a:lnTo>
                      <a:pt x="2056" y="520"/>
                    </a:lnTo>
                    <a:lnTo>
                      <a:pt x="2056" y="512"/>
                    </a:lnTo>
                    <a:lnTo>
                      <a:pt x="2054" y="504"/>
                    </a:lnTo>
                    <a:lnTo>
                      <a:pt x="2050" y="494"/>
                    </a:lnTo>
                    <a:lnTo>
                      <a:pt x="2036" y="474"/>
                    </a:lnTo>
                    <a:lnTo>
                      <a:pt x="2022" y="452"/>
                    </a:lnTo>
                    <a:lnTo>
                      <a:pt x="2018" y="442"/>
                    </a:lnTo>
                    <a:lnTo>
                      <a:pt x="2016" y="434"/>
                    </a:lnTo>
                    <a:lnTo>
                      <a:pt x="2016" y="426"/>
                    </a:lnTo>
                    <a:lnTo>
                      <a:pt x="2014" y="422"/>
                    </a:lnTo>
                    <a:lnTo>
                      <a:pt x="2010" y="416"/>
                    </a:lnTo>
                    <a:lnTo>
                      <a:pt x="2008" y="412"/>
                    </a:lnTo>
                    <a:lnTo>
                      <a:pt x="2008" y="408"/>
                    </a:lnTo>
                    <a:lnTo>
                      <a:pt x="2010" y="402"/>
                    </a:lnTo>
                    <a:lnTo>
                      <a:pt x="2014" y="394"/>
                    </a:lnTo>
                    <a:lnTo>
                      <a:pt x="2000" y="332"/>
                    </a:lnTo>
                    <a:lnTo>
                      <a:pt x="1998" y="332"/>
                    </a:lnTo>
                    <a:lnTo>
                      <a:pt x="1996" y="328"/>
                    </a:lnTo>
                    <a:lnTo>
                      <a:pt x="1992" y="326"/>
                    </a:lnTo>
                    <a:lnTo>
                      <a:pt x="1990" y="326"/>
                    </a:lnTo>
                    <a:lnTo>
                      <a:pt x="1986" y="326"/>
                    </a:lnTo>
                    <a:lnTo>
                      <a:pt x="1984" y="324"/>
                    </a:lnTo>
                    <a:lnTo>
                      <a:pt x="1984" y="322"/>
                    </a:lnTo>
                    <a:lnTo>
                      <a:pt x="1984" y="320"/>
                    </a:lnTo>
                    <a:lnTo>
                      <a:pt x="1986" y="318"/>
                    </a:lnTo>
                    <a:lnTo>
                      <a:pt x="1988" y="316"/>
                    </a:lnTo>
                    <a:lnTo>
                      <a:pt x="1990" y="314"/>
                    </a:lnTo>
                    <a:lnTo>
                      <a:pt x="1992" y="316"/>
                    </a:lnTo>
                    <a:lnTo>
                      <a:pt x="1998" y="320"/>
                    </a:lnTo>
                    <a:lnTo>
                      <a:pt x="1996" y="316"/>
                    </a:lnTo>
                    <a:lnTo>
                      <a:pt x="1990" y="310"/>
                    </a:lnTo>
                    <a:lnTo>
                      <a:pt x="1988" y="308"/>
                    </a:lnTo>
                    <a:lnTo>
                      <a:pt x="1986" y="308"/>
                    </a:lnTo>
                    <a:lnTo>
                      <a:pt x="1980" y="312"/>
                    </a:lnTo>
                    <a:lnTo>
                      <a:pt x="1976" y="314"/>
                    </a:lnTo>
                    <a:lnTo>
                      <a:pt x="1974" y="314"/>
                    </a:lnTo>
                    <a:lnTo>
                      <a:pt x="1966" y="310"/>
                    </a:lnTo>
                    <a:lnTo>
                      <a:pt x="1958" y="306"/>
                    </a:lnTo>
                    <a:lnTo>
                      <a:pt x="1954" y="306"/>
                    </a:lnTo>
                    <a:lnTo>
                      <a:pt x="1948" y="308"/>
                    </a:lnTo>
                    <a:lnTo>
                      <a:pt x="1938" y="312"/>
                    </a:lnTo>
                    <a:lnTo>
                      <a:pt x="1932" y="312"/>
                    </a:lnTo>
                    <a:lnTo>
                      <a:pt x="1928" y="312"/>
                    </a:lnTo>
                    <a:lnTo>
                      <a:pt x="1922" y="318"/>
                    </a:lnTo>
                    <a:lnTo>
                      <a:pt x="1920" y="320"/>
                    </a:lnTo>
                    <a:lnTo>
                      <a:pt x="1916" y="322"/>
                    </a:lnTo>
                    <a:lnTo>
                      <a:pt x="1908" y="326"/>
                    </a:lnTo>
                    <a:lnTo>
                      <a:pt x="1892" y="340"/>
                    </a:lnTo>
                    <a:lnTo>
                      <a:pt x="1886" y="346"/>
                    </a:lnTo>
                    <a:lnTo>
                      <a:pt x="1880" y="346"/>
                    </a:lnTo>
                    <a:lnTo>
                      <a:pt x="1874" y="346"/>
                    </a:lnTo>
                    <a:lnTo>
                      <a:pt x="1866" y="344"/>
                    </a:lnTo>
                    <a:lnTo>
                      <a:pt x="1854" y="336"/>
                    </a:lnTo>
                    <a:lnTo>
                      <a:pt x="1848" y="334"/>
                    </a:lnTo>
                    <a:lnTo>
                      <a:pt x="1844" y="334"/>
                    </a:lnTo>
                    <a:lnTo>
                      <a:pt x="1836" y="332"/>
                    </a:lnTo>
                    <a:lnTo>
                      <a:pt x="1830" y="330"/>
                    </a:lnTo>
                    <a:lnTo>
                      <a:pt x="1826" y="326"/>
                    </a:lnTo>
                    <a:lnTo>
                      <a:pt x="1822" y="326"/>
                    </a:lnTo>
                    <a:lnTo>
                      <a:pt x="1818" y="326"/>
                    </a:lnTo>
                    <a:lnTo>
                      <a:pt x="1812" y="326"/>
                    </a:lnTo>
                    <a:lnTo>
                      <a:pt x="1812" y="324"/>
                    </a:lnTo>
                    <a:lnTo>
                      <a:pt x="1808" y="322"/>
                    </a:lnTo>
                    <a:lnTo>
                      <a:pt x="1804" y="318"/>
                    </a:lnTo>
                    <a:lnTo>
                      <a:pt x="1794" y="314"/>
                    </a:lnTo>
                    <a:lnTo>
                      <a:pt x="1778" y="310"/>
                    </a:lnTo>
                    <a:lnTo>
                      <a:pt x="1762" y="308"/>
                    </a:lnTo>
                    <a:lnTo>
                      <a:pt x="1750" y="306"/>
                    </a:lnTo>
                    <a:lnTo>
                      <a:pt x="1734" y="308"/>
                    </a:lnTo>
                    <a:lnTo>
                      <a:pt x="1724" y="310"/>
                    </a:lnTo>
                    <a:lnTo>
                      <a:pt x="1718" y="310"/>
                    </a:lnTo>
                    <a:lnTo>
                      <a:pt x="1718" y="308"/>
                    </a:lnTo>
                    <a:lnTo>
                      <a:pt x="1716" y="302"/>
                    </a:lnTo>
                    <a:lnTo>
                      <a:pt x="1714" y="292"/>
                    </a:lnTo>
                    <a:lnTo>
                      <a:pt x="1710" y="288"/>
                    </a:lnTo>
                    <a:lnTo>
                      <a:pt x="1706" y="286"/>
                    </a:lnTo>
                    <a:lnTo>
                      <a:pt x="1700" y="284"/>
                    </a:lnTo>
                    <a:lnTo>
                      <a:pt x="1692" y="284"/>
                    </a:lnTo>
                    <a:lnTo>
                      <a:pt x="1678" y="284"/>
                    </a:lnTo>
                    <a:lnTo>
                      <a:pt x="1672" y="282"/>
                    </a:lnTo>
                    <a:lnTo>
                      <a:pt x="1666" y="280"/>
                    </a:lnTo>
                    <a:lnTo>
                      <a:pt x="1654" y="278"/>
                    </a:lnTo>
                    <a:lnTo>
                      <a:pt x="1648" y="276"/>
                    </a:lnTo>
                    <a:lnTo>
                      <a:pt x="1644" y="274"/>
                    </a:lnTo>
                    <a:lnTo>
                      <a:pt x="1640" y="266"/>
                    </a:lnTo>
                    <a:lnTo>
                      <a:pt x="1638" y="262"/>
                    </a:lnTo>
                    <a:lnTo>
                      <a:pt x="1632" y="256"/>
                    </a:lnTo>
                    <a:lnTo>
                      <a:pt x="1624" y="250"/>
                    </a:lnTo>
                    <a:lnTo>
                      <a:pt x="1612" y="242"/>
                    </a:lnTo>
                    <a:lnTo>
                      <a:pt x="1596" y="236"/>
                    </a:lnTo>
                    <a:lnTo>
                      <a:pt x="1584" y="236"/>
                    </a:lnTo>
                    <a:lnTo>
                      <a:pt x="1574" y="238"/>
                    </a:lnTo>
                    <a:lnTo>
                      <a:pt x="1568" y="242"/>
                    </a:lnTo>
                    <a:lnTo>
                      <a:pt x="1564" y="244"/>
                    </a:lnTo>
                    <a:lnTo>
                      <a:pt x="1560" y="246"/>
                    </a:lnTo>
                    <a:lnTo>
                      <a:pt x="1550" y="246"/>
                    </a:lnTo>
                    <a:lnTo>
                      <a:pt x="1544" y="248"/>
                    </a:lnTo>
                    <a:lnTo>
                      <a:pt x="1536" y="252"/>
                    </a:lnTo>
                    <a:lnTo>
                      <a:pt x="1528" y="260"/>
                    </a:lnTo>
                    <a:lnTo>
                      <a:pt x="1516" y="274"/>
                    </a:lnTo>
                    <a:lnTo>
                      <a:pt x="1510" y="284"/>
                    </a:lnTo>
                    <a:lnTo>
                      <a:pt x="1508" y="292"/>
                    </a:lnTo>
                    <a:lnTo>
                      <a:pt x="1508" y="302"/>
                    </a:lnTo>
                    <a:lnTo>
                      <a:pt x="1510" y="314"/>
                    </a:lnTo>
                    <a:lnTo>
                      <a:pt x="1512" y="324"/>
                    </a:lnTo>
                    <a:lnTo>
                      <a:pt x="1514" y="334"/>
                    </a:lnTo>
                    <a:lnTo>
                      <a:pt x="1512" y="344"/>
                    </a:lnTo>
                    <a:lnTo>
                      <a:pt x="1506" y="354"/>
                    </a:lnTo>
                    <a:lnTo>
                      <a:pt x="1498" y="362"/>
                    </a:lnTo>
                    <a:lnTo>
                      <a:pt x="1492" y="368"/>
                    </a:lnTo>
                    <a:lnTo>
                      <a:pt x="1484" y="374"/>
                    </a:lnTo>
                    <a:lnTo>
                      <a:pt x="1478" y="376"/>
                    </a:lnTo>
                    <a:lnTo>
                      <a:pt x="1470" y="376"/>
                    </a:lnTo>
                    <a:lnTo>
                      <a:pt x="1464" y="374"/>
                    </a:lnTo>
                    <a:lnTo>
                      <a:pt x="1458" y="368"/>
                    </a:lnTo>
                    <a:lnTo>
                      <a:pt x="1452" y="362"/>
                    </a:lnTo>
                    <a:lnTo>
                      <a:pt x="1446" y="356"/>
                    </a:lnTo>
                    <a:lnTo>
                      <a:pt x="1438" y="350"/>
                    </a:lnTo>
                    <a:lnTo>
                      <a:pt x="1418" y="338"/>
                    </a:lnTo>
                    <a:lnTo>
                      <a:pt x="1398" y="330"/>
                    </a:lnTo>
                    <a:lnTo>
                      <a:pt x="1376" y="328"/>
                    </a:lnTo>
                    <a:lnTo>
                      <a:pt x="1358" y="326"/>
                    </a:lnTo>
                    <a:lnTo>
                      <a:pt x="1350" y="324"/>
                    </a:lnTo>
                    <a:lnTo>
                      <a:pt x="1344" y="320"/>
                    </a:lnTo>
                    <a:lnTo>
                      <a:pt x="1338" y="316"/>
                    </a:lnTo>
                    <a:lnTo>
                      <a:pt x="1334" y="310"/>
                    </a:lnTo>
                    <a:lnTo>
                      <a:pt x="1330" y="300"/>
                    </a:lnTo>
                    <a:lnTo>
                      <a:pt x="1326" y="288"/>
                    </a:lnTo>
                    <a:lnTo>
                      <a:pt x="1324" y="276"/>
                    </a:lnTo>
                    <a:lnTo>
                      <a:pt x="1320" y="268"/>
                    </a:lnTo>
                    <a:lnTo>
                      <a:pt x="1314" y="262"/>
                    </a:lnTo>
                    <a:lnTo>
                      <a:pt x="1306" y="260"/>
                    </a:lnTo>
                    <a:lnTo>
                      <a:pt x="1294" y="258"/>
                    </a:lnTo>
                    <a:lnTo>
                      <a:pt x="1288" y="256"/>
                    </a:lnTo>
                    <a:lnTo>
                      <a:pt x="1284" y="254"/>
                    </a:lnTo>
                    <a:lnTo>
                      <a:pt x="1272" y="248"/>
                    </a:lnTo>
                    <a:lnTo>
                      <a:pt x="1256" y="242"/>
                    </a:lnTo>
                    <a:lnTo>
                      <a:pt x="1238" y="240"/>
                    </a:lnTo>
                    <a:lnTo>
                      <a:pt x="1230" y="240"/>
                    </a:lnTo>
                    <a:lnTo>
                      <a:pt x="1224" y="240"/>
                    </a:lnTo>
                    <a:lnTo>
                      <a:pt x="1216" y="242"/>
                    </a:lnTo>
                    <a:lnTo>
                      <a:pt x="1210" y="242"/>
                    </a:lnTo>
                    <a:lnTo>
                      <a:pt x="1196" y="236"/>
                    </a:lnTo>
                    <a:lnTo>
                      <a:pt x="1182" y="230"/>
                    </a:lnTo>
                    <a:lnTo>
                      <a:pt x="1172" y="224"/>
                    </a:lnTo>
                    <a:lnTo>
                      <a:pt x="1160" y="218"/>
                    </a:lnTo>
                    <a:lnTo>
                      <a:pt x="1156" y="214"/>
                    </a:lnTo>
                    <a:lnTo>
                      <a:pt x="1154" y="206"/>
                    </a:lnTo>
                    <a:lnTo>
                      <a:pt x="1152" y="198"/>
                    </a:lnTo>
                    <a:lnTo>
                      <a:pt x="1150" y="198"/>
                    </a:lnTo>
                    <a:lnTo>
                      <a:pt x="1148" y="198"/>
                    </a:lnTo>
                    <a:lnTo>
                      <a:pt x="1144" y="200"/>
                    </a:lnTo>
                    <a:lnTo>
                      <a:pt x="1142" y="200"/>
                    </a:lnTo>
                    <a:lnTo>
                      <a:pt x="1140" y="198"/>
                    </a:lnTo>
                    <a:lnTo>
                      <a:pt x="1132" y="196"/>
                    </a:lnTo>
                    <a:lnTo>
                      <a:pt x="1124" y="194"/>
                    </a:lnTo>
                    <a:lnTo>
                      <a:pt x="1118" y="194"/>
                    </a:lnTo>
                    <a:lnTo>
                      <a:pt x="1114" y="190"/>
                    </a:lnTo>
                    <a:lnTo>
                      <a:pt x="1110" y="184"/>
                    </a:lnTo>
                    <a:lnTo>
                      <a:pt x="1108" y="176"/>
                    </a:lnTo>
                    <a:lnTo>
                      <a:pt x="1110" y="170"/>
                    </a:lnTo>
                    <a:lnTo>
                      <a:pt x="1116" y="162"/>
                    </a:lnTo>
                    <a:lnTo>
                      <a:pt x="1134" y="144"/>
                    </a:lnTo>
                    <a:lnTo>
                      <a:pt x="1142" y="134"/>
                    </a:lnTo>
                    <a:lnTo>
                      <a:pt x="1150" y="124"/>
                    </a:lnTo>
                    <a:lnTo>
                      <a:pt x="1154" y="116"/>
                    </a:lnTo>
                    <a:lnTo>
                      <a:pt x="1154" y="114"/>
                    </a:lnTo>
                    <a:lnTo>
                      <a:pt x="1152" y="110"/>
                    </a:lnTo>
                    <a:lnTo>
                      <a:pt x="1150" y="106"/>
                    </a:lnTo>
                    <a:lnTo>
                      <a:pt x="1148" y="102"/>
                    </a:lnTo>
                    <a:lnTo>
                      <a:pt x="1148" y="96"/>
                    </a:lnTo>
                    <a:lnTo>
                      <a:pt x="1148" y="92"/>
                    </a:lnTo>
                    <a:lnTo>
                      <a:pt x="1146" y="90"/>
                    </a:lnTo>
                    <a:lnTo>
                      <a:pt x="1142" y="86"/>
                    </a:lnTo>
                    <a:lnTo>
                      <a:pt x="1136" y="82"/>
                    </a:lnTo>
                    <a:lnTo>
                      <a:pt x="1132" y="78"/>
                    </a:lnTo>
                    <a:lnTo>
                      <a:pt x="1128" y="74"/>
                    </a:lnTo>
                    <a:lnTo>
                      <a:pt x="1124" y="64"/>
                    </a:lnTo>
                    <a:lnTo>
                      <a:pt x="1124" y="60"/>
                    </a:lnTo>
                    <a:lnTo>
                      <a:pt x="1124" y="56"/>
                    </a:lnTo>
                    <a:lnTo>
                      <a:pt x="1126" y="52"/>
                    </a:lnTo>
                    <a:lnTo>
                      <a:pt x="1130" y="50"/>
                    </a:lnTo>
                    <a:lnTo>
                      <a:pt x="1140" y="42"/>
                    </a:lnTo>
                    <a:lnTo>
                      <a:pt x="1148" y="34"/>
                    </a:lnTo>
                    <a:lnTo>
                      <a:pt x="1152" y="26"/>
                    </a:lnTo>
                    <a:lnTo>
                      <a:pt x="1152" y="20"/>
                    </a:lnTo>
                    <a:lnTo>
                      <a:pt x="1152" y="16"/>
                    </a:lnTo>
                    <a:lnTo>
                      <a:pt x="1148" y="14"/>
                    </a:lnTo>
                    <a:lnTo>
                      <a:pt x="1146" y="16"/>
                    </a:lnTo>
                    <a:lnTo>
                      <a:pt x="1136" y="22"/>
                    </a:lnTo>
                    <a:lnTo>
                      <a:pt x="1128" y="30"/>
                    </a:lnTo>
                    <a:lnTo>
                      <a:pt x="1124" y="32"/>
                    </a:lnTo>
                    <a:lnTo>
                      <a:pt x="1122" y="32"/>
                    </a:lnTo>
                    <a:lnTo>
                      <a:pt x="1120" y="30"/>
                    </a:lnTo>
                    <a:lnTo>
                      <a:pt x="1118" y="26"/>
                    </a:lnTo>
                    <a:lnTo>
                      <a:pt x="1118" y="18"/>
                    </a:lnTo>
                    <a:lnTo>
                      <a:pt x="1116" y="10"/>
                    </a:lnTo>
                    <a:lnTo>
                      <a:pt x="1112" y="6"/>
                    </a:lnTo>
                    <a:lnTo>
                      <a:pt x="1108" y="4"/>
                    </a:lnTo>
                    <a:lnTo>
                      <a:pt x="1096" y="0"/>
                    </a:lnTo>
                    <a:lnTo>
                      <a:pt x="1088" y="2"/>
                    </a:lnTo>
                    <a:lnTo>
                      <a:pt x="1080" y="4"/>
                    </a:lnTo>
                    <a:lnTo>
                      <a:pt x="1074" y="6"/>
                    </a:lnTo>
                    <a:lnTo>
                      <a:pt x="1064" y="16"/>
                    </a:lnTo>
                    <a:lnTo>
                      <a:pt x="1058" y="22"/>
                    </a:lnTo>
                    <a:lnTo>
                      <a:pt x="1052" y="22"/>
                    </a:lnTo>
                    <a:lnTo>
                      <a:pt x="1040" y="22"/>
                    </a:lnTo>
                    <a:lnTo>
                      <a:pt x="1034" y="22"/>
                    </a:lnTo>
                    <a:lnTo>
                      <a:pt x="1026" y="24"/>
                    </a:lnTo>
                    <a:lnTo>
                      <a:pt x="1022" y="28"/>
                    </a:lnTo>
                    <a:lnTo>
                      <a:pt x="1018" y="24"/>
                    </a:lnTo>
                    <a:lnTo>
                      <a:pt x="1014" y="20"/>
                    </a:lnTo>
                    <a:lnTo>
                      <a:pt x="1006" y="14"/>
                    </a:lnTo>
                    <a:lnTo>
                      <a:pt x="1002" y="12"/>
                    </a:lnTo>
                    <a:lnTo>
                      <a:pt x="998" y="14"/>
                    </a:lnTo>
                    <a:lnTo>
                      <a:pt x="994" y="18"/>
                    </a:lnTo>
                    <a:lnTo>
                      <a:pt x="992" y="20"/>
                    </a:lnTo>
                    <a:lnTo>
                      <a:pt x="988" y="22"/>
                    </a:lnTo>
                    <a:lnTo>
                      <a:pt x="984" y="22"/>
                    </a:lnTo>
                    <a:lnTo>
                      <a:pt x="978" y="20"/>
                    </a:lnTo>
                    <a:lnTo>
                      <a:pt x="966" y="16"/>
                    </a:lnTo>
                    <a:lnTo>
                      <a:pt x="962" y="16"/>
                    </a:lnTo>
                    <a:lnTo>
                      <a:pt x="960" y="18"/>
                    </a:lnTo>
                    <a:lnTo>
                      <a:pt x="954" y="22"/>
                    </a:lnTo>
                    <a:lnTo>
                      <a:pt x="942" y="26"/>
                    </a:lnTo>
                    <a:lnTo>
                      <a:pt x="936" y="28"/>
                    </a:lnTo>
                    <a:lnTo>
                      <a:pt x="930" y="30"/>
                    </a:lnTo>
                    <a:lnTo>
                      <a:pt x="924" y="36"/>
                    </a:lnTo>
                    <a:lnTo>
                      <a:pt x="920" y="38"/>
                    </a:lnTo>
                    <a:lnTo>
                      <a:pt x="918" y="38"/>
                    </a:lnTo>
                    <a:lnTo>
                      <a:pt x="914" y="36"/>
                    </a:lnTo>
                    <a:lnTo>
                      <a:pt x="910" y="32"/>
                    </a:lnTo>
                    <a:lnTo>
                      <a:pt x="906" y="28"/>
                    </a:lnTo>
                    <a:lnTo>
                      <a:pt x="900" y="26"/>
                    </a:lnTo>
                    <a:lnTo>
                      <a:pt x="886" y="22"/>
                    </a:lnTo>
                    <a:lnTo>
                      <a:pt x="870" y="24"/>
                    </a:lnTo>
                    <a:lnTo>
                      <a:pt x="854" y="26"/>
                    </a:lnTo>
                    <a:lnTo>
                      <a:pt x="848" y="28"/>
                    </a:lnTo>
                    <a:lnTo>
                      <a:pt x="842" y="28"/>
                    </a:lnTo>
                    <a:lnTo>
                      <a:pt x="832" y="28"/>
                    </a:lnTo>
                    <a:lnTo>
                      <a:pt x="822" y="28"/>
                    </a:lnTo>
                    <a:lnTo>
                      <a:pt x="820" y="30"/>
                    </a:lnTo>
                    <a:lnTo>
                      <a:pt x="816" y="32"/>
                    </a:lnTo>
                    <a:lnTo>
                      <a:pt x="812" y="38"/>
                    </a:lnTo>
                    <a:lnTo>
                      <a:pt x="804" y="40"/>
                    </a:lnTo>
                    <a:lnTo>
                      <a:pt x="776" y="42"/>
                    </a:lnTo>
                    <a:lnTo>
                      <a:pt x="754" y="46"/>
                    </a:lnTo>
                    <a:lnTo>
                      <a:pt x="732" y="52"/>
                    </a:lnTo>
                    <a:lnTo>
                      <a:pt x="724" y="58"/>
                    </a:lnTo>
                    <a:lnTo>
                      <a:pt x="716" y="64"/>
                    </a:lnTo>
                    <a:lnTo>
                      <a:pt x="710" y="70"/>
                    </a:lnTo>
                    <a:lnTo>
                      <a:pt x="706" y="76"/>
                    </a:lnTo>
                    <a:lnTo>
                      <a:pt x="704" y="82"/>
                    </a:lnTo>
                    <a:lnTo>
                      <a:pt x="700" y="86"/>
                    </a:lnTo>
                    <a:lnTo>
                      <a:pt x="698" y="86"/>
                    </a:lnTo>
                    <a:lnTo>
                      <a:pt x="696" y="84"/>
                    </a:lnTo>
                    <a:lnTo>
                      <a:pt x="690" y="80"/>
                    </a:lnTo>
                    <a:lnTo>
                      <a:pt x="686" y="82"/>
                    </a:lnTo>
                    <a:lnTo>
                      <a:pt x="682" y="84"/>
                    </a:lnTo>
                    <a:lnTo>
                      <a:pt x="680" y="86"/>
                    </a:lnTo>
                    <a:lnTo>
                      <a:pt x="676" y="88"/>
                    </a:lnTo>
                    <a:lnTo>
                      <a:pt x="670" y="86"/>
                    </a:lnTo>
                    <a:lnTo>
                      <a:pt x="668" y="86"/>
                    </a:lnTo>
                    <a:lnTo>
                      <a:pt x="664" y="88"/>
                    </a:lnTo>
                    <a:lnTo>
                      <a:pt x="662" y="90"/>
                    </a:lnTo>
                    <a:lnTo>
                      <a:pt x="656" y="96"/>
                    </a:lnTo>
                    <a:lnTo>
                      <a:pt x="650" y="104"/>
                    </a:lnTo>
                    <a:lnTo>
                      <a:pt x="640" y="114"/>
                    </a:lnTo>
                    <a:lnTo>
                      <a:pt x="634" y="118"/>
                    </a:lnTo>
                    <a:lnTo>
                      <a:pt x="628" y="120"/>
                    </a:lnTo>
                    <a:lnTo>
                      <a:pt x="622" y="120"/>
                    </a:lnTo>
                    <a:lnTo>
                      <a:pt x="616" y="120"/>
                    </a:lnTo>
                    <a:lnTo>
                      <a:pt x="600" y="120"/>
                    </a:lnTo>
                    <a:lnTo>
                      <a:pt x="596" y="118"/>
                    </a:lnTo>
                    <a:lnTo>
                      <a:pt x="592" y="116"/>
                    </a:lnTo>
                    <a:lnTo>
                      <a:pt x="588" y="112"/>
                    </a:lnTo>
                    <a:lnTo>
                      <a:pt x="586" y="108"/>
                    </a:lnTo>
                    <a:lnTo>
                      <a:pt x="586" y="104"/>
                    </a:lnTo>
                    <a:lnTo>
                      <a:pt x="584" y="104"/>
                    </a:lnTo>
                    <a:lnTo>
                      <a:pt x="580" y="108"/>
                    </a:lnTo>
                    <a:lnTo>
                      <a:pt x="578" y="110"/>
                    </a:lnTo>
                    <a:lnTo>
                      <a:pt x="574" y="112"/>
                    </a:lnTo>
                    <a:lnTo>
                      <a:pt x="570" y="114"/>
                    </a:lnTo>
                    <a:lnTo>
                      <a:pt x="562" y="112"/>
                    </a:lnTo>
                    <a:lnTo>
                      <a:pt x="558" y="110"/>
                    </a:lnTo>
                    <a:lnTo>
                      <a:pt x="552" y="110"/>
                    </a:lnTo>
                    <a:lnTo>
                      <a:pt x="542" y="114"/>
                    </a:lnTo>
                    <a:lnTo>
                      <a:pt x="536" y="116"/>
                    </a:lnTo>
                    <a:lnTo>
                      <a:pt x="530" y="118"/>
                    </a:lnTo>
                    <a:lnTo>
                      <a:pt x="520" y="116"/>
                    </a:lnTo>
                    <a:lnTo>
                      <a:pt x="510" y="112"/>
                    </a:lnTo>
                    <a:lnTo>
                      <a:pt x="502" y="108"/>
                    </a:lnTo>
                    <a:lnTo>
                      <a:pt x="498" y="102"/>
                    </a:lnTo>
                    <a:lnTo>
                      <a:pt x="494" y="98"/>
                    </a:lnTo>
                    <a:lnTo>
                      <a:pt x="492" y="94"/>
                    </a:lnTo>
                    <a:lnTo>
                      <a:pt x="464" y="96"/>
                    </a:lnTo>
                    <a:lnTo>
                      <a:pt x="454" y="122"/>
                    </a:lnTo>
                    <a:lnTo>
                      <a:pt x="444" y="152"/>
                    </a:lnTo>
                    <a:lnTo>
                      <a:pt x="436" y="166"/>
                    </a:lnTo>
                    <a:lnTo>
                      <a:pt x="426" y="180"/>
                    </a:lnTo>
                    <a:lnTo>
                      <a:pt x="414" y="190"/>
                    </a:lnTo>
                    <a:lnTo>
                      <a:pt x="400" y="200"/>
                    </a:lnTo>
                    <a:lnTo>
                      <a:pt x="380" y="206"/>
                    </a:lnTo>
                    <a:lnTo>
                      <a:pt x="368" y="212"/>
                    </a:lnTo>
                    <a:lnTo>
                      <a:pt x="360" y="218"/>
                    </a:lnTo>
                    <a:lnTo>
                      <a:pt x="356" y="222"/>
                    </a:lnTo>
                    <a:lnTo>
                      <a:pt x="352" y="232"/>
                    </a:lnTo>
                    <a:lnTo>
                      <a:pt x="348" y="238"/>
                    </a:lnTo>
                    <a:lnTo>
                      <a:pt x="342" y="244"/>
                    </a:lnTo>
                    <a:lnTo>
                      <a:pt x="334" y="252"/>
                    </a:lnTo>
                    <a:lnTo>
                      <a:pt x="332" y="256"/>
                    </a:lnTo>
                    <a:lnTo>
                      <a:pt x="330" y="260"/>
                    </a:lnTo>
                    <a:lnTo>
                      <a:pt x="330" y="264"/>
                    </a:lnTo>
                    <a:lnTo>
                      <a:pt x="330" y="270"/>
                    </a:lnTo>
                    <a:lnTo>
                      <a:pt x="330" y="274"/>
                    </a:lnTo>
                    <a:lnTo>
                      <a:pt x="326" y="282"/>
                    </a:lnTo>
                    <a:lnTo>
                      <a:pt x="320" y="292"/>
                    </a:lnTo>
                    <a:lnTo>
                      <a:pt x="312" y="306"/>
                    </a:lnTo>
                    <a:lnTo>
                      <a:pt x="308" y="320"/>
                    </a:lnTo>
                    <a:lnTo>
                      <a:pt x="308" y="336"/>
                    </a:lnTo>
                    <a:lnTo>
                      <a:pt x="310" y="350"/>
                    </a:lnTo>
                    <a:lnTo>
                      <a:pt x="314" y="376"/>
                    </a:lnTo>
                    <a:lnTo>
                      <a:pt x="314" y="388"/>
                    </a:lnTo>
                    <a:lnTo>
                      <a:pt x="310" y="398"/>
                    </a:lnTo>
                    <a:lnTo>
                      <a:pt x="298" y="420"/>
                    </a:lnTo>
                    <a:lnTo>
                      <a:pt x="288" y="434"/>
                    </a:lnTo>
                    <a:lnTo>
                      <a:pt x="282" y="442"/>
                    </a:lnTo>
                    <a:lnTo>
                      <a:pt x="276" y="446"/>
                    </a:lnTo>
                    <a:lnTo>
                      <a:pt x="264" y="452"/>
                    </a:lnTo>
                    <a:lnTo>
                      <a:pt x="258" y="456"/>
                    </a:lnTo>
                    <a:lnTo>
                      <a:pt x="250" y="466"/>
                    </a:lnTo>
                    <a:lnTo>
                      <a:pt x="240" y="478"/>
                    </a:lnTo>
                    <a:lnTo>
                      <a:pt x="228" y="484"/>
                    </a:lnTo>
                    <a:lnTo>
                      <a:pt x="218" y="488"/>
                    </a:lnTo>
                    <a:lnTo>
                      <a:pt x="206" y="490"/>
                    </a:lnTo>
                    <a:lnTo>
                      <a:pt x="196" y="492"/>
                    </a:lnTo>
                    <a:lnTo>
                      <a:pt x="188" y="496"/>
                    </a:lnTo>
                    <a:lnTo>
                      <a:pt x="180" y="500"/>
                    </a:lnTo>
                    <a:lnTo>
                      <a:pt x="174" y="510"/>
                    </a:lnTo>
                    <a:lnTo>
                      <a:pt x="164" y="538"/>
                    </a:lnTo>
                    <a:lnTo>
                      <a:pt x="156" y="556"/>
                    </a:lnTo>
                    <a:lnTo>
                      <a:pt x="148" y="566"/>
                    </a:lnTo>
                    <a:lnTo>
                      <a:pt x="140" y="572"/>
                    </a:lnTo>
                    <a:lnTo>
                      <a:pt x="134" y="574"/>
                    </a:lnTo>
                    <a:lnTo>
                      <a:pt x="128" y="578"/>
                    </a:lnTo>
                    <a:lnTo>
                      <a:pt x="124" y="584"/>
                    </a:lnTo>
                    <a:lnTo>
                      <a:pt x="120" y="596"/>
                    </a:lnTo>
                    <a:lnTo>
                      <a:pt x="116" y="610"/>
                    </a:lnTo>
                    <a:lnTo>
                      <a:pt x="114" y="614"/>
                    </a:lnTo>
                    <a:lnTo>
                      <a:pt x="110" y="620"/>
                    </a:lnTo>
                    <a:lnTo>
                      <a:pt x="108" y="640"/>
                    </a:lnTo>
                    <a:lnTo>
                      <a:pt x="104" y="660"/>
                    </a:lnTo>
                    <a:lnTo>
                      <a:pt x="102" y="666"/>
                    </a:lnTo>
                    <a:lnTo>
                      <a:pt x="98" y="670"/>
                    </a:lnTo>
                    <a:lnTo>
                      <a:pt x="90" y="678"/>
                    </a:lnTo>
                    <a:lnTo>
                      <a:pt x="78" y="692"/>
                    </a:lnTo>
                    <a:lnTo>
                      <a:pt x="64" y="706"/>
                    </a:lnTo>
                    <a:lnTo>
                      <a:pt x="58" y="712"/>
                    </a:lnTo>
                    <a:lnTo>
                      <a:pt x="58" y="714"/>
                    </a:lnTo>
                    <a:lnTo>
                      <a:pt x="60" y="714"/>
                    </a:lnTo>
                    <a:lnTo>
                      <a:pt x="64" y="714"/>
                    </a:lnTo>
                    <a:lnTo>
                      <a:pt x="66" y="714"/>
                    </a:lnTo>
                    <a:lnTo>
                      <a:pt x="66" y="716"/>
                    </a:lnTo>
                    <a:lnTo>
                      <a:pt x="60" y="726"/>
                    </a:lnTo>
                    <a:lnTo>
                      <a:pt x="54" y="740"/>
                    </a:lnTo>
                    <a:lnTo>
                      <a:pt x="52" y="750"/>
                    </a:lnTo>
                    <a:lnTo>
                      <a:pt x="50" y="762"/>
                    </a:lnTo>
                    <a:lnTo>
                      <a:pt x="48" y="772"/>
                    </a:lnTo>
                    <a:lnTo>
                      <a:pt x="46" y="778"/>
                    </a:lnTo>
                    <a:lnTo>
                      <a:pt x="42" y="782"/>
                    </a:lnTo>
                    <a:lnTo>
                      <a:pt x="36" y="786"/>
                    </a:lnTo>
                    <a:lnTo>
                      <a:pt x="32" y="788"/>
                    </a:lnTo>
                    <a:lnTo>
                      <a:pt x="28" y="794"/>
                    </a:lnTo>
                    <a:lnTo>
                      <a:pt x="24" y="800"/>
                    </a:lnTo>
                    <a:lnTo>
                      <a:pt x="20" y="812"/>
                    </a:lnTo>
                    <a:lnTo>
                      <a:pt x="16" y="834"/>
                    </a:lnTo>
                    <a:lnTo>
                      <a:pt x="14" y="850"/>
                    </a:lnTo>
                    <a:lnTo>
                      <a:pt x="16" y="858"/>
                    </a:lnTo>
                    <a:lnTo>
                      <a:pt x="16" y="860"/>
                    </a:lnTo>
                    <a:lnTo>
                      <a:pt x="18" y="860"/>
                    </a:lnTo>
                    <a:lnTo>
                      <a:pt x="20" y="860"/>
                    </a:lnTo>
                    <a:lnTo>
                      <a:pt x="22" y="858"/>
                    </a:lnTo>
                    <a:lnTo>
                      <a:pt x="22" y="852"/>
                    </a:lnTo>
                    <a:lnTo>
                      <a:pt x="24" y="846"/>
                    </a:lnTo>
                    <a:lnTo>
                      <a:pt x="24" y="844"/>
                    </a:lnTo>
                    <a:lnTo>
                      <a:pt x="26" y="844"/>
                    </a:lnTo>
                    <a:lnTo>
                      <a:pt x="30" y="846"/>
                    </a:lnTo>
                    <a:lnTo>
                      <a:pt x="30" y="850"/>
                    </a:lnTo>
                    <a:lnTo>
                      <a:pt x="32" y="860"/>
                    </a:lnTo>
                    <a:lnTo>
                      <a:pt x="34" y="868"/>
                    </a:lnTo>
                    <a:lnTo>
                      <a:pt x="36" y="868"/>
                    </a:lnTo>
                    <a:lnTo>
                      <a:pt x="38" y="868"/>
                    </a:lnTo>
                    <a:lnTo>
                      <a:pt x="42" y="868"/>
                    </a:lnTo>
                    <a:lnTo>
                      <a:pt x="44" y="868"/>
                    </a:lnTo>
                    <a:lnTo>
                      <a:pt x="48" y="878"/>
                    </a:lnTo>
                    <a:lnTo>
                      <a:pt x="50" y="890"/>
                    </a:lnTo>
                    <a:lnTo>
                      <a:pt x="50" y="902"/>
                    </a:lnTo>
                    <a:lnTo>
                      <a:pt x="50" y="910"/>
                    </a:lnTo>
                    <a:lnTo>
                      <a:pt x="46" y="918"/>
                    </a:lnTo>
                    <a:lnTo>
                      <a:pt x="42" y="926"/>
                    </a:lnTo>
                    <a:lnTo>
                      <a:pt x="38" y="930"/>
                    </a:lnTo>
                    <a:lnTo>
                      <a:pt x="40" y="932"/>
                    </a:lnTo>
                    <a:lnTo>
                      <a:pt x="42" y="936"/>
                    </a:lnTo>
                    <a:lnTo>
                      <a:pt x="46" y="940"/>
                    </a:lnTo>
                    <a:lnTo>
                      <a:pt x="50" y="948"/>
                    </a:lnTo>
                    <a:lnTo>
                      <a:pt x="54" y="958"/>
                    </a:lnTo>
                    <a:lnTo>
                      <a:pt x="58" y="972"/>
                    </a:lnTo>
                    <a:lnTo>
                      <a:pt x="60" y="986"/>
                    </a:lnTo>
                    <a:lnTo>
                      <a:pt x="60" y="1002"/>
                    </a:lnTo>
                    <a:lnTo>
                      <a:pt x="58" y="1016"/>
                    </a:lnTo>
                    <a:lnTo>
                      <a:pt x="54" y="1030"/>
                    </a:lnTo>
                    <a:lnTo>
                      <a:pt x="42" y="1066"/>
                    </a:lnTo>
                    <a:lnTo>
                      <a:pt x="40" y="1076"/>
                    </a:lnTo>
                    <a:lnTo>
                      <a:pt x="40" y="1086"/>
                    </a:lnTo>
                    <a:lnTo>
                      <a:pt x="40" y="1102"/>
                    </a:lnTo>
                    <a:lnTo>
                      <a:pt x="34" y="1122"/>
                    </a:lnTo>
                    <a:lnTo>
                      <a:pt x="28" y="1132"/>
                    </a:lnTo>
                    <a:lnTo>
                      <a:pt x="22" y="1142"/>
                    </a:lnTo>
                    <a:lnTo>
                      <a:pt x="16" y="1150"/>
                    </a:lnTo>
                    <a:lnTo>
                      <a:pt x="6" y="1156"/>
                    </a:lnTo>
                    <a:lnTo>
                      <a:pt x="2" y="1160"/>
                    </a:lnTo>
                    <a:lnTo>
                      <a:pt x="0" y="1162"/>
                    </a:lnTo>
                    <a:lnTo>
                      <a:pt x="2" y="1164"/>
                    </a:lnTo>
                    <a:lnTo>
                      <a:pt x="10" y="1164"/>
                    </a:lnTo>
                    <a:lnTo>
                      <a:pt x="14" y="1164"/>
                    </a:lnTo>
                    <a:lnTo>
                      <a:pt x="16" y="1168"/>
                    </a:lnTo>
                    <a:lnTo>
                      <a:pt x="22" y="1184"/>
                    </a:lnTo>
                    <a:lnTo>
                      <a:pt x="30" y="1202"/>
                    </a:lnTo>
                    <a:lnTo>
                      <a:pt x="34" y="1210"/>
                    </a:lnTo>
                    <a:lnTo>
                      <a:pt x="38" y="1218"/>
                    </a:lnTo>
                    <a:lnTo>
                      <a:pt x="40" y="1222"/>
                    </a:lnTo>
                    <a:lnTo>
                      <a:pt x="44" y="1224"/>
                    </a:lnTo>
                    <a:lnTo>
                      <a:pt x="46" y="1226"/>
                    </a:lnTo>
                    <a:lnTo>
                      <a:pt x="52" y="1226"/>
                    </a:lnTo>
                    <a:lnTo>
                      <a:pt x="64" y="1224"/>
                    </a:lnTo>
                    <a:lnTo>
                      <a:pt x="80" y="1224"/>
                    </a:lnTo>
                    <a:lnTo>
                      <a:pt x="62" y="1228"/>
                    </a:lnTo>
                    <a:lnTo>
                      <a:pt x="50" y="1232"/>
                    </a:lnTo>
                    <a:lnTo>
                      <a:pt x="40" y="1232"/>
                    </a:lnTo>
                    <a:lnTo>
                      <a:pt x="38" y="1232"/>
                    </a:lnTo>
                    <a:lnTo>
                      <a:pt x="36" y="1228"/>
                    </a:lnTo>
                    <a:lnTo>
                      <a:pt x="34" y="1226"/>
                    </a:lnTo>
                    <a:lnTo>
                      <a:pt x="32" y="1224"/>
                    </a:lnTo>
                    <a:lnTo>
                      <a:pt x="28" y="1228"/>
                    </a:lnTo>
                    <a:lnTo>
                      <a:pt x="26" y="1234"/>
                    </a:lnTo>
                    <a:lnTo>
                      <a:pt x="28" y="1242"/>
                    </a:lnTo>
                    <a:lnTo>
                      <a:pt x="30" y="1252"/>
                    </a:lnTo>
                    <a:lnTo>
                      <a:pt x="30" y="1260"/>
                    </a:lnTo>
                    <a:lnTo>
                      <a:pt x="30" y="1264"/>
                    </a:lnTo>
                    <a:lnTo>
                      <a:pt x="32" y="1264"/>
                    </a:lnTo>
                    <a:lnTo>
                      <a:pt x="34" y="1264"/>
                    </a:lnTo>
                    <a:lnTo>
                      <a:pt x="40" y="1262"/>
                    </a:lnTo>
                    <a:lnTo>
                      <a:pt x="44" y="1264"/>
                    </a:lnTo>
                    <a:lnTo>
                      <a:pt x="48" y="1266"/>
                    </a:lnTo>
                    <a:lnTo>
                      <a:pt x="54" y="1264"/>
                    </a:lnTo>
                    <a:lnTo>
                      <a:pt x="60" y="1264"/>
                    </a:lnTo>
                    <a:lnTo>
                      <a:pt x="64" y="1264"/>
                    </a:lnTo>
                    <a:lnTo>
                      <a:pt x="70" y="1268"/>
                    </a:lnTo>
                    <a:lnTo>
                      <a:pt x="76" y="1268"/>
                    </a:lnTo>
                    <a:lnTo>
                      <a:pt x="64" y="1270"/>
                    </a:lnTo>
                    <a:lnTo>
                      <a:pt x="54" y="1270"/>
                    </a:lnTo>
                    <a:lnTo>
                      <a:pt x="44" y="1268"/>
                    </a:lnTo>
                    <a:lnTo>
                      <a:pt x="38" y="1266"/>
                    </a:lnTo>
                    <a:lnTo>
                      <a:pt x="36" y="1268"/>
                    </a:lnTo>
                    <a:lnTo>
                      <a:pt x="32" y="1270"/>
                    </a:lnTo>
                    <a:lnTo>
                      <a:pt x="30" y="1274"/>
                    </a:lnTo>
                    <a:lnTo>
                      <a:pt x="30" y="1276"/>
                    </a:lnTo>
                    <a:lnTo>
                      <a:pt x="34" y="1278"/>
                    </a:lnTo>
                    <a:lnTo>
                      <a:pt x="38" y="1282"/>
                    </a:lnTo>
                    <a:lnTo>
                      <a:pt x="40" y="1286"/>
                    </a:lnTo>
                    <a:lnTo>
                      <a:pt x="42" y="1286"/>
                    </a:lnTo>
                    <a:lnTo>
                      <a:pt x="48" y="1284"/>
                    </a:lnTo>
                    <a:lnTo>
                      <a:pt x="52" y="1284"/>
                    </a:lnTo>
                    <a:lnTo>
                      <a:pt x="50" y="1290"/>
                    </a:lnTo>
                    <a:lnTo>
                      <a:pt x="46" y="1296"/>
                    </a:lnTo>
                    <a:lnTo>
                      <a:pt x="48" y="1298"/>
                    </a:lnTo>
                    <a:lnTo>
                      <a:pt x="48" y="1300"/>
                    </a:lnTo>
                    <a:lnTo>
                      <a:pt x="54" y="1300"/>
                    </a:lnTo>
                    <a:lnTo>
                      <a:pt x="60" y="1300"/>
                    </a:lnTo>
                    <a:lnTo>
                      <a:pt x="64" y="1298"/>
                    </a:lnTo>
                    <a:lnTo>
                      <a:pt x="64" y="1300"/>
                    </a:lnTo>
                    <a:lnTo>
                      <a:pt x="64" y="1306"/>
                    </a:lnTo>
                    <a:lnTo>
                      <a:pt x="64" y="1312"/>
                    </a:lnTo>
                    <a:lnTo>
                      <a:pt x="66" y="1312"/>
                    </a:lnTo>
                    <a:lnTo>
                      <a:pt x="70" y="1310"/>
                    </a:lnTo>
                    <a:lnTo>
                      <a:pt x="78" y="1304"/>
                    </a:lnTo>
                    <a:lnTo>
                      <a:pt x="86" y="1300"/>
                    </a:lnTo>
                    <a:lnTo>
                      <a:pt x="88" y="1300"/>
                    </a:lnTo>
                    <a:lnTo>
                      <a:pt x="88" y="1302"/>
                    </a:lnTo>
                    <a:lnTo>
                      <a:pt x="82" y="1304"/>
                    </a:lnTo>
                    <a:lnTo>
                      <a:pt x="80" y="1306"/>
                    </a:lnTo>
                    <a:lnTo>
                      <a:pt x="78" y="1308"/>
                    </a:lnTo>
                    <a:lnTo>
                      <a:pt x="80" y="1312"/>
                    </a:lnTo>
                    <a:lnTo>
                      <a:pt x="82" y="1318"/>
                    </a:lnTo>
                    <a:lnTo>
                      <a:pt x="84" y="1320"/>
                    </a:lnTo>
                    <a:lnTo>
                      <a:pt x="82" y="1324"/>
                    </a:lnTo>
                    <a:lnTo>
                      <a:pt x="80" y="1328"/>
                    </a:lnTo>
                    <a:lnTo>
                      <a:pt x="82" y="1328"/>
                    </a:lnTo>
                    <a:lnTo>
                      <a:pt x="84" y="1328"/>
                    </a:lnTo>
                    <a:lnTo>
                      <a:pt x="86" y="1332"/>
                    </a:lnTo>
                    <a:lnTo>
                      <a:pt x="86" y="1336"/>
                    </a:lnTo>
                    <a:lnTo>
                      <a:pt x="88" y="1336"/>
                    </a:lnTo>
                    <a:lnTo>
                      <a:pt x="90" y="1338"/>
                    </a:lnTo>
                    <a:lnTo>
                      <a:pt x="90" y="1342"/>
                    </a:lnTo>
                    <a:lnTo>
                      <a:pt x="92" y="1346"/>
                    </a:lnTo>
                    <a:lnTo>
                      <a:pt x="94" y="1344"/>
                    </a:lnTo>
                    <a:lnTo>
                      <a:pt x="100" y="1336"/>
                    </a:lnTo>
                    <a:lnTo>
                      <a:pt x="98" y="1344"/>
                    </a:lnTo>
                    <a:lnTo>
                      <a:pt x="100" y="1348"/>
                    </a:lnTo>
                    <a:lnTo>
                      <a:pt x="98" y="1352"/>
                    </a:lnTo>
                    <a:lnTo>
                      <a:pt x="100" y="1356"/>
                    </a:lnTo>
                    <a:lnTo>
                      <a:pt x="102" y="1356"/>
                    </a:lnTo>
                    <a:lnTo>
                      <a:pt x="104" y="1352"/>
                    </a:lnTo>
                    <a:lnTo>
                      <a:pt x="108" y="1346"/>
                    </a:lnTo>
                    <a:lnTo>
                      <a:pt x="110" y="1344"/>
                    </a:lnTo>
                    <a:lnTo>
                      <a:pt x="114" y="1344"/>
                    </a:lnTo>
                    <a:lnTo>
                      <a:pt x="116" y="1344"/>
                    </a:lnTo>
                    <a:lnTo>
                      <a:pt x="112" y="1346"/>
                    </a:lnTo>
                    <a:lnTo>
                      <a:pt x="110" y="1350"/>
                    </a:lnTo>
                    <a:lnTo>
                      <a:pt x="110" y="1354"/>
                    </a:lnTo>
                    <a:lnTo>
                      <a:pt x="110" y="1358"/>
                    </a:lnTo>
                    <a:lnTo>
                      <a:pt x="112" y="1360"/>
                    </a:lnTo>
                    <a:lnTo>
                      <a:pt x="114" y="1360"/>
                    </a:lnTo>
                    <a:lnTo>
                      <a:pt x="118" y="1356"/>
                    </a:lnTo>
                    <a:lnTo>
                      <a:pt x="118" y="1354"/>
                    </a:lnTo>
                    <a:lnTo>
                      <a:pt x="118" y="1362"/>
                    </a:lnTo>
                    <a:lnTo>
                      <a:pt x="118" y="1372"/>
                    </a:lnTo>
                    <a:lnTo>
                      <a:pt x="120" y="1378"/>
                    </a:lnTo>
                    <a:lnTo>
                      <a:pt x="124" y="1384"/>
                    </a:lnTo>
                    <a:lnTo>
                      <a:pt x="128" y="1386"/>
                    </a:lnTo>
                    <a:lnTo>
                      <a:pt x="134" y="1388"/>
                    </a:lnTo>
                    <a:lnTo>
                      <a:pt x="140" y="1392"/>
                    </a:lnTo>
                    <a:lnTo>
                      <a:pt x="146" y="1398"/>
                    </a:lnTo>
                    <a:lnTo>
                      <a:pt x="154" y="1402"/>
                    </a:lnTo>
                    <a:lnTo>
                      <a:pt x="158" y="1404"/>
                    </a:lnTo>
                    <a:lnTo>
                      <a:pt x="158" y="1406"/>
                    </a:lnTo>
                    <a:lnTo>
                      <a:pt x="158" y="1408"/>
                    </a:lnTo>
                    <a:lnTo>
                      <a:pt x="156" y="1414"/>
                    </a:lnTo>
                    <a:lnTo>
                      <a:pt x="154" y="1418"/>
                    </a:lnTo>
                    <a:lnTo>
                      <a:pt x="156" y="1420"/>
                    </a:lnTo>
                    <a:lnTo>
                      <a:pt x="162" y="1424"/>
                    </a:lnTo>
                    <a:lnTo>
                      <a:pt x="166" y="1426"/>
                    </a:lnTo>
                    <a:lnTo>
                      <a:pt x="166" y="1430"/>
                    </a:lnTo>
                    <a:lnTo>
                      <a:pt x="168" y="1432"/>
                    </a:lnTo>
                    <a:lnTo>
                      <a:pt x="170" y="1434"/>
                    </a:lnTo>
                    <a:lnTo>
                      <a:pt x="172" y="1436"/>
                    </a:lnTo>
                    <a:lnTo>
                      <a:pt x="170" y="1438"/>
                    </a:lnTo>
                    <a:lnTo>
                      <a:pt x="170" y="1440"/>
                    </a:lnTo>
                    <a:lnTo>
                      <a:pt x="170" y="1442"/>
                    </a:lnTo>
                    <a:lnTo>
                      <a:pt x="176" y="1448"/>
                    </a:lnTo>
                    <a:lnTo>
                      <a:pt x="176" y="1450"/>
                    </a:lnTo>
                    <a:lnTo>
                      <a:pt x="174" y="1450"/>
                    </a:lnTo>
                    <a:lnTo>
                      <a:pt x="172" y="1452"/>
                    </a:lnTo>
                    <a:lnTo>
                      <a:pt x="170" y="1454"/>
                    </a:lnTo>
                    <a:lnTo>
                      <a:pt x="172" y="1458"/>
                    </a:lnTo>
                    <a:lnTo>
                      <a:pt x="174" y="1462"/>
                    </a:lnTo>
                    <a:lnTo>
                      <a:pt x="176" y="1462"/>
                    </a:lnTo>
                    <a:lnTo>
                      <a:pt x="180" y="1462"/>
                    </a:lnTo>
                    <a:lnTo>
                      <a:pt x="186" y="1464"/>
                    </a:lnTo>
                    <a:lnTo>
                      <a:pt x="182" y="1468"/>
                    </a:lnTo>
                    <a:lnTo>
                      <a:pt x="178" y="1470"/>
                    </a:lnTo>
                    <a:lnTo>
                      <a:pt x="172" y="1470"/>
                    </a:lnTo>
                    <a:lnTo>
                      <a:pt x="170" y="1468"/>
                    </a:lnTo>
                    <a:lnTo>
                      <a:pt x="170" y="1472"/>
                    </a:lnTo>
                    <a:lnTo>
                      <a:pt x="174" y="1480"/>
                    </a:lnTo>
                    <a:lnTo>
                      <a:pt x="178" y="1482"/>
                    </a:lnTo>
                    <a:lnTo>
                      <a:pt x="182" y="1482"/>
                    </a:lnTo>
                    <a:lnTo>
                      <a:pt x="184" y="1486"/>
                    </a:lnTo>
                    <a:lnTo>
                      <a:pt x="186" y="1492"/>
                    </a:lnTo>
                    <a:lnTo>
                      <a:pt x="184" y="1494"/>
                    </a:lnTo>
                    <a:lnTo>
                      <a:pt x="182" y="1496"/>
                    </a:lnTo>
                    <a:lnTo>
                      <a:pt x="182" y="1498"/>
                    </a:lnTo>
                    <a:lnTo>
                      <a:pt x="186" y="1502"/>
                    </a:lnTo>
                    <a:lnTo>
                      <a:pt x="192" y="1504"/>
                    </a:lnTo>
                    <a:lnTo>
                      <a:pt x="196" y="1506"/>
                    </a:lnTo>
                    <a:lnTo>
                      <a:pt x="202" y="1510"/>
                    </a:lnTo>
                    <a:lnTo>
                      <a:pt x="204" y="1512"/>
                    </a:lnTo>
                    <a:lnTo>
                      <a:pt x="204" y="1514"/>
                    </a:lnTo>
                    <a:lnTo>
                      <a:pt x="202" y="1518"/>
                    </a:lnTo>
                    <a:lnTo>
                      <a:pt x="200" y="1520"/>
                    </a:lnTo>
                    <a:lnTo>
                      <a:pt x="202" y="1520"/>
                    </a:lnTo>
                    <a:lnTo>
                      <a:pt x="208" y="1524"/>
                    </a:lnTo>
                    <a:lnTo>
                      <a:pt x="228" y="1534"/>
                    </a:lnTo>
                    <a:lnTo>
                      <a:pt x="236" y="1538"/>
                    </a:lnTo>
                    <a:lnTo>
                      <a:pt x="242" y="1546"/>
                    </a:lnTo>
                    <a:lnTo>
                      <a:pt x="246" y="1552"/>
                    </a:lnTo>
                    <a:lnTo>
                      <a:pt x="250" y="1556"/>
                    </a:lnTo>
                    <a:lnTo>
                      <a:pt x="260" y="1562"/>
                    </a:lnTo>
                    <a:lnTo>
                      <a:pt x="268" y="1566"/>
                    </a:lnTo>
                    <a:lnTo>
                      <a:pt x="270" y="1570"/>
                    </a:lnTo>
                    <a:lnTo>
                      <a:pt x="272" y="1574"/>
                    </a:lnTo>
                    <a:lnTo>
                      <a:pt x="272" y="1576"/>
                    </a:lnTo>
                    <a:lnTo>
                      <a:pt x="274" y="1578"/>
                    </a:lnTo>
                    <a:lnTo>
                      <a:pt x="282" y="1582"/>
                    </a:lnTo>
                    <a:lnTo>
                      <a:pt x="294" y="1590"/>
                    </a:lnTo>
                    <a:lnTo>
                      <a:pt x="302" y="1596"/>
                    </a:lnTo>
                    <a:lnTo>
                      <a:pt x="310" y="1606"/>
                    </a:lnTo>
                    <a:lnTo>
                      <a:pt x="328" y="1626"/>
                    </a:lnTo>
                    <a:lnTo>
                      <a:pt x="346" y="1644"/>
                    </a:lnTo>
                    <a:lnTo>
                      <a:pt x="364" y="1654"/>
                    </a:lnTo>
                    <a:lnTo>
                      <a:pt x="380" y="1660"/>
                    </a:lnTo>
                    <a:lnTo>
                      <a:pt x="388" y="1664"/>
                    </a:lnTo>
                    <a:lnTo>
                      <a:pt x="392" y="1668"/>
                    </a:lnTo>
                    <a:lnTo>
                      <a:pt x="396" y="1670"/>
                    </a:lnTo>
                    <a:lnTo>
                      <a:pt x="402" y="1672"/>
                    </a:lnTo>
                    <a:lnTo>
                      <a:pt x="408" y="1670"/>
                    </a:lnTo>
                    <a:lnTo>
                      <a:pt x="412" y="1666"/>
                    </a:lnTo>
                    <a:lnTo>
                      <a:pt x="422" y="1658"/>
                    </a:lnTo>
                    <a:lnTo>
                      <a:pt x="436" y="1648"/>
                    </a:lnTo>
                    <a:lnTo>
                      <a:pt x="448" y="1642"/>
                    </a:lnTo>
                    <a:lnTo>
                      <a:pt x="462" y="1638"/>
                    </a:lnTo>
                    <a:lnTo>
                      <a:pt x="488" y="1634"/>
                    </a:lnTo>
                    <a:lnTo>
                      <a:pt x="504" y="1632"/>
                    </a:lnTo>
                    <a:lnTo>
                      <a:pt x="516" y="1632"/>
                    </a:lnTo>
                    <a:lnTo>
                      <a:pt x="530" y="1630"/>
                    </a:lnTo>
                    <a:lnTo>
                      <a:pt x="540" y="1628"/>
                    </a:lnTo>
                    <a:lnTo>
                      <a:pt x="554" y="1630"/>
                    </a:lnTo>
                    <a:lnTo>
                      <a:pt x="566" y="1630"/>
                    </a:lnTo>
                    <a:lnTo>
                      <a:pt x="572" y="1630"/>
                    </a:lnTo>
                    <a:lnTo>
                      <a:pt x="576" y="1630"/>
                    </a:lnTo>
                    <a:lnTo>
                      <a:pt x="580" y="1630"/>
                    </a:lnTo>
                    <a:lnTo>
                      <a:pt x="590" y="1632"/>
                    </a:lnTo>
                    <a:lnTo>
                      <a:pt x="592" y="1632"/>
                    </a:lnTo>
                    <a:lnTo>
                      <a:pt x="590" y="1632"/>
                    </a:lnTo>
                    <a:lnTo>
                      <a:pt x="582" y="1634"/>
                    </a:lnTo>
                    <a:lnTo>
                      <a:pt x="578" y="1634"/>
                    </a:lnTo>
                    <a:lnTo>
                      <a:pt x="576" y="1636"/>
                    </a:lnTo>
                    <a:lnTo>
                      <a:pt x="578" y="1636"/>
                    </a:lnTo>
                    <a:lnTo>
                      <a:pt x="594" y="1640"/>
                    </a:lnTo>
                    <a:lnTo>
                      <a:pt x="606" y="1644"/>
                    </a:lnTo>
                    <a:lnTo>
                      <a:pt x="618" y="1650"/>
                    </a:lnTo>
                    <a:lnTo>
                      <a:pt x="622" y="1652"/>
                    </a:lnTo>
                    <a:lnTo>
                      <a:pt x="626" y="1652"/>
                    </a:lnTo>
                    <a:lnTo>
                      <a:pt x="636" y="1644"/>
                    </a:lnTo>
                    <a:lnTo>
                      <a:pt x="648" y="1636"/>
                    </a:lnTo>
                    <a:lnTo>
                      <a:pt x="656" y="1632"/>
                    </a:lnTo>
                    <a:lnTo>
                      <a:pt x="664" y="1630"/>
                    </a:lnTo>
                    <a:lnTo>
                      <a:pt x="674" y="1628"/>
                    </a:lnTo>
                    <a:lnTo>
                      <a:pt x="680" y="1624"/>
                    </a:lnTo>
                    <a:lnTo>
                      <a:pt x="690" y="1614"/>
                    </a:lnTo>
                    <a:lnTo>
                      <a:pt x="698" y="1610"/>
                    </a:lnTo>
                    <a:lnTo>
                      <a:pt x="706" y="1606"/>
                    </a:lnTo>
                    <a:lnTo>
                      <a:pt x="716" y="1602"/>
                    </a:lnTo>
                    <a:lnTo>
                      <a:pt x="730" y="1600"/>
                    </a:lnTo>
                    <a:lnTo>
                      <a:pt x="742" y="1598"/>
                    </a:lnTo>
                    <a:lnTo>
                      <a:pt x="746" y="1596"/>
                    </a:lnTo>
                    <a:lnTo>
                      <a:pt x="746" y="1594"/>
                    </a:lnTo>
                    <a:lnTo>
                      <a:pt x="748" y="1590"/>
                    </a:lnTo>
                    <a:lnTo>
                      <a:pt x="754" y="1586"/>
                    </a:lnTo>
                    <a:lnTo>
                      <a:pt x="760" y="1582"/>
                    </a:lnTo>
                    <a:lnTo>
                      <a:pt x="774" y="1578"/>
                    </a:lnTo>
                    <a:lnTo>
                      <a:pt x="796" y="1574"/>
                    </a:lnTo>
                    <a:lnTo>
                      <a:pt x="814" y="1572"/>
                    </a:lnTo>
                    <a:lnTo>
                      <a:pt x="832" y="1572"/>
                    </a:lnTo>
                    <a:lnTo>
                      <a:pt x="838" y="1570"/>
                    </a:lnTo>
                    <a:lnTo>
                      <a:pt x="840" y="1568"/>
                    </a:lnTo>
                    <a:lnTo>
                      <a:pt x="844" y="1564"/>
                    </a:lnTo>
                    <a:lnTo>
                      <a:pt x="846" y="1566"/>
                    </a:lnTo>
                    <a:lnTo>
                      <a:pt x="850" y="1570"/>
                    </a:lnTo>
                    <a:lnTo>
                      <a:pt x="860" y="1570"/>
                    </a:lnTo>
                    <a:lnTo>
                      <a:pt x="874" y="1570"/>
                    </a:lnTo>
                    <a:lnTo>
                      <a:pt x="884" y="1574"/>
                    </a:lnTo>
                    <a:lnTo>
                      <a:pt x="890" y="1578"/>
                    </a:lnTo>
                    <a:lnTo>
                      <a:pt x="896" y="1584"/>
                    </a:lnTo>
                    <a:lnTo>
                      <a:pt x="908" y="1600"/>
                    </a:lnTo>
                    <a:lnTo>
                      <a:pt x="916" y="1616"/>
                    </a:lnTo>
                    <a:lnTo>
                      <a:pt x="924" y="1642"/>
                    </a:lnTo>
                    <a:lnTo>
                      <a:pt x="930" y="1654"/>
                    </a:lnTo>
                    <a:lnTo>
                      <a:pt x="936" y="1664"/>
                    </a:lnTo>
                    <a:lnTo>
                      <a:pt x="944" y="1670"/>
                    </a:lnTo>
                    <a:lnTo>
                      <a:pt x="948" y="1672"/>
                    </a:lnTo>
                    <a:lnTo>
                      <a:pt x="954" y="1672"/>
                    </a:lnTo>
                    <a:lnTo>
                      <a:pt x="970" y="1672"/>
                    </a:lnTo>
                    <a:lnTo>
                      <a:pt x="976" y="1672"/>
                    </a:lnTo>
                    <a:lnTo>
                      <a:pt x="984" y="1670"/>
                    </a:lnTo>
                    <a:lnTo>
                      <a:pt x="990" y="1668"/>
                    </a:lnTo>
                    <a:lnTo>
                      <a:pt x="992" y="1664"/>
                    </a:lnTo>
                    <a:lnTo>
                      <a:pt x="992" y="1662"/>
                    </a:lnTo>
                    <a:lnTo>
                      <a:pt x="992" y="1658"/>
                    </a:lnTo>
                    <a:lnTo>
                      <a:pt x="992" y="1656"/>
                    </a:lnTo>
                    <a:lnTo>
                      <a:pt x="996" y="1658"/>
                    </a:lnTo>
                    <a:lnTo>
                      <a:pt x="1002" y="1660"/>
                    </a:lnTo>
                    <a:lnTo>
                      <a:pt x="1008" y="1662"/>
                    </a:lnTo>
                    <a:lnTo>
                      <a:pt x="1018" y="1662"/>
                    </a:lnTo>
                    <a:lnTo>
                      <a:pt x="1028" y="1662"/>
                    </a:lnTo>
                    <a:lnTo>
                      <a:pt x="1036" y="1660"/>
                    </a:lnTo>
                    <a:lnTo>
                      <a:pt x="1040" y="1656"/>
                    </a:lnTo>
                    <a:lnTo>
                      <a:pt x="1042" y="1654"/>
                    </a:lnTo>
                    <a:lnTo>
                      <a:pt x="1042" y="1650"/>
                    </a:lnTo>
                    <a:lnTo>
                      <a:pt x="1036" y="1640"/>
                    </a:lnTo>
                    <a:lnTo>
                      <a:pt x="1048" y="1650"/>
                    </a:lnTo>
                    <a:lnTo>
                      <a:pt x="1048" y="1658"/>
                    </a:lnTo>
                    <a:lnTo>
                      <a:pt x="1050" y="1662"/>
                    </a:lnTo>
                    <a:lnTo>
                      <a:pt x="1052" y="1662"/>
                    </a:lnTo>
                    <a:lnTo>
                      <a:pt x="1056" y="1662"/>
                    </a:lnTo>
                    <a:lnTo>
                      <a:pt x="1060" y="1660"/>
                    </a:lnTo>
                    <a:lnTo>
                      <a:pt x="1062" y="1662"/>
                    </a:lnTo>
                    <a:lnTo>
                      <a:pt x="1064" y="1666"/>
                    </a:lnTo>
                    <a:lnTo>
                      <a:pt x="1066" y="1682"/>
                    </a:lnTo>
                    <a:lnTo>
                      <a:pt x="1070" y="1684"/>
                    </a:lnTo>
                    <a:lnTo>
                      <a:pt x="1076" y="1688"/>
                    </a:lnTo>
                    <a:lnTo>
                      <a:pt x="1082" y="1690"/>
                    </a:lnTo>
                    <a:lnTo>
                      <a:pt x="1084" y="1690"/>
                    </a:lnTo>
                    <a:lnTo>
                      <a:pt x="1086" y="1686"/>
                    </a:lnTo>
                    <a:lnTo>
                      <a:pt x="1088" y="1684"/>
                    </a:lnTo>
                    <a:lnTo>
                      <a:pt x="1090" y="1684"/>
                    </a:lnTo>
                    <a:lnTo>
                      <a:pt x="1094" y="1684"/>
                    </a:lnTo>
                    <a:lnTo>
                      <a:pt x="1096" y="1688"/>
                    </a:lnTo>
                    <a:lnTo>
                      <a:pt x="1096" y="1690"/>
                    </a:lnTo>
                    <a:lnTo>
                      <a:pt x="1094" y="1694"/>
                    </a:lnTo>
                    <a:lnTo>
                      <a:pt x="1090" y="1698"/>
                    </a:lnTo>
                    <a:lnTo>
                      <a:pt x="1090" y="1700"/>
                    </a:lnTo>
                    <a:lnTo>
                      <a:pt x="1092" y="1704"/>
                    </a:lnTo>
                    <a:lnTo>
                      <a:pt x="1096" y="1708"/>
                    </a:lnTo>
                    <a:lnTo>
                      <a:pt x="1094" y="1708"/>
                    </a:lnTo>
                    <a:lnTo>
                      <a:pt x="1094" y="1712"/>
                    </a:lnTo>
                    <a:lnTo>
                      <a:pt x="1100" y="1718"/>
                    </a:lnTo>
                    <a:lnTo>
                      <a:pt x="1102" y="1724"/>
                    </a:lnTo>
                    <a:lnTo>
                      <a:pt x="1104" y="1730"/>
                    </a:lnTo>
                    <a:lnTo>
                      <a:pt x="1104" y="1742"/>
                    </a:lnTo>
                    <a:lnTo>
                      <a:pt x="1100" y="1756"/>
                    </a:lnTo>
                    <a:lnTo>
                      <a:pt x="1100" y="1770"/>
                    </a:lnTo>
                    <a:lnTo>
                      <a:pt x="1100" y="1782"/>
                    </a:lnTo>
                    <a:lnTo>
                      <a:pt x="1098" y="1790"/>
                    </a:lnTo>
                    <a:lnTo>
                      <a:pt x="1094" y="1798"/>
                    </a:lnTo>
                    <a:lnTo>
                      <a:pt x="1090" y="1804"/>
                    </a:lnTo>
                    <a:lnTo>
                      <a:pt x="1084" y="1814"/>
                    </a:lnTo>
                    <a:lnTo>
                      <a:pt x="1082" y="1820"/>
                    </a:lnTo>
                    <a:lnTo>
                      <a:pt x="1082" y="1824"/>
                    </a:lnTo>
                    <a:lnTo>
                      <a:pt x="1082" y="1828"/>
                    </a:lnTo>
                    <a:lnTo>
                      <a:pt x="1084" y="1828"/>
                    </a:lnTo>
                    <a:lnTo>
                      <a:pt x="1088" y="1828"/>
                    </a:lnTo>
                    <a:lnTo>
                      <a:pt x="1092" y="1828"/>
                    </a:lnTo>
                    <a:lnTo>
                      <a:pt x="1090" y="1834"/>
                    </a:lnTo>
                    <a:lnTo>
                      <a:pt x="1090" y="1838"/>
                    </a:lnTo>
                    <a:lnTo>
                      <a:pt x="1092" y="1844"/>
                    </a:lnTo>
                    <a:lnTo>
                      <a:pt x="1094" y="1848"/>
                    </a:lnTo>
                    <a:lnTo>
                      <a:pt x="1092" y="1852"/>
                    </a:lnTo>
                    <a:lnTo>
                      <a:pt x="1090" y="1852"/>
                    </a:lnTo>
                    <a:lnTo>
                      <a:pt x="1088" y="1850"/>
                    </a:lnTo>
                    <a:lnTo>
                      <a:pt x="1086" y="1848"/>
                    </a:lnTo>
                    <a:lnTo>
                      <a:pt x="1082" y="1852"/>
                    </a:lnTo>
                    <a:lnTo>
                      <a:pt x="1082" y="1854"/>
                    </a:lnTo>
                    <a:lnTo>
                      <a:pt x="1082" y="1858"/>
                    </a:lnTo>
                    <a:lnTo>
                      <a:pt x="1086" y="1864"/>
                    </a:lnTo>
                    <a:lnTo>
                      <a:pt x="1094" y="1868"/>
                    </a:lnTo>
                    <a:lnTo>
                      <a:pt x="1106" y="1872"/>
                    </a:lnTo>
                    <a:lnTo>
                      <a:pt x="1110" y="1872"/>
                    </a:lnTo>
                    <a:lnTo>
                      <a:pt x="1110" y="1874"/>
                    </a:lnTo>
                    <a:lnTo>
                      <a:pt x="1110" y="1876"/>
                    </a:lnTo>
                    <a:lnTo>
                      <a:pt x="1106" y="1878"/>
                    </a:lnTo>
                    <a:lnTo>
                      <a:pt x="1104" y="1880"/>
                    </a:lnTo>
                    <a:lnTo>
                      <a:pt x="1098" y="1880"/>
                    </a:lnTo>
                    <a:lnTo>
                      <a:pt x="1094" y="1878"/>
                    </a:lnTo>
                    <a:lnTo>
                      <a:pt x="1090" y="1874"/>
                    </a:lnTo>
                    <a:lnTo>
                      <a:pt x="1084" y="1868"/>
                    </a:lnTo>
                    <a:lnTo>
                      <a:pt x="1082" y="1866"/>
                    </a:lnTo>
                    <a:lnTo>
                      <a:pt x="1080" y="1866"/>
                    </a:lnTo>
                    <a:lnTo>
                      <a:pt x="1080" y="1872"/>
                    </a:lnTo>
                    <a:lnTo>
                      <a:pt x="1080" y="1882"/>
                    </a:lnTo>
                    <a:lnTo>
                      <a:pt x="1078" y="1898"/>
                    </a:lnTo>
                    <a:lnTo>
                      <a:pt x="1074" y="1910"/>
                    </a:lnTo>
                    <a:lnTo>
                      <a:pt x="1072" y="1914"/>
                    </a:lnTo>
                    <a:lnTo>
                      <a:pt x="1068" y="1918"/>
                    </a:lnTo>
                    <a:lnTo>
                      <a:pt x="1066" y="1918"/>
                    </a:lnTo>
                    <a:lnTo>
                      <a:pt x="1062" y="1914"/>
                    </a:lnTo>
                    <a:lnTo>
                      <a:pt x="1056" y="1910"/>
                    </a:lnTo>
                    <a:lnTo>
                      <a:pt x="1056" y="1912"/>
                    </a:lnTo>
                    <a:lnTo>
                      <a:pt x="1058" y="1922"/>
                    </a:lnTo>
                    <a:lnTo>
                      <a:pt x="1064" y="1936"/>
                    </a:lnTo>
                    <a:lnTo>
                      <a:pt x="1076" y="1964"/>
                    </a:lnTo>
                    <a:lnTo>
                      <a:pt x="1080" y="1974"/>
                    </a:lnTo>
                    <a:lnTo>
                      <a:pt x="1084" y="1982"/>
                    </a:lnTo>
                    <a:lnTo>
                      <a:pt x="1088" y="1988"/>
                    </a:lnTo>
                    <a:lnTo>
                      <a:pt x="1094" y="1996"/>
                    </a:lnTo>
                    <a:lnTo>
                      <a:pt x="1100" y="2006"/>
                    </a:lnTo>
                    <a:lnTo>
                      <a:pt x="1110" y="2018"/>
                    </a:lnTo>
                    <a:lnTo>
                      <a:pt x="1132" y="2042"/>
                    </a:lnTo>
                    <a:lnTo>
                      <a:pt x="1140" y="2052"/>
                    </a:lnTo>
                    <a:lnTo>
                      <a:pt x="1142" y="2058"/>
                    </a:lnTo>
                    <a:lnTo>
                      <a:pt x="1150" y="2070"/>
                    </a:lnTo>
                    <a:lnTo>
                      <a:pt x="1172" y="2092"/>
                    </a:lnTo>
                    <a:lnTo>
                      <a:pt x="1178" y="2100"/>
                    </a:lnTo>
                    <a:lnTo>
                      <a:pt x="1180" y="2110"/>
                    </a:lnTo>
                    <a:lnTo>
                      <a:pt x="1184" y="2118"/>
                    </a:lnTo>
                    <a:lnTo>
                      <a:pt x="1190" y="2128"/>
                    </a:lnTo>
                    <a:lnTo>
                      <a:pt x="1194" y="2136"/>
                    </a:lnTo>
                    <a:lnTo>
                      <a:pt x="1196" y="2142"/>
                    </a:lnTo>
                    <a:lnTo>
                      <a:pt x="1194" y="2148"/>
                    </a:lnTo>
                    <a:lnTo>
                      <a:pt x="1194" y="2156"/>
                    </a:lnTo>
                    <a:lnTo>
                      <a:pt x="1194" y="2158"/>
                    </a:lnTo>
                    <a:lnTo>
                      <a:pt x="1196" y="2160"/>
                    </a:lnTo>
                    <a:lnTo>
                      <a:pt x="1198" y="2164"/>
                    </a:lnTo>
                    <a:lnTo>
                      <a:pt x="1200" y="2168"/>
                    </a:lnTo>
                    <a:lnTo>
                      <a:pt x="1204" y="2170"/>
                    </a:lnTo>
                    <a:lnTo>
                      <a:pt x="1208" y="2168"/>
                    </a:lnTo>
                    <a:lnTo>
                      <a:pt x="1216" y="2164"/>
                    </a:lnTo>
                    <a:lnTo>
                      <a:pt x="1222" y="2162"/>
                    </a:lnTo>
                    <a:lnTo>
                      <a:pt x="1226" y="2162"/>
                    </a:lnTo>
                    <a:lnTo>
                      <a:pt x="1234" y="2162"/>
                    </a:lnTo>
                    <a:lnTo>
                      <a:pt x="1226" y="2168"/>
                    </a:lnTo>
                    <a:lnTo>
                      <a:pt x="1220" y="2172"/>
                    </a:lnTo>
                    <a:lnTo>
                      <a:pt x="1208" y="2174"/>
                    </a:lnTo>
                    <a:lnTo>
                      <a:pt x="1202" y="2176"/>
                    </a:lnTo>
                    <a:lnTo>
                      <a:pt x="1200" y="2178"/>
                    </a:lnTo>
                    <a:lnTo>
                      <a:pt x="1202" y="2182"/>
                    </a:lnTo>
                    <a:lnTo>
                      <a:pt x="1212" y="2202"/>
                    </a:lnTo>
                    <a:lnTo>
                      <a:pt x="1226" y="2240"/>
                    </a:lnTo>
                    <a:lnTo>
                      <a:pt x="1232" y="2260"/>
                    </a:lnTo>
                    <a:lnTo>
                      <a:pt x="1238" y="2278"/>
                    </a:lnTo>
                    <a:lnTo>
                      <a:pt x="1238" y="2294"/>
                    </a:lnTo>
                    <a:lnTo>
                      <a:pt x="1236" y="2300"/>
                    </a:lnTo>
                    <a:lnTo>
                      <a:pt x="1234" y="2306"/>
                    </a:lnTo>
                    <a:lnTo>
                      <a:pt x="1230" y="2314"/>
                    </a:lnTo>
                    <a:lnTo>
                      <a:pt x="1230" y="2324"/>
                    </a:lnTo>
                    <a:lnTo>
                      <a:pt x="1230" y="2336"/>
                    </a:lnTo>
                    <a:lnTo>
                      <a:pt x="1234" y="2346"/>
                    </a:lnTo>
                    <a:lnTo>
                      <a:pt x="1246" y="2372"/>
                    </a:lnTo>
                    <a:lnTo>
                      <a:pt x="1256" y="2396"/>
                    </a:lnTo>
                    <a:lnTo>
                      <a:pt x="1260" y="2408"/>
                    </a:lnTo>
                    <a:lnTo>
                      <a:pt x="1262" y="2422"/>
                    </a:lnTo>
                    <a:lnTo>
                      <a:pt x="1262" y="2436"/>
                    </a:lnTo>
                    <a:lnTo>
                      <a:pt x="1262" y="2450"/>
                    </a:lnTo>
                    <a:lnTo>
                      <a:pt x="1258" y="2464"/>
                    </a:lnTo>
                    <a:lnTo>
                      <a:pt x="1254" y="2476"/>
                    </a:lnTo>
                    <a:lnTo>
                      <a:pt x="1246" y="2486"/>
                    </a:lnTo>
                    <a:lnTo>
                      <a:pt x="1238" y="2494"/>
                    </a:lnTo>
                    <a:lnTo>
                      <a:pt x="1230" y="2502"/>
                    </a:lnTo>
                    <a:lnTo>
                      <a:pt x="1222" y="2510"/>
                    </a:lnTo>
                    <a:lnTo>
                      <a:pt x="1218" y="2518"/>
                    </a:lnTo>
                    <a:lnTo>
                      <a:pt x="1212" y="2528"/>
                    </a:lnTo>
                    <a:lnTo>
                      <a:pt x="1206" y="2548"/>
                    </a:lnTo>
                    <a:lnTo>
                      <a:pt x="1202" y="2570"/>
                    </a:lnTo>
                    <a:lnTo>
                      <a:pt x="1196" y="2610"/>
                    </a:lnTo>
                    <a:lnTo>
                      <a:pt x="1192" y="2626"/>
                    </a:lnTo>
                    <a:lnTo>
                      <a:pt x="1188" y="2640"/>
                    </a:lnTo>
                    <a:lnTo>
                      <a:pt x="1182" y="2652"/>
                    </a:lnTo>
                    <a:lnTo>
                      <a:pt x="1178" y="2662"/>
                    </a:lnTo>
                    <a:lnTo>
                      <a:pt x="1176" y="2670"/>
                    </a:lnTo>
                    <a:lnTo>
                      <a:pt x="1176" y="2680"/>
                    </a:lnTo>
                    <a:lnTo>
                      <a:pt x="1178" y="2700"/>
                    </a:lnTo>
                    <a:lnTo>
                      <a:pt x="1178" y="2712"/>
                    </a:lnTo>
                    <a:lnTo>
                      <a:pt x="1178" y="2726"/>
                    </a:lnTo>
                    <a:lnTo>
                      <a:pt x="1176" y="2736"/>
                    </a:lnTo>
                    <a:lnTo>
                      <a:pt x="1176" y="2746"/>
                    </a:lnTo>
                    <a:lnTo>
                      <a:pt x="1180" y="2764"/>
                    </a:lnTo>
                    <a:lnTo>
                      <a:pt x="1188" y="2784"/>
                    </a:lnTo>
                    <a:lnTo>
                      <a:pt x="1200" y="2804"/>
                    </a:lnTo>
                    <a:lnTo>
                      <a:pt x="1222" y="2850"/>
                    </a:lnTo>
                    <a:lnTo>
                      <a:pt x="1234" y="2876"/>
                    </a:lnTo>
                    <a:lnTo>
                      <a:pt x="1242" y="2904"/>
                    </a:lnTo>
                    <a:lnTo>
                      <a:pt x="1250" y="2930"/>
                    </a:lnTo>
                    <a:lnTo>
                      <a:pt x="1260" y="2946"/>
                    </a:lnTo>
                    <a:lnTo>
                      <a:pt x="1268" y="2958"/>
                    </a:lnTo>
                    <a:lnTo>
                      <a:pt x="1276" y="2966"/>
                    </a:lnTo>
                    <a:lnTo>
                      <a:pt x="1284" y="2976"/>
                    </a:lnTo>
                    <a:lnTo>
                      <a:pt x="1288" y="2990"/>
                    </a:lnTo>
                    <a:lnTo>
                      <a:pt x="1288" y="3008"/>
                    </a:lnTo>
                    <a:lnTo>
                      <a:pt x="1286" y="3038"/>
                    </a:lnTo>
                    <a:lnTo>
                      <a:pt x="1284" y="3052"/>
                    </a:lnTo>
                    <a:lnTo>
                      <a:pt x="1286" y="3070"/>
                    </a:lnTo>
                    <a:lnTo>
                      <a:pt x="1294" y="3112"/>
                    </a:lnTo>
                    <a:lnTo>
                      <a:pt x="1304" y="3156"/>
                    </a:lnTo>
                    <a:lnTo>
                      <a:pt x="1308" y="3178"/>
                    </a:lnTo>
                    <a:lnTo>
                      <a:pt x="1310" y="3200"/>
                    </a:lnTo>
                    <a:lnTo>
                      <a:pt x="1312" y="3220"/>
                    </a:lnTo>
                    <a:lnTo>
                      <a:pt x="1318" y="3238"/>
                    </a:lnTo>
                    <a:lnTo>
                      <a:pt x="1326" y="3254"/>
                    </a:lnTo>
                    <a:lnTo>
                      <a:pt x="1334" y="3266"/>
                    </a:lnTo>
                    <a:lnTo>
                      <a:pt x="1342" y="3278"/>
                    </a:lnTo>
                    <a:lnTo>
                      <a:pt x="1352" y="3286"/>
                    </a:lnTo>
                    <a:lnTo>
                      <a:pt x="1366" y="3302"/>
                    </a:lnTo>
                    <a:lnTo>
                      <a:pt x="1376" y="3316"/>
                    </a:lnTo>
                    <a:lnTo>
                      <a:pt x="1384" y="3330"/>
                    </a:lnTo>
                    <a:lnTo>
                      <a:pt x="1388" y="3344"/>
                    </a:lnTo>
                    <a:lnTo>
                      <a:pt x="1392" y="3358"/>
                    </a:lnTo>
                    <a:lnTo>
                      <a:pt x="1396" y="3374"/>
                    </a:lnTo>
                    <a:lnTo>
                      <a:pt x="1402" y="3392"/>
                    </a:lnTo>
                    <a:lnTo>
                      <a:pt x="1410" y="3414"/>
                    </a:lnTo>
                    <a:lnTo>
                      <a:pt x="1424" y="3436"/>
                    </a:lnTo>
                    <a:lnTo>
                      <a:pt x="1436" y="3458"/>
                    </a:lnTo>
                    <a:lnTo>
                      <a:pt x="1444" y="3474"/>
                    </a:lnTo>
                    <a:lnTo>
                      <a:pt x="1446" y="3490"/>
                    </a:lnTo>
                    <a:lnTo>
                      <a:pt x="1446" y="3502"/>
                    </a:lnTo>
                    <a:lnTo>
                      <a:pt x="1442" y="3510"/>
                    </a:lnTo>
                    <a:lnTo>
                      <a:pt x="1438" y="3516"/>
                    </a:lnTo>
                    <a:lnTo>
                      <a:pt x="1434" y="3518"/>
                    </a:lnTo>
                    <a:lnTo>
                      <a:pt x="1432" y="3518"/>
                    </a:lnTo>
                    <a:lnTo>
                      <a:pt x="1430" y="3516"/>
                    </a:lnTo>
                    <a:lnTo>
                      <a:pt x="1426" y="3518"/>
                    </a:lnTo>
                    <a:lnTo>
                      <a:pt x="1424" y="3518"/>
                    </a:lnTo>
                    <a:lnTo>
                      <a:pt x="1424" y="3522"/>
                    </a:lnTo>
                    <a:lnTo>
                      <a:pt x="1424" y="3526"/>
                    </a:lnTo>
                    <a:lnTo>
                      <a:pt x="1424" y="3532"/>
                    </a:lnTo>
                    <a:lnTo>
                      <a:pt x="1428" y="3538"/>
                    </a:lnTo>
                    <a:lnTo>
                      <a:pt x="1432" y="3546"/>
                    </a:lnTo>
                    <a:lnTo>
                      <a:pt x="1442" y="3558"/>
                    </a:lnTo>
                    <a:lnTo>
                      <a:pt x="1446" y="3568"/>
                    </a:lnTo>
                    <a:lnTo>
                      <a:pt x="1448" y="3574"/>
                    </a:lnTo>
                    <a:lnTo>
                      <a:pt x="1444" y="3580"/>
                    </a:lnTo>
                    <a:lnTo>
                      <a:pt x="1442" y="3582"/>
                    </a:lnTo>
                    <a:lnTo>
                      <a:pt x="1442" y="3588"/>
                    </a:lnTo>
                    <a:lnTo>
                      <a:pt x="1442" y="3596"/>
                    </a:lnTo>
                    <a:lnTo>
                      <a:pt x="1446" y="3602"/>
                    </a:lnTo>
                    <a:lnTo>
                      <a:pt x="1448" y="3602"/>
                    </a:lnTo>
                    <a:lnTo>
                      <a:pt x="1448" y="3598"/>
                    </a:lnTo>
                    <a:lnTo>
                      <a:pt x="1450" y="3594"/>
                    </a:lnTo>
                    <a:lnTo>
                      <a:pt x="1452" y="3590"/>
                    </a:lnTo>
                    <a:lnTo>
                      <a:pt x="1454" y="3588"/>
                    </a:lnTo>
                    <a:lnTo>
                      <a:pt x="1458" y="3588"/>
                    </a:lnTo>
                    <a:lnTo>
                      <a:pt x="1460" y="3588"/>
                    </a:lnTo>
                    <a:lnTo>
                      <a:pt x="1462" y="3590"/>
                    </a:lnTo>
                    <a:lnTo>
                      <a:pt x="1464" y="3592"/>
                    </a:lnTo>
                    <a:lnTo>
                      <a:pt x="1464" y="3596"/>
                    </a:lnTo>
                    <a:lnTo>
                      <a:pt x="1464" y="3602"/>
                    </a:lnTo>
                    <a:lnTo>
                      <a:pt x="1466" y="3604"/>
                    </a:lnTo>
                    <a:lnTo>
                      <a:pt x="1470" y="3606"/>
                    </a:lnTo>
                    <a:lnTo>
                      <a:pt x="1472" y="3606"/>
                    </a:lnTo>
                    <a:lnTo>
                      <a:pt x="1478" y="3606"/>
                    </a:lnTo>
                    <a:lnTo>
                      <a:pt x="1480" y="3608"/>
                    </a:lnTo>
                    <a:lnTo>
                      <a:pt x="1482" y="3612"/>
                    </a:lnTo>
                    <a:lnTo>
                      <a:pt x="1484" y="3618"/>
                    </a:lnTo>
                    <a:lnTo>
                      <a:pt x="1486" y="3620"/>
                    </a:lnTo>
                    <a:lnTo>
                      <a:pt x="1490" y="3620"/>
                    </a:lnTo>
                    <a:lnTo>
                      <a:pt x="1494" y="3624"/>
                    </a:lnTo>
                    <a:lnTo>
                      <a:pt x="1496" y="3628"/>
                    </a:lnTo>
                    <a:lnTo>
                      <a:pt x="1500" y="3626"/>
                    </a:lnTo>
                    <a:lnTo>
                      <a:pt x="1506" y="3626"/>
                    </a:lnTo>
                    <a:lnTo>
                      <a:pt x="1510" y="3626"/>
                    </a:lnTo>
                    <a:lnTo>
                      <a:pt x="1514" y="3628"/>
                    </a:lnTo>
                    <a:lnTo>
                      <a:pt x="1516" y="3626"/>
                    </a:lnTo>
                    <a:lnTo>
                      <a:pt x="1520" y="3620"/>
                    </a:lnTo>
                    <a:lnTo>
                      <a:pt x="1526" y="3612"/>
                    </a:lnTo>
                    <a:lnTo>
                      <a:pt x="1532" y="3610"/>
                    </a:lnTo>
                    <a:lnTo>
                      <a:pt x="1540" y="3608"/>
                    </a:lnTo>
                    <a:lnTo>
                      <a:pt x="1552" y="3606"/>
                    </a:lnTo>
                    <a:lnTo>
                      <a:pt x="1558" y="3608"/>
                    </a:lnTo>
                    <a:lnTo>
                      <a:pt x="1564" y="3608"/>
                    </a:lnTo>
                    <a:lnTo>
                      <a:pt x="1576" y="3604"/>
                    </a:lnTo>
                    <a:lnTo>
                      <a:pt x="1584" y="3602"/>
                    </a:lnTo>
                    <a:lnTo>
                      <a:pt x="1590" y="3598"/>
                    </a:lnTo>
                    <a:lnTo>
                      <a:pt x="1594" y="3592"/>
                    </a:lnTo>
                    <a:lnTo>
                      <a:pt x="1600" y="3586"/>
                    </a:lnTo>
                    <a:lnTo>
                      <a:pt x="1602" y="3586"/>
                    </a:lnTo>
                    <a:lnTo>
                      <a:pt x="1608" y="3584"/>
                    </a:lnTo>
                    <a:lnTo>
                      <a:pt x="1620" y="3584"/>
                    </a:lnTo>
                    <a:lnTo>
                      <a:pt x="1632" y="3588"/>
                    </a:lnTo>
                    <a:lnTo>
                      <a:pt x="1642" y="3590"/>
                    </a:lnTo>
                    <a:lnTo>
                      <a:pt x="1648" y="3590"/>
                    </a:lnTo>
                    <a:lnTo>
                      <a:pt x="1652" y="3586"/>
                    </a:lnTo>
                    <a:lnTo>
                      <a:pt x="1656" y="3586"/>
                    </a:lnTo>
                    <a:lnTo>
                      <a:pt x="1664" y="3586"/>
                    </a:lnTo>
                    <a:lnTo>
                      <a:pt x="1678" y="3592"/>
                    </a:lnTo>
                    <a:lnTo>
                      <a:pt x="1686" y="3594"/>
                    </a:lnTo>
                    <a:lnTo>
                      <a:pt x="1694" y="3594"/>
                    </a:lnTo>
                    <a:lnTo>
                      <a:pt x="1702" y="3594"/>
                    </a:lnTo>
                    <a:lnTo>
                      <a:pt x="1706" y="3590"/>
                    </a:lnTo>
                    <a:lnTo>
                      <a:pt x="1712" y="3584"/>
                    </a:lnTo>
                    <a:lnTo>
                      <a:pt x="1718" y="3582"/>
                    </a:lnTo>
                    <a:lnTo>
                      <a:pt x="1724" y="3584"/>
                    </a:lnTo>
                    <a:lnTo>
                      <a:pt x="1730" y="3584"/>
                    </a:lnTo>
                    <a:lnTo>
                      <a:pt x="1738" y="3586"/>
                    </a:lnTo>
                    <a:lnTo>
                      <a:pt x="1740" y="3584"/>
                    </a:lnTo>
                    <a:lnTo>
                      <a:pt x="1740" y="3580"/>
                    </a:lnTo>
                    <a:lnTo>
                      <a:pt x="1740" y="3574"/>
                    </a:lnTo>
                    <a:lnTo>
                      <a:pt x="1742" y="3572"/>
                    </a:lnTo>
                    <a:lnTo>
                      <a:pt x="1748" y="3572"/>
                    </a:lnTo>
                    <a:lnTo>
                      <a:pt x="1756" y="3572"/>
                    </a:lnTo>
                    <a:lnTo>
                      <a:pt x="1764" y="3572"/>
                    </a:lnTo>
                    <a:lnTo>
                      <a:pt x="1774" y="3570"/>
                    </a:lnTo>
                    <a:lnTo>
                      <a:pt x="1782" y="3568"/>
                    </a:lnTo>
                    <a:lnTo>
                      <a:pt x="1792" y="3562"/>
                    </a:lnTo>
                    <a:lnTo>
                      <a:pt x="1810" y="3550"/>
                    </a:lnTo>
                    <a:lnTo>
                      <a:pt x="1832" y="3532"/>
                    </a:lnTo>
                    <a:lnTo>
                      <a:pt x="1858" y="3506"/>
                    </a:lnTo>
                    <a:lnTo>
                      <a:pt x="1870" y="3490"/>
                    </a:lnTo>
                    <a:lnTo>
                      <a:pt x="1884" y="3472"/>
                    </a:lnTo>
                    <a:lnTo>
                      <a:pt x="1892" y="3462"/>
                    </a:lnTo>
                    <a:lnTo>
                      <a:pt x="1898" y="3456"/>
                    </a:lnTo>
                    <a:lnTo>
                      <a:pt x="1912" y="3442"/>
                    </a:lnTo>
                    <a:lnTo>
                      <a:pt x="1920" y="3432"/>
                    </a:lnTo>
                    <a:lnTo>
                      <a:pt x="1930" y="3418"/>
                    </a:lnTo>
                    <a:lnTo>
                      <a:pt x="1940" y="3398"/>
                    </a:lnTo>
                    <a:lnTo>
                      <a:pt x="1952" y="3372"/>
                    </a:lnTo>
                    <a:lnTo>
                      <a:pt x="1968" y="3344"/>
                    </a:lnTo>
                    <a:lnTo>
                      <a:pt x="1980" y="3324"/>
                    </a:lnTo>
                    <a:lnTo>
                      <a:pt x="1992" y="3314"/>
                    </a:lnTo>
                    <a:lnTo>
                      <a:pt x="2002" y="3304"/>
                    </a:lnTo>
                    <a:lnTo>
                      <a:pt x="2010" y="3294"/>
                    </a:lnTo>
                    <a:lnTo>
                      <a:pt x="2018" y="3276"/>
                    </a:lnTo>
                    <a:lnTo>
                      <a:pt x="2026" y="3250"/>
                    </a:lnTo>
                    <a:lnTo>
                      <a:pt x="2030" y="3210"/>
                    </a:lnTo>
                    <a:lnTo>
                      <a:pt x="2034" y="3182"/>
                    </a:lnTo>
                    <a:lnTo>
                      <a:pt x="2032" y="3176"/>
                    </a:lnTo>
                    <a:lnTo>
                      <a:pt x="2030" y="3176"/>
                    </a:lnTo>
                    <a:lnTo>
                      <a:pt x="2026" y="3176"/>
                    </a:lnTo>
                    <a:lnTo>
                      <a:pt x="2024" y="3176"/>
                    </a:lnTo>
                    <a:lnTo>
                      <a:pt x="2022" y="3170"/>
                    </a:lnTo>
                    <a:lnTo>
                      <a:pt x="2020" y="3164"/>
                    </a:lnTo>
                    <a:lnTo>
                      <a:pt x="2024" y="3156"/>
                    </a:lnTo>
                    <a:lnTo>
                      <a:pt x="2028" y="3148"/>
                    </a:lnTo>
                    <a:lnTo>
                      <a:pt x="2036" y="3140"/>
                    </a:lnTo>
                    <a:lnTo>
                      <a:pt x="2046" y="3132"/>
                    </a:lnTo>
                    <a:lnTo>
                      <a:pt x="2056" y="3126"/>
                    </a:lnTo>
                    <a:lnTo>
                      <a:pt x="2070" y="3118"/>
                    </a:lnTo>
                    <a:lnTo>
                      <a:pt x="2084" y="3114"/>
                    </a:lnTo>
                    <a:lnTo>
                      <a:pt x="2096" y="3108"/>
                    </a:lnTo>
                    <a:lnTo>
                      <a:pt x="2108" y="3100"/>
                    </a:lnTo>
                    <a:lnTo>
                      <a:pt x="2118" y="3094"/>
                    </a:lnTo>
                    <a:lnTo>
                      <a:pt x="2126" y="3086"/>
                    </a:lnTo>
                    <a:lnTo>
                      <a:pt x="2132" y="3078"/>
                    </a:lnTo>
                    <a:lnTo>
                      <a:pt x="2136" y="3070"/>
                    </a:lnTo>
                    <a:lnTo>
                      <a:pt x="2136" y="3062"/>
                    </a:lnTo>
                    <a:lnTo>
                      <a:pt x="2134" y="3056"/>
                    </a:lnTo>
                    <a:lnTo>
                      <a:pt x="2130" y="3050"/>
                    </a:lnTo>
                    <a:lnTo>
                      <a:pt x="2130" y="3044"/>
                    </a:lnTo>
                    <a:lnTo>
                      <a:pt x="2132" y="3034"/>
                    </a:lnTo>
                    <a:lnTo>
                      <a:pt x="2136" y="3016"/>
                    </a:lnTo>
                    <a:lnTo>
                      <a:pt x="2138" y="3006"/>
                    </a:lnTo>
                    <a:lnTo>
                      <a:pt x="2138" y="2990"/>
                    </a:lnTo>
                    <a:lnTo>
                      <a:pt x="2136" y="2972"/>
                    </a:lnTo>
                    <a:lnTo>
                      <a:pt x="2136" y="2970"/>
                    </a:lnTo>
                    <a:lnTo>
                      <a:pt x="2134" y="2972"/>
                    </a:lnTo>
                    <a:lnTo>
                      <a:pt x="2132" y="2974"/>
                    </a:lnTo>
                    <a:lnTo>
                      <a:pt x="2130" y="2974"/>
                    </a:lnTo>
                    <a:lnTo>
                      <a:pt x="2128" y="2972"/>
                    </a:lnTo>
                    <a:lnTo>
                      <a:pt x="2126" y="2962"/>
                    </a:lnTo>
                    <a:lnTo>
                      <a:pt x="2120" y="2934"/>
                    </a:lnTo>
                    <a:lnTo>
                      <a:pt x="2120" y="2920"/>
                    </a:lnTo>
                    <a:lnTo>
                      <a:pt x="2118" y="2910"/>
                    </a:lnTo>
                    <a:lnTo>
                      <a:pt x="2108" y="2896"/>
                    </a:lnTo>
                    <a:lnTo>
                      <a:pt x="2104" y="2890"/>
                    </a:lnTo>
                    <a:lnTo>
                      <a:pt x="2102" y="2886"/>
                    </a:lnTo>
                    <a:lnTo>
                      <a:pt x="2102" y="2878"/>
                    </a:lnTo>
                    <a:lnTo>
                      <a:pt x="2104" y="2870"/>
                    </a:lnTo>
                    <a:lnTo>
                      <a:pt x="2104" y="2860"/>
                    </a:lnTo>
                    <a:lnTo>
                      <a:pt x="2104" y="2854"/>
                    </a:lnTo>
                    <a:lnTo>
                      <a:pt x="2108" y="2854"/>
                    </a:lnTo>
                    <a:lnTo>
                      <a:pt x="2114" y="2852"/>
                    </a:lnTo>
                    <a:lnTo>
                      <a:pt x="2120" y="2848"/>
                    </a:lnTo>
                    <a:lnTo>
                      <a:pt x="2126" y="2842"/>
                    </a:lnTo>
                    <a:lnTo>
                      <a:pt x="2136" y="2832"/>
                    </a:lnTo>
                    <a:lnTo>
                      <a:pt x="2144" y="2822"/>
                    </a:lnTo>
                    <a:lnTo>
                      <a:pt x="2150" y="2816"/>
                    </a:lnTo>
                    <a:lnTo>
                      <a:pt x="2160" y="2812"/>
                    </a:lnTo>
                    <a:lnTo>
                      <a:pt x="2166" y="2808"/>
                    </a:lnTo>
                    <a:lnTo>
                      <a:pt x="2170" y="2804"/>
                    </a:lnTo>
                    <a:lnTo>
                      <a:pt x="2178" y="2794"/>
                    </a:lnTo>
                    <a:lnTo>
                      <a:pt x="2186" y="2780"/>
                    </a:lnTo>
                    <a:lnTo>
                      <a:pt x="2196" y="2764"/>
                    </a:lnTo>
                    <a:lnTo>
                      <a:pt x="2206" y="2750"/>
                    </a:lnTo>
                    <a:lnTo>
                      <a:pt x="2216" y="2740"/>
                    </a:lnTo>
                    <a:lnTo>
                      <a:pt x="2226" y="2734"/>
                    </a:lnTo>
                    <a:lnTo>
                      <a:pt x="2236" y="2728"/>
                    </a:lnTo>
                    <a:lnTo>
                      <a:pt x="2246" y="2724"/>
                    </a:lnTo>
                    <a:lnTo>
                      <a:pt x="2266" y="2718"/>
                    </a:lnTo>
                    <a:lnTo>
                      <a:pt x="2276" y="2714"/>
                    </a:lnTo>
                    <a:lnTo>
                      <a:pt x="2284" y="2708"/>
                    </a:lnTo>
                    <a:lnTo>
                      <a:pt x="2294" y="2700"/>
                    </a:lnTo>
                    <a:lnTo>
                      <a:pt x="2302" y="2690"/>
                    </a:lnTo>
                    <a:lnTo>
                      <a:pt x="2320" y="2666"/>
                    </a:lnTo>
                    <a:lnTo>
                      <a:pt x="2336" y="2636"/>
                    </a:lnTo>
                    <a:lnTo>
                      <a:pt x="2344" y="2622"/>
                    </a:lnTo>
                    <a:lnTo>
                      <a:pt x="2344" y="2620"/>
                    </a:lnTo>
                    <a:lnTo>
                      <a:pt x="2344" y="2616"/>
                    </a:lnTo>
                    <a:lnTo>
                      <a:pt x="2348" y="2606"/>
                    </a:lnTo>
                    <a:lnTo>
                      <a:pt x="2350" y="2598"/>
                    </a:lnTo>
                    <a:lnTo>
                      <a:pt x="2352" y="2594"/>
                    </a:lnTo>
                    <a:lnTo>
                      <a:pt x="2350" y="2590"/>
                    </a:lnTo>
                    <a:lnTo>
                      <a:pt x="2348" y="2586"/>
                    </a:lnTo>
                    <a:lnTo>
                      <a:pt x="2344" y="2582"/>
                    </a:lnTo>
                    <a:lnTo>
                      <a:pt x="2340" y="2576"/>
                    </a:lnTo>
                    <a:lnTo>
                      <a:pt x="2338" y="2566"/>
                    </a:lnTo>
                    <a:lnTo>
                      <a:pt x="2338" y="2552"/>
                    </a:lnTo>
                    <a:lnTo>
                      <a:pt x="2338" y="2500"/>
                    </a:lnTo>
                    <a:lnTo>
                      <a:pt x="2338" y="2478"/>
                    </a:lnTo>
                    <a:lnTo>
                      <a:pt x="2334" y="2454"/>
                    </a:lnTo>
                    <a:lnTo>
                      <a:pt x="2334" y="2440"/>
                    </a:lnTo>
                    <a:lnTo>
                      <a:pt x="2334" y="2432"/>
                    </a:lnTo>
                    <a:lnTo>
                      <a:pt x="2338" y="2426"/>
                    </a:lnTo>
                    <a:lnTo>
                      <a:pt x="2342" y="2424"/>
                    </a:lnTo>
                    <a:lnTo>
                      <a:pt x="2344" y="2420"/>
                    </a:lnTo>
                    <a:lnTo>
                      <a:pt x="2344" y="2414"/>
                    </a:lnTo>
                    <a:lnTo>
                      <a:pt x="2340" y="2406"/>
                    </a:lnTo>
                    <a:lnTo>
                      <a:pt x="2334" y="2394"/>
                    </a:lnTo>
                    <a:lnTo>
                      <a:pt x="2324" y="2384"/>
                    </a:lnTo>
                    <a:lnTo>
                      <a:pt x="2318" y="2380"/>
                    </a:lnTo>
                    <a:lnTo>
                      <a:pt x="2312" y="2376"/>
                    </a:lnTo>
                    <a:lnTo>
                      <a:pt x="2308" y="2368"/>
                    </a:lnTo>
                    <a:lnTo>
                      <a:pt x="2304" y="2358"/>
                    </a:lnTo>
                    <a:lnTo>
                      <a:pt x="2302" y="2348"/>
                    </a:lnTo>
                    <a:lnTo>
                      <a:pt x="2300" y="2334"/>
                    </a:lnTo>
                    <a:lnTo>
                      <a:pt x="2292" y="2310"/>
                    </a:lnTo>
                    <a:lnTo>
                      <a:pt x="2288" y="2298"/>
                    </a:lnTo>
                    <a:lnTo>
                      <a:pt x="2288" y="2290"/>
                    </a:lnTo>
                    <a:lnTo>
                      <a:pt x="2288" y="2286"/>
                    </a:lnTo>
                    <a:lnTo>
                      <a:pt x="2290" y="2280"/>
                    </a:lnTo>
                    <a:lnTo>
                      <a:pt x="2292" y="2278"/>
                    </a:lnTo>
                    <a:lnTo>
                      <a:pt x="2294" y="2274"/>
                    </a:lnTo>
                    <a:lnTo>
                      <a:pt x="2294" y="2268"/>
                    </a:lnTo>
                    <a:lnTo>
                      <a:pt x="2292" y="2258"/>
                    </a:lnTo>
                    <a:lnTo>
                      <a:pt x="2288" y="2248"/>
                    </a:lnTo>
                    <a:lnTo>
                      <a:pt x="2288" y="2240"/>
                    </a:lnTo>
                    <a:lnTo>
                      <a:pt x="2290" y="2236"/>
                    </a:lnTo>
                    <a:lnTo>
                      <a:pt x="2292" y="2232"/>
                    </a:lnTo>
                    <a:lnTo>
                      <a:pt x="2294" y="2230"/>
                    </a:lnTo>
                    <a:lnTo>
                      <a:pt x="2296" y="2228"/>
                    </a:lnTo>
                    <a:lnTo>
                      <a:pt x="2296" y="2226"/>
                    </a:lnTo>
                    <a:lnTo>
                      <a:pt x="2294" y="2220"/>
                    </a:lnTo>
                    <a:lnTo>
                      <a:pt x="2282" y="2206"/>
                    </a:lnTo>
                    <a:lnTo>
                      <a:pt x="2272" y="2192"/>
                    </a:lnTo>
                    <a:lnTo>
                      <a:pt x="2268" y="2184"/>
                    </a:lnTo>
                    <a:lnTo>
                      <a:pt x="2266" y="2174"/>
                    </a:lnTo>
                    <a:lnTo>
                      <a:pt x="2268" y="2164"/>
                    </a:lnTo>
                    <a:lnTo>
                      <a:pt x="2272" y="2150"/>
                    </a:lnTo>
                    <a:lnTo>
                      <a:pt x="2276" y="2138"/>
                    </a:lnTo>
                    <a:lnTo>
                      <a:pt x="2278" y="2130"/>
                    </a:lnTo>
                    <a:lnTo>
                      <a:pt x="2282" y="2122"/>
                    </a:lnTo>
                    <a:lnTo>
                      <a:pt x="2288" y="2108"/>
                    </a:lnTo>
                    <a:lnTo>
                      <a:pt x="2304" y="2084"/>
                    </a:lnTo>
                    <a:lnTo>
                      <a:pt x="2308" y="2074"/>
                    </a:lnTo>
                    <a:lnTo>
                      <a:pt x="2310" y="2058"/>
                    </a:lnTo>
                    <a:lnTo>
                      <a:pt x="2312" y="2052"/>
                    </a:lnTo>
                    <a:lnTo>
                      <a:pt x="2314" y="2048"/>
                    </a:lnTo>
                    <a:lnTo>
                      <a:pt x="2320" y="2046"/>
                    </a:lnTo>
                    <a:lnTo>
                      <a:pt x="2322" y="2044"/>
                    </a:lnTo>
                    <a:lnTo>
                      <a:pt x="2324" y="2042"/>
                    </a:lnTo>
                    <a:lnTo>
                      <a:pt x="2324" y="2036"/>
                    </a:lnTo>
                    <a:lnTo>
                      <a:pt x="2322" y="2026"/>
                    </a:lnTo>
                    <a:lnTo>
                      <a:pt x="2324" y="2016"/>
                    </a:lnTo>
                    <a:lnTo>
                      <a:pt x="2326" y="2008"/>
                    </a:lnTo>
                    <a:lnTo>
                      <a:pt x="2332" y="2004"/>
                    </a:lnTo>
                    <a:lnTo>
                      <a:pt x="2338" y="2002"/>
                    </a:lnTo>
                    <a:lnTo>
                      <a:pt x="2350" y="1998"/>
                    </a:lnTo>
                    <a:lnTo>
                      <a:pt x="2354" y="1994"/>
                    </a:lnTo>
                    <a:lnTo>
                      <a:pt x="2354" y="1988"/>
                    </a:lnTo>
                    <a:lnTo>
                      <a:pt x="2352" y="1980"/>
                    </a:lnTo>
                    <a:lnTo>
                      <a:pt x="2356" y="1980"/>
                    </a:lnTo>
                    <a:lnTo>
                      <a:pt x="2360" y="1980"/>
                    </a:lnTo>
                    <a:lnTo>
                      <a:pt x="2366" y="1978"/>
                    </a:lnTo>
                    <a:lnTo>
                      <a:pt x="2372" y="1972"/>
                    </a:lnTo>
                    <a:lnTo>
                      <a:pt x="2380" y="1962"/>
                    </a:lnTo>
                    <a:lnTo>
                      <a:pt x="2388" y="1950"/>
                    </a:lnTo>
                    <a:lnTo>
                      <a:pt x="2390" y="1944"/>
                    </a:lnTo>
                    <a:lnTo>
                      <a:pt x="2394" y="1932"/>
                    </a:lnTo>
                    <a:lnTo>
                      <a:pt x="2396" y="1926"/>
                    </a:lnTo>
                    <a:lnTo>
                      <a:pt x="2400" y="1918"/>
                    </a:lnTo>
                    <a:lnTo>
                      <a:pt x="2408" y="1908"/>
                    </a:lnTo>
                    <a:lnTo>
                      <a:pt x="2422" y="1892"/>
                    </a:lnTo>
                    <a:lnTo>
                      <a:pt x="2450" y="1860"/>
                    </a:lnTo>
                    <a:lnTo>
                      <a:pt x="2470" y="1836"/>
                    </a:lnTo>
                    <a:lnTo>
                      <a:pt x="2494" y="1812"/>
                    </a:lnTo>
                    <a:lnTo>
                      <a:pt x="2532" y="1780"/>
                    </a:lnTo>
                    <a:lnTo>
                      <a:pt x="2556" y="1760"/>
                    </a:lnTo>
                    <a:lnTo>
                      <a:pt x="2580" y="1736"/>
                    </a:lnTo>
                    <a:lnTo>
                      <a:pt x="2604" y="1710"/>
                    </a:lnTo>
                    <a:lnTo>
                      <a:pt x="2626" y="1680"/>
                    </a:lnTo>
                    <a:lnTo>
                      <a:pt x="2646" y="1646"/>
                    </a:lnTo>
                    <a:lnTo>
                      <a:pt x="2666" y="1610"/>
                    </a:lnTo>
                    <a:lnTo>
                      <a:pt x="2686" y="1570"/>
                    </a:lnTo>
                    <a:lnTo>
                      <a:pt x="2702" y="1526"/>
                    </a:lnTo>
                    <a:lnTo>
                      <a:pt x="2712" y="1502"/>
                    </a:lnTo>
                    <a:lnTo>
                      <a:pt x="2722" y="1482"/>
                    </a:lnTo>
                    <a:lnTo>
                      <a:pt x="2738" y="1452"/>
                    </a:lnTo>
                    <a:lnTo>
                      <a:pt x="2750" y="1426"/>
                    </a:lnTo>
                    <a:lnTo>
                      <a:pt x="2752" y="1416"/>
                    </a:lnTo>
                    <a:lnTo>
                      <a:pt x="2754" y="1404"/>
                    </a:lnTo>
                    <a:lnTo>
                      <a:pt x="2758" y="1388"/>
                    </a:lnTo>
                    <a:lnTo>
                      <a:pt x="2762" y="1378"/>
                    </a:lnTo>
                    <a:lnTo>
                      <a:pt x="2768" y="1376"/>
                    </a:lnTo>
                    <a:lnTo>
                      <a:pt x="2772" y="1376"/>
                    </a:lnTo>
                    <a:lnTo>
                      <a:pt x="2776" y="1376"/>
                    </a:lnTo>
                    <a:lnTo>
                      <a:pt x="2770" y="1364"/>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38" name="Freeform 6155">
                <a:extLst>
                  <a:ext uri="{FF2B5EF4-FFF2-40B4-BE49-F238E27FC236}">
                    <a16:creationId xmlns:a16="http://schemas.microsoft.com/office/drawing/2014/main" id="{4AEB28E1-1A4E-E903-0ED5-8C7A83A6995C}"/>
                  </a:ext>
                </a:extLst>
              </p:cNvPr>
              <p:cNvSpPr>
                <a:spLocks noEditPoints="1"/>
              </p:cNvSpPr>
              <p:nvPr/>
            </p:nvSpPr>
            <p:spPr bwMode="auto">
              <a:xfrm>
                <a:off x="3668868" y="954013"/>
                <a:ext cx="1798726" cy="2608001"/>
              </a:xfrm>
              <a:custGeom>
                <a:avLst/>
                <a:gdLst>
                  <a:gd name="T0" fmla="*/ 794599 w 2834"/>
                  <a:gd name="T1" fmla="*/ 115556 h 4108"/>
                  <a:gd name="T2" fmla="*/ 750173 w 2834"/>
                  <a:gd name="T3" fmla="*/ 64762 h 4108"/>
                  <a:gd name="T4" fmla="*/ 742557 w 2834"/>
                  <a:gd name="T5" fmla="*/ 528256 h 4108"/>
                  <a:gd name="T6" fmla="*/ 842833 w 2834"/>
                  <a:gd name="T7" fmla="*/ 165080 h 4108"/>
                  <a:gd name="T8" fmla="*/ 708285 w 2834"/>
                  <a:gd name="T9" fmla="*/ 563811 h 4108"/>
                  <a:gd name="T10" fmla="*/ 635933 w 2834"/>
                  <a:gd name="T11" fmla="*/ 595557 h 4108"/>
                  <a:gd name="T12" fmla="*/ 684167 w 2834"/>
                  <a:gd name="T13" fmla="*/ 565081 h 4108"/>
                  <a:gd name="T14" fmla="*/ 836487 w 2834"/>
                  <a:gd name="T15" fmla="*/ 25397 h 4108"/>
                  <a:gd name="T16" fmla="*/ 91392 w 2834"/>
                  <a:gd name="T17" fmla="*/ 1043813 h 4108"/>
                  <a:gd name="T18" fmla="*/ 44426 w 2834"/>
                  <a:gd name="T19" fmla="*/ 1184766 h 4108"/>
                  <a:gd name="T20" fmla="*/ 107893 w 2834"/>
                  <a:gd name="T21" fmla="*/ 1048892 h 4108"/>
                  <a:gd name="T22" fmla="*/ 119317 w 2834"/>
                  <a:gd name="T23" fmla="*/ 1116194 h 4108"/>
                  <a:gd name="T24" fmla="*/ 171359 w 2834"/>
                  <a:gd name="T25" fmla="*/ 1036194 h 4108"/>
                  <a:gd name="T26" fmla="*/ 129471 w 2834"/>
                  <a:gd name="T27" fmla="*/ 1116194 h 4108"/>
                  <a:gd name="T28" fmla="*/ 148511 w 2834"/>
                  <a:gd name="T29" fmla="*/ 1240639 h 4108"/>
                  <a:gd name="T30" fmla="*/ 200554 w 2834"/>
                  <a:gd name="T31" fmla="*/ 1323179 h 4108"/>
                  <a:gd name="T32" fmla="*/ 397299 w 2834"/>
                  <a:gd name="T33" fmla="*/ 877463 h 4108"/>
                  <a:gd name="T34" fmla="*/ 224671 w 2834"/>
                  <a:gd name="T35" fmla="*/ 943495 h 4108"/>
                  <a:gd name="T36" fmla="*/ 331294 w 2834"/>
                  <a:gd name="T37" fmla="*/ 721272 h 4108"/>
                  <a:gd name="T38" fmla="*/ 114239 w 2834"/>
                  <a:gd name="T39" fmla="*/ 665399 h 4108"/>
                  <a:gd name="T40" fmla="*/ 151050 w 2834"/>
                  <a:gd name="T41" fmla="*/ 1219051 h 4108"/>
                  <a:gd name="T42" fmla="*/ 576275 w 2834"/>
                  <a:gd name="T43" fmla="*/ 1158099 h 4108"/>
                  <a:gd name="T44" fmla="*/ 580083 w 2834"/>
                  <a:gd name="T45" fmla="*/ 1159369 h 4108"/>
                  <a:gd name="T46" fmla="*/ 694322 w 2834"/>
                  <a:gd name="T47" fmla="*/ 1079368 h 4108"/>
                  <a:gd name="T48" fmla="*/ 401107 w 2834"/>
                  <a:gd name="T49" fmla="*/ 961273 h 4108"/>
                  <a:gd name="T50" fmla="*/ 840295 w 2834"/>
                  <a:gd name="T51" fmla="*/ 1010797 h 4108"/>
                  <a:gd name="T52" fmla="*/ 605469 w 2834"/>
                  <a:gd name="T53" fmla="*/ 1771434 h 4108"/>
                  <a:gd name="T54" fmla="*/ 799676 w 2834"/>
                  <a:gd name="T55" fmla="*/ 1789212 h 4108"/>
                  <a:gd name="T56" fmla="*/ 858065 w 2834"/>
                  <a:gd name="T57" fmla="*/ 1842545 h 4108"/>
                  <a:gd name="T58" fmla="*/ 1586659 w 2834"/>
                  <a:gd name="T59" fmla="*/ 2201912 h 4108"/>
                  <a:gd name="T60" fmla="*/ 1488921 w 2834"/>
                  <a:gd name="T61" fmla="*/ 2069848 h 4108"/>
                  <a:gd name="T62" fmla="*/ 1391183 w 2834"/>
                  <a:gd name="T63" fmla="*/ 620954 h 4108"/>
                  <a:gd name="T64" fmla="*/ 1212208 w 2834"/>
                  <a:gd name="T65" fmla="*/ 568891 h 4108"/>
                  <a:gd name="T66" fmla="*/ 974843 w 2834"/>
                  <a:gd name="T67" fmla="*/ 468573 h 4108"/>
                  <a:gd name="T68" fmla="*/ 856796 w 2834"/>
                  <a:gd name="T69" fmla="*/ 514287 h 4108"/>
                  <a:gd name="T70" fmla="*/ 732402 w 2834"/>
                  <a:gd name="T71" fmla="*/ 544764 h 4108"/>
                  <a:gd name="T72" fmla="*/ 657512 w 2834"/>
                  <a:gd name="T73" fmla="*/ 642542 h 4108"/>
                  <a:gd name="T74" fmla="*/ 562312 w 2834"/>
                  <a:gd name="T75" fmla="*/ 758098 h 4108"/>
                  <a:gd name="T76" fmla="*/ 446803 w 2834"/>
                  <a:gd name="T77" fmla="*/ 830479 h 4108"/>
                  <a:gd name="T78" fmla="*/ 396030 w 2834"/>
                  <a:gd name="T79" fmla="*/ 911749 h 4108"/>
                  <a:gd name="T80" fmla="*/ 482344 w 2834"/>
                  <a:gd name="T81" fmla="*/ 1027305 h 4108"/>
                  <a:gd name="T82" fmla="*/ 679090 w 2834"/>
                  <a:gd name="T83" fmla="*/ 1102226 h 4108"/>
                  <a:gd name="T84" fmla="*/ 728594 w 2834"/>
                  <a:gd name="T85" fmla="*/ 845717 h 4108"/>
                  <a:gd name="T86" fmla="*/ 818716 w 2834"/>
                  <a:gd name="T87" fmla="*/ 825399 h 4108"/>
                  <a:gd name="T88" fmla="*/ 984998 w 2834"/>
                  <a:gd name="T89" fmla="*/ 975241 h 4108"/>
                  <a:gd name="T90" fmla="*/ 748903 w 2834"/>
                  <a:gd name="T91" fmla="*/ 1168258 h 4108"/>
                  <a:gd name="T92" fmla="*/ 514078 w 2834"/>
                  <a:gd name="T93" fmla="*/ 1158099 h 4108"/>
                  <a:gd name="T94" fmla="*/ 486152 w 2834"/>
                  <a:gd name="T95" fmla="*/ 1146670 h 4108"/>
                  <a:gd name="T96" fmla="*/ 392222 w 2834"/>
                  <a:gd name="T97" fmla="*/ 1235559 h 4108"/>
                  <a:gd name="T98" fmla="*/ 185322 w 2834"/>
                  <a:gd name="T99" fmla="*/ 1389211 h 4108"/>
                  <a:gd name="T100" fmla="*/ 171359 w 2834"/>
                  <a:gd name="T101" fmla="*/ 1584767 h 4108"/>
                  <a:gd name="T102" fmla="*/ 180244 w 2834"/>
                  <a:gd name="T103" fmla="*/ 1823498 h 4108"/>
                  <a:gd name="T104" fmla="*/ 542003 w 2834"/>
                  <a:gd name="T105" fmla="*/ 1610164 h 4108"/>
                  <a:gd name="T106" fmla="*/ 628317 w 2834"/>
                  <a:gd name="T107" fmla="*/ 1615243 h 4108"/>
                  <a:gd name="T108" fmla="*/ 786983 w 2834"/>
                  <a:gd name="T109" fmla="*/ 1730799 h 4108"/>
                  <a:gd name="T110" fmla="*/ 884721 w 2834"/>
                  <a:gd name="T111" fmla="*/ 1789212 h 4108"/>
                  <a:gd name="T112" fmla="*/ 972305 w 2834"/>
                  <a:gd name="T113" fmla="*/ 1674926 h 4108"/>
                  <a:gd name="T114" fmla="*/ 1124624 w 2834"/>
                  <a:gd name="T115" fmla="*/ 1530163 h 4108"/>
                  <a:gd name="T116" fmla="*/ 1213477 w 2834"/>
                  <a:gd name="T117" fmla="*/ 1530163 h 4108"/>
                  <a:gd name="T118" fmla="*/ 976113 w 2834"/>
                  <a:gd name="T119" fmla="*/ 1692704 h 4108"/>
                  <a:gd name="T120" fmla="*/ 1042118 w 2834"/>
                  <a:gd name="T121" fmla="*/ 1838736 h 4108"/>
                  <a:gd name="T122" fmla="*/ 1153819 w 2834"/>
                  <a:gd name="T123" fmla="*/ 2114292 h 4108"/>
                  <a:gd name="T124" fmla="*/ 1426724 w 2834"/>
                  <a:gd name="T125" fmla="*/ 2595564 h 41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34"/>
                  <a:gd name="T190" fmla="*/ 0 h 4108"/>
                  <a:gd name="T191" fmla="*/ 2834 w 2834"/>
                  <a:gd name="T192" fmla="*/ 4108 h 410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34" h="4108">
                    <a:moveTo>
                      <a:pt x="1216" y="808"/>
                    </a:moveTo>
                    <a:lnTo>
                      <a:pt x="1216" y="808"/>
                    </a:lnTo>
                    <a:lnTo>
                      <a:pt x="1216" y="806"/>
                    </a:lnTo>
                    <a:lnTo>
                      <a:pt x="1212" y="804"/>
                    </a:lnTo>
                    <a:lnTo>
                      <a:pt x="1208" y="804"/>
                    </a:lnTo>
                    <a:lnTo>
                      <a:pt x="1206" y="804"/>
                    </a:lnTo>
                    <a:lnTo>
                      <a:pt x="1206" y="806"/>
                    </a:lnTo>
                    <a:lnTo>
                      <a:pt x="1210" y="808"/>
                    </a:lnTo>
                    <a:lnTo>
                      <a:pt x="1214" y="808"/>
                    </a:lnTo>
                    <a:lnTo>
                      <a:pt x="1216" y="808"/>
                    </a:lnTo>
                    <a:close/>
                    <a:moveTo>
                      <a:pt x="1202" y="798"/>
                    </a:moveTo>
                    <a:lnTo>
                      <a:pt x="1202" y="798"/>
                    </a:lnTo>
                    <a:lnTo>
                      <a:pt x="1198" y="798"/>
                    </a:lnTo>
                    <a:lnTo>
                      <a:pt x="1194" y="802"/>
                    </a:lnTo>
                    <a:lnTo>
                      <a:pt x="1194" y="806"/>
                    </a:lnTo>
                    <a:lnTo>
                      <a:pt x="1196" y="806"/>
                    </a:lnTo>
                    <a:lnTo>
                      <a:pt x="1200" y="806"/>
                    </a:lnTo>
                    <a:lnTo>
                      <a:pt x="1202" y="802"/>
                    </a:lnTo>
                    <a:lnTo>
                      <a:pt x="1202" y="800"/>
                    </a:lnTo>
                    <a:lnTo>
                      <a:pt x="1202" y="798"/>
                    </a:lnTo>
                    <a:close/>
                    <a:moveTo>
                      <a:pt x="1082" y="898"/>
                    </a:moveTo>
                    <a:lnTo>
                      <a:pt x="1082" y="898"/>
                    </a:lnTo>
                    <a:lnTo>
                      <a:pt x="1078" y="896"/>
                    </a:lnTo>
                    <a:lnTo>
                      <a:pt x="1074" y="900"/>
                    </a:lnTo>
                    <a:lnTo>
                      <a:pt x="1072" y="902"/>
                    </a:lnTo>
                    <a:lnTo>
                      <a:pt x="1072" y="906"/>
                    </a:lnTo>
                    <a:lnTo>
                      <a:pt x="1072" y="910"/>
                    </a:lnTo>
                    <a:lnTo>
                      <a:pt x="1066" y="914"/>
                    </a:lnTo>
                    <a:lnTo>
                      <a:pt x="1062" y="916"/>
                    </a:lnTo>
                    <a:lnTo>
                      <a:pt x="1064" y="914"/>
                    </a:lnTo>
                    <a:lnTo>
                      <a:pt x="1066" y="910"/>
                    </a:lnTo>
                    <a:lnTo>
                      <a:pt x="1064" y="908"/>
                    </a:lnTo>
                    <a:lnTo>
                      <a:pt x="1062" y="908"/>
                    </a:lnTo>
                    <a:lnTo>
                      <a:pt x="1060" y="908"/>
                    </a:lnTo>
                    <a:lnTo>
                      <a:pt x="1060" y="906"/>
                    </a:lnTo>
                    <a:lnTo>
                      <a:pt x="1062" y="902"/>
                    </a:lnTo>
                    <a:lnTo>
                      <a:pt x="1066" y="896"/>
                    </a:lnTo>
                    <a:lnTo>
                      <a:pt x="1066" y="894"/>
                    </a:lnTo>
                    <a:lnTo>
                      <a:pt x="1064" y="892"/>
                    </a:lnTo>
                    <a:lnTo>
                      <a:pt x="1058" y="892"/>
                    </a:lnTo>
                    <a:lnTo>
                      <a:pt x="1054" y="896"/>
                    </a:lnTo>
                    <a:lnTo>
                      <a:pt x="1048" y="900"/>
                    </a:lnTo>
                    <a:lnTo>
                      <a:pt x="1046" y="906"/>
                    </a:lnTo>
                    <a:lnTo>
                      <a:pt x="1046" y="912"/>
                    </a:lnTo>
                    <a:lnTo>
                      <a:pt x="1046" y="916"/>
                    </a:lnTo>
                    <a:lnTo>
                      <a:pt x="1046" y="918"/>
                    </a:lnTo>
                    <a:lnTo>
                      <a:pt x="1042" y="920"/>
                    </a:lnTo>
                    <a:lnTo>
                      <a:pt x="1036" y="922"/>
                    </a:lnTo>
                    <a:lnTo>
                      <a:pt x="1036" y="924"/>
                    </a:lnTo>
                    <a:lnTo>
                      <a:pt x="1036" y="928"/>
                    </a:lnTo>
                    <a:lnTo>
                      <a:pt x="1032" y="938"/>
                    </a:lnTo>
                    <a:lnTo>
                      <a:pt x="1030" y="942"/>
                    </a:lnTo>
                    <a:lnTo>
                      <a:pt x="1034" y="940"/>
                    </a:lnTo>
                    <a:lnTo>
                      <a:pt x="1040" y="938"/>
                    </a:lnTo>
                    <a:lnTo>
                      <a:pt x="1044" y="938"/>
                    </a:lnTo>
                    <a:lnTo>
                      <a:pt x="1048" y="940"/>
                    </a:lnTo>
                    <a:lnTo>
                      <a:pt x="1050" y="940"/>
                    </a:lnTo>
                    <a:lnTo>
                      <a:pt x="1052" y="940"/>
                    </a:lnTo>
                    <a:lnTo>
                      <a:pt x="1054" y="936"/>
                    </a:lnTo>
                    <a:lnTo>
                      <a:pt x="1056" y="934"/>
                    </a:lnTo>
                    <a:lnTo>
                      <a:pt x="1058" y="932"/>
                    </a:lnTo>
                    <a:lnTo>
                      <a:pt x="1060" y="934"/>
                    </a:lnTo>
                    <a:lnTo>
                      <a:pt x="1062" y="936"/>
                    </a:lnTo>
                    <a:lnTo>
                      <a:pt x="1064" y="936"/>
                    </a:lnTo>
                    <a:lnTo>
                      <a:pt x="1068" y="930"/>
                    </a:lnTo>
                    <a:lnTo>
                      <a:pt x="1070" y="926"/>
                    </a:lnTo>
                    <a:lnTo>
                      <a:pt x="1072" y="924"/>
                    </a:lnTo>
                    <a:lnTo>
                      <a:pt x="1076" y="920"/>
                    </a:lnTo>
                    <a:lnTo>
                      <a:pt x="1084" y="920"/>
                    </a:lnTo>
                    <a:lnTo>
                      <a:pt x="1088" y="918"/>
                    </a:lnTo>
                    <a:lnTo>
                      <a:pt x="1090" y="916"/>
                    </a:lnTo>
                    <a:lnTo>
                      <a:pt x="1090" y="914"/>
                    </a:lnTo>
                    <a:lnTo>
                      <a:pt x="1090" y="910"/>
                    </a:lnTo>
                    <a:lnTo>
                      <a:pt x="1086" y="904"/>
                    </a:lnTo>
                    <a:lnTo>
                      <a:pt x="1082" y="898"/>
                    </a:lnTo>
                    <a:close/>
                    <a:moveTo>
                      <a:pt x="1190" y="808"/>
                    </a:moveTo>
                    <a:lnTo>
                      <a:pt x="1190" y="808"/>
                    </a:lnTo>
                    <a:lnTo>
                      <a:pt x="1188" y="808"/>
                    </a:lnTo>
                    <a:lnTo>
                      <a:pt x="1186" y="808"/>
                    </a:lnTo>
                    <a:lnTo>
                      <a:pt x="1184" y="808"/>
                    </a:lnTo>
                    <a:lnTo>
                      <a:pt x="1182" y="808"/>
                    </a:lnTo>
                    <a:lnTo>
                      <a:pt x="1180" y="808"/>
                    </a:lnTo>
                    <a:lnTo>
                      <a:pt x="1178" y="810"/>
                    </a:lnTo>
                    <a:lnTo>
                      <a:pt x="1176" y="814"/>
                    </a:lnTo>
                    <a:lnTo>
                      <a:pt x="1178" y="814"/>
                    </a:lnTo>
                    <a:lnTo>
                      <a:pt x="1178" y="816"/>
                    </a:lnTo>
                    <a:lnTo>
                      <a:pt x="1184" y="814"/>
                    </a:lnTo>
                    <a:lnTo>
                      <a:pt x="1188" y="810"/>
                    </a:lnTo>
                    <a:lnTo>
                      <a:pt x="1190" y="808"/>
                    </a:lnTo>
                    <a:close/>
                    <a:moveTo>
                      <a:pt x="1400" y="746"/>
                    </a:moveTo>
                    <a:lnTo>
                      <a:pt x="1400" y="746"/>
                    </a:lnTo>
                    <a:lnTo>
                      <a:pt x="1394" y="744"/>
                    </a:lnTo>
                    <a:lnTo>
                      <a:pt x="1390" y="744"/>
                    </a:lnTo>
                    <a:lnTo>
                      <a:pt x="1388" y="744"/>
                    </a:lnTo>
                    <a:lnTo>
                      <a:pt x="1390" y="748"/>
                    </a:lnTo>
                    <a:lnTo>
                      <a:pt x="1394" y="750"/>
                    </a:lnTo>
                    <a:lnTo>
                      <a:pt x="1398" y="750"/>
                    </a:lnTo>
                    <a:lnTo>
                      <a:pt x="1400" y="748"/>
                    </a:lnTo>
                    <a:lnTo>
                      <a:pt x="1400" y="746"/>
                    </a:lnTo>
                    <a:close/>
                    <a:moveTo>
                      <a:pt x="1252" y="182"/>
                    </a:moveTo>
                    <a:lnTo>
                      <a:pt x="1252" y="182"/>
                    </a:lnTo>
                    <a:lnTo>
                      <a:pt x="1256" y="186"/>
                    </a:lnTo>
                    <a:lnTo>
                      <a:pt x="1256" y="188"/>
                    </a:lnTo>
                    <a:lnTo>
                      <a:pt x="1258" y="190"/>
                    </a:lnTo>
                    <a:lnTo>
                      <a:pt x="1258" y="192"/>
                    </a:lnTo>
                    <a:lnTo>
                      <a:pt x="1262" y="192"/>
                    </a:lnTo>
                    <a:lnTo>
                      <a:pt x="1272" y="190"/>
                    </a:lnTo>
                    <a:lnTo>
                      <a:pt x="1290" y="186"/>
                    </a:lnTo>
                    <a:lnTo>
                      <a:pt x="1306" y="186"/>
                    </a:lnTo>
                    <a:lnTo>
                      <a:pt x="1312" y="184"/>
                    </a:lnTo>
                    <a:lnTo>
                      <a:pt x="1316" y="182"/>
                    </a:lnTo>
                    <a:lnTo>
                      <a:pt x="1318" y="178"/>
                    </a:lnTo>
                    <a:lnTo>
                      <a:pt x="1318" y="172"/>
                    </a:lnTo>
                    <a:lnTo>
                      <a:pt x="1316" y="166"/>
                    </a:lnTo>
                    <a:lnTo>
                      <a:pt x="1312" y="162"/>
                    </a:lnTo>
                    <a:lnTo>
                      <a:pt x="1306" y="160"/>
                    </a:lnTo>
                    <a:lnTo>
                      <a:pt x="1300" y="158"/>
                    </a:lnTo>
                    <a:lnTo>
                      <a:pt x="1284" y="158"/>
                    </a:lnTo>
                    <a:lnTo>
                      <a:pt x="1266" y="162"/>
                    </a:lnTo>
                    <a:lnTo>
                      <a:pt x="1250" y="166"/>
                    </a:lnTo>
                    <a:lnTo>
                      <a:pt x="1238" y="168"/>
                    </a:lnTo>
                    <a:lnTo>
                      <a:pt x="1238" y="170"/>
                    </a:lnTo>
                    <a:lnTo>
                      <a:pt x="1238" y="174"/>
                    </a:lnTo>
                    <a:lnTo>
                      <a:pt x="1252" y="182"/>
                    </a:lnTo>
                    <a:close/>
                    <a:moveTo>
                      <a:pt x="1236" y="808"/>
                    </a:moveTo>
                    <a:lnTo>
                      <a:pt x="1236" y="808"/>
                    </a:lnTo>
                    <a:lnTo>
                      <a:pt x="1238" y="806"/>
                    </a:lnTo>
                    <a:lnTo>
                      <a:pt x="1236" y="804"/>
                    </a:lnTo>
                    <a:lnTo>
                      <a:pt x="1228" y="802"/>
                    </a:lnTo>
                    <a:lnTo>
                      <a:pt x="1224" y="798"/>
                    </a:lnTo>
                    <a:lnTo>
                      <a:pt x="1220" y="796"/>
                    </a:lnTo>
                    <a:lnTo>
                      <a:pt x="1216" y="794"/>
                    </a:lnTo>
                    <a:lnTo>
                      <a:pt x="1216" y="798"/>
                    </a:lnTo>
                    <a:lnTo>
                      <a:pt x="1216" y="802"/>
                    </a:lnTo>
                    <a:lnTo>
                      <a:pt x="1220" y="806"/>
                    </a:lnTo>
                    <a:lnTo>
                      <a:pt x="1228" y="810"/>
                    </a:lnTo>
                    <a:lnTo>
                      <a:pt x="1236" y="808"/>
                    </a:lnTo>
                    <a:close/>
                    <a:moveTo>
                      <a:pt x="902" y="108"/>
                    </a:moveTo>
                    <a:lnTo>
                      <a:pt x="902" y="108"/>
                    </a:lnTo>
                    <a:lnTo>
                      <a:pt x="902" y="114"/>
                    </a:lnTo>
                    <a:lnTo>
                      <a:pt x="904" y="120"/>
                    </a:lnTo>
                    <a:lnTo>
                      <a:pt x="906" y="124"/>
                    </a:lnTo>
                    <a:lnTo>
                      <a:pt x="910" y="126"/>
                    </a:lnTo>
                    <a:lnTo>
                      <a:pt x="912" y="128"/>
                    </a:lnTo>
                    <a:lnTo>
                      <a:pt x="910" y="128"/>
                    </a:lnTo>
                    <a:lnTo>
                      <a:pt x="900" y="130"/>
                    </a:lnTo>
                    <a:lnTo>
                      <a:pt x="886" y="130"/>
                    </a:lnTo>
                    <a:lnTo>
                      <a:pt x="884" y="132"/>
                    </a:lnTo>
                    <a:lnTo>
                      <a:pt x="886" y="136"/>
                    </a:lnTo>
                    <a:lnTo>
                      <a:pt x="898" y="148"/>
                    </a:lnTo>
                    <a:lnTo>
                      <a:pt x="922" y="172"/>
                    </a:lnTo>
                    <a:lnTo>
                      <a:pt x="936" y="184"/>
                    </a:lnTo>
                    <a:lnTo>
                      <a:pt x="948" y="192"/>
                    </a:lnTo>
                    <a:lnTo>
                      <a:pt x="960" y="194"/>
                    </a:lnTo>
                    <a:lnTo>
                      <a:pt x="970" y="192"/>
                    </a:lnTo>
                    <a:lnTo>
                      <a:pt x="980" y="188"/>
                    </a:lnTo>
                    <a:lnTo>
                      <a:pt x="990" y="182"/>
                    </a:lnTo>
                    <a:lnTo>
                      <a:pt x="1018" y="164"/>
                    </a:lnTo>
                    <a:lnTo>
                      <a:pt x="1038" y="152"/>
                    </a:lnTo>
                    <a:lnTo>
                      <a:pt x="1040" y="152"/>
                    </a:lnTo>
                    <a:lnTo>
                      <a:pt x="1042" y="154"/>
                    </a:lnTo>
                    <a:lnTo>
                      <a:pt x="1042" y="158"/>
                    </a:lnTo>
                    <a:lnTo>
                      <a:pt x="1048" y="160"/>
                    </a:lnTo>
                    <a:lnTo>
                      <a:pt x="1056" y="164"/>
                    </a:lnTo>
                    <a:lnTo>
                      <a:pt x="1072" y="166"/>
                    </a:lnTo>
                    <a:lnTo>
                      <a:pt x="1088" y="168"/>
                    </a:lnTo>
                    <a:lnTo>
                      <a:pt x="1096" y="170"/>
                    </a:lnTo>
                    <a:lnTo>
                      <a:pt x="1094" y="172"/>
                    </a:lnTo>
                    <a:lnTo>
                      <a:pt x="1088" y="176"/>
                    </a:lnTo>
                    <a:lnTo>
                      <a:pt x="1058" y="186"/>
                    </a:lnTo>
                    <a:lnTo>
                      <a:pt x="1014" y="198"/>
                    </a:lnTo>
                    <a:lnTo>
                      <a:pt x="994" y="206"/>
                    </a:lnTo>
                    <a:lnTo>
                      <a:pt x="980" y="210"/>
                    </a:lnTo>
                    <a:lnTo>
                      <a:pt x="972" y="216"/>
                    </a:lnTo>
                    <a:lnTo>
                      <a:pt x="970" y="218"/>
                    </a:lnTo>
                    <a:lnTo>
                      <a:pt x="970" y="220"/>
                    </a:lnTo>
                    <a:lnTo>
                      <a:pt x="976" y="222"/>
                    </a:lnTo>
                    <a:lnTo>
                      <a:pt x="988" y="224"/>
                    </a:lnTo>
                    <a:lnTo>
                      <a:pt x="1008" y="224"/>
                    </a:lnTo>
                    <a:lnTo>
                      <a:pt x="1034" y="222"/>
                    </a:lnTo>
                    <a:lnTo>
                      <a:pt x="1058" y="220"/>
                    </a:lnTo>
                    <a:lnTo>
                      <a:pt x="1072" y="220"/>
                    </a:lnTo>
                    <a:lnTo>
                      <a:pt x="1074" y="222"/>
                    </a:lnTo>
                    <a:lnTo>
                      <a:pt x="1076" y="222"/>
                    </a:lnTo>
                    <a:lnTo>
                      <a:pt x="1072" y="226"/>
                    </a:lnTo>
                    <a:lnTo>
                      <a:pt x="1064" y="232"/>
                    </a:lnTo>
                    <a:lnTo>
                      <a:pt x="1050" y="236"/>
                    </a:lnTo>
                    <a:lnTo>
                      <a:pt x="1036" y="242"/>
                    </a:lnTo>
                    <a:lnTo>
                      <a:pt x="1018" y="244"/>
                    </a:lnTo>
                    <a:lnTo>
                      <a:pt x="994" y="250"/>
                    </a:lnTo>
                    <a:lnTo>
                      <a:pt x="988" y="252"/>
                    </a:lnTo>
                    <a:lnTo>
                      <a:pt x="984" y="256"/>
                    </a:lnTo>
                    <a:lnTo>
                      <a:pt x="986" y="260"/>
                    </a:lnTo>
                    <a:lnTo>
                      <a:pt x="990" y="264"/>
                    </a:lnTo>
                    <a:lnTo>
                      <a:pt x="1014" y="274"/>
                    </a:lnTo>
                    <a:lnTo>
                      <a:pt x="1028" y="280"/>
                    </a:lnTo>
                    <a:lnTo>
                      <a:pt x="1036" y="286"/>
                    </a:lnTo>
                    <a:lnTo>
                      <a:pt x="1048" y="296"/>
                    </a:lnTo>
                    <a:lnTo>
                      <a:pt x="1052" y="302"/>
                    </a:lnTo>
                    <a:lnTo>
                      <a:pt x="1060" y="308"/>
                    </a:lnTo>
                    <a:lnTo>
                      <a:pt x="1072" y="312"/>
                    </a:lnTo>
                    <a:lnTo>
                      <a:pt x="1090" y="318"/>
                    </a:lnTo>
                    <a:lnTo>
                      <a:pt x="1098" y="320"/>
                    </a:lnTo>
                    <a:lnTo>
                      <a:pt x="1104" y="320"/>
                    </a:lnTo>
                    <a:lnTo>
                      <a:pt x="1110" y="318"/>
                    </a:lnTo>
                    <a:lnTo>
                      <a:pt x="1114" y="316"/>
                    </a:lnTo>
                    <a:lnTo>
                      <a:pt x="1116" y="312"/>
                    </a:lnTo>
                    <a:lnTo>
                      <a:pt x="1116" y="306"/>
                    </a:lnTo>
                    <a:lnTo>
                      <a:pt x="1118" y="294"/>
                    </a:lnTo>
                    <a:lnTo>
                      <a:pt x="1120" y="282"/>
                    </a:lnTo>
                    <a:lnTo>
                      <a:pt x="1124" y="268"/>
                    </a:lnTo>
                    <a:lnTo>
                      <a:pt x="1128" y="262"/>
                    </a:lnTo>
                    <a:lnTo>
                      <a:pt x="1132" y="256"/>
                    </a:lnTo>
                    <a:lnTo>
                      <a:pt x="1138" y="252"/>
                    </a:lnTo>
                    <a:lnTo>
                      <a:pt x="1146" y="248"/>
                    </a:lnTo>
                    <a:lnTo>
                      <a:pt x="1160" y="242"/>
                    </a:lnTo>
                    <a:lnTo>
                      <a:pt x="1166" y="236"/>
                    </a:lnTo>
                    <a:lnTo>
                      <a:pt x="1166" y="230"/>
                    </a:lnTo>
                    <a:lnTo>
                      <a:pt x="1164" y="224"/>
                    </a:lnTo>
                    <a:lnTo>
                      <a:pt x="1162" y="218"/>
                    </a:lnTo>
                    <a:lnTo>
                      <a:pt x="1162" y="214"/>
                    </a:lnTo>
                    <a:lnTo>
                      <a:pt x="1162" y="212"/>
                    </a:lnTo>
                    <a:lnTo>
                      <a:pt x="1166" y="208"/>
                    </a:lnTo>
                    <a:lnTo>
                      <a:pt x="1176" y="204"/>
                    </a:lnTo>
                    <a:lnTo>
                      <a:pt x="1182" y="202"/>
                    </a:lnTo>
                    <a:lnTo>
                      <a:pt x="1188" y="200"/>
                    </a:lnTo>
                    <a:lnTo>
                      <a:pt x="1190" y="196"/>
                    </a:lnTo>
                    <a:lnTo>
                      <a:pt x="1192" y="192"/>
                    </a:lnTo>
                    <a:lnTo>
                      <a:pt x="1194" y="186"/>
                    </a:lnTo>
                    <a:lnTo>
                      <a:pt x="1194" y="178"/>
                    </a:lnTo>
                    <a:lnTo>
                      <a:pt x="1196" y="170"/>
                    </a:lnTo>
                    <a:lnTo>
                      <a:pt x="1198" y="166"/>
                    </a:lnTo>
                    <a:lnTo>
                      <a:pt x="1202" y="164"/>
                    </a:lnTo>
                    <a:lnTo>
                      <a:pt x="1206" y="160"/>
                    </a:lnTo>
                    <a:lnTo>
                      <a:pt x="1212" y="158"/>
                    </a:lnTo>
                    <a:lnTo>
                      <a:pt x="1234" y="156"/>
                    </a:lnTo>
                    <a:lnTo>
                      <a:pt x="1272" y="152"/>
                    </a:lnTo>
                    <a:lnTo>
                      <a:pt x="1284" y="148"/>
                    </a:lnTo>
                    <a:lnTo>
                      <a:pt x="1290" y="146"/>
                    </a:lnTo>
                    <a:lnTo>
                      <a:pt x="1290" y="144"/>
                    </a:lnTo>
                    <a:lnTo>
                      <a:pt x="1290" y="142"/>
                    </a:lnTo>
                    <a:lnTo>
                      <a:pt x="1284" y="138"/>
                    </a:lnTo>
                    <a:lnTo>
                      <a:pt x="1274" y="136"/>
                    </a:lnTo>
                    <a:lnTo>
                      <a:pt x="1260" y="130"/>
                    </a:lnTo>
                    <a:lnTo>
                      <a:pt x="1244" y="126"/>
                    </a:lnTo>
                    <a:lnTo>
                      <a:pt x="1236" y="124"/>
                    </a:lnTo>
                    <a:lnTo>
                      <a:pt x="1226" y="118"/>
                    </a:lnTo>
                    <a:lnTo>
                      <a:pt x="1224" y="116"/>
                    </a:lnTo>
                    <a:lnTo>
                      <a:pt x="1220" y="114"/>
                    </a:lnTo>
                    <a:lnTo>
                      <a:pt x="1202" y="114"/>
                    </a:lnTo>
                    <a:lnTo>
                      <a:pt x="1190" y="112"/>
                    </a:lnTo>
                    <a:lnTo>
                      <a:pt x="1186" y="110"/>
                    </a:lnTo>
                    <a:lnTo>
                      <a:pt x="1184" y="106"/>
                    </a:lnTo>
                    <a:lnTo>
                      <a:pt x="1182" y="102"/>
                    </a:lnTo>
                    <a:lnTo>
                      <a:pt x="1182" y="96"/>
                    </a:lnTo>
                    <a:lnTo>
                      <a:pt x="1182" y="90"/>
                    </a:lnTo>
                    <a:lnTo>
                      <a:pt x="1178" y="84"/>
                    </a:lnTo>
                    <a:lnTo>
                      <a:pt x="1170" y="78"/>
                    </a:lnTo>
                    <a:lnTo>
                      <a:pt x="1162" y="74"/>
                    </a:lnTo>
                    <a:lnTo>
                      <a:pt x="1156" y="76"/>
                    </a:lnTo>
                    <a:lnTo>
                      <a:pt x="1152" y="82"/>
                    </a:lnTo>
                    <a:lnTo>
                      <a:pt x="1148" y="88"/>
                    </a:lnTo>
                    <a:lnTo>
                      <a:pt x="1144" y="96"/>
                    </a:lnTo>
                    <a:lnTo>
                      <a:pt x="1144" y="98"/>
                    </a:lnTo>
                    <a:lnTo>
                      <a:pt x="1142" y="94"/>
                    </a:lnTo>
                    <a:lnTo>
                      <a:pt x="1140" y="84"/>
                    </a:lnTo>
                    <a:lnTo>
                      <a:pt x="1140" y="78"/>
                    </a:lnTo>
                    <a:lnTo>
                      <a:pt x="1142" y="74"/>
                    </a:lnTo>
                    <a:lnTo>
                      <a:pt x="1144" y="70"/>
                    </a:lnTo>
                    <a:lnTo>
                      <a:pt x="1150" y="66"/>
                    </a:lnTo>
                    <a:lnTo>
                      <a:pt x="1152" y="64"/>
                    </a:lnTo>
                    <a:lnTo>
                      <a:pt x="1132" y="54"/>
                    </a:lnTo>
                    <a:lnTo>
                      <a:pt x="1124" y="50"/>
                    </a:lnTo>
                    <a:lnTo>
                      <a:pt x="1108" y="50"/>
                    </a:lnTo>
                    <a:lnTo>
                      <a:pt x="1100" y="50"/>
                    </a:lnTo>
                    <a:lnTo>
                      <a:pt x="1092" y="48"/>
                    </a:lnTo>
                    <a:lnTo>
                      <a:pt x="1084" y="42"/>
                    </a:lnTo>
                    <a:lnTo>
                      <a:pt x="1080" y="40"/>
                    </a:lnTo>
                    <a:lnTo>
                      <a:pt x="1076" y="40"/>
                    </a:lnTo>
                    <a:lnTo>
                      <a:pt x="1070" y="40"/>
                    </a:lnTo>
                    <a:lnTo>
                      <a:pt x="1062" y="44"/>
                    </a:lnTo>
                    <a:lnTo>
                      <a:pt x="1058" y="48"/>
                    </a:lnTo>
                    <a:lnTo>
                      <a:pt x="1056" y="54"/>
                    </a:lnTo>
                    <a:lnTo>
                      <a:pt x="1054" y="58"/>
                    </a:lnTo>
                    <a:lnTo>
                      <a:pt x="1056" y="66"/>
                    </a:lnTo>
                    <a:lnTo>
                      <a:pt x="1060" y="80"/>
                    </a:lnTo>
                    <a:lnTo>
                      <a:pt x="1068" y="94"/>
                    </a:lnTo>
                    <a:lnTo>
                      <a:pt x="1084" y="120"/>
                    </a:lnTo>
                    <a:lnTo>
                      <a:pt x="1086" y="130"/>
                    </a:lnTo>
                    <a:lnTo>
                      <a:pt x="1086" y="132"/>
                    </a:lnTo>
                    <a:lnTo>
                      <a:pt x="1084" y="132"/>
                    </a:lnTo>
                    <a:lnTo>
                      <a:pt x="1080" y="132"/>
                    </a:lnTo>
                    <a:lnTo>
                      <a:pt x="1076" y="130"/>
                    </a:lnTo>
                    <a:lnTo>
                      <a:pt x="1068" y="122"/>
                    </a:lnTo>
                    <a:lnTo>
                      <a:pt x="1048" y="96"/>
                    </a:lnTo>
                    <a:lnTo>
                      <a:pt x="1036" y="82"/>
                    </a:lnTo>
                    <a:lnTo>
                      <a:pt x="1026" y="72"/>
                    </a:lnTo>
                    <a:lnTo>
                      <a:pt x="1020" y="68"/>
                    </a:lnTo>
                    <a:lnTo>
                      <a:pt x="1014" y="66"/>
                    </a:lnTo>
                    <a:lnTo>
                      <a:pt x="1008" y="64"/>
                    </a:lnTo>
                    <a:lnTo>
                      <a:pt x="1004" y="66"/>
                    </a:lnTo>
                    <a:lnTo>
                      <a:pt x="998" y="68"/>
                    </a:lnTo>
                    <a:lnTo>
                      <a:pt x="994" y="70"/>
                    </a:lnTo>
                    <a:lnTo>
                      <a:pt x="990" y="78"/>
                    </a:lnTo>
                    <a:lnTo>
                      <a:pt x="988" y="88"/>
                    </a:lnTo>
                    <a:lnTo>
                      <a:pt x="986" y="96"/>
                    </a:lnTo>
                    <a:lnTo>
                      <a:pt x="986" y="108"/>
                    </a:lnTo>
                    <a:lnTo>
                      <a:pt x="984" y="106"/>
                    </a:lnTo>
                    <a:lnTo>
                      <a:pt x="980" y="100"/>
                    </a:lnTo>
                    <a:lnTo>
                      <a:pt x="974" y="90"/>
                    </a:lnTo>
                    <a:lnTo>
                      <a:pt x="968" y="84"/>
                    </a:lnTo>
                    <a:lnTo>
                      <a:pt x="960" y="80"/>
                    </a:lnTo>
                    <a:lnTo>
                      <a:pt x="954" y="78"/>
                    </a:lnTo>
                    <a:lnTo>
                      <a:pt x="950" y="76"/>
                    </a:lnTo>
                    <a:lnTo>
                      <a:pt x="948" y="76"/>
                    </a:lnTo>
                    <a:lnTo>
                      <a:pt x="960" y="72"/>
                    </a:lnTo>
                    <a:lnTo>
                      <a:pt x="972" y="70"/>
                    </a:lnTo>
                    <a:lnTo>
                      <a:pt x="978" y="66"/>
                    </a:lnTo>
                    <a:lnTo>
                      <a:pt x="984" y="62"/>
                    </a:lnTo>
                    <a:lnTo>
                      <a:pt x="984" y="60"/>
                    </a:lnTo>
                    <a:lnTo>
                      <a:pt x="982" y="56"/>
                    </a:lnTo>
                    <a:lnTo>
                      <a:pt x="978" y="56"/>
                    </a:lnTo>
                    <a:lnTo>
                      <a:pt x="970" y="56"/>
                    </a:lnTo>
                    <a:lnTo>
                      <a:pt x="958" y="60"/>
                    </a:lnTo>
                    <a:lnTo>
                      <a:pt x="946" y="62"/>
                    </a:lnTo>
                    <a:lnTo>
                      <a:pt x="938" y="62"/>
                    </a:lnTo>
                    <a:lnTo>
                      <a:pt x="934" y="62"/>
                    </a:lnTo>
                    <a:lnTo>
                      <a:pt x="930" y="58"/>
                    </a:lnTo>
                    <a:lnTo>
                      <a:pt x="928" y="56"/>
                    </a:lnTo>
                    <a:lnTo>
                      <a:pt x="926" y="56"/>
                    </a:lnTo>
                    <a:lnTo>
                      <a:pt x="922" y="58"/>
                    </a:lnTo>
                    <a:lnTo>
                      <a:pt x="916" y="60"/>
                    </a:lnTo>
                    <a:lnTo>
                      <a:pt x="908" y="64"/>
                    </a:lnTo>
                    <a:lnTo>
                      <a:pt x="904" y="64"/>
                    </a:lnTo>
                    <a:lnTo>
                      <a:pt x="902" y="64"/>
                    </a:lnTo>
                    <a:lnTo>
                      <a:pt x="900" y="60"/>
                    </a:lnTo>
                    <a:lnTo>
                      <a:pt x="896" y="58"/>
                    </a:lnTo>
                    <a:lnTo>
                      <a:pt x="892" y="58"/>
                    </a:lnTo>
                    <a:lnTo>
                      <a:pt x="884" y="60"/>
                    </a:lnTo>
                    <a:lnTo>
                      <a:pt x="874" y="64"/>
                    </a:lnTo>
                    <a:lnTo>
                      <a:pt x="862" y="72"/>
                    </a:lnTo>
                    <a:lnTo>
                      <a:pt x="856" y="78"/>
                    </a:lnTo>
                    <a:lnTo>
                      <a:pt x="854" y="82"/>
                    </a:lnTo>
                    <a:lnTo>
                      <a:pt x="854" y="88"/>
                    </a:lnTo>
                    <a:lnTo>
                      <a:pt x="858" y="92"/>
                    </a:lnTo>
                    <a:lnTo>
                      <a:pt x="862" y="98"/>
                    </a:lnTo>
                    <a:lnTo>
                      <a:pt x="872" y="112"/>
                    </a:lnTo>
                    <a:lnTo>
                      <a:pt x="878" y="116"/>
                    </a:lnTo>
                    <a:lnTo>
                      <a:pt x="884" y="118"/>
                    </a:lnTo>
                    <a:lnTo>
                      <a:pt x="890" y="114"/>
                    </a:lnTo>
                    <a:lnTo>
                      <a:pt x="894" y="110"/>
                    </a:lnTo>
                    <a:lnTo>
                      <a:pt x="902" y="104"/>
                    </a:lnTo>
                    <a:lnTo>
                      <a:pt x="902" y="108"/>
                    </a:lnTo>
                    <a:close/>
                    <a:moveTo>
                      <a:pt x="1272" y="818"/>
                    </a:moveTo>
                    <a:lnTo>
                      <a:pt x="1272" y="818"/>
                    </a:lnTo>
                    <a:lnTo>
                      <a:pt x="1272" y="816"/>
                    </a:lnTo>
                    <a:lnTo>
                      <a:pt x="1270" y="814"/>
                    </a:lnTo>
                    <a:lnTo>
                      <a:pt x="1266" y="812"/>
                    </a:lnTo>
                    <a:lnTo>
                      <a:pt x="1264" y="814"/>
                    </a:lnTo>
                    <a:lnTo>
                      <a:pt x="1264" y="818"/>
                    </a:lnTo>
                    <a:lnTo>
                      <a:pt x="1264" y="820"/>
                    </a:lnTo>
                    <a:lnTo>
                      <a:pt x="1272" y="818"/>
                    </a:lnTo>
                    <a:close/>
                    <a:moveTo>
                      <a:pt x="1168" y="848"/>
                    </a:moveTo>
                    <a:lnTo>
                      <a:pt x="1168" y="848"/>
                    </a:lnTo>
                    <a:lnTo>
                      <a:pt x="1176" y="848"/>
                    </a:lnTo>
                    <a:lnTo>
                      <a:pt x="1180" y="848"/>
                    </a:lnTo>
                    <a:lnTo>
                      <a:pt x="1182" y="844"/>
                    </a:lnTo>
                    <a:lnTo>
                      <a:pt x="1184" y="840"/>
                    </a:lnTo>
                    <a:lnTo>
                      <a:pt x="1190" y="836"/>
                    </a:lnTo>
                    <a:lnTo>
                      <a:pt x="1192" y="834"/>
                    </a:lnTo>
                    <a:lnTo>
                      <a:pt x="1192" y="832"/>
                    </a:lnTo>
                    <a:lnTo>
                      <a:pt x="1192" y="830"/>
                    </a:lnTo>
                    <a:lnTo>
                      <a:pt x="1188" y="828"/>
                    </a:lnTo>
                    <a:lnTo>
                      <a:pt x="1182" y="826"/>
                    </a:lnTo>
                    <a:lnTo>
                      <a:pt x="1180" y="826"/>
                    </a:lnTo>
                    <a:lnTo>
                      <a:pt x="1180" y="828"/>
                    </a:lnTo>
                    <a:lnTo>
                      <a:pt x="1176" y="830"/>
                    </a:lnTo>
                    <a:lnTo>
                      <a:pt x="1174" y="830"/>
                    </a:lnTo>
                    <a:lnTo>
                      <a:pt x="1172" y="832"/>
                    </a:lnTo>
                    <a:lnTo>
                      <a:pt x="1170" y="832"/>
                    </a:lnTo>
                    <a:lnTo>
                      <a:pt x="1166" y="832"/>
                    </a:lnTo>
                    <a:lnTo>
                      <a:pt x="1164" y="832"/>
                    </a:lnTo>
                    <a:lnTo>
                      <a:pt x="1162" y="834"/>
                    </a:lnTo>
                    <a:lnTo>
                      <a:pt x="1162" y="838"/>
                    </a:lnTo>
                    <a:lnTo>
                      <a:pt x="1160" y="842"/>
                    </a:lnTo>
                    <a:lnTo>
                      <a:pt x="1156" y="842"/>
                    </a:lnTo>
                    <a:lnTo>
                      <a:pt x="1154" y="842"/>
                    </a:lnTo>
                    <a:lnTo>
                      <a:pt x="1152" y="844"/>
                    </a:lnTo>
                    <a:lnTo>
                      <a:pt x="1152" y="846"/>
                    </a:lnTo>
                    <a:lnTo>
                      <a:pt x="1154" y="848"/>
                    </a:lnTo>
                    <a:lnTo>
                      <a:pt x="1168" y="848"/>
                    </a:lnTo>
                    <a:close/>
                    <a:moveTo>
                      <a:pt x="1214" y="822"/>
                    </a:moveTo>
                    <a:lnTo>
                      <a:pt x="1214" y="822"/>
                    </a:lnTo>
                    <a:lnTo>
                      <a:pt x="1218" y="816"/>
                    </a:lnTo>
                    <a:lnTo>
                      <a:pt x="1218" y="814"/>
                    </a:lnTo>
                    <a:lnTo>
                      <a:pt x="1216" y="814"/>
                    </a:lnTo>
                    <a:lnTo>
                      <a:pt x="1212" y="812"/>
                    </a:lnTo>
                    <a:lnTo>
                      <a:pt x="1208" y="814"/>
                    </a:lnTo>
                    <a:lnTo>
                      <a:pt x="1206" y="814"/>
                    </a:lnTo>
                    <a:lnTo>
                      <a:pt x="1202" y="812"/>
                    </a:lnTo>
                    <a:lnTo>
                      <a:pt x="1198" y="810"/>
                    </a:lnTo>
                    <a:lnTo>
                      <a:pt x="1196" y="812"/>
                    </a:lnTo>
                    <a:lnTo>
                      <a:pt x="1192" y="814"/>
                    </a:lnTo>
                    <a:lnTo>
                      <a:pt x="1190" y="814"/>
                    </a:lnTo>
                    <a:lnTo>
                      <a:pt x="1188" y="814"/>
                    </a:lnTo>
                    <a:lnTo>
                      <a:pt x="1188" y="816"/>
                    </a:lnTo>
                    <a:lnTo>
                      <a:pt x="1184" y="820"/>
                    </a:lnTo>
                    <a:lnTo>
                      <a:pt x="1182" y="822"/>
                    </a:lnTo>
                    <a:lnTo>
                      <a:pt x="1184" y="824"/>
                    </a:lnTo>
                    <a:lnTo>
                      <a:pt x="1190" y="824"/>
                    </a:lnTo>
                    <a:lnTo>
                      <a:pt x="1196" y="828"/>
                    </a:lnTo>
                    <a:lnTo>
                      <a:pt x="1200" y="830"/>
                    </a:lnTo>
                    <a:lnTo>
                      <a:pt x="1204" y="830"/>
                    </a:lnTo>
                    <a:lnTo>
                      <a:pt x="1214" y="822"/>
                    </a:lnTo>
                    <a:close/>
                    <a:moveTo>
                      <a:pt x="1352" y="792"/>
                    </a:moveTo>
                    <a:lnTo>
                      <a:pt x="1352" y="792"/>
                    </a:lnTo>
                    <a:lnTo>
                      <a:pt x="1348" y="790"/>
                    </a:lnTo>
                    <a:lnTo>
                      <a:pt x="1344" y="788"/>
                    </a:lnTo>
                    <a:lnTo>
                      <a:pt x="1338" y="788"/>
                    </a:lnTo>
                    <a:lnTo>
                      <a:pt x="1330" y="790"/>
                    </a:lnTo>
                    <a:lnTo>
                      <a:pt x="1328" y="792"/>
                    </a:lnTo>
                    <a:lnTo>
                      <a:pt x="1330" y="794"/>
                    </a:lnTo>
                    <a:lnTo>
                      <a:pt x="1340" y="798"/>
                    </a:lnTo>
                    <a:lnTo>
                      <a:pt x="1350" y="796"/>
                    </a:lnTo>
                    <a:lnTo>
                      <a:pt x="1352" y="796"/>
                    </a:lnTo>
                    <a:lnTo>
                      <a:pt x="1352" y="792"/>
                    </a:lnTo>
                    <a:close/>
                    <a:moveTo>
                      <a:pt x="1326" y="780"/>
                    </a:moveTo>
                    <a:lnTo>
                      <a:pt x="1326" y="780"/>
                    </a:lnTo>
                    <a:lnTo>
                      <a:pt x="1330" y="778"/>
                    </a:lnTo>
                    <a:lnTo>
                      <a:pt x="1334" y="776"/>
                    </a:lnTo>
                    <a:lnTo>
                      <a:pt x="1338" y="776"/>
                    </a:lnTo>
                    <a:lnTo>
                      <a:pt x="1342" y="776"/>
                    </a:lnTo>
                    <a:lnTo>
                      <a:pt x="1346" y="778"/>
                    </a:lnTo>
                    <a:lnTo>
                      <a:pt x="1350" y="776"/>
                    </a:lnTo>
                    <a:lnTo>
                      <a:pt x="1364" y="766"/>
                    </a:lnTo>
                    <a:lnTo>
                      <a:pt x="1372" y="760"/>
                    </a:lnTo>
                    <a:lnTo>
                      <a:pt x="1372" y="758"/>
                    </a:lnTo>
                    <a:lnTo>
                      <a:pt x="1372" y="756"/>
                    </a:lnTo>
                    <a:lnTo>
                      <a:pt x="1368" y="756"/>
                    </a:lnTo>
                    <a:lnTo>
                      <a:pt x="1362" y="756"/>
                    </a:lnTo>
                    <a:lnTo>
                      <a:pt x="1356" y="758"/>
                    </a:lnTo>
                    <a:lnTo>
                      <a:pt x="1358" y="760"/>
                    </a:lnTo>
                    <a:lnTo>
                      <a:pt x="1358" y="762"/>
                    </a:lnTo>
                    <a:lnTo>
                      <a:pt x="1356" y="764"/>
                    </a:lnTo>
                    <a:lnTo>
                      <a:pt x="1350" y="762"/>
                    </a:lnTo>
                    <a:lnTo>
                      <a:pt x="1348" y="762"/>
                    </a:lnTo>
                    <a:lnTo>
                      <a:pt x="1346" y="762"/>
                    </a:lnTo>
                    <a:lnTo>
                      <a:pt x="1342" y="766"/>
                    </a:lnTo>
                    <a:lnTo>
                      <a:pt x="1342" y="770"/>
                    </a:lnTo>
                    <a:lnTo>
                      <a:pt x="1340" y="768"/>
                    </a:lnTo>
                    <a:lnTo>
                      <a:pt x="1338" y="766"/>
                    </a:lnTo>
                    <a:lnTo>
                      <a:pt x="1332" y="766"/>
                    </a:lnTo>
                    <a:lnTo>
                      <a:pt x="1318" y="770"/>
                    </a:lnTo>
                    <a:lnTo>
                      <a:pt x="1314" y="774"/>
                    </a:lnTo>
                    <a:lnTo>
                      <a:pt x="1318" y="776"/>
                    </a:lnTo>
                    <a:lnTo>
                      <a:pt x="1320" y="776"/>
                    </a:lnTo>
                    <a:lnTo>
                      <a:pt x="1322" y="778"/>
                    </a:lnTo>
                    <a:lnTo>
                      <a:pt x="1320" y="780"/>
                    </a:lnTo>
                    <a:lnTo>
                      <a:pt x="1326" y="780"/>
                    </a:lnTo>
                    <a:close/>
                    <a:moveTo>
                      <a:pt x="1414" y="220"/>
                    </a:moveTo>
                    <a:lnTo>
                      <a:pt x="1414" y="220"/>
                    </a:lnTo>
                    <a:lnTo>
                      <a:pt x="1408" y="216"/>
                    </a:lnTo>
                    <a:lnTo>
                      <a:pt x="1402" y="216"/>
                    </a:lnTo>
                    <a:lnTo>
                      <a:pt x="1392" y="218"/>
                    </a:lnTo>
                    <a:lnTo>
                      <a:pt x="1388" y="220"/>
                    </a:lnTo>
                    <a:lnTo>
                      <a:pt x="1382" y="220"/>
                    </a:lnTo>
                    <a:lnTo>
                      <a:pt x="1374" y="218"/>
                    </a:lnTo>
                    <a:lnTo>
                      <a:pt x="1364" y="214"/>
                    </a:lnTo>
                    <a:lnTo>
                      <a:pt x="1356" y="208"/>
                    </a:lnTo>
                    <a:lnTo>
                      <a:pt x="1354" y="204"/>
                    </a:lnTo>
                    <a:lnTo>
                      <a:pt x="1356" y="200"/>
                    </a:lnTo>
                    <a:lnTo>
                      <a:pt x="1360" y="198"/>
                    </a:lnTo>
                    <a:lnTo>
                      <a:pt x="1370" y="194"/>
                    </a:lnTo>
                    <a:lnTo>
                      <a:pt x="1370" y="192"/>
                    </a:lnTo>
                    <a:lnTo>
                      <a:pt x="1366" y="190"/>
                    </a:lnTo>
                    <a:lnTo>
                      <a:pt x="1354" y="188"/>
                    </a:lnTo>
                    <a:lnTo>
                      <a:pt x="1336" y="188"/>
                    </a:lnTo>
                    <a:lnTo>
                      <a:pt x="1316" y="188"/>
                    </a:lnTo>
                    <a:lnTo>
                      <a:pt x="1296" y="190"/>
                    </a:lnTo>
                    <a:lnTo>
                      <a:pt x="1280" y="194"/>
                    </a:lnTo>
                    <a:lnTo>
                      <a:pt x="1274" y="196"/>
                    </a:lnTo>
                    <a:lnTo>
                      <a:pt x="1270" y="198"/>
                    </a:lnTo>
                    <a:lnTo>
                      <a:pt x="1270" y="202"/>
                    </a:lnTo>
                    <a:lnTo>
                      <a:pt x="1272" y="204"/>
                    </a:lnTo>
                    <a:lnTo>
                      <a:pt x="1276" y="208"/>
                    </a:lnTo>
                    <a:lnTo>
                      <a:pt x="1286" y="212"/>
                    </a:lnTo>
                    <a:lnTo>
                      <a:pt x="1292" y="214"/>
                    </a:lnTo>
                    <a:lnTo>
                      <a:pt x="1292" y="216"/>
                    </a:lnTo>
                    <a:lnTo>
                      <a:pt x="1292" y="218"/>
                    </a:lnTo>
                    <a:lnTo>
                      <a:pt x="1286" y="224"/>
                    </a:lnTo>
                    <a:lnTo>
                      <a:pt x="1272" y="236"/>
                    </a:lnTo>
                    <a:lnTo>
                      <a:pt x="1264" y="242"/>
                    </a:lnTo>
                    <a:lnTo>
                      <a:pt x="1262" y="246"/>
                    </a:lnTo>
                    <a:lnTo>
                      <a:pt x="1264" y="248"/>
                    </a:lnTo>
                    <a:lnTo>
                      <a:pt x="1270" y="250"/>
                    </a:lnTo>
                    <a:lnTo>
                      <a:pt x="1288" y="250"/>
                    </a:lnTo>
                    <a:lnTo>
                      <a:pt x="1314" y="246"/>
                    </a:lnTo>
                    <a:lnTo>
                      <a:pt x="1324" y="248"/>
                    </a:lnTo>
                    <a:lnTo>
                      <a:pt x="1328" y="248"/>
                    </a:lnTo>
                    <a:lnTo>
                      <a:pt x="1328" y="250"/>
                    </a:lnTo>
                    <a:lnTo>
                      <a:pt x="1328" y="256"/>
                    </a:lnTo>
                    <a:lnTo>
                      <a:pt x="1328" y="260"/>
                    </a:lnTo>
                    <a:lnTo>
                      <a:pt x="1326" y="264"/>
                    </a:lnTo>
                    <a:lnTo>
                      <a:pt x="1326" y="266"/>
                    </a:lnTo>
                    <a:lnTo>
                      <a:pt x="1328" y="266"/>
                    </a:lnTo>
                    <a:lnTo>
                      <a:pt x="1336" y="266"/>
                    </a:lnTo>
                    <a:lnTo>
                      <a:pt x="1350" y="260"/>
                    </a:lnTo>
                    <a:lnTo>
                      <a:pt x="1376" y="250"/>
                    </a:lnTo>
                    <a:lnTo>
                      <a:pt x="1402" y="238"/>
                    </a:lnTo>
                    <a:lnTo>
                      <a:pt x="1412" y="234"/>
                    </a:lnTo>
                    <a:lnTo>
                      <a:pt x="1418" y="228"/>
                    </a:lnTo>
                    <a:lnTo>
                      <a:pt x="1420" y="226"/>
                    </a:lnTo>
                    <a:lnTo>
                      <a:pt x="1420" y="224"/>
                    </a:lnTo>
                    <a:lnTo>
                      <a:pt x="1418" y="222"/>
                    </a:lnTo>
                    <a:lnTo>
                      <a:pt x="1414" y="220"/>
                    </a:lnTo>
                    <a:close/>
                    <a:moveTo>
                      <a:pt x="1370" y="792"/>
                    </a:moveTo>
                    <a:lnTo>
                      <a:pt x="1370" y="792"/>
                    </a:lnTo>
                    <a:lnTo>
                      <a:pt x="1378" y="782"/>
                    </a:lnTo>
                    <a:lnTo>
                      <a:pt x="1380" y="776"/>
                    </a:lnTo>
                    <a:lnTo>
                      <a:pt x="1378" y="774"/>
                    </a:lnTo>
                    <a:lnTo>
                      <a:pt x="1376" y="772"/>
                    </a:lnTo>
                    <a:lnTo>
                      <a:pt x="1372" y="770"/>
                    </a:lnTo>
                    <a:lnTo>
                      <a:pt x="1370" y="774"/>
                    </a:lnTo>
                    <a:lnTo>
                      <a:pt x="1362" y="776"/>
                    </a:lnTo>
                    <a:lnTo>
                      <a:pt x="1354" y="780"/>
                    </a:lnTo>
                    <a:lnTo>
                      <a:pt x="1350" y="784"/>
                    </a:lnTo>
                    <a:lnTo>
                      <a:pt x="1350" y="786"/>
                    </a:lnTo>
                    <a:lnTo>
                      <a:pt x="1350" y="788"/>
                    </a:lnTo>
                    <a:lnTo>
                      <a:pt x="1356" y="792"/>
                    </a:lnTo>
                    <a:lnTo>
                      <a:pt x="1364" y="794"/>
                    </a:lnTo>
                    <a:lnTo>
                      <a:pt x="1366" y="794"/>
                    </a:lnTo>
                    <a:lnTo>
                      <a:pt x="1370" y="792"/>
                    </a:lnTo>
                    <a:close/>
                    <a:moveTo>
                      <a:pt x="1388" y="762"/>
                    </a:moveTo>
                    <a:lnTo>
                      <a:pt x="1388" y="762"/>
                    </a:lnTo>
                    <a:lnTo>
                      <a:pt x="1384" y="762"/>
                    </a:lnTo>
                    <a:lnTo>
                      <a:pt x="1380" y="764"/>
                    </a:lnTo>
                    <a:lnTo>
                      <a:pt x="1380" y="766"/>
                    </a:lnTo>
                    <a:lnTo>
                      <a:pt x="1380" y="770"/>
                    </a:lnTo>
                    <a:lnTo>
                      <a:pt x="1384" y="776"/>
                    </a:lnTo>
                    <a:lnTo>
                      <a:pt x="1386" y="778"/>
                    </a:lnTo>
                    <a:lnTo>
                      <a:pt x="1388" y="778"/>
                    </a:lnTo>
                    <a:lnTo>
                      <a:pt x="1394" y="776"/>
                    </a:lnTo>
                    <a:lnTo>
                      <a:pt x="1396" y="772"/>
                    </a:lnTo>
                    <a:lnTo>
                      <a:pt x="1396" y="770"/>
                    </a:lnTo>
                    <a:lnTo>
                      <a:pt x="1396" y="766"/>
                    </a:lnTo>
                    <a:lnTo>
                      <a:pt x="1392" y="764"/>
                    </a:lnTo>
                    <a:lnTo>
                      <a:pt x="1388" y="762"/>
                    </a:lnTo>
                    <a:close/>
                    <a:moveTo>
                      <a:pt x="1264" y="804"/>
                    </a:moveTo>
                    <a:lnTo>
                      <a:pt x="1264" y="804"/>
                    </a:lnTo>
                    <a:lnTo>
                      <a:pt x="1264" y="800"/>
                    </a:lnTo>
                    <a:lnTo>
                      <a:pt x="1262" y="798"/>
                    </a:lnTo>
                    <a:lnTo>
                      <a:pt x="1258" y="798"/>
                    </a:lnTo>
                    <a:lnTo>
                      <a:pt x="1252" y="802"/>
                    </a:lnTo>
                    <a:lnTo>
                      <a:pt x="1248" y="804"/>
                    </a:lnTo>
                    <a:lnTo>
                      <a:pt x="1248" y="808"/>
                    </a:lnTo>
                    <a:lnTo>
                      <a:pt x="1250" y="810"/>
                    </a:lnTo>
                    <a:lnTo>
                      <a:pt x="1254" y="812"/>
                    </a:lnTo>
                    <a:lnTo>
                      <a:pt x="1260" y="814"/>
                    </a:lnTo>
                    <a:lnTo>
                      <a:pt x="1262" y="812"/>
                    </a:lnTo>
                    <a:lnTo>
                      <a:pt x="1264" y="804"/>
                    </a:lnTo>
                    <a:close/>
                    <a:moveTo>
                      <a:pt x="1102" y="904"/>
                    </a:moveTo>
                    <a:lnTo>
                      <a:pt x="1102" y="904"/>
                    </a:lnTo>
                    <a:lnTo>
                      <a:pt x="1102" y="908"/>
                    </a:lnTo>
                    <a:lnTo>
                      <a:pt x="1104" y="908"/>
                    </a:lnTo>
                    <a:lnTo>
                      <a:pt x="1112" y="908"/>
                    </a:lnTo>
                    <a:lnTo>
                      <a:pt x="1114" y="906"/>
                    </a:lnTo>
                    <a:lnTo>
                      <a:pt x="1112" y="902"/>
                    </a:lnTo>
                    <a:lnTo>
                      <a:pt x="1106" y="902"/>
                    </a:lnTo>
                    <a:lnTo>
                      <a:pt x="1104" y="902"/>
                    </a:lnTo>
                    <a:lnTo>
                      <a:pt x="1102" y="904"/>
                    </a:lnTo>
                    <a:close/>
                    <a:moveTo>
                      <a:pt x="1116" y="898"/>
                    </a:moveTo>
                    <a:lnTo>
                      <a:pt x="1116" y="898"/>
                    </a:lnTo>
                    <a:lnTo>
                      <a:pt x="1120" y="900"/>
                    </a:lnTo>
                    <a:lnTo>
                      <a:pt x="1122" y="898"/>
                    </a:lnTo>
                    <a:lnTo>
                      <a:pt x="1124" y="896"/>
                    </a:lnTo>
                    <a:lnTo>
                      <a:pt x="1124" y="894"/>
                    </a:lnTo>
                    <a:lnTo>
                      <a:pt x="1120" y="892"/>
                    </a:lnTo>
                    <a:lnTo>
                      <a:pt x="1116" y="894"/>
                    </a:lnTo>
                    <a:lnTo>
                      <a:pt x="1114" y="896"/>
                    </a:lnTo>
                    <a:lnTo>
                      <a:pt x="1116" y="898"/>
                    </a:lnTo>
                    <a:close/>
                    <a:moveTo>
                      <a:pt x="1150" y="850"/>
                    </a:moveTo>
                    <a:lnTo>
                      <a:pt x="1150" y="850"/>
                    </a:lnTo>
                    <a:lnTo>
                      <a:pt x="1148" y="850"/>
                    </a:lnTo>
                    <a:lnTo>
                      <a:pt x="1148" y="848"/>
                    </a:lnTo>
                    <a:lnTo>
                      <a:pt x="1146" y="846"/>
                    </a:lnTo>
                    <a:lnTo>
                      <a:pt x="1144" y="846"/>
                    </a:lnTo>
                    <a:lnTo>
                      <a:pt x="1142" y="848"/>
                    </a:lnTo>
                    <a:lnTo>
                      <a:pt x="1140" y="846"/>
                    </a:lnTo>
                    <a:lnTo>
                      <a:pt x="1138" y="844"/>
                    </a:lnTo>
                    <a:lnTo>
                      <a:pt x="1136" y="846"/>
                    </a:lnTo>
                    <a:lnTo>
                      <a:pt x="1136" y="848"/>
                    </a:lnTo>
                    <a:lnTo>
                      <a:pt x="1132" y="848"/>
                    </a:lnTo>
                    <a:lnTo>
                      <a:pt x="1130" y="846"/>
                    </a:lnTo>
                    <a:lnTo>
                      <a:pt x="1130" y="850"/>
                    </a:lnTo>
                    <a:lnTo>
                      <a:pt x="1130" y="852"/>
                    </a:lnTo>
                    <a:lnTo>
                      <a:pt x="1128" y="850"/>
                    </a:lnTo>
                    <a:lnTo>
                      <a:pt x="1124" y="850"/>
                    </a:lnTo>
                    <a:lnTo>
                      <a:pt x="1120" y="850"/>
                    </a:lnTo>
                    <a:lnTo>
                      <a:pt x="1118" y="854"/>
                    </a:lnTo>
                    <a:lnTo>
                      <a:pt x="1120" y="856"/>
                    </a:lnTo>
                    <a:lnTo>
                      <a:pt x="1124" y="856"/>
                    </a:lnTo>
                    <a:lnTo>
                      <a:pt x="1124" y="858"/>
                    </a:lnTo>
                    <a:lnTo>
                      <a:pt x="1120" y="860"/>
                    </a:lnTo>
                    <a:lnTo>
                      <a:pt x="1114" y="860"/>
                    </a:lnTo>
                    <a:lnTo>
                      <a:pt x="1108" y="860"/>
                    </a:lnTo>
                    <a:lnTo>
                      <a:pt x="1108" y="862"/>
                    </a:lnTo>
                    <a:lnTo>
                      <a:pt x="1110" y="862"/>
                    </a:lnTo>
                    <a:lnTo>
                      <a:pt x="1110" y="864"/>
                    </a:lnTo>
                    <a:lnTo>
                      <a:pt x="1108" y="866"/>
                    </a:lnTo>
                    <a:lnTo>
                      <a:pt x="1106" y="866"/>
                    </a:lnTo>
                    <a:lnTo>
                      <a:pt x="1108" y="868"/>
                    </a:lnTo>
                    <a:lnTo>
                      <a:pt x="1110" y="870"/>
                    </a:lnTo>
                    <a:lnTo>
                      <a:pt x="1108" y="870"/>
                    </a:lnTo>
                    <a:lnTo>
                      <a:pt x="1108" y="872"/>
                    </a:lnTo>
                    <a:lnTo>
                      <a:pt x="1108" y="874"/>
                    </a:lnTo>
                    <a:lnTo>
                      <a:pt x="1108" y="876"/>
                    </a:lnTo>
                    <a:lnTo>
                      <a:pt x="1108" y="878"/>
                    </a:lnTo>
                    <a:lnTo>
                      <a:pt x="1106" y="880"/>
                    </a:lnTo>
                    <a:lnTo>
                      <a:pt x="1104" y="882"/>
                    </a:lnTo>
                    <a:lnTo>
                      <a:pt x="1108" y="884"/>
                    </a:lnTo>
                    <a:lnTo>
                      <a:pt x="1114" y="884"/>
                    </a:lnTo>
                    <a:lnTo>
                      <a:pt x="1114" y="886"/>
                    </a:lnTo>
                    <a:lnTo>
                      <a:pt x="1114" y="888"/>
                    </a:lnTo>
                    <a:lnTo>
                      <a:pt x="1116" y="888"/>
                    </a:lnTo>
                    <a:lnTo>
                      <a:pt x="1120" y="884"/>
                    </a:lnTo>
                    <a:lnTo>
                      <a:pt x="1122" y="880"/>
                    </a:lnTo>
                    <a:lnTo>
                      <a:pt x="1126" y="876"/>
                    </a:lnTo>
                    <a:lnTo>
                      <a:pt x="1130" y="874"/>
                    </a:lnTo>
                    <a:lnTo>
                      <a:pt x="1132" y="876"/>
                    </a:lnTo>
                    <a:lnTo>
                      <a:pt x="1132" y="878"/>
                    </a:lnTo>
                    <a:lnTo>
                      <a:pt x="1134" y="878"/>
                    </a:lnTo>
                    <a:lnTo>
                      <a:pt x="1142" y="878"/>
                    </a:lnTo>
                    <a:lnTo>
                      <a:pt x="1146" y="876"/>
                    </a:lnTo>
                    <a:lnTo>
                      <a:pt x="1148" y="874"/>
                    </a:lnTo>
                    <a:lnTo>
                      <a:pt x="1146" y="870"/>
                    </a:lnTo>
                    <a:lnTo>
                      <a:pt x="1146" y="866"/>
                    </a:lnTo>
                    <a:lnTo>
                      <a:pt x="1148" y="864"/>
                    </a:lnTo>
                    <a:lnTo>
                      <a:pt x="1150" y="862"/>
                    </a:lnTo>
                    <a:lnTo>
                      <a:pt x="1150" y="860"/>
                    </a:lnTo>
                    <a:lnTo>
                      <a:pt x="1152" y="852"/>
                    </a:lnTo>
                    <a:lnTo>
                      <a:pt x="1152" y="850"/>
                    </a:lnTo>
                    <a:lnTo>
                      <a:pt x="1150" y="850"/>
                    </a:lnTo>
                    <a:close/>
                    <a:moveTo>
                      <a:pt x="1254" y="830"/>
                    </a:moveTo>
                    <a:lnTo>
                      <a:pt x="1254" y="830"/>
                    </a:lnTo>
                    <a:lnTo>
                      <a:pt x="1260" y="826"/>
                    </a:lnTo>
                    <a:lnTo>
                      <a:pt x="1262" y="824"/>
                    </a:lnTo>
                    <a:lnTo>
                      <a:pt x="1260" y="820"/>
                    </a:lnTo>
                    <a:lnTo>
                      <a:pt x="1258" y="822"/>
                    </a:lnTo>
                    <a:lnTo>
                      <a:pt x="1256" y="826"/>
                    </a:lnTo>
                    <a:lnTo>
                      <a:pt x="1254" y="830"/>
                    </a:lnTo>
                    <a:close/>
                    <a:moveTo>
                      <a:pt x="1226" y="818"/>
                    </a:moveTo>
                    <a:lnTo>
                      <a:pt x="1226" y="818"/>
                    </a:lnTo>
                    <a:lnTo>
                      <a:pt x="1222" y="818"/>
                    </a:lnTo>
                    <a:lnTo>
                      <a:pt x="1218" y="820"/>
                    </a:lnTo>
                    <a:lnTo>
                      <a:pt x="1214" y="826"/>
                    </a:lnTo>
                    <a:lnTo>
                      <a:pt x="1216" y="826"/>
                    </a:lnTo>
                    <a:lnTo>
                      <a:pt x="1220" y="824"/>
                    </a:lnTo>
                    <a:lnTo>
                      <a:pt x="1224" y="822"/>
                    </a:lnTo>
                    <a:lnTo>
                      <a:pt x="1226" y="818"/>
                    </a:lnTo>
                    <a:close/>
                    <a:moveTo>
                      <a:pt x="1074" y="928"/>
                    </a:moveTo>
                    <a:lnTo>
                      <a:pt x="1074" y="928"/>
                    </a:lnTo>
                    <a:lnTo>
                      <a:pt x="1074" y="930"/>
                    </a:lnTo>
                    <a:lnTo>
                      <a:pt x="1074" y="932"/>
                    </a:lnTo>
                    <a:lnTo>
                      <a:pt x="1078" y="932"/>
                    </a:lnTo>
                    <a:lnTo>
                      <a:pt x="1082" y="930"/>
                    </a:lnTo>
                    <a:lnTo>
                      <a:pt x="1084" y="926"/>
                    </a:lnTo>
                    <a:lnTo>
                      <a:pt x="1084" y="924"/>
                    </a:lnTo>
                    <a:lnTo>
                      <a:pt x="1080" y="924"/>
                    </a:lnTo>
                    <a:lnTo>
                      <a:pt x="1076" y="924"/>
                    </a:lnTo>
                    <a:lnTo>
                      <a:pt x="1074" y="928"/>
                    </a:lnTo>
                    <a:close/>
                    <a:moveTo>
                      <a:pt x="772" y="1274"/>
                    </a:moveTo>
                    <a:lnTo>
                      <a:pt x="772" y="1274"/>
                    </a:lnTo>
                    <a:lnTo>
                      <a:pt x="784" y="1270"/>
                    </a:lnTo>
                    <a:lnTo>
                      <a:pt x="788" y="1270"/>
                    </a:lnTo>
                    <a:lnTo>
                      <a:pt x="790" y="1268"/>
                    </a:lnTo>
                    <a:lnTo>
                      <a:pt x="790" y="1266"/>
                    </a:lnTo>
                    <a:lnTo>
                      <a:pt x="788" y="1264"/>
                    </a:lnTo>
                    <a:lnTo>
                      <a:pt x="786" y="1264"/>
                    </a:lnTo>
                    <a:lnTo>
                      <a:pt x="784" y="1262"/>
                    </a:lnTo>
                    <a:lnTo>
                      <a:pt x="784" y="1260"/>
                    </a:lnTo>
                    <a:lnTo>
                      <a:pt x="778" y="1262"/>
                    </a:lnTo>
                    <a:lnTo>
                      <a:pt x="768" y="1266"/>
                    </a:lnTo>
                    <a:lnTo>
                      <a:pt x="760" y="1268"/>
                    </a:lnTo>
                    <a:lnTo>
                      <a:pt x="758" y="1270"/>
                    </a:lnTo>
                    <a:lnTo>
                      <a:pt x="756" y="1274"/>
                    </a:lnTo>
                    <a:lnTo>
                      <a:pt x="758" y="1276"/>
                    </a:lnTo>
                    <a:lnTo>
                      <a:pt x="760" y="1276"/>
                    </a:lnTo>
                    <a:lnTo>
                      <a:pt x="772" y="1274"/>
                    </a:lnTo>
                    <a:close/>
                    <a:moveTo>
                      <a:pt x="776" y="1258"/>
                    </a:moveTo>
                    <a:lnTo>
                      <a:pt x="776" y="1258"/>
                    </a:lnTo>
                    <a:lnTo>
                      <a:pt x="780" y="1256"/>
                    </a:lnTo>
                    <a:lnTo>
                      <a:pt x="778" y="1252"/>
                    </a:lnTo>
                    <a:lnTo>
                      <a:pt x="776" y="1250"/>
                    </a:lnTo>
                    <a:lnTo>
                      <a:pt x="774" y="1252"/>
                    </a:lnTo>
                    <a:lnTo>
                      <a:pt x="772" y="1254"/>
                    </a:lnTo>
                    <a:lnTo>
                      <a:pt x="764" y="1256"/>
                    </a:lnTo>
                    <a:lnTo>
                      <a:pt x="760" y="1258"/>
                    </a:lnTo>
                    <a:lnTo>
                      <a:pt x="758" y="1258"/>
                    </a:lnTo>
                    <a:lnTo>
                      <a:pt x="758" y="1260"/>
                    </a:lnTo>
                    <a:lnTo>
                      <a:pt x="764" y="1260"/>
                    </a:lnTo>
                    <a:lnTo>
                      <a:pt x="776" y="1258"/>
                    </a:lnTo>
                    <a:close/>
                    <a:moveTo>
                      <a:pt x="892" y="180"/>
                    </a:moveTo>
                    <a:lnTo>
                      <a:pt x="892" y="180"/>
                    </a:lnTo>
                    <a:lnTo>
                      <a:pt x="904" y="186"/>
                    </a:lnTo>
                    <a:lnTo>
                      <a:pt x="912" y="188"/>
                    </a:lnTo>
                    <a:lnTo>
                      <a:pt x="912" y="186"/>
                    </a:lnTo>
                    <a:lnTo>
                      <a:pt x="910" y="182"/>
                    </a:lnTo>
                    <a:lnTo>
                      <a:pt x="906" y="176"/>
                    </a:lnTo>
                    <a:lnTo>
                      <a:pt x="900" y="170"/>
                    </a:lnTo>
                    <a:lnTo>
                      <a:pt x="894" y="164"/>
                    </a:lnTo>
                    <a:lnTo>
                      <a:pt x="888" y="164"/>
                    </a:lnTo>
                    <a:lnTo>
                      <a:pt x="882" y="162"/>
                    </a:lnTo>
                    <a:lnTo>
                      <a:pt x="878" y="158"/>
                    </a:lnTo>
                    <a:lnTo>
                      <a:pt x="870" y="144"/>
                    </a:lnTo>
                    <a:lnTo>
                      <a:pt x="866" y="138"/>
                    </a:lnTo>
                    <a:lnTo>
                      <a:pt x="860" y="134"/>
                    </a:lnTo>
                    <a:lnTo>
                      <a:pt x="856" y="132"/>
                    </a:lnTo>
                    <a:lnTo>
                      <a:pt x="850" y="132"/>
                    </a:lnTo>
                    <a:lnTo>
                      <a:pt x="846" y="136"/>
                    </a:lnTo>
                    <a:lnTo>
                      <a:pt x="846" y="142"/>
                    </a:lnTo>
                    <a:lnTo>
                      <a:pt x="860" y="164"/>
                    </a:lnTo>
                    <a:lnTo>
                      <a:pt x="866" y="174"/>
                    </a:lnTo>
                    <a:lnTo>
                      <a:pt x="868" y="174"/>
                    </a:lnTo>
                    <a:lnTo>
                      <a:pt x="870" y="174"/>
                    </a:lnTo>
                    <a:lnTo>
                      <a:pt x="872" y="172"/>
                    </a:lnTo>
                    <a:lnTo>
                      <a:pt x="876" y="172"/>
                    </a:lnTo>
                    <a:lnTo>
                      <a:pt x="884" y="174"/>
                    </a:lnTo>
                    <a:lnTo>
                      <a:pt x="892" y="180"/>
                    </a:lnTo>
                    <a:close/>
                    <a:moveTo>
                      <a:pt x="1006" y="948"/>
                    </a:moveTo>
                    <a:lnTo>
                      <a:pt x="1006" y="948"/>
                    </a:lnTo>
                    <a:lnTo>
                      <a:pt x="1016" y="944"/>
                    </a:lnTo>
                    <a:lnTo>
                      <a:pt x="1026" y="934"/>
                    </a:lnTo>
                    <a:lnTo>
                      <a:pt x="1030" y="932"/>
                    </a:lnTo>
                    <a:lnTo>
                      <a:pt x="1030" y="930"/>
                    </a:lnTo>
                    <a:lnTo>
                      <a:pt x="1026" y="930"/>
                    </a:lnTo>
                    <a:lnTo>
                      <a:pt x="1018" y="930"/>
                    </a:lnTo>
                    <a:lnTo>
                      <a:pt x="1008" y="932"/>
                    </a:lnTo>
                    <a:lnTo>
                      <a:pt x="1004" y="934"/>
                    </a:lnTo>
                    <a:lnTo>
                      <a:pt x="1006" y="936"/>
                    </a:lnTo>
                    <a:lnTo>
                      <a:pt x="1006" y="938"/>
                    </a:lnTo>
                    <a:lnTo>
                      <a:pt x="1002" y="938"/>
                    </a:lnTo>
                    <a:lnTo>
                      <a:pt x="998" y="938"/>
                    </a:lnTo>
                    <a:lnTo>
                      <a:pt x="998" y="940"/>
                    </a:lnTo>
                    <a:lnTo>
                      <a:pt x="1000" y="942"/>
                    </a:lnTo>
                    <a:lnTo>
                      <a:pt x="998" y="946"/>
                    </a:lnTo>
                    <a:lnTo>
                      <a:pt x="996" y="948"/>
                    </a:lnTo>
                    <a:lnTo>
                      <a:pt x="1000" y="948"/>
                    </a:lnTo>
                    <a:lnTo>
                      <a:pt x="1006" y="948"/>
                    </a:lnTo>
                    <a:close/>
                    <a:moveTo>
                      <a:pt x="1028" y="900"/>
                    </a:moveTo>
                    <a:lnTo>
                      <a:pt x="1028" y="900"/>
                    </a:lnTo>
                    <a:lnTo>
                      <a:pt x="1024" y="900"/>
                    </a:lnTo>
                    <a:lnTo>
                      <a:pt x="1022" y="902"/>
                    </a:lnTo>
                    <a:lnTo>
                      <a:pt x="1022" y="904"/>
                    </a:lnTo>
                    <a:lnTo>
                      <a:pt x="1018" y="906"/>
                    </a:lnTo>
                    <a:lnTo>
                      <a:pt x="1016" y="904"/>
                    </a:lnTo>
                    <a:lnTo>
                      <a:pt x="1014" y="902"/>
                    </a:lnTo>
                    <a:lnTo>
                      <a:pt x="1012" y="902"/>
                    </a:lnTo>
                    <a:lnTo>
                      <a:pt x="1010" y="904"/>
                    </a:lnTo>
                    <a:lnTo>
                      <a:pt x="1008" y="904"/>
                    </a:lnTo>
                    <a:lnTo>
                      <a:pt x="1006" y="904"/>
                    </a:lnTo>
                    <a:lnTo>
                      <a:pt x="1004" y="906"/>
                    </a:lnTo>
                    <a:lnTo>
                      <a:pt x="1004" y="910"/>
                    </a:lnTo>
                    <a:lnTo>
                      <a:pt x="1002" y="912"/>
                    </a:lnTo>
                    <a:lnTo>
                      <a:pt x="1002" y="914"/>
                    </a:lnTo>
                    <a:lnTo>
                      <a:pt x="1004" y="916"/>
                    </a:lnTo>
                    <a:lnTo>
                      <a:pt x="1008" y="918"/>
                    </a:lnTo>
                    <a:lnTo>
                      <a:pt x="1012" y="916"/>
                    </a:lnTo>
                    <a:lnTo>
                      <a:pt x="1016" y="914"/>
                    </a:lnTo>
                    <a:lnTo>
                      <a:pt x="1026" y="910"/>
                    </a:lnTo>
                    <a:lnTo>
                      <a:pt x="1030" y="910"/>
                    </a:lnTo>
                    <a:lnTo>
                      <a:pt x="1026" y="914"/>
                    </a:lnTo>
                    <a:lnTo>
                      <a:pt x="1020" y="918"/>
                    </a:lnTo>
                    <a:lnTo>
                      <a:pt x="1020" y="920"/>
                    </a:lnTo>
                    <a:lnTo>
                      <a:pt x="1030" y="918"/>
                    </a:lnTo>
                    <a:lnTo>
                      <a:pt x="1040" y="916"/>
                    </a:lnTo>
                    <a:lnTo>
                      <a:pt x="1042" y="914"/>
                    </a:lnTo>
                    <a:lnTo>
                      <a:pt x="1042" y="912"/>
                    </a:lnTo>
                    <a:lnTo>
                      <a:pt x="1042" y="910"/>
                    </a:lnTo>
                    <a:lnTo>
                      <a:pt x="1040" y="906"/>
                    </a:lnTo>
                    <a:lnTo>
                      <a:pt x="1040" y="904"/>
                    </a:lnTo>
                    <a:lnTo>
                      <a:pt x="1042" y="902"/>
                    </a:lnTo>
                    <a:lnTo>
                      <a:pt x="1042" y="900"/>
                    </a:lnTo>
                    <a:lnTo>
                      <a:pt x="1038" y="896"/>
                    </a:lnTo>
                    <a:lnTo>
                      <a:pt x="1034" y="890"/>
                    </a:lnTo>
                    <a:lnTo>
                      <a:pt x="1032" y="890"/>
                    </a:lnTo>
                    <a:lnTo>
                      <a:pt x="1030" y="890"/>
                    </a:lnTo>
                    <a:lnTo>
                      <a:pt x="1028" y="890"/>
                    </a:lnTo>
                    <a:lnTo>
                      <a:pt x="1028" y="892"/>
                    </a:lnTo>
                    <a:lnTo>
                      <a:pt x="1030" y="896"/>
                    </a:lnTo>
                    <a:lnTo>
                      <a:pt x="1032" y="900"/>
                    </a:lnTo>
                    <a:lnTo>
                      <a:pt x="1028" y="900"/>
                    </a:lnTo>
                    <a:close/>
                    <a:moveTo>
                      <a:pt x="996" y="942"/>
                    </a:moveTo>
                    <a:lnTo>
                      <a:pt x="996" y="942"/>
                    </a:lnTo>
                    <a:lnTo>
                      <a:pt x="996" y="940"/>
                    </a:lnTo>
                    <a:lnTo>
                      <a:pt x="994" y="938"/>
                    </a:lnTo>
                    <a:lnTo>
                      <a:pt x="990" y="938"/>
                    </a:lnTo>
                    <a:lnTo>
                      <a:pt x="988" y="938"/>
                    </a:lnTo>
                    <a:lnTo>
                      <a:pt x="990" y="940"/>
                    </a:lnTo>
                    <a:lnTo>
                      <a:pt x="992" y="942"/>
                    </a:lnTo>
                    <a:lnTo>
                      <a:pt x="994" y="942"/>
                    </a:lnTo>
                    <a:lnTo>
                      <a:pt x="996" y="942"/>
                    </a:lnTo>
                    <a:close/>
                    <a:moveTo>
                      <a:pt x="942" y="966"/>
                    </a:moveTo>
                    <a:lnTo>
                      <a:pt x="942" y="966"/>
                    </a:lnTo>
                    <a:lnTo>
                      <a:pt x="940" y="974"/>
                    </a:lnTo>
                    <a:lnTo>
                      <a:pt x="946" y="970"/>
                    </a:lnTo>
                    <a:lnTo>
                      <a:pt x="948" y="968"/>
                    </a:lnTo>
                    <a:lnTo>
                      <a:pt x="950" y="964"/>
                    </a:lnTo>
                    <a:lnTo>
                      <a:pt x="950" y="958"/>
                    </a:lnTo>
                    <a:lnTo>
                      <a:pt x="950" y="956"/>
                    </a:lnTo>
                    <a:lnTo>
                      <a:pt x="948" y="956"/>
                    </a:lnTo>
                    <a:lnTo>
                      <a:pt x="942" y="966"/>
                    </a:lnTo>
                    <a:close/>
                    <a:moveTo>
                      <a:pt x="970" y="956"/>
                    </a:moveTo>
                    <a:lnTo>
                      <a:pt x="970" y="956"/>
                    </a:lnTo>
                    <a:lnTo>
                      <a:pt x="972" y="956"/>
                    </a:lnTo>
                    <a:lnTo>
                      <a:pt x="974" y="956"/>
                    </a:lnTo>
                    <a:lnTo>
                      <a:pt x="976" y="956"/>
                    </a:lnTo>
                    <a:lnTo>
                      <a:pt x="978" y="954"/>
                    </a:lnTo>
                    <a:lnTo>
                      <a:pt x="982" y="952"/>
                    </a:lnTo>
                    <a:lnTo>
                      <a:pt x="984" y="950"/>
                    </a:lnTo>
                    <a:lnTo>
                      <a:pt x="988" y="946"/>
                    </a:lnTo>
                    <a:lnTo>
                      <a:pt x="992" y="946"/>
                    </a:lnTo>
                    <a:lnTo>
                      <a:pt x="990" y="944"/>
                    </a:lnTo>
                    <a:lnTo>
                      <a:pt x="980" y="942"/>
                    </a:lnTo>
                    <a:lnTo>
                      <a:pt x="976" y="940"/>
                    </a:lnTo>
                    <a:lnTo>
                      <a:pt x="972" y="942"/>
                    </a:lnTo>
                    <a:lnTo>
                      <a:pt x="970" y="944"/>
                    </a:lnTo>
                    <a:lnTo>
                      <a:pt x="966" y="948"/>
                    </a:lnTo>
                    <a:lnTo>
                      <a:pt x="966" y="952"/>
                    </a:lnTo>
                    <a:lnTo>
                      <a:pt x="966" y="954"/>
                    </a:lnTo>
                    <a:lnTo>
                      <a:pt x="964" y="956"/>
                    </a:lnTo>
                    <a:lnTo>
                      <a:pt x="966" y="958"/>
                    </a:lnTo>
                    <a:lnTo>
                      <a:pt x="968" y="958"/>
                    </a:lnTo>
                    <a:lnTo>
                      <a:pt x="970" y="956"/>
                    </a:lnTo>
                    <a:close/>
                    <a:moveTo>
                      <a:pt x="958" y="954"/>
                    </a:moveTo>
                    <a:lnTo>
                      <a:pt x="958" y="954"/>
                    </a:lnTo>
                    <a:lnTo>
                      <a:pt x="958" y="956"/>
                    </a:lnTo>
                    <a:lnTo>
                      <a:pt x="956" y="956"/>
                    </a:lnTo>
                    <a:lnTo>
                      <a:pt x="954" y="956"/>
                    </a:lnTo>
                    <a:lnTo>
                      <a:pt x="954" y="960"/>
                    </a:lnTo>
                    <a:lnTo>
                      <a:pt x="956" y="962"/>
                    </a:lnTo>
                    <a:lnTo>
                      <a:pt x="962" y="958"/>
                    </a:lnTo>
                    <a:lnTo>
                      <a:pt x="964" y="954"/>
                    </a:lnTo>
                    <a:lnTo>
                      <a:pt x="962" y="950"/>
                    </a:lnTo>
                    <a:lnTo>
                      <a:pt x="960" y="950"/>
                    </a:lnTo>
                    <a:lnTo>
                      <a:pt x="958" y="954"/>
                    </a:lnTo>
                    <a:close/>
                    <a:moveTo>
                      <a:pt x="1028" y="966"/>
                    </a:moveTo>
                    <a:lnTo>
                      <a:pt x="1028" y="966"/>
                    </a:lnTo>
                    <a:lnTo>
                      <a:pt x="1032" y="966"/>
                    </a:lnTo>
                    <a:lnTo>
                      <a:pt x="1034" y="964"/>
                    </a:lnTo>
                    <a:lnTo>
                      <a:pt x="1030" y="962"/>
                    </a:lnTo>
                    <a:lnTo>
                      <a:pt x="1028" y="962"/>
                    </a:lnTo>
                    <a:lnTo>
                      <a:pt x="1026" y="964"/>
                    </a:lnTo>
                    <a:lnTo>
                      <a:pt x="1026" y="966"/>
                    </a:lnTo>
                    <a:lnTo>
                      <a:pt x="1028" y="966"/>
                    </a:lnTo>
                    <a:close/>
                    <a:moveTo>
                      <a:pt x="1078" y="890"/>
                    </a:moveTo>
                    <a:lnTo>
                      <a:pt x="1078" y="890"/>
                    </a:lnTo>
                    <a:lnTo>
                      <a:pt x="1080" y="892"/>
                    </a:lnTo>
                    <a:lnTo>
                      <a:pt x="1082" y="894"/>
                    </a:lnTo>
                    <a:lnTo>
                      <a:pt x="1088" y="896"/>
                    </a:lnTo>
                    <a:lnTo>
                      <a:pt x="1092" y="896"/>
                    </a:lnTo>
                    <a:lnTo>
                      <a:pt x="1092" y="894"/>
                    </a:lnTo>
                    <a:lnTo>
                      <a:pt x="1088" y="892"/>
                    </a:lnTo>
                    <a:lnTo>
                      <a:pt x="1082" y="890"/>
                    </a:lnTo>
                    <a:lnTo>
                      <a:pt x="1078" y="890"/>
                    </a:lnTo>
                    <a:close/>
                    <a:moveTo>
                      <a:pt x="1054" y="890"/>
                    </a:moveTo>
                    <a:lnTo>
                      <a:pt x="1054" y="890"/>
                    </a:lnTo>
                    <a:lnTo>
                      <a:pt x="1060" y="890"/>
                    </a:lnTo>
                    <a:lnTo>
                      <a:pt x="1062" y="888"/>
                    </a:lnTo>
                    <a:lnTo>
                      <a:pt x="1068" y="878"/>
                    </a:lnTo>
                    <a:lnTo>
                      <a:pt x="1072" y="872"/>
                    </a:lnTo>
                    <a:lnTo>
                      <a:pt x="1074" y="868"/>
                    </a:lnTo>
                    <a:lnTo>
                      <a:pt x="1072" y="868"/>
                    </a:lnTo>
                    <a:lnTo>
                      <a:pt x="1066" y="870"/>
                    </a:lnTo>
                    <a:lnTo>
                      <a:pt x="1054" y="878"/>
                    </a:lnTo>
                    <a:lnTo>
                      <a:pt x="1050" y="882"/>
                    </a:lnTo>
                    <a:lnTo>
                      <a:pt x="1046" y="890"/>
                    </a:lnTo>
                    <a:lnTo>
                      <a:pt x="1044" y="894"/>
                    </a:lnTo>
                    <a:lnTo>
                      <a:pt x="1044" y="896"/>
                    </a:lnTo>
                    <a:lnTo>
                      <a:pt x="1046" y="898"/>
                    </a:lnTo>
                    <a:lnTo>
                      <a:pt x="1048" y="898"/>
                    </a:lnTo>
                    <a:lnTo>
                      <a:pt x="1048" y="894"/>
                    </a:lnTo>
                    <a:lnTo>
                      <a:pt x="1050" y="892"/>
                    </a:lnTo>
                    <a:lnTo>
                      <a:pt x="1054" y="890"/>
                    </a:lnTo>
                    <a:close/>
                    <a:moveTo>
                      <a:pt x="752" y="1276"/>
                    </a:moveTo>
                    <a:lnTo>
                      <a:pt x="752" y="1276"/>
                    </a:lnTo>
                    <a:lnTo>
                      <a:pt x="750" y="1274"/>
                    </a:lnTo>
                    <a:lnTo>
                      <a:pt x="742" y="1274"/>
                    </a:lnTo>
                    <a:lnTo>
                      <a:pt x="738" y="1276"/>
                    </a:lnTo>
                    <a:lnTo>
                      <a:pt x="736" y="1278"/>
                    </a:lnTo>
                    <a:lnTo>
                      <a:pt x="742" y="1282"/>
                    </a:lnTo>
                    <a:lnTo>
                      <a:pt x="748" y="1282"/>
                    </a:lnTo>
                    <a:lnTo>
                      <a:pt x="750" y="1278"/>
                    </a:lnTo>
                    <a:lnTo>
                      <a:pt x="752" y="1276"/>
                    </a:lnTo>
                    <a:close/>
                    <a:moveTo>
                      <a:pt x="1156" y="42"/>
                    </a:moveTo>
                    <a:lnTo>
                      <a:pt x="1156" y="42"/>
                    </a:lnTo>
                    <a:lnTo>
                      <a:pt x="1164" y="44"/>
                    </a:lnTo>
                    <a:lnTo>
                      <a:pt x="1166" y="46"/>
                    </a:lnTo>
                    <a:lnTo>
                      <a:pt x="1164" y="48"/>
                    </a:lnTo>
                    <a:lnTo>
                      <a:pt x="1162" y="48"/>
                    </a:lnTo>
                    <a:lnTo>
                      <a:pt x="1160" y="50"/>
                    </a:lnTo>
                    <a:lnTo>
                      <a:pt x="1162" y="52"/>
                    </a:lnTo>
                    <a:lnTo>
                      <a:pt x="1166" y="56"/>
                    </a:lnTo>
                    <a:lnTo>
                      <a:pt x="1176" y="62"/>
                    </a:lnTo>
                    <a:lnTo>
                      <a:pt x="1186" y="66"/>
                    </a:lnTo>
                    <a:lnTo>
                      <a:pt x="1194" y="68"/>
                    </a:lnTo>
                    <a:lnTo>
                      <a:pt x="1204" y="68"/>
                    </a:lnTo>
                    <a:lnTo>
                      <a:pt x="1214" y="66"/>
                    </a:lnTo>
                    <a:lnTo>
                      <a:pt x="1238" y="62"/>
                    </a:lnTo>
                    <a:lnTo>
                      <a:pt x="1252" y="60"/>
                    </a:lnTo>
                    <a:lnTo>
                      <a:pt x="1270" y="58"/>
                    </a:lnTo>
                    <a:lnTo>
                      <a:pt x="1296" y="58"/>
                    </a:lnTo>
                    <a:lnTo>
                      <a:pt x="1298" y="60"/>
                    </a:lnTo>
                    <a:lnTo>
                      <a:pt x="1294" y="62"/>
                    </a:lnTo>
                    <a:lnTo>
                      <a:pt x="1274" y="66"/>
                    </a:lnTo>
                    <a:lnTo>
                      <a:pt x="1236" y="74"/>
                    </a:lnTo>
                    <a:lnTo>
                      <a:pt x="1220" y="78"/>
                    </a:lnTo>
                    <a:lnTo>
                      <a:pt x="1216" y="80"/>
                    </a:lnTo>
                    <a:lnTo>
                      <a:pt x="1216" y="82"/>
                    </a:lnTo>
                    <a:lnTo>
                      <a:pt x="1216" y="84"/>
                    </a:lnTo>
                    <a:lnTo>
                      <a:pt x="1220" y="86"/>
                    </a:lnTo>
                    <a:lnTo>
                      <a:pt x="1232" y="88"/>
                    </a:lnTo>
                    <a:lnTo>
                      <a:pt x="1270" y="92"/>
                    </a:lnTo>
                    <a:lnTo>
                      <a:pt x="1308" y="94"/>
                    </a:lnTo>
                    <a:lnTo>
                      <a:pt x="1324" y="96"/>
                    </a:lnTo>
                    <a:lnTo>
                      <a:pt x="1336" y="100"/>
                    </a:lnTo>
                    <a:lnTo>
                      <a:pt x="1360" y="110"/>
                    </a:lnTo>
                    <a:lnTo>
                      <a:pt x="1370" y="114"/>
                    </a:lnTo>
                    <a:lnTo>
                      <a:pt x="1380" y="114"/>
                    </a:lnTo>
                    <a:lnTo>
                      <a:pt x="1390" y="112"/>
                    </a:lnTo>
                    <a:lnTo>
                      <a:pt x="1402" y="106"/>
                    </a:lnTo>
                    <a:lnTo>
                      <a:pt x="1412" y="98"/>
                    </a:lnTo>
                    <a:lnTo>
                      <a:pt x="1420" y="96"/>
                    </a:lnTo>
                    <a:lnTo>
                      <a:pt x="1424" y="94"/>
                    </a:lnTo>
                    <a:lnTo>
                      <a:pt x="1430" y="96"/>
                    </a:lnTo>
                    <a:lnTo>
                      <a:pt x="1438" y="98"/>
                    </a:lnTo>
                    <a:lnTo>
                      <a:pt x="1446" y="98"/>
                    </a:lnTo>
                    <a:lnTo>
                      <a:pt x="1456" y="96"/>
                    </a:lnTo>
                    <a:lnTo>
                      <a:pt x="1464" y="92"/>
                    </a:lnTo>
                    <a:lnTo>
                      <a:pt x="1468" y="88"/>
                    </a:lnTo>
                    <a:lnTo>
                      <a:pt x="1468" y="84"/>
                    </a:lnTo>
                    <a:lnTo>
                      <a:pt x="1468" y="80"/>
                    </a:lnTo>
                    <a:lnTo>
                      <a:pt x="1470" y="76"/>
                    </a:lnTo>
                    <a:lnTo>
                      <a:pt x="1476" y="72"/>
                    </a:lnTo>
                    <a:lnTo>
                      <a:pt x="1488" y="66"/>
                    </a:lnTo>
                    <a:lnTo>
                      <a:pt x="1506" y="58"/>
                    </a:lnTo>
                    <a:lnTo>
                      <a:pt x="1516" y="54"/>
                    </a:lnTo>
                    <a:lnTo>
                      <a:pt x="1522" y="48"/>
                    </a:lnTo>
                    <a:lnTo>
                      <a:pt x="1520" y="42"/>
                    </a:lnTo>
                    <a:lnTo>
                      <a:pt x="1516" y="38"/>
                    </a:lnTo>
                    <a:lnTo>
                      <a:pt x="1510" y="34"/>
                    </a:lnTo>
                    <a:lnTo>
                      <a:pt x="1502" y="30"/>
                    </a:lnTo>
                    <a:lnTo>
                      <a:pt x="1492" y="28"/>
                    </a:lnTo>
                    <a:lnTo>
                      <a:pt x="1484" y="28"/>
                    </a:lnTo>
                    <a:lnTo>
                      <a:pt x="1468" y="28"/>
                    </a:lnTo>
                    <a:lnTo>
                      <a:pt x="1450" y="24"/>
                    </a:lnTo>
                    <a:lnTo>
                      <a:pt x="1430" y="18"/>
                    </a:lnTo>
                    <a:lnTo>
                      <a:pt x="1406" y="14"/>
                    </a:lnTo>
                    <a:lnTo>
                      <a:pt x="1394" y="12"/>
                    </a:lnTo>
                    <a:lnTo>
                      <a:pt x="1388" y="14"/>
                    </a:lnTo>
                    <a:lnTo>
                      <a:pt x="1384" y="16"/>
                    </a:lnTo>
                    <a:lnTo>
                      <a:pt x="1382" y="20"/>
                    </a:lnTo>
                    <a:lnTo>
                      <a:pt x="1378" y="28"/>
                    </a:lnTo>
                    <a:lnTo>
                      <a:pt x="1374" y="30"/>
                    </a:lnTo>
                    <a:lnTo>
                      <a:pt x="1366" y="30"/>
                    </a:lnTo>
                    <a:lnTo>
                      <a:pt x="1360" y="28"/>
                    </a:lnTo>
                    <a:lnTo>
                      <a:pt x="1358" y="24"/>
                    </a:lnTo>
                    <a:lnTo>
                      <a:pt x="1358" y="20"/>
                    </a:lnTo>
                    <a:lnTo>
                      <a:pt x="1360" y="16"/>
                    </a:lnTo>
                    <a:lnTo>
                      <a:pt x="1362" y="10"/>
                    </a:lnTo>
                    <a:lnTo>
                      <a:pt x="1362" y="6"/>
                    </a:lnTo>
                    <a:lnTo>
                      <a:pt x="1360" y="4"/>
                    </a:lnTo>
                    <a:lnTo>
                      <a:pt x="1350" y="0"/>
                    </a:lnTo>
                    <a:lnTo>
                      <a:pt x="1344" y="0"/>
                    </a:lnTo>
                    <a:lnTo>
                      <a:pt x="1340" y="2"/>
                    </a:lnTo>
                    <a:lnTo>
                      <a:pt x="1334" y="4"/>
                    </a:lnTo>
                    <a:lnTo>
                      <a:pt x="1332" y="8"/>
                    </a:lnTo>
                    <a:lnTo>
                      <a:pt x="1328" y="14"/>
                    </a:lnTo>
                    <a:lnTo>
                      <a:pt x="1326" y="22"/>
                    </a:lnTo>
                    <a:lnTo>
                      <a:pt x="1324" y="36"/>
                    </a:lnTo>
                    <a:lnTo>
                      <a:pt x="1322" y="40"/>
                    </a:lnTo>
                    <a:lnTo>
                      <a:pt x="1320" y="40"/>
                    </a:lnTo>
                    <a:lnTo>
                      <a:pt x="1318" y="40"/>
                    </a:lnTo>
                    <a:lnTo>
                      <a:pt x="1314" y="36"/>
                    </a:lnTo>
                    <a:lnTo>
                      <a:pt x="1306" y="24"/>
                    </a:lnTo>
                    <a:lnTo>
                      <a:pt x="1300" y="20"/>
                    </a:lnTo>
                    <a:lnTo>
                      <a:pt x="1296" y="18"/>
                    </a:lnTo>
                    <a:lnTo>
                      <a:pt x="1292" y="18"/>
                    </a:lnTo>
                    <a:lnTo>
                      <a:pt x="1286" y="18"/>
                    </a:lnTo>
                    <a:lnTo>
                      <a:pt x="1278" y="20"/>
                    </a:lnTo>
                    <a:lnTo>
                      <a:pt x="1268" y="18"/>
                    </a:lnTo>
                    <a:lnTo>
                      <a:pt x="1252" y="16"/>
                    </a:lnTo>
                    <a:lnTo>
                      <a:pt x="1232" y="8"/>
                    </a:lnTo>
                    <a:lnTo>
                      <a:pt x="1216" y="2"/>
                    </a:lnTo>
                    <a:lnTo>
                      <a:pt x="1208" y="2"/>
                    </a:lnTo>
                    <a:lnTo>
                      <a:pt x="1208" y="4"/>
                    </a:lnTo>
                    <a:lnTo>
                      <a:pt x="1212" y="10"/>
                    </a:lnTo>
                    <a:lnTo>
                      <a:pt x="1216" y="16"/>
                    </a:lnTo>
                    <a:lnTo>
                      <a:pt x="1216" y="20"/>
                    </a:lnTo>
                    <a:lnTo>
                      <a:pt x="1216" y="22"/>
                    </a:lnTo>
                    <a:lnTo>
                      <a:pt x="1212" y="22"/>
                    </a:lnTo>
                    <a:lnTo>
                      <a:pt x="1200" y="16"/>
                    </a:lnTo>
                    <a:lnTo>
                      <a:pt x="1188" y="12"/>
                    </a:lnTo>
                    <a:lnTo>
                      <a:pt x="1182" y="12"/>
                    </a:lnTo>
                    <a:lnTo>
                      <a:pt x="1184" y="14"/>
                    </a:lnTo>
                    <a:lnTo>
                      <a:pt x="1188" y="18"/>
                    </a:lnTo>
                    <a:lnTo>
                      <a:pt x="1192" y="24"/>
                    </a:lnTo>
                    <a:lnTo>
                      <a:pt x="1194" y="28"/>
                    </a:lnTo>
                    <a:lnTo>
                      <a:pt x="1194" y="30"/>
                    </a:lnTo>
                    <a:lnTo>
                      <a:pt x="1190" y="30"/>
                    </a:lnTo>
                    <a:lnTo>
                      <a:pt x="1180" y="28"/>
                    </a:lnTo>
                    <a:lnTo>
                      <a:pt x="1166" y="26"/>
                    </a:lnTo>
                    <a:lnTo>
                      <a:pt x="1154" y="24"/>
                    </a:lnTo>
                    <a:lnTo>
                      <a:pt x="1148" y="24"/>
                    </a:lnTo>
                    <a:lnTo>
                      <a:pt x="1142" y="26"/>
                    </a:lnTo>
                    <a:lnTo>
                      <a:pt x="1142" y="30"/>
                    </a:lnTo>
                    <a:lnTo>
                      <a:pt x="1144" y="34"/>
                    </a:lnTo>
                    <a:lnTo>
                      <a:pt x="1148" y="38"/>
                    </a:lnTo>
                    <a:lnTo>
                      <a:pt x="1156" y="42"/>
                    </a:lnTo>
                    <a:close/>
                    <a:moveTo>
                      <a:pt x="388" y="1446"/>
                    </a:moveTo>
                    <a:lnTo>
                      <a:pt x="388" y="1446"/>
                    </a:lnTo>
                    <a:lnTo>
                      <a:pt x="384" y="1448"/>
                    </a:lnTo>
                    <a:lnTo>
                      <a:pt x="384" y="1450"/>
                    </a:lnTo>
                    <a:lnTo>
                      <a:pt x="384" y="1452"/>
                    </a:lnTo>
                    <a:lnTo>
                      <a:pt x="386" y="1456"/>
                    </a:lnTo>
                    <a:lnTo>
                      <a:pt x="388" y="1454"/>
                    </a:lnTo>
                    <a:lnTo>
                      <a:pt x="390" y="1452"/>
                    </a:lnTo>
                    <a:lnTo>
                      <a:pt x="390" y="1448"/>
                    </a:lnTo>
                    <a:lnTo>
                      <a:pt x="388" y="1446"/>
                    </a:lnTo>
                    <a:close/>
                    <a:moveTo>
                      <a:pt x="164" y="1358"/>
                    </a:moveTo>
                    <a:lnTo>
                      <a:pt x="164" y="1358"/>
                    </a:lnTo>
                    <a:lnTo>
                      <a:pt x="166" y="1356"/>
                    </a:lnTo>
                    <a:lnTo>
                      <a:pt x="168" y="1358"/>
                    </a:lnTo>
                    <a:lnTo>
                      <a:pt x="170" y="1356"/>
                    </a:lnTo>
                    <a:lnTo>
                      <a:pt x="172" y="1354"/>
                    </a:lnTo>
                    <a:lnTo>
                      <a:pt x="170" y="1354"/>
                    </a:lnTo>
                    <a:lnTo>
                      <a:pt x="168" y="1350"/>
                    </a:lnTo>
                    <a:lnTo>
                      <a:pt x="164" y="1346"/>
                    </a:lnTo>
                    <a:lnTo>
                      <a:pt x="164" y="1348"/>
                    </a:lnTo>
                    <a:lnTo>
                      <a:pt x="164" y="1350"/>
                    </a:lnTo>
                    <a:lnTo>
                      <a:pt x="164" y="1352"/>
                    </a:lnTo>
                    <a:lnTo>
                      <a:pt x="164" y="1354"/>
                    </a:lnTo>
                    <a:lnTo>
                      <a:pt x="164" y="1358"/>
                    </a:lnTo>
                    <a:close/>
                    <a:moveTo>
                      <a:pt x="148" y="1644"/>
                    </a:moveTo>
                    <a:lnTo>
                      <a:pt x="148" y="1644"/>
                    </a:lnTo>
                    <a:lnTo>
                      <a:pt x="150" y="1642"/>
                    </a:lnTo>
                    <a:lnTo>
                      <a:pt x="150" y="1640"/>
                    </a:lnTo>
                    <a:lnTo>
                      <a:pt x="152" y="1636"/>
                    </a:lnTo>
                    <a:lnTo>
                      <a:pt x="156" y="1634"/>
                    </a:lnTo>
                    <a:lnTo>
                      <a:pt x="160" y="1634"/>
                    </a:lnTo>
                    <a:lnTo>
                      <a:pt x="162" y="1634"/>
                    </a:lnTo>
                    <a:lnTo>
                      <a:pt x="162" y="1632"/>
                    </a:lnTo>
                    <a:lnTo>
                      <a:pt x="162" y="1630"/>
                    </a:lnTo>
                    <a:lnTo>
                      <a:pt x="164" y="1630"/>
                    </a:lnTo>
                    <a:lnTo>
                      <a:pt x="166" y="1628"/>
                    </a:lnTo>
                    <a:lnTo>
                      <a:pt x="166" y="1626"/>
                    </a:lnTo>
                    <a:lnTo>
                      <a:pt x="164" y="1624"/>
                    </a:lnTo>
                    <a:lnTo>
                      <a:pt x="166" y="1622"/>
                    </a:lnTo>
                    <a:lnTo>
                      <a:pt x="164" y="1620"/>
                    </a:lnTo>
                    <a:lnTo>
                      <a:pt x="166" y="1618"/>
                    </a:lnTo>
                    <a:lnTo>
                      <a:pt x="168" y="1618"/>
                    </a:lnTo>
                    <a:lnTo>
                      <a:pt x="170" y="1618"/>
                    </a:lnTo>
                    <a:lnTo>
                      <a:pt x="174" y="1616"/>
                    </a:lnTo>
                    <a:lnTo>
                      <a:pt x="176" y="1614"/>
                    </a:lnTo>
                    <a:lnTo>
                      <a:pt x="172" y="1614"/>
                    </a:lnTo>
                    <a:lnTo>
                      <a:pt x="168" y="1614"/>
                    </a:lnTo>
                    <a:lnTo>
                      <a:pt x="172" y="1610"/>
                    </a:lnTo>
                    <a:lnTo>
                      <a:pt x="174" y="1606"/>
                    </a:lnTo>
                    <a:lnTo>
                      <a:pt x="174" y="1600"/>
                    </a:lnTo>
                    <a:lnTo>
                      <a:pt x="172" y="1598"/>
                    </a:lnTo>
                    <a:lnTo>
                      <a:pt x="170" y="1598"/>
                    </a:lnTo>
                    <a:lnTo>
                      <a:pt x="164" y="1602"/>
                    </a:lnTo>
                    <a:lnTo>
                      <a:pt x="158" y="1606"/>
                    </a:lnTo>
                    <a:lnTo>
                      <a:pt x="150" y="1610"/>
                    </a:lnTo>
                    <a:lnTo>
                      <a:pt x="148" y="1612"/>
                    </a:lnTo>
                    <a:lnTo>
                      <a:pt x="148" y="1614"/>
                    </a:lnTo>
                    <a:lnTo>
                      <a:pt x="148" y="1616"/>
                    </a:lnTo>
                    <a:lnTo>
                      <a:pt x="148" y="1620"/>
                    </a:lnTo>
                    <a:lnTo>
                      <a:pt x="146" y="1620"/>
                    </a:lnTo>
                    <a:lnTo>
                      <a:pt x="144" y="1618"/>
                    </a:lnTo>
                    <a:lnTo>
                      <a:pt x="142" y="1616"/>
                    </a:lnTo>
                    <a:lnTo>
                      <a:pt x="140" y="1616"/>
                    </a:lnTo>
                    <a:lnTo>
                      <a:pt x="136" y="1622"/>
                    </a:lnTo>
                    <a:lnTo>
                      <a:pt x="136" y="1624"/>
                    </a:lnTo>
                    <a:lnTo>
                      <a:pt x="138" y="1628"/>
                    </a:lnTo>
                    <a:lnTo>
                      <a:pt x="140" y="1630"/>
                    </a:lnTo>
                    <a:lnTo>
                      <a:pt x="138" y="1632"/>
                    </a:lnTo>
                    <a:lnTo>
                      <a:pt x="144" y="1636"/>
                    </a:lnTo>
                    <a:lnTo>
                      <a:pt x="146" y="1636"/>
                    </a:lnTo>
                    <a:lnTo>
                      <a:pt x="142" y="1638"/>
                    </a:lnTo>
                    <a:lnTo>
                      <a:pt x="138" y="1642"/>
                    </a:lnTo>
                    <a:lnTo>
                      <a:pt x="136" y="1644"/>
                    </a:lnTo>
                    <a:lnTo>
                      <a:pt x="138" y="1646"/>
                    </a:lnTo>
                    <a:lnTo>
                      <a:pt x="140" y="1648"/>
                    </a:lnTo>
                    <a:lnTo>
                      <a:pt x="142" y="1648"/>
                    </a:lnTo>
                    <a:lnTo>
                      <a:pt x="144" y="1644"/>
                    </a:lnTo>
                    <a:lnTo>
                      <a:pt x="148" y="1644"/>
                    </a:lnTo>
                    <a:close/>
                    <a:moveTo>
                      <a:pt x="84" y="2020"/>
                    </a:moveTo>
                    <a:lnTo>
                      <a:pt x="84" y="2020"/>
                    </a:lnTo>
                    <a:lnTo>
                      <a:pt x="88" y="2008"/>
                    </a:lnTo>
                    <a:lnTo>
                      <a:pt x="90" y="2008"/>
                    </a:lnTo>
                    <a:lnTo>
                      <a:pt x="92" y="2012"/>
                    </a:lnTo>
                    <a:lnTo>
                      <a:pt x="94" y="2014"/>
                    </a:lnTo>
                    <a:lnTo>
                      <a:pt x="96" y="2014"/>
                    </a:lnTo>
                    <a:lnTo>
                      <a:pt x="106" y="2008"/>
                    </a:lnTo>
                    <a:lnTo>
                      <a:pt x="120" y="2000"/>
                    </a:lnTo>
                    <a:lnTo>
                      <a:pt x="126" y="1996"/>
                    </a:lnTo>
                    <a:lnTo>
                      <a:pt x="132" y="1994"/>
                    </a:lnTo>
                    <a:lnTo>
                      <a:pt x="142" y="1992"/>
                    </a:lnTo>
                    <a:lnTo>
                      <a:pt x="148" y="1990"/>
                    </a:lnTo>
                    <a:lnTo>
                      <a:pt x="152" y="1990"/>
                    </a:lnTo>
                    <a:lnTo>
                      <a:pt x="160" y="1990"/>
                    </a:lnTo>
                    <a:lnTo>
                      <a:pt x="166" y="1992"/>
                    </a:lnTo>
                    <a:lnTo>
                      <a:pt x="168" y="1988"/>
                    </a:lnTo>
                    <a:lnTo>
                      <a:pt x="168" y="1980"/>
                    </a:lnTo>
                    <a:lnTo>
                      <a:pt x="168" y="1974"/>
                    </a:lnTo>
                    <a:lnTo>
                      <a:pt x="172" y="1966"/>
                    </a:lnTo>
                    <a:lnTo>
                      <a:pt x="176" y="1958"/>
                    </a:lnTo>
                    <a:lnTo>
                      <a:pt x="178" y="1950"/>
                    </a:lnTo>
                    <a:lnTo>
                      <a:pt x="180" y="1934"/>
                    </a:lnTo>
                    <a:lnTo>
                      <a:pt x="178" y="1920"/>
                    </a:lnTo>
                    <a:lnTo>
                      <a:pt x="174" y="1906"/>
                    </a:lnTo>
                    <a:lnTo>
                      <a:pt x="168" y="1888"/>
                    </a:lnTo>
                    <a:lnTo>
                      <a:pt x="166" y="1884"/>
                    </a:lnTo>
                    <a:lnTo>
                      <a:pt x="170" y="1884"/>
                    </a:lnTo>
                    <a:lnTo>
                      <a:pt x="172" y="1882"/>
                    </a:lnTo>
                    <a:lnTo>
                      <a:pt x="172" y="1880"/>
                    </a:lnTo>
                    <a:lnTo>
                      <a:pt x="168" y="1874"/>
                    </a:lnTo>
                    <a:lnTo>
                      <a:pt x="172" y="1874"/>
                    </a:lnTo>
                    <a:lnTo>
                      <a:pt x="176" y="1876"/>
                    </a:lnTo>
                    <a:lnTo>
                      <a:pt x="178" y="1878"/>
                    </a:lnTo>
                    <a:lnTo>
                      <a:pt x="180" y="1878"/>
                    </a:lnTo>
                    <a:lnTo>
                      <a:pt x="186" y="1870"/>
                    </a:lnTo>
                    <a:lnTo>
                      <a:pt x="190" y="1866"/>
                    </a:lnTo>
                    <a:lnTo>
                      <a:pt x="194" y="1866"/>
                    </a:lnTo>
                    <a:lnTo>
                      <a:pt x="196" y="1864"/>
                    </a:lnTo>
                    <a:lnTo>
                      <a:pt x="198" y="1862"/>
                    </a:lnTo>
                    <a:lnTo>
                      <a:pt x="196" y="1858"/>
                    </a:lnTo>
                    <a:lnTo>
                      <a:pt x="194" y="1858"/>
                    </a:lnTo>
                    <a:lnTo>
                      <a:pt x="192" y="1858"/>
                    </a:lnTo>
                    <a:lnTo>
                      <a:pt x="194" y="1854"/>
                    </a:lnTo>
                    <a:lnTo>
                      <a:pt x="196" y="1850"/>
                    </a:lnTo>
                    <a:lnTo>
                      <a:pt x="196" y="1848"/>
                    </a:lnTo>
                    <a:lnTo>
                      <a:pt x="196" y="1850"/>
                    </a:lnTo>
                    <a:lnTo>
                      <a:pt x="200" y="1858"/>
                    </a:lnTo>
                    <a:lnTo>
                      <a:pt x="202" y="1858"/>
                    </a:lnTo>
                    <a:lnTo>
                      <a:pt x="204" y="1856"/>
                    </a:lnTo>
                    <a:lnTo>
                      <a:pt x="204" y="1850"/>
                    </a:lnTo>
                    <a:lnTo>
                      <a:pt x="202" y="1844"/>
                    </a:lnTo>
                    <a:lnTo>
                      <a:pt x="198" y="1840"/>
                    </a:lnTo>
                    <a:lnTo>
                      <a:pt x="196" y="1838"/>
                    </a:lnTo>
                    <a:lnTo>
                      <a:pt x="194" y="1838"/>
                    </a:lnTo>
                    <a:lnTo>
                      <a:pt x="186" y="1840"/>
                    </a:lnTo>
                    <a:lnTo>
                      <a:pt x="184" y="1840"/>
                    </a:lnTo>
                    <a:lnTo>
                      <a:pt x="186" y="1838"/>
                    </a:lnTo>
                    <a:lnTo>
                      <a:pt x="192" y="1834"/>
                    </a:lnTo>
                    <a:lnTo>
                      <a:pt x="194" y="1832"/>
                    </a:lnTo>
                    <a:lnTo>
                      <a:pt x="192" y="1828"/>
                    </a:lnTo>
                    <a:lnTo>
                      <a:pt x="190" y="1828"/>
                    </a:lnTo>
                    <a:lnTo>
                      <a:pt x="186" y="1826"/>
                    </a:lnTo>
                    <a:lnTo>
                      <a:pt x="182" y="1820"/>
                    </a:lnTo>
                    <a:lnTo>
                      <a:pt x="176" y="1808"/>
                    </a:lnTo>
                    <a:lnTo>
                      <a:pt x="174" y="1806"/>
                    </a:lnTo>
                    <a:lnTo>
                      <a:pt x="172" y="1804"/>
                    </a:lnTo>
                    <a:lnTo>
                      <a:pt x="164" y="1806"/>
                    </a:lnTo>
                    <a:lnTo>
                      <a:pt x="156" y="1808"/>
                    </a:lnTo>
                    <a:lnTo>
                      <a:pt x="148" y="1808"/>
                    </a:lnTo>
                    <a:lnTo>
                      <a:pt x="142" y="1810"/>
                    </a:lnTo>
                    <a:lnTo>
                      <a:pt x="140" y="1812"/>
                    </a:lnTo>
                    <a:lnTo>
                      <a:pt x="138" y="1814"/>
                    </a:lnTo>
                    <a:lnTo>
                      <a:pt x="130" y="1816"/>
                    </a:lnTo>
                    <a:lnTo>
                      <a:pt x="126" y="1818"/>
                    </a:lnTo>
                    <a:lnTo>
                      <a:pt x="124" y="1822"/>
                    </a:lnTo>
                    <a:lnTo>
                      <a:pt x="122" y="1828"/>
                    </a:lnTo>
                    <a:lnTo>
                      <a:pt x="120" y="1834"/>
                    </a:lnTo>
                    <a:lnTo>
                      <a:pt x="116" y="1836"/>
                    </a:lnTo>
                    <a:lnTo>
                      <a:pt x="112" y="1836"/>
                    </a:lnTo>
                    <a:lnTo>
                      <a:pt x="116" y="1836"/>
                    </a:lnTo>
                    <a:lnTo>
                      <a:pt x="120" y="1832"/>
                    </a:lnTo>
                    <a:lnTo>
                      <a:pt x="122" y="1826"/>
                    </a:lnTo>
                    <a:lnTo>
                      <a:pt x="124" y="1818"/>
                    </a:lnTo>
                    <a:lnTo>
                      <a:pt x="128" y="1816"/>
                    </a:lnTo>
                    <a:lnTo>
                      <a:pt x="132" y="1814"/>
                    </a:lnTo>
                    <a:lnTo>
                      <a:pt x="132" y="1810"/>
                    </a:lnTo>
                    <a:lnTo>
                      <a:pt x="134" y="1808"/>
                    </a:lnTo>
                    <a:lnTo>
                      <a:pt x="138" y="1806"/>
                    </a:lnTo>
                    <a:lnTo>
                      <a:pt x="140" y="1804"/>
                    </a:lnTo>
                    <a:lnTo>
                      <a:pt x="134" y="1798"/>
                    </a:lnTo>
                    <a:lnTo>
                      <a:pt x="130" y="1796"/>
                    </a:lnTo>
                    <a:lnTo>
                      <a:pt x="126" y="1796"/>
                    </a:lnTo>
                    <a:lnTo>
                      <a:pt x="124" y="1798"/>
                    </a:lnTo>
                    <a:lnTo>
                      <a:pt x="122" y="1800"/>
                    </a:lnTo>
                    <a:lnTo>
                      <a:pt x="118" y="1804"/>
                    </a:lnTo>
                    <a:lnTo>
                      <a:pt x="116" y="1804"/>
                    </a:lnTo>
                    <a:lnTo>
                      <a:pt x="112" y="1804"/>
                    </a:lnTo>
                    <a:lnTo>
                      <a:pt x="104" y="1806"/>
                    </a:lnTo>
                    <a:lnTo>
                      <a:pt x="94" y="1810"/>
                    </a:lnTo>
                    <a:lnTo>
                      <a:pt x="86" y="1816"/>
                    </a:lnTo>
                    <a:lnTo>
                      <a:pt x="84" y="1820"/>
                    </a:lnTo>
                    <a:lnTo>
                      <a:pt x="84" y="1824"/>
                    </a:lnTo>
                    <a:lnTo>
                      <a:pt x="84" y="1828"/>
                    </a:lnTo>
                    <a:lnTo>
                      <a:pt x="82" y="1830"/>
                    </a:lnTo>
                    <a:lnTo>
                      <a:pt x="76" y="1834"/>
                    </a:lnTo>
                    <a:lnTo>
                      <a:pt x="70" y="1836"/>
                    </a:lnTo>
                    <a:lnTo>
                      <a:pt x="68" y="1838"/>
                    </a:lnTo>
                    <a:lnTo>
                      <a:pt x="68" y="1840"/>
                    </a:lnTo>
                    <a:lnTo>
                      <a:pt x="70" y="1842"/>
                    </a:lnTo>
                    <a:lnTo>
                      <a:pt x="76" y="1842"/>
                    </a:lnTo>
                    <a:lnTo>
                      <a:pt x="86" y="1842"/>
                    </a:lnTo>
                    <a:lnTo>
                      <a:pt x="94" y="1844"/>
                    </a:lnTo>
                    <a:lnTo>
                      <a:pt x="94" y="1846"/>
                    </a:lnTo>
                    <a:lnTo>
                      <a:pt x="90" y="1848"/>
                    </a:lnTo>
                    <a:lnTo>
                      <a:pt x="82" y="1856"/>
                    </a:lnTo>
                    <a:lnTo>
                      <a:pt x="78" y="1862"/>
                    </a:lnTo>
                    <a:lnTo>
                      <a:pt x="74" y="1866"/>
                    </a:lnTo>
                    <a:lnTo>
                      <a:pt x="70" y="1866"/>
                    </a:lnTo>
                    <a:lnTo>
                      <a:pt x="62" y="1864"/>
                    </a:lnTo>
                    <a:lnTo>
                      <a:pt x="58" y="1866"/>
                    </a:lnTo>
                    <a:lnTo>
                      <a:pt x="54" y="1866"/>
                    </a:lnTo>
                    <a:lnTo>
                      <a:pt x="48" y="1864"/>
                    </a:lnTo>
                    <a:lnTo>
                      <a:pt x="40" y="1860"/>
                    </a:lnTo>
                    <a:lnTo>
                      <a:pt x="30" y="1860"/>
                    </a:lnTo>
                    <a:lnTo>
                      <a:pt x="22" y="1862"/>
                    </a:lnTo>
                    <a:lnTo>
                      <a:pt x="14" y="1868"/>
                    </a:lnTo>
                    <a:lnTo>
                      <a:pt x="14" y="1870"/>
                    </a:lnTo>
                    <a:lnTo>
                      <a:pt x="18" y="1870"/>
                    </a:lnTo>
                    <a:lnTo>
                      <a:pt x="20" y="1870"/>
                    </a:lnTo>
                    <a:lnTo>
                      <a:pt x="20" y="1872"/>
                    </a:lnTo>
                    <a:lnTo>
                      <a:pt x="20" y="1874"/>
                    </a:lnTo>
                    <a:lnTo>
                      <a:pt x="18" y="1878"/>
                    </a:lnTo>
                    <a:lnTo>
                      <a:pt x="16" y="1884"/>
                    </a:lnTo>
                    <a:lnTo>
                      <a:pt x="18" y="1886"/>
                    </a:lnTo>
                    <a:lnTo>
                      <a:pt x="22" y="1888"/>
                    </a:lnTo>
                    <a:lnTo>
                      <a:pt x="28" y="1888"/>
                    </a:lnTo>
                    <a:lnTo>
                      <a:pt x="38" y="1888"/>
                    </a:lnTo>
                    <a:lnTo>
                      <a:pt x="38" y="1890"/>
                    </a:lnTo>
                    <a:lnTo>
                      <a:pt x="34" y="1892"/>
                    </a:lnTo>
                    <a:lnTo>
                      <a:pt x="24" y="1898"/>
                    </a:lnTo>
                    <a:lnTo>
                      <a:pt x="22" y="1900"/>
                    </a:lnTo>
                    <a:lnTo>
                      <a:pt x="20" y="1904"/>
                    </a:lnTo>
                    <a:lnTo>
                      <a:pt x="16" y="1908"/>
                    </a:lnTo>
                    <a:lnTo>
                      <a:pt x="14" y="1912"/>
                    </a:lnTo>
                    <a:lnTo>
                      <a:pt x="16" y="1914"/>
                    </a:lnTo>
                    <a:lnTo>
                      <a:pt x="24" y="1922"/>
                    </a:lnTo>
                    <a:lnTo>
                      <a:pt x="36" y="1928"/>
                    </a:lnTo>
                    <a:lnTo>
                      <a:pt x="40" y="1928"/>
                    </a:lnTo>
                    <a:lnTo>
                      <a:pt x="44" y="1928"/>
                    </a:lnTo>
                    <a:lnTo>
                      <a:pt x="52" y="1926"/>
                    </a:lnTo>
                    <a:lnTo>
                      <a:pt x="58" y="1928"/>
                    </a:lnTo>
                    <a:lnTo>
                      <a:pt x="60" y="1928"/>
                    </a:lnTo>
                    <a:lnTo>
                      <a:pt x="60" y="1930"/>
                    </a:lnTo>
                    <a:lnTo>
                      <a:pt x="50" y="1934"/>
                    </a:lnTo>
                    <a:lnTo>
                      <a:pt x="44" y="1936"/>
                    </a:lnTo>
                    <a:lnTo>
                      <a:pt x="42" y="1938"/>
                    </a:lnTo>
                    <a:lnTo>
                      <a:pt x="42" y="1940"/>
                    </a:lnTo>
                    <a:lnTo>
                      <a:pt x="42" y="1944"/>
                    </a:lnTo>
                    <a:lnTo>
                      <a:pt x="42" y="1948"/>
                    </a:lnTo>
                    <a:lnTo>
                      <a:pt x="40" y="1952"/>
                    </a:lnTo>
                    <a:lnTo>
                      <a:pt x="36" y="1956"/>
                    </a:lnTo>
                    <a:lnTo>
                      <a:pt x="28" y="1962"/>
                    </a:lnTo>
                    <a:lnTo>
                      <a:pt x="22" y="1966"/>
                    </a:lnTo>
                    <a:lnTo>
                      <a:pt x="22" y="1968"/>
                    </a:lnTo>
                    <a:lnTo>
                      <a:pt x="26" y="1968"/>
                    </a:lnTo>
                    <a:lnTo>
                      <a:pt x="30" y="1968"/>
                    </a:lnTo>
                    <a:lnTo>
                      <a:pt x="58" y="1960"/>
                    </a:lnTo>
                    <a:lnTo>
                      <a:pt x="64" y="1960"/>
                    </a:lnTo>
                    <a:lnTo>
                      <a:pt x="66" y="1960"/>
                    </a:lnTo>
                    <a:lnTo>
                      <a:pt x="66" y="1962"/>
                    </a:lnTo>
                    <a:lnTo>
                      <a:pt x="66" y="1964"/>
                    </a:lnTo>
                    <a:lnTo>
                      <a:pt x="62" y="1966"/>
                    </a:lnTo>
                    <a:lnTo>
                      <a:pt x="50" y="1968"/>
                    </a:lnTo>
                    <a:lnTo>
                      <a:pt x="36" y="1970"/>
                    </a:lnTo>
                    <a:lnTo>
                      <a:pt x="28" y="1974"/>
                    </a:lnTo>
                    <a:lnTo>
                      <a:pt x="24" y="1978"/>
                    </a:lnTo>
                    <a:lnTo>
                      <a:pt x="26" y="1982"/>
                    </a:lnTo>
                    <a:lnTo>
                      <a:pt x="28" y="1984"/>
                    </a:lnTo>
                    <a:lnTo>
                      <a:pt x="26" y="1986"/>
                    </a:lnTo>
                    <a:lnTo>
                      <a:pt x="22" y="1984"/>
                    </a:lnTo>
                    <a:lnTo>
                      <a:pt x="14" y="1984"/>
                    </a:lnTo>
                    <a:lnTo>
                      <a:pt x="10" y="1986"/>
                    </a:lnTo>
                    <a:lnTo>
                      <a:pt x="4" y="1988"/>
                    </a:lnTo>
                    <a:lnTo>
                      <a:pt x="0" y="1994"/>
                    </a:lnTo>
                    <a:lnTo>
                      <a:pt x="0" y="1996"/>
                    </a:lnTo>
                    <a:lnTo>
                      <a:pt x="2" y="1996"/>
                    </a:lnTo>
                    <a:lnTo>
                      <a:pt x="6" y="1996"/>
                    </a:lnTo>
                    <a:lnTo>
                      <a:pt x="10" y="1996"/>
                    </a:lnTo>
                    <a:lnTo>
                      <a:pt x="14" y="1996"/>
                    </a:lnTo>
                    <a:lnTo>
                      <a:pt x="14" y="2000"/>
                    </a:lnTo>
                    <a:lnTo>
                      <a:pt x="10" y="2004"/>
                    </a:lnTo>
                    <a:lnTo>
                      <a:pt x="6" y="2010"/>
                    </a:lnTo>
                    <a:lnTo>
                      <a:pt x="4" y="2012"/>
                    </a:lnTo>
                    <a:lnTo>
                      <a:pt x="8" y="2014"/>
                    </a:lnTo>
                    <a:lnTo>
                      <a:pt x="12" y="2016"/>
                    </a:lnTo>
                    <a:lnTo>
                      <a:pt x="18" y="2018"/>
                    </a:lnTo>
                    <a:lnTo>
                      <a:pt x="20" y="2020"/>
                    </a:lnTo>
                    <a:lnTo>
                      <a:pt x="16" y="2024"/>
                    </a:lnTo>
                    <a:lnTo>
                      <a:pt x="14" y="2026"/>
                    </a:lnTo>
                    <a:lnTo>
                      <a:pt x="16" y="2026"/>
                    </a:lnTo>
                    <a:lnTo>
                      <a:pt x="28" y="2022"/>
                    </a:lnTo>
                    <a:lnTo>
                      <a:pt x="36" y="2020"/>
                    </a:lnTo>
                    <a:lnTo>
                      <a:pt x="36" y="2022"/>
                    </a:lnTo>
                    <a:lnTo>
                      <a:pt x="30" y="2026"/>
                    </a:lnTo>
                    <a:lnTo>
                      <a:pt x="28" y="2030"/>
                    </a:lnTo>
                    <a:lnTo>
                      <a:pt x="28" y="2032"/>
                    </a:lnTo>
                    <a:lnTo>
                      <a:pt x="30" y="2034"/>
                    </a:lnTo>
                    <a:lnTo>
                      <a:pt x="38" y="2034"/>
                    </a:lnTo>
                    <a:lnTo>
                      <a:pt x="48" y="2032"/>
                    </a:lnTo>
                    <a:lnTo>
                      <a:pt x="70" y="2028"/>
                    </a:lnTo>
                    <a:lnTo>
                      <a:pt x="78" y="2024"/>
                    </a:lnTo>
                    <a:lnTo>
                      <a:pt x="84" y="2020"/>
                    </a:lnTo>
                    <a:close/>
                    <a:moveTo>
                      <a:pt x="154" y="1672"/>
                    </a:moveTo>
                    <a:lnTo>
                      <a:pt x="154" y="1672"/>
                    </a:lnTo>
                    <a:lnTo>
                      <a:pt x="156" y="1672"/>
                    </a:lnTo>
                    <a:lnTo>
                      <a:pt x="158" y="1670"/>
                    </a:lnTo>
                    <a:lnTo>
                      <a:pt x="162" y="1672"/>
                    </a:lnTo>
                    <a:lnTo>
                      <a:pt x="162" y="1674"/>
                    </a:lnTo>
                    <a:lnTo>
                      <a:pt x="162" y="1676"/>
                    </a:lnTo>
                    <a:lnTo>
                      <a:pt x="162" y="1678"/>
                    </a:lnTo>
                    <a:lnTo>
                      <a:pt x="164" y="1682"/>
                    </a:lnTo>
                    <a:lnTo>
                      <a:pt x="168" y="1684"/>
                    </a:lnTo>
                    <a:lnTo>
                      <a:pt x="170" y="1684"/>
                    </a:lnTo>
                    <a:lnTo>
                      <a:pt x="174" y="1682"/>
                    </a:lnTo>
                    <a:lnTo>
                      <a:pt x="180" y="1682"/>
                    </a:lnTo>
                    <a:lnTo>
                      <a:pt x="182" y="1684"/>
                    </a:lnTo>
                    <a:lnTo>
                      <a:pt x="182" y="1688"/>
                    </a:lnTo>
                    <a:lnTo>
                      <a:pt x="180" y="1692"/>
                    </a:lnTo>
                    <a:lnTo>
                      <a:pt x="180" y="1694"/>
                    </a:lnTo>
                    <a:lnTo>
                      <a:pt x="182" y="1692"/>
                    </a:lnTo>
                    <a:lnTo>
                      <a:pt x="186" y="1688"/>
                    </a:lnTo>
                    <a:lnTo>
                      <a:pt x="192" y="1678"/>
                    </a:lnTo>
                    <a:lnTo>
                      <a:pt x="192" y="1676"/>
                    </a:lnTo>
                    <a:lnTo>
                      <a:pt x="190" y="1676"/>
                    </a:lnTo>
                    <a:lnTo>
                      <a:pt x="184" y="1678"/>
                    </a:lnTo>
                    <a:lnTo>
                      <a:pt x="180" y="1676"/>
                    </a:lnTo>
                    <a:lnTo>
                      <a:pt x="178" y="1674"/>
                    </a:lnTo>
                    <a:lnTo>
                      <a:pt x="176" y="1672"/>
                    </a:lnTo>
                    <a:lnTo>
                      <a:pt x="174" y="1662"/>
                    </a:lnTo>
                    <a:lnTo>
                      <a:pt x="172" y="1654"/>
                    </a:lnTo>
                    <a:lnTo>
                      <a:pt x="170" y="1652"/>
                    </a:lnTo>
                    <a:lnTo>
                      <a:pt x="168" y="1650"/>
                    </a:lnTo>
                    <a:lnTo>
                      <a:pt x="166" y="1650"/>
                    </a:lnTo>
                    <a:lnTo>
                      <a:pt x="166" y="1652"/>
                    </a:lnTo>
                    <a:lnTo>
                      <a:pt x="166" y="1656"/>
                    </a:lnTo>
                    <a:lnTo>
                      <a:pt x="166" y="1662"/>
                    </a:lnTo>
                    <a:lnTo>
                      <a:pt x="166" y="1664"/>
                    </a:lnTo>
                    <a:lnTo>
                      <a:pt x="162" y="1664"/>
                    </a:lnTo>
                    <a:lnTo>
                      <a:pt x="160" y="1660"/>
                    </a:lnTo>
                    <a:lnTo>
                      <a:pt x="158" y="1658"/>
                    </a:lnTo>
                    <a:lnTo>
                      <a:pt x="154" y="1656"/>
                    </a:lnTo>
                    <a:lnTo>
                      <a:pt x="154" y="1658"/>
                    </a:lnTo>
                    <a:lnTo>
                      <a:pt x="154" y="1660"/>
                    </a:lnTo>
                    <a:lnTo>
                      <a:pt x="156" y="1664"/>
                    </a:lnTo>
                    <a:lnTo>
                      <a:pt x="154" y="1666"/>
                    </a:lnTo>
                    <a:lnTo>
                      <a:pt x="150" y="1666"/>
                    </a:lnTo>
                    <a:lnTo>
                      <a:pt x="150" y="1668"/>
                    </a:lnTo>
                    <a:lnTo>
                      <a:pt x="154" y="1672"/>
                    </a:lnTo>
                    <a:close/>
                    <a:moveTo>
                      <a:pt x="146" y="1346"/>
                    </a:moveTo>
                    <a:lnTo>
                      <a:pt x="146" y="1346"/>
                    </a:lnTo>
                    <a:lnTo>
                      <a:pt x="142" y="1346"/>
                    </a:lnTo>
                    <a:lnTo>
                      <a:pt x="144" y="1352"/>
                    </a:lnTo>
                    <a:lnTo>
                      <a:pt x="148" y="1358"/>
                    </a:lnTo>
                    <a:lnTo>
                      <a:pt x="154" y="1362"/>
                    </a:lnTo>
                    <a:lnTo>
                      <a:pt x="158" y="1364"/>
                    </a:lnTo>
                    <a:lnTo>
                      <a:pt x="160" y="1364"/>
                    </a:lnTo>
                    <a:lnTo>
                      <a:pt x="162" y="1362"/>
                    </a:lnTo>
                    <a:lnTo>
                      <a:pt x="160" y="1360"/>
                    </a:lnTo>
                    <a:lnTo>
                      <a:pt x="158" y="1358"/>
                    </a:lnTo>
                    <a:lnTo>
                      <a:pt x="160" y="1358"/>
                    </a:lnTo>
                    <a:lnTo>
                      <a:pt x="160" y="1356"/>
                    </a:lnTo>
                    <a:lnTo>
                      <a:pt x="158" y="1356"/>
                    </a:lnTo>
                    <a:lnTo>
                      <a:pt x="154" y="1354"/>
                    </a:lnTo>
                    <a:lnTo>
                      <a:pt x="154" y="1352"/>
                    </a:lnTo>
                    <a:lnTo>
                      <a:pt x="154" y="1350"/>
                    </a:lnTo>
                    <a:lnTo>
                      <a:pt x="152" y="1350"/>
                    </a:lnTo>
                    <a:lnTo>
                      <a:pt x="148" y="1350"/>
                    </a:lnTo>
                    <a:lnTo>
                      <a:pt x="148" y="1348"/>
                    </a:lnTo>
                    <a:lnTo>
                      <a:pt x="148" y="1346"/>
                    </a:lnTo>
                    <a:lnTo>
                      <a:pt x="146" y="1346"/>
                    </a:lnTo>
                    <a:close/>
                    <a:moveTo>
                      <a:pt x="166" y="1740"/>
                    </a:moveTo>
                    <a:lnTo>
                      <a:pt x="166" y="1740"/>
                    </a:lnTo>
                    <a:lnTo>
                      <a:pt x="166" y="1742"/>
                    </a:lnTo>
                    <a:lnTo>
                      <a:pt x="168" y="1742"/>
                    </a:lnTo>
                    <a:lnTo>
                      <a:pt x="174" y="1740"/>
                    </a:lnTo>
                    <a:lnTo>
                      <a:pt x="188" y="1736"/>
                    </a:lnTo>
                    <a:lnTo>
                      <a:pt x="194" y="1734"/>
                    </a:lnTo>
                    <a:lnTo>
                      <a:pt x="192" y="1732"/>
                    </a:lnTo>
                    <a:lnTo>
                      <a:pt x="190" y="1728"/>
                    </a:lnTo>
                    <a:lnTo>
                      <a:pt x="184" y="1724"/>
                    </a:lnTo>
                    <a:lnTo>
                      <a:pt x="178" y="1722"/>
                    </a:lnTo>
                    <a:lnTo>
                      <a:pt x="176" y="1718"/>
                    </a:lnTo>
                    <a:lnTo>
                      <a:pt x="174" y="1718"/>
                    </a:lnTo>
                    <a:lnTo>
                      <a:pt x="170" y="1720"/>
                    </a:lnTo>
                    <a:lnTo>
                      <a:pt x="168" y="1722"/>
                    </a:lnTo>
                    <a:lnTo>
                      <a:pt x="166" y="1724"/>
                    </a:lnTo>
                    <a:lnTo>
                      <a:pt x="174" y="1728"/>
                    </a:lnTo>
                    <a:lnTo>
                      <a:pt x="176" y="1730"/>
                    </a:lnTo>
                    <a:lnTo>
                      <a:pt x="174" y="1730"/>
                    </a:lnTo>
                    <a:lnTo>
                      <a:pt x="172" y="1732"/>
                    </a:lnTo>
                    <a:lnTo>
                      <a:pt x="172" y="1734"/>
                    </a:lnTo>
                    <a:lnTo>
                      <a:pt x="172" y="1736"/>
                    </a:lnTo>
                    <a:lnTo>
                      <a:pt x="170" y="1736"/>
                    </a:lnTo>
                    <a:lnTo>
                      <a:pt x="168" y="1738"/>
                    </a:lnTo>
                    <a:lnTo>
                      <a:pt x="166" y="1740"/>
                    </a:lnTo>
                    <a:close/>
                    <a:moveTo>
                      <a:pt x="362" y="2084"/>
                    </a:moveTo>
                    <a:lnTo>
                      <a:pt x="362" y="2084"/>
                    </a:lnTo>
                    <a:lnTo>
                      <a:pt x="370" y="2088"/>
                    </a:lnTo>
                    <a:lnTo>
                      <a:pt x="376" y="2088"/>
                    </a:lnTo>
                    <a:lnTo>
                      <a:pt x="380" y="2086"/>
                    </a:lnTo>
                    <a:lnTo>
                      <a:pt x="378" y="2082"/>
                    </a:lnTo>
                    <a:lnTo>
                      <a:pt x="376" y="2080"/>
                    </a:lnTo>
                    <a:lnTo>
                      <a:pt x="372" y="2078"/>
                    </a:lnTo>
                    <a:lnTo>
                      <a:pt x="366" y="2080"/>
                    </a:lnTo>
                    <a:lnTo>
                      <a:pt x="362" y="2084"/>
                    </a:lnTo>
                    <a:close/>
                    <a:moveTo>
                      <a:pt x="174" y="1354"/>
                    </a:moveTo>
                    <a:lnTo>
                      <a:pt x="174" y="1354"/>
                    </a:lnTo>
                    <a:lnTo>
                      <a:pt x="176" y="1352"/>
                    </a:lnTo>
                    <a:lnTo>
                      <a:pt x="176" y="1350"/>
                    </a:lnTo>
                    <a:lnTo>
                      <a:pt x="174" y="1348"/>
                    </a:lnTo>
                    <a:lnTo>
                      <a:pt x="174" y="1350"/>
                    </a:lnTo>
                    <a:lnTo>
                      <a:pt x="172" y="1350"/>
                    </a:lnTo>
                    <a:lnTo>
                      <a:pt x="172" y="1352"/>
                    </a:lnTo>
                    <a:lnTo>
                      <a:pt x="174" y="1354"/>
                    </a:lnTo>
                    <a:close/>
                    <a:moveTo>
                      <a:pt x="168" y="1784"/>
                    </a:moveTo>
                    <a:lnTo>
                      <a:pt x="168" y="1784"/>
                    </a:lnTo>
                    <a:lnTo>
                      <a:pt x="170" y="1784"/>
                    </a:lnTo>
                    <a:lnTo>
                      <a:pt x="176" y="1780"/>
                    </a:lnTo>
                    <a:lnTo>
                      <a:pt x="178" y="1776"/>
                    </a:lnTo>
                    <a:lnTo>
                      <a:pt x="178" y="1772"/>
                    </a:lnTo>
                    <a:lnTo>
                      <a:pt x="176" y="1768"/>
                    </a:lnTo>
                    <a:lnTo>
                      <a:pt x="176" y="1764"/>
                    </a:lnTo>
                    <a:lnTo>
                      <a:pt x="176" y="1762"/>
                    </a:lnTo>
                    <a:lnTo>
                      <a:pt x="174" y="1762"/>
                    </a:lnTo>
                    <a:lnTo>
                      <a:pt x="172" y="1764"/>
                    </a:lnTo>
                    <a:lnTo>
                      <a:pt x="170" y="1766"/>
                    </a:lnTo>
                    <a:lnTo>
                      <a:pt x="168" y="1766"/>
                    </a:lnTo>
                    <a:lnTo>
                      <a:pt x="166" y="1764"/>
                    </a:lnTo>
                    <a:lnTo>
                      <a:pt x="166" y="1766"/>
                    </a:lnTo>
                    <a:lnTo>
                      <a:pt x="162" y="1768"/>
                    </a:lnTo>
                    <a:lnTo>
                      <a:pt x="158" y="1772"/>
                    </a:lnTo>
                    <a:lnTo>
                      <a:pt x="158" y="1774"/>
                    </a:lnTo>
                    <a:lnTo>
                      <a:pt x="160" y="1776"/>
                    </a:lnTo>
                    <a:lnTo>
                      <a:pt x="162" y="1776"/>
                    </a:lnTo>
                    <a:lnTo>
                      <a:pt x="166" y="1774"/>
                    </a:lnTo>
                    <a:lnTo>
                      <a:pt x="168" y="1774"/>
                    </a:lnTo>
                    <a:lnTo>
                      <a:pt x="170" y="1776"/>
                    </a:lnTo>
                    <a:lnTo>
                      <a:pt x="170" y="1778"/>
                    </a:lnTo>
                    <a:lnTo>
                      <a:pt x="168" y="1780"/>
                    </a:lnTo>
                    <a:lnTo>
                      <a:pt x="166" y="1782"/>
                    </a:lnTo>
                    <a:lnTo>
                      <a:pt x="168" y="1784"/>
                    </a:lnTo>
                    <a:close/>
                    <a:moveTo>
                      <a:pt x="190" y="1748"/>
                    </a:moveTo>
                    <a:lnTo>
                      <a:pt x="190" y="1748"/>
                    </a:lnTo>
                    <a:lnTo>
                      <a:pt x="186" y="1752"/>
                    </a:lnTo>
                    <a:lnTo>
                      <a:pt x="182" y="1756"/>
                    </a:lnTo>
                    <a:lnTo>
                      <a:pt x="178" y="1762"/>
                    </a:lnTo>
                    <a:lnTo>
                      <a:pt x="178" y="1768"/>
                    </a:lnTo>
                    <a:lnTo>
                      <a:pt x="180" y="1768"/>
                    </a:lnTo>
                    <a:lnTo>
                      <a:pt x="182" y="1766"/>
                    </a:lnTo>
                    <a:lnTo>
                      <a:pt x="188" y="1758"/>
                    </a:lnTo>
                    <a:lnTo>
                      <a:pt x="192" y="1750"/>
                    </a:lnTo>
                    <a:lnTo>
                      <a:pt x="192" y="1748"/>
                    </a:lnTo>
                    <a:lnTo>
                      <a:pt x="190" y="1748"/>
                    </a:lnTo>
                    <a:close/>
                    <a:moveTo>
                      <a:pt x="700" y="1324"/>
                    </a:moveTo>
                    <a:lnTo>
                      <a:pt x="700" y="1324"/>
                    </a:lnTo>
                    <a:lnTo>
                      <a:pt x="698" y="1322"/>
                    </a:lnTo>
                    <a:lnTo>
                      <a:pt x="694" y="1322"/>
                    </a:lnTo>
                    <a:lnTo>
                      <a:pt x="690" y="1324"/>
                    </a:lnTo>
                    <a:lnTo>
                      <a:pt x="690" y="1326"/>
                    </a:lnTo>
                    <a:lnTo>
                      <a:pt x="692" y="1326"/>
                    </a:lnTo>
                    <a:lnTo>
                      <a:pt x="696" y="1326"/>
                    </a:lnTo>
                    <a:lnTo>
                      <a:pt x="700" y="1326"/>
                    </a:lnTo>
                    <a:lnTo>
                      <a:pt x="700" y="1324"/>
                    </a:lnTo>
                    <a:close/>
                    <a:moveTo>
                      <a:pt x="494" y="1970"/>
                    </a:moveTo>
                    <a:lnTo>
                      <a:pt x="494" y="1970"/>
                    </a:lnTo>
                    <a:lnTo>
                      <a:pt x="492" y="1962"/>
                    </a:lnTo>
                    <a:lnTo>
                      <a:pt x="486" y="1954"/>
                    </a:lnTo>
                    <a:lnTo>
                      <a:pt x="478" y="1948"/>
                    </a:lnTo>
                    <a:lnTo>
                      <a:pt x="470" y="1944"/>
                    </a:lnTo>
                    <a:lnTo>
                      <a:pt x="460" y="1942"/>
                    </a:lnTo>
                    <a:lnTo>
                      <a:pt x="452" y="1942"/>
                    </a:lnTo>
                    <a:lnTo>
                      <a:pt x="446" y="1944"/>
                    </a:lnTo>
                    <a:lnTo>
                      <a:pt x="442" y="1948"/>
                    </a:lnTo>
                    <a:lnTo>
                      <a:pt x="438" y="1954"/>
                    </a:lnTo>
                    <a:lnTo>
                      <a:pt x="434" y="1954"/>
                    </a:lnTo>
                    <a:lnTo>
                      <a:pt x="432" y="1952"/>
                    </a:lnTo>
                    <a:lnTo>
                      <a:pt x="428" y="1950"/>
                    </a:lnTo>
                    <a:lnTo>
                      <a:pt x="424" y="1948"/>
                    </a:lnTo>
                    <a:lnTo>
                      <a:pt x="424" y="1946"/>
                    </a:lnTo>
                    <a:lnTo>
                      <a:pt x="428" y="1942"/>
                    </a:lnTo>
                    <a:lnTo>
                      <a:pt x="434" y="1938"/>
                    </a:lnTo>
                    <a:lnTo>
                      <a:pt x="436" y="1936"/>
                    </a:lnTo>
                    <a:lnTo>
                      <a:pt x="438" y="1932"/>
                    </a:lnTo>
                    <a:lnTo>
                      <a:pt x="434" y="1924"/>
                    </a:lnTo>
                    <a:lnTo>
                      <a:pt x="428" y="1914"/>
                    </a:lnTo>
                    <a:lnTo>
                      <a:pt x="418" y="1906"/>
                    </a:lnTo>
                    <a:lnTo>
                      <a:pt x="410" y="1902"/>
                    </a:lnTo>
                    <a:lnTo>
                      <a:pt x="408" y="1898"/>
                    </a:lnTo>
                    <a:lnTo>
                      <a:pt x="410" y="1898"/>
                    </a:lnTo>
                    <a:lnTo>
                      <a:pt x="418" y="1902"/>
                    </a:lnTo>
                    <a:lnTo>
                      <a:pt x="424" y="1906"/>
                    </a:lnTo>
                    <a:lnTo>
                      <a:pt x="428" y="1906"/>
                    </a:lnTo>
                    <a:lnTo>
                      <a:pt x="430" y="1904"/>
                    </a:lnTo>
                    <a:lnTo>
                      <a:pt x="428" y="1902"/>
                    </a:lnTo>
                    <a:lnTo>
                      <a:pt x="422" y="1894"/>
                    </a:lnTo>
                    <a:lnTo>
                      <a:pt x="418" y="1888"/>
                    </a:lnTo>
                    <a:lnTo>
                      <a:pt x="416" y="1884"/>
                    </a:lnTo>
                    <a:lnTo>
                      <a:pt x="416" y="1876"/>
                    </a:lnTo>
                    <a:lnTo>
                      <a:pt x="416" y="1872"/>
                    </a:lnTo>
                    <a:lnTo>
                      <a:pt x="416" y="1870"/>
                    </a:lnTo>
                    <a:lnTo>
                      <a:pt x="412" y="1868"/>
                    </a:lnTo>
                    <a:lnTo>
                      <a:pt x="408" y="1866"/>
                    </a:lnTo>
                    <a:lnTo>
                      <a:pt x="406" y="1864"/>
                    </a:lnTo>
                    <a:lnTo>
                      <a:pt x="404" y="1858"/>
                    </a:lnTo>
                    <a:lnTo>
                      <a:pt x="400" y="1852"/>
                    </a:lnTo>
                    <a:lnTo>
                      <a:pt x="396" y="1850"/>
                    </a:lnTo>
                    <a:lnTo>
                      <a:pt x="390" y="1848"/>
                    </a:lnTo>
                    <a:lnTo>
                      <a:pt x="380" y="1844"/>
                    </a:lnTo>
                    <a:lnTo>
                      <a:pt x="376" y="1842"/>
                    </a:lnTo>
                    <a:lnTo>
                      <a:pt x="372" y="1836"/>
                    </a:lnTo>
                    <a:lnTo>
                      <a:pt x="366" y="1822"/>
                    </a:lnTo>
                    <a:lnTo>
                      <a:pt x="360" y="1806"/>
                    </a:lnTo>
                    <a:lnTo>
                      <a:pt x="358" y="1794"/>
                    </a:lnTo>
                    <a:lnTo>
                      <a:pt x="356" y="1786"/>
                    </a:lnTo>
                    <a:lnTo>
                      <a:pt x="354" y="1782"/>
                    </a:lnTo>
                    <a:lnTo>
                      <a:pt x="352" y="1780"/>
                    </a:lnTo>
                    <a:lnTo>
                      <a:pt x="346" y="1774"/>
                    </a:lnTo>
                    <a:lnTo>
                      <a:pt x="342" y="1768"/>
                    </a:lnTo>
                    <a:lnTo>
                      <a:pt x="336" y="1762"/>
                    </a:lnTo>
                    <a:lnTo>
                      <a:pt x="322" y="1756"/>
                    </a:lnTo>
                    <a:lnTo>
                      <a:pt x="314" y="1754"/>
                    </a:lnTo>
                    <a:lnTo>
                      <a:pt x="310" y="1754"/>
                    </a:lnTo>
                    <a:lnTo>
                      <a:pt x="308" y="1754"/>
                    </a:lnTo>
                    <a:lnTo>
                      <a:pt x="306" y="1756"/>
                    </a:lnTo>
                    <a:lnTo>
                      <a:pt x="302" y="1758"/>
                    </a:lnTo>
                    <a:lnTo>
                      <a:pt x="298" y="1760"/>
                    </a:lnTo>
                    <a:lnTo>
                      <a:pt x="290" y="1758"/>
                    </a:lnTo>
                    <a:lnTo>
                      <a:pt x="286" y="1758"/>
                    </a:lnTo>
                    <a:lnTo>
                      <a:pt x="288" y="1756"/>
                    </a:lnTo>
                    <a:lnTo>
                      <a:pt x="294" y="1754"/>
                    </a:lnTo>
                    <a:lnTo>
                      <a:pt x="300" y="1748"/>
                    </a:lnTo>
                    <a:lnTo>
                      <a:pt x="302" y="1746"/>
                    </a:lnTo>
                    <a:lnTo>
                      <a:pt x="304" y="1746"/>
                    </a:lnTo>
                    <a:lnTo>
                      <a:pt x="308" y="1746"/>
                    </a:lnTo>
                    <a:lnTo>
                      <a:pt x="316" y="1742"/>
                    </a:lnTo>
                    <a:lnTo>
                      <a:pt x="318" y="1742"/>
                    </a:lnTo>
                    <a:lnTo>
                      <a:pt x="318" y="1740"/>
                    </a:lnTo>
                    <a:lnTo>
                      <a:pt x="316" y="1738"/>
                    </a:lnTo>
                    <a:lnTo>
                      <a:pt x="310" y="1736"/>
                    </a:lnTo>
                    <a:lnTo>
                      <a:pt x="308" y="1734"/>
                    </a:lnTo>
                    <a:lnTo>
                      <a:pt x="308" y="1730"/>
                    </a:lnTo>
                    <a:lnTo>
                      <a:pt x="304" y="1728"/>
                    </a:lnTo>
                    <a:lnTo>
                      <a:pt x="304" y="1726"/>
                    </a:lnTo>
                    <a:lnTo>
                      <a:pt x="306" y="1728"/>
                    </a:lnTo>
                    <a:lnTo>
                      <a:pt x="312" y="1728"/>
                    </a:lnTo>
                    <a:lnTo>
                      <a:pt x="314" y="1728"/>
                    </a:lnTo>
                    <a:lnTo>
                      <a:pt x="318" y="1726"/>
                    </a:lnTo>
                    <a:lnTo>
                      <a:pt x="326" y="1716"/>
                    </a:lnTo>
                    <a:lnTo>
                      <a:pt x="334" y="1696"/>
                    </a:lnTo>
                    <a:lnTo>
                      <a:pt x="342" y="1678"/>
                    </a:lnTo>
                    <a:lnTo>
                      <a:pt x="348" y="1668"/>
                    </a:lnTo>
                    <a:lnTo>
                      <a:pt x="350" y="1664"/>
                    </a:lnTo>
                    <a:lnTo>
                      <a:pt x="348" y="1656"/>
                    </a:lnTo>
                    <a:lnTo>
                      <a:pt x="346" y="1652"/>
                    </a:lnTo>
                    <a:lnTo>
                      <a:pt x="342" y="1650"/>
                    </a:lnTo>
                    <a:lnTo>
                      <a:pt x="332" y="1650"/>
                    </a:lnTo>
                    <a:lnTo>
                      <a:pt x="320" y="1650"/>
                    </a:lnTo>
                    <a:lnTo>
                      <a:pt x="302" y="1650"/>
                    </a:lnTo>
                    <a:lnTo>
                      <a:pt x="286" y="1650"/>
                    </a:lnTo>
                    <a:lnTo>
                      <a:pt x="274" y="1652"/>
                    </a:lnTo>
                    <a:lnTo>
                      <a:pt x="268" y="1656"/>
                    </a:lnTo>
                    <a:lnTo>
                      <a:pt x="262" y="1658"/>
                    </a:lnTo>
                    <a:lnTo>
                      <a:pt x="258" y="1658"/>
                    </a:lnTo>
                    <a:lnTo>
                      <a:pt x="258" y="1654"/>
                    </a:lnTo>
                    <a:lnTo>
                      <a:pt x="268" y="1644"/>
                    </a:lnTo>
                    <a:lnTo>
                      <a:pt x="270" y="1642"/>
                    </a:lnTo>
                    <a:lnTo>
                      <a:pt x="268" y="1642"/>
                    </a:lnTo>
                    <a:lnTo>
                      <a:pt x="264" y="1642"/>
                    </a:lnTo>
                    <a:lnTo>
                      <a:pt x="258" y="1642"/>
                    </a:lnTo>
                    <a:lnTo>
                      <a:pt x="260" y="1640"/>
                    </a:lnTo>
                    <a:lnTo>
                      <a:pt x="270" y="1632"/>
                    </a:lnTo>
                    <a:lnTo>
                      <a:pt x="284" y="1620"/>
                    </a:lnTo>
                    <a:lnTo>
                      <a:pt x="296" y="1608"/>
                    </a:lnTo>
                    <a:lnTo>
                      <a:pt x="300" y="1604"/>
                    </a:lnTo>
                    <a:lnTo>
                      <a:pt x="300" y="1600"/>
                    </a:lnTo>
                    <a:lnTo>
                      <a:pt x="298" y="1598"/>
                    </a:lnTo>
                    <a:lnTo>
                      <a:pt x="298" y="1596"/>
                    </a:lnTo>
                    <a:lnTo>
                      <a:pt x="300" y="1592"/>
                    </a:lnTo>
                    <a:lnTo>
                      <a:pt x="300" y="1590"/>
                    </a:lnTo>
                    <a:lnTo>
                      <a:pt x="292" y="1588"/>
                    </a:lnTo>
                    <a:lnTo>
                      <a:pt x="286" y="1588"/>
                    </a:lnTo>
                    <a:lnTo>
                      <a:pt x="284" y="1590"/>
                    </a:lnTo>
                    <a:lnTo>
                      <a:pt x="284" y="1592"/>
                    </a:lnTo>
                    <a:lnTo>
                      <a:pt x="280" y="1592"/>
                    </a:lnTo>
                    <a:lnTo>
                      <a:pt x="272" y="1592"/>
                    </a:lnTo>
                    <a:lnTo>
                      <a:pt x="262" y="1594"/>
                    </a:lnTo>
                    <a:lnTo>
                      <a:pt x="254" y="1596"/>
                    </a:lnTo>
                    <a:lnTo>
                      <a:pt x="246" y="1596"/>
                    </a:lnTo>
                    <a:lnTo>
                      <a:pt x="242" y="1594"/>
                    </a:lnTo>
                    <a:lnTo>
                      <a:pt x="238" y="1596"/>
                    </a:lnTo>
                    <a:lnTo>
                      <a:pt x="236" y="1596"/>
                    </a:lnTo>
                    <a:lnTo>
                      <a:pt x="232" y="1594"/>
                    </a:lnTo>
                    <a:lnTo>
                      <a:pt x="226" y="1592"/>
                    </a:lnTo>
                    <a:lnTo>
                      <a:pt x="222" y="1590"/>
                    </a:lnTo>
                    <a:lnTo>
                      <a:pt x="218" y="1594"/>
                    </a:lnTo>
                    <a:lnTo>
                      <a:pt x="218" y="1600"/>
                    </a:lnTo>
                    <a:lnTo>
                      <a:pt x="218" y="1602"/>
                    </a:lnTo>
                    <a:lnTo>
                      <a:pt x="218" y="1604"/>
                    </a:lnTo>
                    <a:lnTo>
                      <a:pt x="214" y="1606"/>
                    </a:lnTo>
                    <a:lnTo>
                      <a:pt x="212" y="1606"/>
                    </a:lnTo>
                    <a:lnTo>
                      <a:pt x="216" y="1612"/>
                    </a:lnTo>
                    <a:lnTo>
                      <a:pt x="218" y="1616"/>
                    </a:lnTo>
                    <a:lnTo>
                      <a:pt x="212" y="1616"/>
                    </a:lnTo>
                    <a:lnTo>
                      <a:pt x="206" y="1614"/>
                    </a:lnTo>
                    <a:lnTo>
                      <a:pt x="206" y="1618"/>
                    </a:lnTo>
                    <a:lnTo>
                      <a:pt x="210" y="1622"/>
                    </a:lnTo>
                    <a:lnTo>
                      <a:pt x="210" y="1624"/>
                    </a:lnTo>
                    <a:lnTo>
                      <a:pt x="210" y="1626"/>
                    </a:lnTo>
                    <a:lnTo>
                      <a:pt x="208" y="1626"/>
                    </a:lnTo>
                    <a:lnTo>
                      <a:pt x="204" y="1626"/>
                    </a:lnTo>
                    <a:lnTo>
                      <a:pt x="202" y="1626"/>
                    </a:lnTo>
                    <a:lnTo>
                      <a:pt x="204" y="1628"/>
                    </a:lnTo>
                    <a:lnTo>
                      <a:pt x="206" y="1632"/>
                    </a:lnTo>
                    <a:lnTo>
                      <a:pt x="206" y="1636"/>
                    </a:lnTo>
                    <a:lnTo>
                      <a:pt x="206" y="1638"/>
                    </a:lnTo>
                    <a:lnTo>
                      <a:pt x="202" y="1638"/>
                    </a:lnTo>
                    <a:lnTo>
                      <a:pt x="190" y="1638"/>
                    </a:lnTo>
                    <a:lnTo>
                      <a:pt x="188" y="1640"/>
                    </a:lnTo>
                    <a:lnTo>
                      <a:pt x="188" y="1646"/>
                    </a:lnTo>
                    <a:lnTo>
                      <a:pt x="190" y="1650"/>
                    </a:lnTo>
                    <a:lnTo>
                      <a:pt x="190" y="1654"/>
                    </a:lnTo>
                    <a:lnTo>
                      <a:pt x="188" y="1660"/>
                    </a:lnTo>
                    <a:lnTo>
                      <a:pt x="188" y="1668"/>
                    </a:lnTo>
                    <a:lnTo>
                      <a:pt x="188" y="1672"/>
                    </a:lnTo>
                    <a:lnTo>
                      <a:pt x="190" y="1674"/>
                    </a:lnTo>
                    <a:lnTo>
                      <a:pt x="194" y="1674"/>
                    </a:lnTo>
                    <a:lnTo>
                      <a:pt x="196" y="1676"/>
                    </a:lnTo>
                    <a:lnTo>
                      <a:pt x="194" y="1682"/>
                    </a:lnTo>
                    <a:lnTo>
                      <a:pt x="192" y="1686"/>
                    </a:lnTo>
                    <a:lnTo>
                      <a:pt x="190" y="1690"/>
                    </a:lnTo>
                    <a:lnTo>
                      <a:pt x="188" y="1690"/>
                    </a:lnTo>
                    <a:lnTo>
                      <a:pt x="190" y="1692"/>
                    </a:lnTo>
                    <a:lnTo>
                      <a:pt x="190" y="1694"/>
                    </a:lnTo>
                    <a:lnTo>
                      <a:pt x="190" y="1696"/>
                    </a:lnTo>
                    <a:lnTo>
                      <a:pt x="186" y="1698"/>
                    </a:lnTo>
                    <a:lnTo>
                      <a:pt x="184" y="1700"/>
                    </a:lnTo>
                    <a:lnTo>
                      <a:pt x="188" y="1702"/>
                    </a:lnTo>
                    <a:lnTo>
                      <a:pt x="188" y="1704"/>
                    </a:lnTo>
                    <a:lnTo>
                      <a:pt x="186" y="1706"/>
                    </a:lnTo>
                    <a:lnTo>
                      <a:pt x="182" y="1708"/>
                    </a:lnTo>
                    <a:lnTo>
                      <a:pt x="178" y="1708"/>
                    </a:lnTo>
                    <a:lnTo>
                      <a:pt x="174" y="1708"/>
                    </a:lnTo>
                    <a:lnTo>
                      <a:pt x="172" y="1710"/>
                    </a:lnTo>
                    <a:lnTo>
                      <a:pt x="172" y="1712"/>
                    </a:lnTo>
                    <a:lnTo>
                      <a:pt x="174" y="1714"/>
                    </a:lnTo>
                    <a:lnTo>
                      <a:pt x="182" y="1714"/>
                    </a:lnTo>
                    <a:lnTo>
                      <a:pt x="190" y="1712"/>
                    </a:lnTo>
                    <a:lnTo>
                      <a:pt x="192" y="1714"/>
                    </a:lnTo>
                    <a:lnTo>
                      <a:pt x="184" y="1716"/>
                    </a:lnTo>
                    <a:lnTo>
                      <a:pt x="180" y="1718"/>
                    </a:lnTo>
                    <a:lnTo>
                      <a:pt x="180" y="1720"/>
                    </a:lnTo>
                    <a:lnTo>
                      <a:pt x="184" y="1722"/>
                    </a:lnTo>
                    <a:lnTo>
                      <a:pt x="188" y="1722"/>
                    </a:lnTo>
                    <a:lnTo>
                      <a:pt x="190" y="1722"/>
                    </a:lnTo>
                    <a:lnTo>
                      <a:pt x="192" y="1724"/>
                    </a:lnTo>
                    <a:lnTo>
                      <a:pt x="196" y="1724"/>
                    </a:lnTo>
                    <a:lnTo>
                      <a:pt x="200" y="1720"/>
                    </a:lnTo>
                    <a:lnTo>
                      <a:pt x="208" y="1714"/>
                    </a:lnTo>
                    <a:lnTo>
                      <a:pt x="206" y="1720"/>
                    </a:lnTo>
                    <a:lnTo>
                      <a:pt x="202" y="1726"/>
                    </a:lnTo>
                    <a:lnTo>
                      <a:pt x="202" y="1730"/>
                    </a:lnTo>
                    <a:lnTo>
                      <a:pt x="202" y="1734"/>
                    </a:lnTo>
                    <a:lnTo>
                      <a:pt x="198" y="1738"/>
                    </a:lnTo>
                    <a:lnTo>
                      <a:pt x="196" y="1740"/>
                    </a:lnTo>
                    <a:lnTo>
                      <a:pt x="196" y="1744"/>
                    </a:lnTo>
                    <a:lnTo>
                      <a:pt x="198" y="1748"/>
                    </a:lnTo>
                    <a:lnTo>
                      <a:pt x="194" y="1754"/>
                    </a:lnTo>
                    <a:lnTo>
                      <a:pt x="192" y="1758"/>
                    </a:lnTo>
                    <a:lnTo>
                      <a:pt x="192" y="1762"/>
                    </a:lnTo>
                    <a:lnTo>
                      <a:pt x="194" y="1764"/>
                    </a:lnTo>
                    <a:lnTo>
                      <a:pt x="194" y="1768"/>
                    </a:lnTo>
                    <a:lnTo>
                      <a:pt x="194" y="1772"/>
                    </a:lnTo>
                    <a:lnTo>
                      <a:pt x="194" y="1774"/>
                    </a:lnTo>
                    <a:lnTo>
                      <a:pt x="200" y="1770"/>
                    </a:lnTo>
                    <a:lnTo>
                      <a:pt x="198" y="1774"/>
                    </a:lnTo>
                    <a:lnTo>
                      <a:pt x="194" y="1784"/>
                    </a:lnTo>
                    <a:lnTo>
                      <a:pt x="188" y="1794"/>
                    </a:lnTo>
                    <a:lnTo>
                      <a:pt x="188" y="1800"/>
                    </a:lnTo>
                    <a:lnTo>
                      <a:pt x="192" y="1802"/>
                    </a:lnTo>
                    <a:lnTo>
                      <a:pt x="194" y="1802"/>
                    </a:lnTo>
                    <a:lnTo>
                      <a:pt x="196" y="1800"/>
                    </a:lnTo>
                    <a:lnTo>
                      <a:pt x="198" y="1792"/>
                    </a:lnTo>
                    <a:lnTo>
                      <a:pt x="202" y="1780"/>
                    </a:lnTo>
                    <a:lnTo>
                      <a:pt x="204" y="1776"/>
                    </a:lnTo>
                    <a:lnTo>
                      <a:pt x="206" y="1772"/>
                    </a:lnTo>
                    <a:lnTo>
                      <a:pt x="208" y="1770"/>
                    </a:lnTo>
                    <a:lnTo>
                      <a:pt x="208" y="1768"/>
                    </a:lnTo>
                    <a:lnTo>
                      <a:pt x="204" y="1764"/>
                    </a:lnTo>
                    <a:lnTo>
                      <a:pt x="202" y="1760"/>
                    </a:lnTo>
                    <a:lnTo>
                      <a:pt x="204" y="1758"/>
                    </a:lnTo>
                    <a:lnTo>
                      <a:pt x="206" y="1756"/>
                    </a:lnTo>
                    <a:lnTo>
                      <a:pt x="210" y="1754"/>
                    </a:lnTo>
                    <a:lnTo>
                      <a:pt x="208" y="1756"/>
                    </a:lnTo>
                    <a:lnTo>
                      <a:pt x="208" y="1762"/>
                    </a:lnTo>
                    <a:lnTo>
                      <a:pt x="208" y="1764"/>
                    </a:lnTo>
                    <a:lnTo>
                      <a:pt x="210" y="1766"/>
                    </a:lnTo>
                    <a:lnTo>
                      <a:pt x="214" y="1766"/>
                    </a:lnTo>
                    <a:lnTo>
                      <a:pt x="216" y="1764"/>
                    </a:lnTo>
                    <a:lnTo>
                      <a:pt x="216" y="1762"/>
                    </a:lnTo>
                    <a:lnTo>
                      <a:pt x="220" y="1764"/>
                    </a:lnTo>
                    <a:lnTo>
                      <a:pt x="222" y="1764"/>
                    </a:lnTo>
                    <a:lnTo>
                      <a:pt x="224" y="1758"/>
                    </a:lnTo>
                    <a:lnTo>
                      <a:pt x="224" y="1756"/>
                    </a:lnTo>
                    <a:lnTo>
                      <a:pt x="228" y="1756"/>
                    </a:lnTo>
                    <a:lnTo>
                      <a:pt x="232" y="1758"/>
                    </a:lnTo>
                    <a:lnTo>
                      <a:pt x="238" y="1762"/>
                    </a:lnTo>
                    <a:lnTo>
                      <a:pt x="230" y="1764"/>
                    </a:lnTo>
                    <a:lnTo>
                      <a:pt x="224" y="1766"/>
                    </a:lnTo>
                    <a:lnTo>
                      <a:pt x="224" y="1768"/>
                    </a:lnTo>
                    <a:lnTo>
                      <a:pt x="224" y="1772"/>
                    </a:lnTo>
                    <a:lnTo>
                      <a:pt x="230" y="1780"/>
                    </a:lnTo>
                    <a:lnTo>
                      <a:pt x="234" y="1786"/>
                    </a:lnTo>
                    <a:lnTo>
                      <a:pt x="234" y="1790"/>
                    </a:lnTo>
                    <a:lnTo>
                      <a:pt x="234" y="1794"/>
                    </a:lnTo>
                    <a:lnTo>
                      <a:pt x="230" y="1798"/>
                    </a:lnTo>
                    <a:lnTo>
                      <a:pt x="224" y="1806"/>
                    </a:lnTo>
                    <a:lnTo>
                      <a:pt x="222" y="1810"/>
                    </a:lnTo>
                    <a:lnTo>
                      <a:pt x="220" y="1816"/>
                    </a:lnTo>
                    <a:lnTo>
                      <a:pt x="222" y="1822"/>
                    </a:lnTo>
                    <a:lnTo>
                      <a:pt x="220" y="1822"/>
                    </a:lnTo>
                    <a:lnTo>
                      <a:pt x="216" y="1818"/>
                    </a:lnTo>
                    <a:lnTo>
                      <a:pt x="214" y="1820"/>
                    </a:lnTo>
                    <a:lnTo>
                      <a:pt x="214" y="1822"/>
                    </a:lnTo>
                    <a:lnTo>
                      <a:pt x="214" y="1826"/>
                    </a:lnTo>
                    <a:lnTo>
                      <a:pt x="220" y="1834"/>
                    </a:lnTo>
                    <a:lnTo>
                      <a:pt x="224" y="1840"/>
                    </a:lnTo>
                    <a:lnTo>
                      <a:pt x="224" y="1838"/>
                    </a:lnTo>
                    <a:lnTo>
                      <a:pt x="224" y="1836"/>
                    </a:lnTo>
                    <a:lnTo>
                      <a:pt x="222" y="1830"/>
                    </a:lnTo>
                    <a:lnTo>
                      <a:pt x="224" y="1828"/>
                    </a:lnTo>
                    <a:lnTo>
                      <a:pt x="228" y="1828"/>
                    </a:lnTo>
                    <a:lnTo>
                      <a:pt x="234" y="1832"/>
                    </a:lnTo>
                    <a:lnTo>
                      <a:pt x="240" y="1838"/>
                    </a:lnTo>
                    <a:lnTo>
                      <a:pt x="244" y="1840"/>
                    </a:lnTo>
                    <a:lnTo>
                      <a:pt x="246" y="1838"/>
                    </a:lnTo>
                    <a:lnTo>
                      <a:pt x="246" y="1834"/>
                    </a:lnTo>
                    <a:lnTo>
                      <a:pt x="246" y="1828"/>
                    </a:lnTo>
                    <a:lnTo>
                      <a:pt x="246" y="1826"/>
                    </a:lnTo>
                    <a:lnTo>
                      <a:pt x="246" y="1828"/>
                    </a:lnTo>
                    <a:lnTo>
                      <a:pt x="252" y="1830"/>
                    </a:lnTo>
                    <a:lnTo>
                      <a:pt x="260" y="1834"/>
                    </a:lnTo>
                    <a:lnTo>
                      <a:pt x="264" y="1834"/>
                    </a:lnTo>
                    <a:lnTo>
                      <a:pt x="266" y="1830"/>
                    </a:lnTo>
                    <a:lnTo>
                      <a:pt x="270" y="1826"/>
                    </a:lnTo>
                    <a:lnTo>
                      <a:pt x="274" y="1826"/>
                    </a:lnTo>
                    <a:lnTo>
                      <a:pt x="276" y="1828"/>
                    </a:lnTo>
                    <a:lnTo>
                      <a:pt x="278" y="1824"/>
                    </a:lnTo>
                    <a:lnTo>
                      <a:pt x="282" y="1822"/>
                    </a:lnTo>
                    <a:lnTo>
                      <a:pt x="286" y="1820"/>
                    </a:lnTo>
                    <a:lnTo>
                      <a:pt x="292" y="1820"/>
                    </a:lnTo>
                    <a:lnTo>
                      <a:pt x="292" y="1822"/>
                    </a:lnTo>
                    <a:lnTo>
                      <a:pt x="288" y="1826"/>
                    </a:lnTo>
                    <a:lnTo>
                      <a:pt x="280" y="1838"/>
                    </a:lnTo>
                    <a:lnTo>
                      <a:pt x="276" y="1844"/>
                    </a:lnTo>
                    <a:lnTo>
                      <a:pt x="276" y="1850"/>
                    </a:lnTo>
                    <a:lnTo>
                      <a:pt x="276" y="1854"/>
                    </a:lnTo>
                    <a:lnTo>
                      <a:pt x="278" y="1858"/>
                    </a:lnTo>
                    <a:lnTo>
                      <a:pt x="286" y="1866"/>
                    </a:lnTo>
                    <a:lnTo>
                      <a:pt x="292" y="1872"/>
                    </a:lnTo>
                    <a:lnTo>
                      <a:pt x="294" y="1876"/>
                    </a:lnTo>
                    <a:lnTo>
                      <a:pt x="296" y="1874"/>
                    </a:lnTo>
                    <a:lnTo>
                      <a:pt x="300" y="1872"/>
                    </a:lnTo>
                    <a:lnTo>
                      <a:pt x="302" y="1870"/>
                    </a:lnTo>
                    <a:lnTo>
                      <a:pt x="304" y="1870"/>
                    </a:lnTo>
                    <a:lnTo>
                      <a:pt x="308" y="1870"/>
                    </a:lnTo>
                    <a:lnTo>
                      <a:pt x="308" y="1872"/>
                    </a:lnTo>
                    <a:lnTo>
                      <a:pt x="308" y="1874"/>
                    </a:lnTo>
                    <a:lnTo>
                      <a:pt x="306" y="1878"/>
                    </a:lnTo>
                    <a:lnTo>
                      <a:pt x="306" y="1880"/>
                    </a:lnTo>
                    <a:lnTo>
                      <a:pt x="306" y="1882"/>
                    </a:lnTo>
                    <a:lnTo>
                      <a:pt x="308" y="1882"/>
                    </a:lnTo>
                    <a:lnTo>
                      <a:pt x="306" y="1884"/>
                    </a:lnTo>
                    <a:lnTo>
                      <a:pt x="300" y="1888"/>
                    </a:lnTo>
                    <a:lnTo>
                      <a:pt x="298" y="1890"/>
                    </a:lnTo>
                    <a:lnTo>
                      <a:pt x="298" y="1892"/>
                    </a:lnTo>
                    <a:lnTo>
                      <a:pt x="298" y="1894"/>
                    </a:lnTo>
                    <a:lnTo>
                      <a:pt x="302" y="1896"/>
                    </a:lnTo>
                    <a:lnTo>
                      <a:pt x="304" y="1898"/>
                    </a:lnTo>
                    <a:lnTo>
                      <a:pt x="302" y="1900"/>
                    </a:lnTo>
                    <a:lnTo>
                      <a:pt x="300" y="1902"/>
                    </a:lnTo>
                    <a:lnTo>
                      <a:pt x="300" y="1906"/>
                    </a:lnTo>
                    <a:lnTo>
                      <a:pt x="300" y="1910"/>
                    </a:lnTo>
                    <a:lnTo>
                      <a:pt x="302" y="1916"/>
                    </a:lnTo>
                    <a:lnTo>
                      <a:pt x="308" y="1924"/>
                    </a:lnTo>
                    <a:lnTo>
                      <a:pt x="304" y="1922"/>
                    </a:lnTo>
                    <a:lnTo>
                      <a:pt x="300" y="1918"/>
                    </a:lnTo>
                    <a:lnTo>
                      <a:pt x="296" y="1916"/>
                    </a:lnTo>
                    <a:lnTo>
                      <a:pt x="294" y="1918"/>
                    </a:lnTo>
                    <a:lnTo>
                      <a:pt x="296" y="1922"/>
                    </a:lnTo>
                    <a:lnTo>
                      <a:pt x="298" y="1926"/>
                    </a:lnTo>
                    <a:lnTo>
                      <a:pt x="294" y="1924"/>
                    </a:lnTo>
                    <a:lnTo>
                      <a:pt x="290" y="1922"/>
                    </a:lnTo>
                    <a:lnTo>
                      <a:pt x="286" y="1922"/>
                    </a:lnTo>
                    <a:lnTo>
                      <a:pt x="282" y="1922"/>
                    </a:lnTo>
                    <a:lnTo>
                      <a:pt x="276" y="1924"/>
                    </a:lnTo>
                    <a:lnTo>
                      <a:pt x="272" y="1924"/>
                    </a:lnTo>
                    <a:lnTo>
                      <a:pt x="270" y="1922"/>
                    </a:lnTo>
                    <a:lnTo>
                      <a:pt x="266" y="1924"/>
                    </a:lnTo>
                    <a:lnTo>
                      <a:pt x="264" y="1926"/>
                    </a:lnTo>
                    <a:lnTo>
                      <a:pt x="260" y="1926"/>
                    </a:lnTo>
                    <a:lnTo>
                      <a:pt x="256" y="1928"/>
                    </a:lnTo>
                    <a:lnTo>
                      <a:pt x="252" y="1932"/>
                    </a:lnTo>
                    <a:lnTo>
                      <a:pt x="246" y="1940"/>
                    </a:lnTo>
                    <a:lnTo>
                      <a:pt x="240" y="1944"/>
                    </a:lnTo>
                    <a:lnTo>
                      <a:pt x="236" y="1946"/>
                    </a:lnTo>
                    <a:lnTo>
                      <a:pt x="232" y="1950"/>
                    </a:lnTo>
                    <a:lnTo>
                      <a:pt x="230" y="1956"/>
                    </a:lnTo>
                    <a:lnTo>
                      <a:pt x="234" y="1954"/>
                    </a:lnTo>
                    <a:lnTo>
                      <a:pt x="238" y="1954"/>
                    </a:lnTo>
                    <a:lnTo>
                      <a:pt x="240" y="1954"/>
                    </a:lnTo>
                    <a:lnTo>
                      <a:pt x="244" y="1952"/>
                    </a:lnTo>
                    <a:lnTo>
                      <a:pt x="252" y="1948"/>
                    </a:lnTo>
                    <a:lnTo>
                      <a:pt x="256" y="1946"/>
                    </a:lnTo>
                    <a:lnTo>
                      <a:pt x="258" y="1946"/>
                    </a:lnTo>
                    <a:lnTo>
                      <a:pt x="256" y="1948"/>
                    </a:lnTo>
                    <a:lnTo>
                      <a:pt x="256" y="1954"/>
                    </a:lnTo>
                    <a:lnTo>
                      <a:pt x="258" y="1954"/>
                    </a:lnTo>
                    <a:lnTo>
                      <a:pt x="260" y="1956"/>
                    </a:lnTo>
                    <a:lnTo>
                      <a:pt x="258" y="1960"/>
                    </a:lnTo>
                    <a:lnTo>
                      <a:pt x="256" y="1964"/>
                    </a:lnTo>
                    <a:lnTo>
                      <a:pt x="256" y="1968"/>
                    </a:lnTo>
                    <a:lnTo>
                      <a:pt x="258" y="1974"/>
                    </a:lnTo>
                    <a:lnTo>
                      <a:pt x="258" y="1978"/>
                    </a:lnTo>
                    <a:lnTo>
                      <a:pt x="256" y="1982"/>
                    </a:lnTo>
                    <a:lnTo>
                      <a:pt x="252" y="1986"/>
                    </a:lnTo>
                    <a:lnTo>
                      <a:pt x="246" y="1990"/>
                    </a:lnTo>
                    <a:lnTo>
                      <a:pt x="232" y="1998"/>
                    </a:lnTo>
                    <a:lnTo>
                      <a:pt x="222" y="2000"/>
                    </a:lnTo>
                    <a:lnTo>
                      <a:pt x="216" y="2000"/>
                    </a:lnTo>
                    <a:lnTo>
                      <a:pt x="210" y="2006"/>
                    </a:lnTo>
                    <a:lnTo>
                      <a:pt x="208" y="2008"/>
                    </a:lnTo>
                    <a:lnTo>
                      <a:pt x="208" y="2010"/>
                    </a:lnTo>
                    <a:lnTo>
                      <a:pt x="212" y="2012"/>
                    </a:lnTo>
                    <a:lnTo>
                      <a:pt x="216" y="2012"/>
                    </a:lnTo>
                    <a:lnTo>
                      <a:pt x="216" y="2014"/>
                    </a:lnTo>
                    <a:lnTo>
                      <a:pt x="214" y="2016"/>
                    </a:lnTo>
                    <a:lnTo>
                      <a:pt x="214" y="2020"/>
                    </a:lnTo>
                    <a:lnTo>
                      <a:pt x="216" y="2024"/>
                    </a:lnTo>
                    <a:lnTo>
                      <a:pt x="224" y="2024"/>
                    </a:lnTo>
                    <a:lnTo>
                      <a:pt x="232" y="2022"/>
                    </a:lnTo>
                    <a:lnTo>
                      <a:pt x="240" y="2018"/>
                    </a:lnTo>
                    <a:lnTo>
                      <a:pt x="246" y="2018"/>
                    </a:lnTo>
                    <a:lnTo>
                      <a:pt x="250" y="2022"/>
                    </a:lnTo>
                    <a:lnTo>
                      <a:pt x="250" y="2026"/>
                    </a:lnTo>
                    <a:lnTo>
                      <a:pt x="248" y="2028"/>
                    </a:lnTo>
                    <a:lnTo>
                      <a:pt x="250" y="2030"/>
                    </a:lnTo>
                    <a:lnTo>
                      <a:pt x="256" y="2028"/>
                    </a:lnTo>
                    <a:lnTo>
                      <a:pt x="260" y="2028"/>
                    </a:lnTo>
                    <a:lnTo>
                      <a:pt x="264" y="2028"/>
                    </a:lnTo>
                    <a:lnTo>
                      <a:pt x="270" y="2030"/>
                    </a:lnTo>
                    <a:lnTo>
                      <a:pt x="274" y="2034"/>
                    </a:lnTo>
                    <a:lnTo>
                      <a:pt x="280" y="2038"/>
                    </a:lnTo>
                    <a:lnTo>
                      <a:pt x="284" y="2040"/>
                    </a:lnTo>
                    <a:lnTo>
                      <a:pt x="288" y="2040"/>
                    </a:lnTo>
                    <a:lnTo>
                      <a:pt x="292" y="2038"/>
                    </a:lnTo>
                    <a:lnTo>
                      <a:pt x="298" y="2032"/>
                    </a:lnTo>
                    <a:lnTo>
                      <a:pt x="302" y="2030"/>
                    </a:lnTo>
                    <a:lnTo>
                      <a:pt x="304" y="2028"/>
                    </a:lnTo>
                    <a:lnTo>
                      <a:pt x="310" y="2026"/>
                    </a:lnTo>
                    <a:lnTo>
                      <a:pt x="314" y="2024"/>
                    </a:lnTo>
                    <a:lnTo>
                      <a:pt x="320" y="2020"/>
                    </a:lnTo>
                    <a:lnTo>
                      <a:pt x="326" y="2016"/>
                    </a:lnTo>
                    <a:lnTo>
                      <a:pt x="322" y="2022"/>
                    </a:lnTo>
                    <a:lnTo>
                      <a:pt x="318" y="2026"/>
                    </a:lnTo>
                    <a:lnTo>
                      <a:pt x="312" y="2032"/>
                    </a:lnTo>
                    <a:lnTo>
                      <a:pt x="306" y="2036"/>
                    </a:lnTo>
                    <a:lnTo>
                      <a:pt x="304" y="2044"/>
                    </a:lnTo>
                    <a:lnTo>
                      <a:pt x="302" y="2048"/>
                    </a:lnTo>
                    <a:lnTo>
                      <a:pt x="294" y="2050"/>
                    </a:lnTo>
                    <a:lnTo>
                      <a:pt x="284" y="2050"/>
                    </a:lnTo>
                    <a:lnTo>
                      <a:pt x="280" y="2050"/>
                    </a:lnTo>
                    <a:lnTo>
                      <a:pt x="274" y="2048"/>
                    </a:lnTo>
                    <a:lnTo>
                      <a:pt x="262" y="2048"/>
                    </a:lnTo>
                    <a:lnTo>
                      <a:pt x="256" y="2048"/>
                    </a:lnTo>
                    <a:lnTo>
                      <a:pt x="252" y="2050"/>
                    </a:lnTo>
                    <a:lnTo>
                      <a:pt x="252" y="2052"/>
                    </a:lnTo>
                    <a:lnTo>
                      <a:pt x="252" y="2054"/>
                    </a:lnTo>
                    <a:lnTo>
                      <a:pt x="252" y="2058"/>
                    </a:lnTo>
                    <a:lnTo>
                      <a:pt x="250" y="2058"/>
                    </a:lnTo>
                    <a:lnTo>
                      <a:pt x="246" y="2060"/>
                    </a:lnTo>
                    <a:lnTo>
                      <a:pt x="242" y="2060"/>
                    </a:lnTo>
                    <a:lnTo>
                      <a:pt x="238" y="2062"/>
                    </a:lnTo>
                    <a:lnTo>
                      <a:pt x="238" y="2066"/>
                    </a:lnTo>
                    <a:lnTo>
                      <a:pt x="238" y="2070"/>
                    </a:lnTo>
                    <a:lnTo>
                      <a:pt x="238" y="2074"/>
                    </a:lnTo>
                    <a:lnTo>
                      <a:pt x="236" y="2076"/>
                    </a:lnTo>
                    <a:lnTo>
                      <a:pt x="232" y="2078"/>
                    </a:lnTo>
                    <a:lnTo>
                      <a:pt x="230" y="2082"/>
                    </a:lnTo>
                    <a:lnTo>
                      <a:pt x="230" y="2084"/>
                    </a:lnTo>
                    <a:lnTo>
                      <a:pt x="226" y="2086"/>
                    </a:lnTo>
                    <a:lnTo>
                      <a:pt x="220" y="2092"/>
                    </a:lnTo>
                    <a:lnTo>
                      <a:pt x="214" y="2100"/>
                    </a:lnTo>
                    <a:lnTo>
                      <a:pt x="210" y="2106"/>
                    </a:lnTo>
                    <a:lnTo>
                      <a:pt x="206" y="2106"/>
                    </a:lnTo>
                    <a:lnTo>
                      <a:pt x="202" y="2108"/>
                    </a:lnTo>
                    <a:lnTo>
                      <a:pt x="198" y="2108"/>
                    </a:lnTo>
                    <a:lnTo>
                      <a:pt x="194" y="2108"/>
                    </a:lnTo>
                    <a:lnTo>
                      <a:pt x="192" y="2112"/>
                    </a:lnTo>
                    <a:lnTo>
                      <a:pt x="192" y="2114"/>
                    </a:lnTo>
                    <a:lnTo>
                      <a:pt x="192" y="2118"/>
                    </a:lnTo>
                    <a:lnTo>
                      <a:pt x="194" y="2118"/>
                    </a:lnTo>
                    <a:lnTo>
                      <a:pt x="196" y="2118"/>
                    </a:lnTo>
                    <a:lnTo>
                      <a:pt x="200" y="2116"/>
                    </a:lnTo>
                    <a:lnTo>
                      <a:pt x="202" y="2116"/>
                    </a:lnTo>
                    <a:lnTo>
                      <a:pt x="206" y="2118"/>
                    </a:lnTo>
                    <a:lnTo>
                      <a:pt x="210" y="2122"/>
                    </a:lnTo>
                    <a:lnTo>
                      <a:pt x="212" y="2122"/>
                    </a:lnTo>
                    <a:lnTo>
                      <a:pt x="214" y="2122"/>
                    </a:lnTo>
                    <a:lnTo>
                      <a:pt x="216" y="2120"/>
                    </a:lnTo>
                    <a:lnTo>
                      <a:pt x="216" y="2118"/>
                    </a:lnTo>
                    <a:lnTo>
                      <a:pt x="218" y="2116"/>
                    </a:lnTo>
                    <a:lnTo>
                      <a:pt x="222" y="2112"/>
                    </a:lnTo>
                    <a:lnTo>
                      <a:pt x="226" y="2110"/>
                    </a:lnTo>
                    <a:lnTo>
                      <a:pt x="230" y="2106"/>
                    </a:lnTo>
                    <a:lnTo>
                      <a:pt x="234" y="2102"/>
                    </a:lnTo>
                    <a:lnTo>
                      <a:pt x="244" y="2100"/>
                    </a:lnTo>
                    <a:lnTo>
                      <a:pt x="252" y="2100"/>
                    </a:lnTo>
                    <a:lnTo>
                      <a:pt x="258" y="2102"/>
                    </a:lnTo>
                    <a:lnTo>
                      <a:pt x="270" y="2108"/>
                    </a:lnTo>
                    <a:lnTo>
                      <a:pt x="274" y="2110"/>
                    </a:lnTo>
                    <a:lnTo>
                      <a:pt x="276" y="2108"/>
                    </a:lnTo>
                    <a:lnTo>
                      <a:pt x="280" y="2098"/>
                    </a:lnTo>
                    <a:lnTo>
                      <a:pt x="282" y="2088"/>
                    </a:lnTo>
                    <a:lnTo>
                      <a:pt x="284" y="2086"/>
                    </a:lnTo>
                    <a:lnTo>
                      <a:pt x="286" y="2084"/>
                    </a:lnTo>
                    <a:lnTo>
                      <a:pt x="288" y="2086"/>
                    </a:lnTo>
                    <a:lnTo>
                      <a:pt x="290" y="2084"/>
                    </a:lnTo>
                    <a:lnTo>
                      <a:pt x="298" y="2080"/>
                    </a:lnTo>
                    <a:lnTo>
                      <a:pt x="302" y="2078"/>
                    </a:lnTo>
                    <a:lnTo>
                      <a:pt x="306" y="2078"/>
                    </a:lnTo>
                    <a:lnTo>
                      <a:pt x="312" y="2080"/>
                    </a:lnTo>
                    <a:lnTo>
                      <a:pt x="316" y="2084"/>
                    </a:lnTo>
                    <a:lnTo>
                      <a:pt x="322" y="2088"/>
                    </a:lnTo>
                    <a:lnTo>
                      <a:pt x="324" y="2088"/>
                    </a:lnTo>
                    <a:lnTo>
                      <a:pt x="328" y="2086"/>
                    </a:lnTo>
                    <a:lnTo>
                      <a:pt x="330" y="2086"/>
                    </a:lnTo>
                    <a:lnTo>
                      <a:pt x="334" y="2086"/>
                    </a:lnTo>
                    <a:lnTo>
                      <a:pt x="342" y="2086"/>
                    </a:lnTo>
                    <a:lnTo>
                      <a:pt x="344" y="2084"/>
                    </a:lnTo>
                    <a:lnTo>
                      <a:pt x="346" y="2082"/>
                    </a:lnTo>
                    <a:lnTo>
                      <a:pt x="356" y="2078"/>
                    </a:lnTo>
                    <a:lnTo>
                      <a:pt x="366" y="2076"/>
                    </a:lnTo>
                    <a:lnTo>
                      <a:pt x="368" y="2074"/>
                    </a:lnTo>
                    <a:lnTo>
                      <a:pt x="368" y="2072"/>
                    </a:lnTo>
                    <a:lnTo>
                      <a:pt x="374" y="2074"/>
                    </a:lnTo>
                    <a:lnTo>
                      <a:pt x="380" y="2076"/>
                    </a:lnTo>
                    <a:lnTo>
                      <a:pt x="382" y="2076"/>
                    </a:lnTo>
                    <a:lnTo>
                      <a:pt x="384" y="2074"/>
                    </a:lnTo>
                    <a:lnTo>
                      <a:pt x="386" y="2076"/>
                    </a:lnTo>
                    <a:lnTo>
                      <a:pt x="388" y="2078"/>
                    </a:lnTo>
                    <a:lnTo>
                      <a:pt x="392" y="2078"/>
                    </a:lnTo>
                    <a:lnTo>
                      <a:pt x="400" y="2074"/>
                    </a:lnTo>
                    <a:lnTo>
                      <a:pt x="410" y="2072"/>
                    </a:lnTo>
                    <a:lnTo>
                      <a:pt x="416" y="2074"/>
                    </a:lnTo>
                    <a:lnTo>
                      <a:pt x="422" y="2074"/>
                    </a:lnTo>
                    <a:lnTo>
                      <a:pt x="428" y="2076"/>
                    </a:lnTo>
                    <a:lnTo>
                      <a:pt x="432" y="2076"/>
                    </a:lnTo>
                    <a:lnTo>
                      <a:pt x="440" y="2074"/>
                    </a:lnTo>
                    <a:lnTo>
                      <a:pt x="448" y="2070"/>
                    </a:lnTo>
                    <a:lnTo>
                      <a:pt x="456" y="2068"/>
                    </a:lnTo>
                    <a:lnTo>
                      <a:pt x="460" y="2068"/>
                    </a:lnTo>
                    <a:lnTo>
                      <a:pt x="462" y="2064"/>
                    </a:lnTo>
                    <a:lnTo>
                      <a:pt x="464" y="2060"/>
                    </a:lnTo>
                    <a:lnTo>
                      <a:pt x="470" y="2056"/>
                    </a:lnTo>
                    <a:lnTo>
                      <a:pt x="478" y="2052"/>
                    </a:lnTo>
                    <a:lnTo>
                      <a:pt x="480" y="2048"/>
                    </a:lnTo>
                    <a:lnTo>
                      <a:pt x="480" y="2044"/>
                    </a:lnTo>
                    <a:lnTo>
                      <a:pt x="480" y="2040"/>
                    </a:lnTo>
                    <a:lnTo>
                      <a:pt x="480" y="2038"/>
                    </a:lnTo>
                    <a:lnTo>
                      <a:pt x="478" y="2038"/>
                    </a:lnTo>
                    <a:lnTo>
                      <a:pt x="472" y="2038"/>
                    </a:lnTo>
                    <a:lnTo>
                      <a:pt x="462" y="2040"/>
                    </a:lnTo>
                    <a:lnTo>
                      <a:pt x="456" y="2040"/>
                    </a:lnTo>
                    <a:lnTo>
                      <a:pt x="450" y="2038"/>
                    </a:lnTo>
                    <a:lnTo>
                      <a:pt x="448" y="2036"/>
                    </a:lnTo>
                    <a:lnTo>
                      <a:pt x="450" y="2036"/>
                    </a:lnTo>
                    <a:lnTo>
                      <a:pt x="446" y="2034"/>
                    </a:lnTo>
                    <a:lnTo>
                      <a:pt x="444" y="2032"/>
                    </a:lnTo>
                    <a:lnTo>
                      <a:pt x="448" y="2030"/>
                    </a:lnTo>
                    <a:lnTo>
                      <a:pt x="456" y="2030"/>
                    </a:lnTo>
                    <a:lnTo>
                      <a:pt x="458" y="2028"/>
                    </a:lnTo>
                    <a:lnTo>
                      <a:pt x="460" y="2026"/>
                    </a:lnTo>
                    <a:lnTo>
                      <a:pt x="460" y="2020"/>
                    </a:lnTo>
                    <a:lnTo>
                      <a:pt x="458" y="2020"/>
                    </a:lnTo>
                    <a:lnTo>
                      <a:pt x="456" y="2020"/>
                    </a:lnTo>
                    <a:lnTo>
                      <a:pt x="458" y="2016"/>
                    </a:lnTo>
                    <a:lnTo>
                      <a:pt x="462" y="2014"/>
                    </a:lnTo>
                    <a:lnTo>
                      <a:pt x="464" y="2014"/>
                    </a:lnTo>
                    <a:lnTo>
                      <a:pt x="472" y="2014"/>
                    </a:lnTo>
                    <a:lnTo>
                      <a:pt x="476" y="2014"/>
                    </a:lnTo>
                    <a:lnTo>
                      <a:pt x="476" y="2012"/>
                    </a:lnTo>
                    <a:lnTo>
                      <a:pt x="474" y="2010"/>
                    </a:lnTo>
                    <a:lnTo>
                      <a:pt x="474" y="2008"/>
                    </a:lnTo>
                    <a:lnTo>
                      <a:pt x="474" y="2006"/>
                    </a:lnTo>
                    <a:lnTo>
                      <a:pt x="482" y="2000"/>
                    </a:lnTo>
                    <a:lnTo>
                      <a:pt x="486" y="1996"/>
                    </a:lnTo>
                    <a:lnTo>
                      <a:pt x="490" y="1990"/>
                    </a:lnTo>
                    <a:lnTo>
                      <a:pt x="494" y="1982"/>
                    </a:lnTo>
                    <a:lnTo>
                      <a:pt x="494" y="1970"/>
                    </a:lnTo>
                    <a:close/>
                    <a:moveTo>
                      <a:pt x="662" y="1344"/>
                    </a:moveTo>
                    <a:lnTo>
                      <a:pt x="662" y="1344"/>
                    </a:lnTo>
                    <a:lnTo>
                      <a:pt x="660" y="1344"/>
                    </a:lnTo>
                    <a:lnTo>
                      <a:pt x="656" y="1346"/>
                    </a:lnTo>
                    <a:lnTo>
                      <a:pt x="656" y="1350"/>
                    </a:lnTo>
                    <a:lnTo>
                      <a:pt x="656" y="1354"/>
                    </a:lnTo>
                    <a:lnTo>
                      <a:pt x="660" y="1354"/>
                    </a:lnTo>
                    <a:lnTo>
                      <a:pt x="662" y="1352"/>
                    </a:lnTo>
                    <a:lnTo>
                      <a:pt x="664" y="1348"/>
                    </a:lnTo>
                    <a:lnTo>
                      <a:pt x="664" y="1346"/>
                    </a:lnTo>
                    <a:lnTo>
                      <a:pt x="662" y="1344"/>
                    </a:lnTo>
                    <a:close/>
                    <a:moveTo>
                      <a:pt x="652" y="1354"/>
                    </a:moveTo>
                    <a:lnTo>
                      <a:pt x="652" y="1354"/>
                    </a:lnTo>
                    <a:lnTo>
                      <a:pt x="650" y="1352"/>
                    </a:lnTo>
                    <a:lnTo>
                      <a:pt x="648" y="1352"/>
                    </a:lnTo>
                    <a:lnTo>
                      <a:pt x="646" y="1352"/>
                    </a:lnTo>
                    <a:lnTo>
                      <a:pt x="644" y="1356"/>
                    </a:lnTo>
                    <a:lnTo>
                      <a:pt x="646" y="1358"/>
                    </a:lnTo>
                    <a:lnTo>
                      <a:pt x="648" y="1358"/>
                    </a:lnTo>
                    <a:lnTo>
                      <a:pt x="652" y="1356"/>
                    </a:lnTo>
                    <a:lnTo>
                      <a:pt x="652" y="1354"/>
                    </a:lnTo>
                    <a:close/>
                    <a:moveTo>
                      <a:pt x="150" y="1398"/>
                    </a:moveTo>
                    <a:lnTo>
                      <a:pt x="150" y="1398"/>
                    </a:lnTo>
                    <a:lnTo>
                      <a:pt x="148" y="1396"/>
                    </a:lnTo>
                    <a:lnTo>
                      <a:pt x="146" y="1394"/>
                    </a:lnTo>
                    <a:lnTo>
                      <a:pt x="146" y="1396"/>
                    </a:lnTo>
                    <a:lnTo>
                      <a:pt x="144" y="1398"/>
                    </a:lnTo>
                    <a:lnTo>
                      <a:pt x="146" y="1402"/>
                    </a:lnTo>
                    <a:lnTo>
                      <a:pt x="152" y="1410"/>
                    </a:lnTo>
                    <a:lnTo>
                      <a:pt x="154" y="1412"/>
                    </a:lnTo>
                    <a:lnTo>
                      <a:pt x="156" y="1412"/>
                    </a:lnTo>
                    <a:lnTo>
                      <a:pt x="158" y="1412"/>
                    </a:lnTo>
                    <a:lnTo>
                      <a:pt x="156" y="1410"/>
                    </a:lnTo>
                    <a:lnTo>
                      <a:pt x="154" y="1404"/>
                    </a:lnTo>
                    <a:lnTo>
                      <a:pt x="154" y="1400"/>
                    </a:lnTo>
                    <a:lnTo>
                      <a:pt x="150" y="1398"/>
                    </a:lnTo>
                    <a:close/>
                    <a:moveTo>
                      <a:pt x="732" y="1304"/>
                    </a:moveTo>
                    <a:lnTo>
                      <a:pt x="732" y="1304"/>
                    </a:lnTo>
                    <a:lnTo>
                      <a:pt x="734" y="1302"/>
                    </a:lnTo>
                    <a:lnTo>
                      <a:pt x="732" y="1300"/>
                    </a:lnTo>
                    <a:lnTo>
                      <a:pt x="730" y="1298"/>
                    </a:lnTo>
                    <a:lnTo>
                      <a:pt x="728" y="1300"/>
                    </a:lnTo>
                    <a:lnTo>
                      <a:pt x="726" y="1302"/>
                    </a:lnTo>
                    <a:lnTo>
                      <a:pt x="724" y="1302"/>
                    </a:lnTo>
                    <a:lnTo>
                      <a:pt x="722" y="1300"/>
                    </a:lnTo>
                    <a:lnTo>
                      <a:pt x="720" y="1302"/>
                    </a:lnTo>
                    <a:lnTo>
                      <a:pt x="720" y="1304"/>
                    </a:lnTo>
                    <a:lnTo>
                      <a:pt x="724" y="1306"/>
                    </a:lnTo>
                    <a:lnTo>
                      <a:pt x="732" y="1304"/>
                    </a:lnTo>
                    <a:close/>
                    <a:moveTo>
                      <a:pt x="618" y="1384"/>
                    </a:moveTo>
                    <a:lnTo>
                      <a:pt x="618" y="1384"/>
                    </a:lnTo>
                    <a:lnTo>
                      <a:pt x="622" y="1384"/>
                    </a:lnTo>
                    <a:lnTo>
                      <a:pt x="626" y="1382"/>
                    </a:lnTo>
                    <a:lnTo>
                      <a:pt x="628" y="1380"/>
                    </a:lnTo>
                    <a:lnTo>
                      <a:pt x="628" y="1378"/>
                    </a:lnTo>
                    <a:lnTo>
                      <a:pt x="622" y="1378"/>
                    </a:lnTo>
                    <a:lnTo>
                      <a:pt x="618" y="1378"/>
                    </a:lnTo>
                    <a:lnTo>
                      <a:pt x="616" y="1380"/>
                    </a:lnTo>
                    <a:lnTo>
                      <a:pt x="618" y="1384"/>
                    </a:lnTo>
                    <a:close/>
                    <a:moveTo>
                      <a:pt x="620" y="1456"/>
                    </a:moveTo>
                    <a:lnTo>
                      <a:pt x="620" y="1456"/>
                    </a:lnTo>
                    <a:lnTo>
                      <a:pt x="616" y="1454"/>
                    </a:lnTo>
                    <a:lnTo>
                      <a:pt x="618" y="1456"/>
                    </a:lnTo>
                    <a:lnTo>
                      <a:pt x="622" y="1462"/>
                    </a:lnTo>
                    <a:lnTo>
                      <a:pt x="624" y="1462"/>
                    </a:lnTo>
                    <a:lnTo>
                      <a:pt x="626" y="1464"/>
                    </a:lnTo>
                    <a:lnTo>
                      <a:pt x="624" y="1462"/>
                    </a:lnTo>
                    <a:lnTo>
                      <a:pt x="622" y="1458"/>
                    </a:lnTo>
                    <a:lnTo>
                      <a:pt x="620" y="1456"/>
                    </a:lnTo>
                    <a:close/>
                    <a:moveTo>
                      <a:pt x="630" y="1474"/>
                    </a:moveTo>
                    <a:lnTo>
                      <a:pt x="630" y="1474"/>
                    </a:lnTo>
                    <a:lnTo>
                      <a:pt x="626" y="1468"/>
                    </a:lnTo>
                    <a:lnTo>
                      <a:pt x="622" y="1466"/>
                    </a:lnTo>
                    <a:lnTo>
                      <a:pt x="622" y="1468"/>
                    </a:lnTo>
                    <a:lnTo>
                      <a:pt x="626" y="1474"/>
                    </a:lnTo>
                    <a:lnTo>
                      <a:pt x="628" y="1476"/>
                    </a:lnTo>
                    <a:lnTo>
                      <a:pt x="630" y="1474"/>
                    </a:lnTo>
                    <a:close/>
                    <a:moveTo>
                      <a:pt x="624" y="1490"/>
                    </a:moveTo>
                    <a:lnTo>
                      <a:pt x="624" y="1490"/>
                    </a:lnTo>
                    <a:lnTo>
                      <a:pt x="626" y="1490"/>
                    </a:lnTo>
                    <a:lnTo>
                      <a:pt x="626" y="1486"/>
                    </a:lnTo>
                    <a:lnTo>
                      <a:pt x="624" y="1476"/>
                    </a:lnTo>
                    <a:lnTo>
                      <a:pt x="622" y="1474"/>
                    </a:lnTo>
                    <a:lnTo>
                      <a:pt x="622" y="1476"/>
                    </a:lnTo>
                    <a:lnTo>
                      <a:pt x="622" y="1480"/>
                    </a:lnTo>
                    <a:lnTo>
                      <a:pt x="622" y="1486"/>
                    </a:lnTo>
                    <a:lnTo>
                      <a:pt x="622" y="1490"/>
                    </a:lnTo>
                    <a:lnTo>
                      <a:pt x="624" y="1490"/>
                    </a:lnTo>
                    <a:close/>
                    <a:moveTo>
                      <a:pt x="302" y="1578"/>
                    </a:moveTo>
                    <a:lnTo>
                      <a:pt x="302" y="1578"/>
                    </a:lnTo>
                    <a:lnTo>
                      <a:pt x="300" y="1580"/>
                    </a:lnTo>
                    <a:lnTo>
                      <a:pt x="300" y="1582"/>
                    </a:lnTo>
                    <a:lnTo>
                      <a:pt x="302" y="1582"/>
                    </a:lnTo>
                    <a:lnTo>
                      <a:pt x="304" y="1584"/>
                    </a:lnTo>
                    <a:lnTo>
                      <a:pt x="306" y="1582"/>
                    </a:lnTo>
                    <a:lnTo>
                      <a:pt x="306" y="1580"/>
                    </a:lnTo>
                    <a:lnTo>
                      <a:pt x="304" y="1578"/>
                    </a:lnTo>
                    <a:lnTo>
                      <a:pt x="302" y="1578"/>
                    </a:lnTo>
                    <a:close/>
                    <a:moveTo>
                      <a:pt x="160" y="1386"/>
                    </a:moveTo>
                    <a:lnTo>
                      <a:pt x="160" y="1386"/>
                    </a:lnTo>
                    <a:lnTo>
                      <a:pt x="158" y="1382"/>
                    </a:lnTo>
                    <a:lnTo>
                      <a:pt x="154" y="1378"/>
                    </a:lnTo>
                    <a:lnTo>
                      <a:pt x="150" y="1378"/>
                    </a:lnTo>
                    <a:lnTo>
                      <a:pt x="148" y="1378"/>
                    </a:lnTo>
                    <a:lnTo>
                      <a:pt x="148" y="1380"/>
                    </a:lnTo>
                    <a:lnTo>
                      <a:pt x="148" y="1382"/>
                    </a:lnTo>
                    <a:lnTo>
                      <a:pt x="152" y="1384"/>
                    </a:lnTo>
                    <a:lnTo>
                      <a:pt x="156" y="1386"/>
                    </a:lnTo>
                    <a:lnTo>
                      <a:pt x="160" y="1386"/>
                    </a:lnTo>
                    <a:close/>
                    <a:moveTo>
                      <a:pt x="320" y="1546"/>
                    </a:moveTo>
                    <a:lnTo>
                      <a:pt x="320" y="1546"/>
                    </a:lnTo>
                    <a:lnTo>
                      <a:pt x="318" y="1546"/>
                    </a:lnTo>
                    <a:lnTo>
                      <a:pt x="316" y="1546"/>
                    </a:lnTo>
                    <a:lnTo>
                      <a:pt x="314" y="1548"/>
                    </a:lnTo>
                    <a:lnTo>
                      <a:pt x="312" y="1552"/>
                    </a:lnTo>
                    <a:lnTo>
                      <a:pt x="314" y="1552"/>
                    </a:lnTo>
                    <a:lnTo>
                      <a:pt x="318" y="1552"/>
                    </a:lnTo>
                    <a:lnTo>
                      <a:pt x="318" y="1550"/>
                    </a:lnTo>
                    <a:lnTo>
                      <a:pt x="320" y="1548"/>
                    </a:lnTo>
                    <a:lnTo>
                      <a:pt x="322" y="1546"/>
                    </a:lnTo>
                    <a:lnTo>
                      <a:pt x="320" y="1546"/>
                    </a:lnTo>
                    <a:close/>
                    <a:moveTo>
                      <a:pt x="354" y="1486"/>
                    </a:moveTo>
                    <a:lnTo>
                      <a:pt x="354" y="1486"/>
                    </a:lnTo>
                    <a:lnTo>
                      <a:pt x="356" y="1488"/>
                    </a:lnTo>
                    <a:lnTo>
                      <a:pt x="356" y="1490"/>
                    </a:lnTo>
                    <a:lnTo>
                      <a:pt x="358" y="1488"/>
                    </a:lnTo>
                    <a:lnTo>
                      <a:pt x="362" y="1490"/>
                    </a:lnTo>
                    <a:lnTo>
                      <a:pt x="364" y="1492"/>
                    </a:lnTo>
                    <a:lnTo>
                      <a:pt x="364" y="1490"/>
                    </a:lnTo>
                    <a:lnTo>
                      <a:pt x="366" y="1488"/>
                    </a:lnTo>
                    <a:lnTo>
                      <a:pt x="370" y="1490"/>
                    </a:lnTo>
                    <a:lnTo>
                      <a:pt x="372" y="1492"/>
                    </a:lnTo>
                    <a:lnTo>
                      <a:pt x="372" y="1494"/>
                    </a:lnTo>
                    <a:lnTo>
                      <a:pt x="370" y="1500"/>
                    </a:lnTo>
                    <a:lnTo>
                      <a:pt x="368" y="1506"/>
                    </a:lnTo>
                    <a:lnTo>
                      <a:pt x="368" y="1508"/>
                    </a:lnTo>
                    <a:lnTo>
                      <a:pt x="370" y="1512"/>
                    </a:lnTo>
                    <a:lnTo>
                      <a:pt x="372" y="1512"/>
                    </a:lnTo>
                    <a:lnTo>
                      <a:pt x="372" y="1510"/>
                    </a:lnTo>
                    <a:lnTo>
                      <a:pt x="374" y="1502"/>
                    </a:lnTo>
                    <a:lnTo>
                      <a:pt x="376" y="1496"/>
                    </a:lnTo>
                    <a:lnTo>
                      <a:pt x="374" y="1490"/>
                    </a:lnTo>
                    <a:lnTo>
                      <a:pt x="374" y="1488"/>
                    </a:lnTo>
                    <a:lnTo>
                      <a:pt x="376" y="1484"/>
                    </a:lnTo>
                    <a:lnTo>
                      <a:pt x="380" y="1476"/>
                    </a:lnTo>
                    <a:lnTo>
                      <a:pt x="380" y="1472"/>
                    </a:lnTo>
                    <a:lnTo>
                      <a:pt x="378" y="1474"/>
                    </a:lnTo>
                    <a:lnTo>
                      <a:pt x="376" y="1476"/>
                    </a:lnTo>
                    <a:lnTo>
                      <a:pt x="376" y="1474"/>
                    </a:lnTo>
                    <a:lnTo>
                      <a:pt x="376" y="1472"/>
                    </a:lnTo>
                    <a:lnTo>
                      <a:pt x="374" y="1470"/>
                    </a:lnTo>
                    <a:lnTo>
                      <a:pt x="372" y="1470"/>
                    </a:lnTo>
                    <a:lnTo>
                      <a:pt x="372" y="1472"/>
                    </a:lnTo>
                    <a:lnTo>
                      <a:pt x="370" y="1474"/>
                    </a:lnTo>
                    <a:lnTo>
                      <a:pt x="370" y="1472"/>
                    </a:lnTo>
                    <a:lnTo>
                      <a:pt x="370" y="1462"/>
                    </a:lnTo>
                    <a:lnTo>
                      <a:pt x="370" y="1460"/>
                    </a:lnTo>
                    <a:lnTo>
                      <a:pt x="368" y="1460"/>
                    </a:lnTo>
                    <a:lnTo>
                      <a:pt x="364" y="1464"/>
                    </a:lnTo>
                    <a:lnTo>
                      <a:pt x="358" y="1468"/>
                    </a:lnTo>
                    <a:lnTo>
                      <a:pt x="358" y="1470"/>
                    </a:lnTo>
                    <a:lnTo>
                      <a:pt x="364" y="1474"/>
                    </a:lnTo>
                    <a:lnTo>
                      <a:pt x="368" y="1476"/>
                    </a:lnTo>
                    <a:lnTo>
                      <a:pt x="368" y="1480"/>
                    </a:lnTo>
                    <a:lnTo>
                      <a:pt x="366" y="1482"/>
                    </a:lnTo>
                    <a:lnTo>
                      <a:pt x="360" y="1482"/>
                    </a:lnTo>
                    <a:lnTo>
                      <a:pt x="356" y="1482"/>
                    </a:lnTo>
                    <a:lnTo>
                      <a:pt x="356" y="1484"/>
                    </a:lnTo>
                    <a:lnTo>
                      <a:pt x="354" y="1486"/>
                    </a:lnTo>
                    <a:close/>
                    <a:moveTo>
                      <a:pt x="312" y="1560"/>
                    </a:moveTo>
                    <a:lnTo>
                      <a:pt x="312" y="1560"/>
                    </a:lnTo>
                    <a:lnTo>
                      <a:pt x="312" y="1562"/>
                    </a:lnTo>
                    <a:lnTo>
                      <a:pt x="314" y="1562"/>
                    </a:lnTo>
                    <a:lnTo>
                      <a:pt x="318" y="1560"/>
                    </a:lnTo>
                    <a:lnTo>
                      <a:pt x="316" y="1558"/>
                    </a:lnTo>
                    <a:lnTo>
                      <a:pt x="314" y="1556"/>
                    </a:lnTo>
                    <a:lnTo>
                      <a:pt x="312" y="1560"/>
                    </a:lnTo>
                    <a:close/>
                    <a:moveTo>
                      <a:pt x="744" y="1294"/>
                    </a:moveTo>
                    <a:lnTo>
                      <a:pt x="744" y="1294"/>
                    </a:lnTo>
                    <a:lnTo>
                      <a:pt x="746" y="1296"/>
                    </a:lnTo>
                    <a:lnTo>
                      <a:pt x="748" y="1296"/>
                    </a:lnTo>
                    <a:lnTo>
                      <a:pt x="750" y="1294"/>
                    </a:lnTo>
                    <a:lnTo>
                      <a:pt x="752" y="1292"/>
                    </a:lnTo>
                    <a:lnTo>
                      <a:pt x="748" y="1288"/>
                    </a:lnTo>
                    <a:lnTo>
                      <a:pt x="746" y="1288"/>
                    </a:lnTo>
                    <a:lnTo>
                      <a:pt x="744" y="1290"/>
                    </a:lnTo>
                    <a:lnTo>
                      <a:pt x="744" y="1294"/>
                    </a:lnTo>
                    <a:close/>
                    <a:moveTo>
                      <a:pt x="380" y="1462"/>
                    </a:moveTo>
                    <a:lnTo>
                      <a:pt x="380" y="1462"/>
                    </a:lnTo>
                    <a:lnTo>
                      <a:pt x="382" y="1460"/>
                    </a:lnTo>
                    <a:lnTo>
                      <a:pt x="382" y="1456"/>
                    </a:lnTo>
                    <a:lnTo>
                      <a:pt x="382" y="1454"/>
                    </a:lnTo>
                    <a:lnTo>
                      <a:pt x="380" y="1454"/>
                    </a:lnTo>
                    <a:lnTo>
                      <a:pt x="378" y="1454"/>
                    </a:lnTo>
                    <a:lnTo>
                      <a:pt x="378" y="1456"/>
                    </a:lnTo>
                    <a:lnTo>
                      <a:pt x="376" y="1460"/>
                    </a:lnTo>
                    <a:lnTo>
                      <a:pt x="374" y="1462"/>
                    </a:lnTo>
                    <a:lnTo>
                      <a:pt x="376" y="1468"/>
                    </a:lnTo>
                    <a:lnTo>
                      <a:pt x="378" y="1468"/>
                    </a:lnTo>
                    <a:lnTo>
                      <a:pt x="378" y="1466"/>
                    </a:lnTo>
                    <a:lnTo>
                      <a:pt x="380" y="1464"/>
                    </a:lnTo>
                    <a:lnTo>
                      <a:pt x="380" y="1462"/>
                    </a:lnTo>
                    <a:close/>
                    <a:moveTo>
                      <a:pt x="134" y="1090"/>
                    </a:moveTo>
                    <a:lnTo>
                      <a:pt x="134" y="1090"/>
                    </a:lnTo>
                    <a:lnTo>
                      <a:pt x="148" y="1086"/>
                    </a:lnTo>
                    <a:lnTo>
                      <a:pt x="158" y="1086"/>
                    </a:lnTo>
                    <a:lnTo>
                      <a:pt x="190" y="1088"/>
                    </a:lnTo>
                    <a:lnTo>
                      <a:pt x="200" y="1088"/>
                    </a:lnTo>
                    <a:lnTo>
                      <a:pt x="202" y="1090"/>
                    </a:lnTo>
                    <a:lnTo>
                      <a:pt x="202" y="1092"/>
                    </a:lnTo>
                    <a:lnTo>
                      <a:pt x="198" y="1094"/>
                    </a:lnTo>
                    <a:lnTo>
                      <a:pt x="186" y="1100"/>
                    </a:lnTo>
                    <a:lnTo>
                      <a:pt x="182" y="1104"/>
                    </a:lnTo>
                    <a:lnTo>
                      <a:pt x="180" y="1108"/>
                    </a:lnTo>
                    <a:lnTo>
                      <a:pt x="182" y="1110"/>
                    </a:lnTo>
                    <a:lnTo>
                      <a:pt x="186" y="1112"/>
                    </a:lnTo>
                    <a:lnTo>
                      <a:pt x="196" y="1112"/>
                    </a:lnTo>
                    <a:lnTo>
                      <a:pt x="204" y="1114"/>
                    </a:lnTo>
                    <a:lnTo>
                      <a:pt x="198" y="1118"/>
                    </a:lnTo>
                    <a:lnTo>
                      <a:pt x="190" y="1120"/>
                    </a:lnTo>
                    <a:lnTo>
                      <a:pt x="182" y="1120"/>
                    </a:lnTo>
                    <a:lnTo>
                      <a:pt x="174" y="1118"/>
                    </a:lnTo>
                    <a:lnTo>
                      <a:pt x="166" y="1116"/>
                    </a:lnTo>
                    <a:lnTo>
                      <a:pt x="162" y="1116"/>
                    </a:lnTo>
                    <a:lnTo>
                      <a:pt x="156" y="1120"/>
                    </a:lnTo>
                    <a:lnTo>
                      <a:pt x="150" y="1122"/>
                    </a:lnTo>
                    <a:lnTo>
                      <a:pt x="144" y="1124"/>
                    </a:lnTo>
                    <a:lnTo>
                      <a:pt x="132" y="1124"/>
                    </a:lnTo>
                    <a:lnTo>
                      <a:pt x="122" y="1126"/>
                    </a:lnTo>
                    <a:lnTo>
                      <a:pt x="120" y="1130"/>
                    </a:lnTo>
                    <a:lnTo>
                      <a:pt x="120" y="1132"/>
                    </a:lnTo>
                    <a:lnTo>
                      <a:pt x="122" y="1136"/>
                    </a:lnTo>
                    <a:lnTo>
                      <a:pt x="124" y="1138"/>
                    </a:lnTo>
                    <a:lnTo>
                      <a:pt x="134" y="1136"/>
                    </a:lnTo>
                    <a:lnTo>
                      <a:pt x="152" y="1134"/>
                    </a:lnTo>
                    <a:lnTo>
                      <a:pt x="162" y="1134"/>
                    </a:lnTo>
                    <a:lnTo>
                      <a:pt x="174" y="1136"/>
                    </a:lnTo>
                    <a:lnTo>
                      <a:pt x="180" y="1138"/>
                    </a:lnTo>
                    <a:lnTo>
                      <a:pt x="184" y="1140"/>
                    </a:lnTo>
                    <a:lnTo>
                      <a:pt x="186" y="1142"/>
                    </a:lnTo>
                    <a:lnTo>
                      <a:pt x="186" y="1146"/>
                    </a:lnTo>
                    <a:lnTo>
                      <a:pt x="186" y="1152"/>
                    </a:lnTo>
                    <a:lnTo>
                      <a:pt x="188" y="1154"/>
                    </a:lnTo>
                    <a:lnTo>
                      <a:pt x="190" y="1156"/>
                    </a:lnTo>
                    <a:lnTo>
                      <a:pt x="198" y="1160"/>
                    </a:lnTo>
                    <a:lnTo>
                      <a:pt x="202" y="1166"/>
                    </a:lnTo>
                    <a:lnTo>
                      <a:pt x="202" y="1174"/>
                    </a:lnTo>
                    <a:lnTo>
                      <a:pt x="198" y="1184"/>
                    </a:lnTo>
                    <a:lnTo>
                      <a:pt x="196" y="1186"/>
                    </a:lnTo>
                    <a:lnTo>
                      <a:pt x="190" y="1186"/>
                    </a:lnTo>
                    <a:lnTo>
                      <a:pt x="180" y="1184"/>
                    </a:lnTo>
                    <a:lnTo>
                      <a:pt x="172" y="1184"/>
                    </a:lnTo>
                    <a:lnTo>
                      <a:pt x="170" y="1186"/>
                    </a:lnTo>
                    <a:lnTo>
                      <a:pt x="170" y="1190"/>
                    </a:lnTo>
                    <a:lnTo>
                      <a:pt x="172" y="1196"/>
                    </a:lnTo>
                    <a:lnTo>
                      <a:pt x="174" y="1198"/>
                    </a:lnTo>
                    <a:lnTo>
                      <a:pt x="176" y="1200"/>
                    </a:lnTo>
                    <a:lnTo>
                      <a:pt x="182" y="1202"/>
                    </a:lnTo>
                    <a:lnTo>
                      <a:pt x="196" y="1202"/>
                    </a:lnTo>
                    <a:lnTo>
                      <a:pt x="220" y="1200"/>
                    </a:lnTo>
                    <a:lnTo>
                      <a:pt x="232" y="1200"/>
                    </a:lnTo>
                    <a:lnTo>
                      <a:pt x="242" y="1202"/>
                    </a:lnTo>
                    <a:lnTo>
                      <a:pt x="252" y="1206"/>
                    </a:lnTo>
                    <a:lnTo>
                      <a:pt x="260" y="1208"/>
                    </a:lnTo>
                    <a:lnTo>
                      <a:pt x="274" y="1216"/>
                    </a:lnTo>
                    <a:lnTo>
                      <a:pt x="282" y="1218"/>
                    </a:lnTo>
                    <a:lnTo>
                      <a:pt x="292" y="1220"/>
                    </a:lnTo>
                    <a:lnTo>
                      <a:pt x="300" y="1220"/>
                    </a:lnTo>
                    <a:lnTo>
                      <a:pt x="308" y="1224"/>
                    </a:lnTo>
                    <a:lnTo>
                      <a:pt x="318" y="1228"/>
                    </a:lnTo>
                    <a:lnTo>
                      <a:pt x="322" y="1230"/>
                    </a:lnTo>
                    <a:lnTo>
                      <a:pt x="328" y="1232"/>
                    </a:lnTo>
                    <a:lnTo>
                      <a:pt x="336" y="1232"/>
                    </a:lnTo>
                    <a:lnTo>
                      <a:pt x="346" y="1230"/>
                    </a:lnTo>
                    <a:lnTo>
                      <a:pt x="356" y="1226"/>
                    </a:lnTo>
                    <a:lnTo>
                      <a:pt x="362" y="1222"/>
                    </a:lnTo>
                    <a:lnTo>
                      <a:pt x="368" y="1214"/>
                    </a:lnTo>
                    <a:lnTo>
                      <a:pt x="370" y="1210"/>
                    </a:lnTo>
                    <a:lnTo>
                      <a:pt x="374" y="1206"/>
                    </a:lnTo>
                    <a:lnTo>
                      <a:pt x="380" y="1206"/>
                    </a:lnTo>
                    <a:lnTo>
                      <a:pt x="388" y="1206"/>
                    </a:lnTo>
                    <a:lnTo>
                      <a:pt x="396" y="1204"/>
                    </a:lnTo>
                    <a:lnTo>
                      <a:pt x="404" y="1204"/>
                    </a:lnTo>
                    <a:lnTo>
                      <a:pt x="418" y="1198"/>
                    </a:lnTo>
                    <a:lnTo>
                      <a:pt x="452" y="1176"/>
                    </a:lnTo>
                    <a:lnTo>
                      <a:pt x="462" y="1172"/>
                    </a:lnTo>
                    <a:lnTo>
                      <a:pt x="470" y="1170"/>
                    </a:lnTo>
                    <a:lnTo>
                      <a:pt x="484" y="1168"/>
                    </a:lnTo>
                    <a:lnTo>
                      <a:pt x="488" y="1166"/>
                    </a:lnTo>
                    <a:lnTo>
                      <a:pt x="494" y="1164"/>
                    </a:lnTo>
                    <a:lnTo>
                      <a:pt x="500" y="1160"/>
                    </a:lnTo>
                    <a:lnTo>
                      <a:pt x="504" y="1154"/>
                    </a:lnTo>
                    <a:lnTo>
                      <a:pt x="514" y="1142"/>
                    </a:lnTo>
                    <a:lnTo>
                      <a:pt x="522" y="1136"/>
                    </a:lnTo>
                    <a:lnTo>
                      <a:pt x="528" y="1134"/>
                    </a:lnTo>
                    <a:lnTo>
                      <a:pt x="534" y="1126"/>
                    </a:lnTo>
                    <a:lnTo>
                      <a:pt x="540" y="1112"/>
                    </a:lnTo>
                    <a:lnTo>
                      <a:pt x="542" y="1104"/>
                    </a:lnTo>
                    <a:lnTo>
                      <a:pt x="542" y="1098"/>
                    </a:lnTo>
                    <a:lnTo>
                      <a:pt x="542" y="1090"/>
                    </a:lnTo>
                    <a:lnTo>
                      <a:pt x="538" y="1086"/>
                    </a:lnTo>
                    <a:lnTo>
                      <a:pt x="532" y="1082"/>
                    </a:lnTo>
                    <a:lnTo>
                      <a:pt x="526" y="1080"/>
                    </a:lnTo>
                    <a:lnTo>
                      <a:pt x="518" y="1078"/>
                    </a:lnTo>
                    <a:lnTo>
                      <a:pt x="514" y="1076"/>
                    </a:lnTo>
                    <a:lnTo>
                      <a:pt x="510" y="1072"/>
                    </a:lnTo>
                    <a:lnTo>
                      <a:pt x="506" y="1068"/>
                    </a:lnTo>
                    <a:lnTo>
                      <a:pt x="502" y="1066"/>
                    </a:lnTo>
                    <a:lnTo>
                      <a:pt x="496" y="1068"/>
                    </a:lnTo>
                    <a:lnTo>
                      <a:pt x="494" y="1066"/>
                    </a:lnTo>
                    <a:lnTo>
                      <a:pt x="492" y="1064"/>
                    </a:lnTo>
                    <a:lnTo>
                      <a:pt x="496" y="1058"/>
                    </a:lnTo>
                    <a:lnTo>
                      <a:pt x="500" y="1052"/>
                    </a:lnTo>
                    <a:lnTo>
                      <a:pt x="500" y="1048"/>
                    </a:lnTo>
                    <a:lnTo>
                      <a:pt x="496" y="1046"/>
                    </a:lnTo>
                    <a:lnTo>
                      <a:pt x="492" y="1046"/>
                    </a:lnTo>
                    <a:lnTo>
                      <a:pt x="486" y="1044"/>
                    </a:lnTo>
                    <a:lnTo>
                      <a:pt x="484" y="1044"/>
                    </a:lnTo>
                    <a:lnTo>
                      <a:pt x="484" y="1040"/>
                    </a:lnTo>
                    <a:lnTo>
                      <a:pt x="488" y="1036"/>
                    </a:lnTo>
                    <a:lnTo>
                      <a:pt x="500" y="1028"/>
                    </a:lnTo>
                    <a:lnTo>
                      <a:pt x="500" y="1024"/>
                    </a:lnTo>
                    <a:lnTo>
                      <a:pt x="500" y="1022"/>
                    </a:lnTo>
                    <a:lnTo>
                      <a:pt x="494" y="1022"/>
                    </a:lnTo>
                    <a:lnTo>
                      <a:pt x="484" y="1026"/>
                    </a:lnTo>
                    <a:lnTo>
                      <a:pt x="474" y="1032"/>
                    </a:lnTo>
                    <a:lnTo>
                      <a:pt x="466" y="1036"/>
                    </a:lnTo>
                    <a:lnTo>
                      <a:pt x="462" y="1036"/>
                    </a:lnTo>
                    <a:lnTo>
                      <a:pt x="460" y="1034"/>
                    </a:lnTo>
                    <a:lnTo>
                      <a:pt x="456" y="1028"/>
                    </a:lnTo>
                    <a:lnTo>
                      <a:pt x="450" y="1020"/>
                    </a:lnTo>
                    <a:lnTo>
                      <a:pt x="446" y="1016"/>
                    </a:lnTo>
                    <a:lnTo>
                      <a:pt x="442" y="1012"/>
                    </a:lnTo>
                    <a:lnTo>
                      <a:pt x="436" y="1012"/>
                    </a:lnTo>
                    <a:lnTo>
                      <a:pt x="430" y="1012"/>
                    </a:lnTo>
                    <a:lnTo>
                      <a:pt x="424" y="1014"/>
                    </a:lnTo>
                    <a:lnTo>
                      <a:pt x="420" y="1018"/>
                    </a:lnTo>
                    <a:lnTo>
                      <a:pt x="418" y="1022"/>
                    </a:lnTo>
                    <a:lnTo>
                      <a:pt x="420" y="1026"/>
                    </a:lnTo>
                    <a:lnTo>
                      <a:pt x="424" y="1034"/>
                    </a:lnTo>
                    <a:lnTo>
                      <a:pt x="424" y="1038"/>
                    </a:lnTo>
                    <a:lnTo>
                      <a:pt x="424" y="1040"/>
                    </a:lnTo>
                    <a:lnTo>
                      <a:pt x="420" y="1042"/>
                    </a:lnTo>
                    <a:lnTo>
                      <a:pt x="418" y="1042"/>
                    </a:lnTo>
                    <a:lnTo>
                      <a:pt x="406" y="1038"/>
                    </a:lnTo>
                    <a:lnTo>
                      <a:pt x="402" y="1036"/>
                    </a:lnTo>
                    <a:lnTo>
                      <a:pt x="396" y="1038"/>
                    </a:lnTo>
                    <a:lnTo>
                      <a:pt x="390" y="1046"/>
                    </a:lnTo>
                    <a:lnTo>
                      <a:pt x="386" y="1050"/>
                    </a:lnTo>
                    <a:lnTo>
                      <a:pt x="382" y="1052"/>
                    </a:lnTo>
                    <a:lnTo>
                      <a:pt x="378" y="1052"/>
                    </a:lnTo>
                    <a:lnTo>
                      <a:pt x="374" y="1048"/>
                    </a:lnTo>
                    <a:lnTo>
                      <a:pt x="362" y="1038"/>
                    </a:lnTo>
                    <a:lnTo>
                      <a:pt x="358" y="1038"/>
                    </a:lnTo>
                    <a:lnTo>
                      <a:pt x="356" y="1038"/>
                    </a:lnTo>
                    <a:lnTo>
                      <a:pt x="354" y="1038"/>
                    </a:lnTo>
                    <a:lnTo>
                      <a:pt x="352" y="1042"/>
                    </a:lnTo>
                    <a:lnTo>
                      <a:pt x="352" y="1052"/>
                    </a:lnTo>
                    <a:lnTo>
                      <a:pt x="352" y="1056"/>
                    </a:lnTo>
                    <a:lnTo>
                      <a:pt x="350" y="1058"/>
                    </a:lnTo>
                    <a:lnTo>
                      <a:pt x="350" y="1060"/>
                    </a:lnTo>
                    <a:lnTo>
                      <a:pt x="346" y="1058"/>
                    </a:lnTo>
                    <a:lnTo>
                      <a:pt x="342" y="1052"/>
                    </a:lnTo>
                    <a:lnTo>
                      <a:pt x="338" y="1042"/>
                    </a:lnTo>
                    <a:lnTo>
                      <a:pt x="336" y="1038"/>
                    </a:lnTo>
                    <a:lnTo>
                      <a:pt x="330" y="1036"/>
                    </a:lnTo>
                    <a:lnTo>
                      <a:pt x="326" y="1036"/>
                    </a:lnTo>
                    <a:lnTo>
                      <a:pt x="320" y="1038"/>
                    </a:lnTo>
                    <a:lnTo>
                      <a:pt x="314" y="1042"/>
                    </a:lnTo>
                    <a:lnTo>
                      <a:pt x="308" y="1048"/>
                    </a:lnTo>
                    <a:lnTo>
                      <a:pt x="306" y="1054"/>
                    </a:lnTo>
                    <a:lnTo>
                      <a:pt x="306" y="1060"/>
                    </a:lnTo>
                    <a:lnTo>
                      <a:pt x="304" y="1070"/>
                    </a:lnTo>
                    <a:lnTo>
                      <a:pt x="304" y="1072"/>
                    </a:lnTo>
                    <a:lnTo>
                      <a:pt x="302" y="1072"/>
                    </a:lnTo>
                    <a:lnTo>
                      <a:pt x="294" y="1066"/>
                    </a:lnTo>
                    <a:lnTo>
                      <a:pt x="286" y="1052"/>
                    </a:lnTo>
                    <a:lnTo>
                      <a:pt x="280" y="1044"/>
                    </a:lnTo>
                    <a:lnTo>
                      <a:pt x="276" y="1042"/>
                    </a:lnTo>
                    <a:lnTo>
                      <a:pt x="272" y="1040"/>
                    </a:lnTo>
                    <a:lnTo>
                      <a:pt x="268" y="1042"/>
                    </a:lnTo>
                    <a:lnTo>
                      <a:pt x="266" y="1046"/>
                    </a:lnTo>
                    <a:lnTo>
                      <a:pt x="266" y="1052"/>
                    </a:lnTo>
                    <a:lnTo>
                      <a:pt x="266" y="1056"/>
                    </a:lnTo>
                    <a:lnTo>
                      <a:pt x="268" y="1062"/>
                    </a:lnTo>
                    <a:lnTo>
                      <a:pt x="270" y="1074"/>
                    </a:lnTo>
                    <a:lnTo>
                      <a:pt x="270" y="1078"/>
                    </a:lnTo>
                    <a:lnTo>
                      <a:pt x="270" y="1080"/>
                    </a:lnTo>
                    <a:lnTo>
                      <a:pt x="266" y="1082"/>
                    </a:lnTo>
                    <a:lnTo>
                      <a:pt x="264" y="1082"/>
                    </a:lnTo>
                    <a:lnTo>
                      <a:pt x="260" y="1080"/>
                    </a:lnTo>
                    <a:lnTo>
                      <a:pt x="256" y="1074"/>
                    </a:lnTo>
                    <a:lnTo>
                      <a:pt x="252" y="1070"/>
                    </a:lnTo>
                    <a:lnTo>
                      <a:pt x="248" y="1072"/>
                    </a:lnTo>
                    <a:lnTo>
                      <a:pt x="246" y="1076"/>
                    </a:lnTo>
                    <a:lnTo>
                      <a:pt x="242" y="1082"/>
                    </a:lnTo>
                    <a:lnTo>
                      <a:pt x="240" y="1088"/>
                    </a:lnTo>
                    <a:lnTo>
                      <a:pt x="236" y="1090"/>
                    </a:lnTo>
                    <a:lnTo>
                      <a:pt x="234" y="1092"/>
                    </a:lnTo>
                    <a:lnTo>
                      <a:pt x="232" y="1090"/>
                    </a:lnTo>
                    <a:lnTo>
                      <a:pt x="228" y="1084"/>
                    </a:lnTo>
                    <a:lnTo>
                      <a:pt x="226" y="1076"/>
                    </a:lnTo>
                    <a:lnTo>
                      <a:pt x="226" y="1070"/>
                    </a:lnTo>
                    <a:lnTo>
                      <a:pt x="228" y="1060"/>
                    </a:lnTo>
                    <a:lnTo>
                      <a:pt x="228" y="1058"/>
                    </a:lnTo>
                    <a:lnTo>
                      <a:pt x="228" y="1054"/>
                    </a:lnTo>
                    <a:lnTo>
                      <a:pt x="224" y="1050"/>
                    </a:lnTo>
                    <a:lnTo>
                      <a:pt x="216" y="1046"/>
                    </a:lnTo>
                    <a:lnTo>
                      <a:pt x="204" y="1036"/>
                    </a:lnTo>
                    <a:lnTo>
                      <a:pt x="200" y="1030"/>
                    </a:lnTo>
                    <a:lnTo>
                      <a:pt x="194" y="1026"/>
                    </a:lnTo>
                    <a:lnTo>
                      <a:pt x="184" y="1020"/>
                    </a:lnTo>
                    <a:lnTo>
                      <a:pt x="174" y="1018"/>
                    </a:lnTo>
                    <a:lnTo>
                      <a:pt x="168" y="1018"/>
                    </a:lnTo>
                    <a:lnTo>
                      <a:pt x="162" y="1018"/>
                    </a:lnTo>
                    <a:lnTo>
                      <a:pt x="158" y="1020"/>
                    </a:lnTo>
                    <a:lnTo>
                      <a:pt x="154" y="1024"/>
                    </a:lnTo>
                    <a:lnTo>
                      <a:pt x="152" y="1026"/>
                    </a:lnTo>
                    <a:lnTo>
                      <a:pt x="152" y="1030"/>
                    </a:lnTo>
                    <a:lnTo>
                      <a:pt x="154" y="1032"/>
                    </a:lnTo>
                    <a:lnTo>
                      <a:pt x="162" y="1038"/>
                    </a:lnTo>
                    <a:lnTo>
                      <a:pt x="170" y="1042"/>
                    </a:lnTo>
                    <a:lnTo>
                      <a:pt x="180" y="1048"/>
                    </a:lnTo>
                    <a:lnTo>
                      <a:pt x="186" y="1054"/>
                    </a:lnTo>
                    <a:lnTo>
                      <a:pt x="188" y="1058"/>
                    </a:lnTo>
                    <a:lnTo>
                      <a:pt x="186" y="1058"/>
                    </a:lnTo>
                    <a:lnTo>
                      <a:pt x="178" y="1056"/>
                    </a:lnTo>
                    <a:lnTo>
                      <a:pt x="166" y="1048"/>
                    </a:lnTo>
                    <a:lnTo>
                      <a:pt x="154" y="1040"/>
                    </a:lnTo>
                    <a:lnTo>
                      <a:pt x="148" y="1038"/>
                    </a:lnTo>
                    <a:lnTo>
                      <a:pt x="144" y="1036"/>
                    </a:lnTo>
                    <a:lnTo>
                      <a:pt x="140" y="1038"/>
                    </a:lnTo>
                    <a:lnTo>
                      <a:pt x="136" y="1040"/>
                    </a:lnTo>
                    <a:lnTo>
                      <a:pt x="130" y="1048"/>
                    </a:lnTo>
                    <a:lnTo>
                      <a:pt x="128" y="1058"/>
                    </a:lnTo>
                    <a:lnTo>
                      <a:pt x="128" y="1064"/>
                    </a:lnTo>
                    <a:lnTo>
                      <a:pt x="126" y="1066"/>
                    </a:lnTo>
                    <a:lnTo>
                      <a:pt x="122" y="1068"/>
                    </a:lnTo>
                    <a:lnTo>
                      <a:pt x="118" y="1068"/>
                    </a:lnTo>
                    <a:lnTo>
                      <a:pt x="116" y="1070"/>
                    </a:lnTo>
                    <a:lnTo>
                      <a:pt x="116" y="1074"/>
                    </a:lnTo>
                    <a:lnTo>
                      <a:pt x="114" y="1080"/>
                    </a:lnTo>
                    <a:lnTo>
                      <a:pt x="112" y="1080"/>
                    </a:lnTo>
                    <a:lnTo>
                      <a:pt x="106" y="1078"/>
                    </a:lnTo>
                    <a:lnTo>
                      <a:pt x="102" y="1078"/>
                    </a:lnTo>
                    <a:lnTo>
                      <a:pt x="98" y="1080"/>
                    </a:lnTo>
                    <a:lnTo>
                      <a:pt x="96" y="1082"/>
                    </a:lnTo>
                    <a:lnTo>
                      <a:pt x="96" y="1084"/>
                    </a:lnTo>
                    <a:lnTo>
                      <a:pt x="100" y="1086"/>
                    </a:lnTo>
                    <a:lnTo>
                      <a:pt x="104" y="1090"/>
                    </a:lnTo>
                    <a:lnTo>
                      <a:pt x="118" y="1092"/>
                    </a:lnTo>
                    <a:lnTo>
                      <a:pt x="126" y="1092"/>
                    </a:lnTo>
                    <a:lnTo>
                      <a:pt x="134" y="1090"/>
                    </a:lnTo>
                    <a:close/>
                    <a:moveTo>
                      <a:pt x="306" y="1550"/>
                    </a:moveTo>
                    <a:lnTo>
                      <a:pt x="306" y="1550"/>
                    </a:lnTo>
                    <a:lnTo>
                      <a:pt x="304" y="1546"/>
                    </a:lnTo>
                    <a:lnTo>
                      <a:pt x="302" y="1544"/>
                    </a:lnTo>
                    <a:lnTo>
                      <a:pt x="300" y="1544"/>
                    </a:lnTo>
                    <a:lnTo>
                      <a:pt x="300" y="1546"/>
                    </a:lnTo>
                    <a:lnTo>
                      <a:pt x="302" y="1548"/>
                    </a:lnTo>
                    <a:lnTo>
                      <a:pt x="306" y="1550"/>
                    </a:lnTo>
                    <a:close/>
                    <a:moveTo>
                      <a:pt x="294" y="1582"/>
                    </a:moveTo>
                    <a:lnTo>
                      <a:pt x="294" y="1582"/>
                    </a:lnTo>
                    <a:lnTo>
                      <a:pt x="296" y="1580"/>
                    </a:lnTo>
                    <a:lnTo>
                      <a:pt x="294" y="1576"/>
                    </a:lnTo>
                    <a:lnTo>
                      <a:pt x="290" y="1572"/>
                    </a:lnTo>
                    <a:lnTo>
                      <a:pt x="288" y="1572"/>
                    </a:lnTo>
                    <a:lnTo>
                      <a:pt x="286" y="1574"/>
                    </a:lnTo>
                    <a:lnTo>
                      <a:pt x="286" y="1576"/>
                    </a:lnTo>
                    <a:lnTo>
                      <a:pt x="290" y="1580"/>
                    </a:lnTo>
                    <a:lnTo>
                      <a:pt x="294" y="1582"/>
                    </a:lnTo>
                    <a:close/>
                    <a:moveTo>
                      <a:pt x="134" y="1350"/>
                    </a:moveTo>
                    <a:lnTo>
                      <a:pt x="134" y="1350"/>
                    </a:lnTo>
                    <a:lnTo>
                      <a:pt x="134" y="1354"/>
                    </a:lnTo>
                    <a:lnTo>
                      <a:pt x="134" y="1356"/>
                    </a:lnTo>
                    <a:lnTo>
                      <a:pt x="138" y="1360"/>
                    </a:lnTo>
                    <a:lnTo>
                      <a:pt x="140" y="1362"/>
                    </a:lnTo>
                    <a:lnTo>
                      <a:pt x="144" y="1364"/>
                    </a:lnTo>
                    <a:lnTo>
                      <a:pt x="150" y="1372"/>
                    </a:lnTo>
                    <a:lnTo>
                      <a:pt x="154" y="1374"/>
                    </a:lnTo>
                    <a:lnTo>
                      <a:pt x="154" y="1370"/>
                    </a:lnTo>
                    <a:lnTo>
                      <a:pt x="152" y="1364"/>
                    </a:lnTo>
                    <a:lnTo>
                      <a:pt x="148" y="1360"/>
                    </a:lnTo>
                    <a:lnTo>
                      <a:pt x="146" y="1358"/>
                    </a:lnTo>
                    <a:lnTo>
                      <a:pt x="144" y="1358"/>
                    </a:lnTo>
                    <a:lnTo>
                      <a:pt x="142" y="1354"/>
                    </a:lnTo>
                    <a:lnTo>
                      <a:pt x="140" y="1350"/>
                    </a:lnTo>
                    <a:lnTo>
                      <a:pt x="136" y="1348"/>
                    </a:lnTo>
                    <a:lnTo>
                      <a:pt x="134" y="1348"/>
                    </a:lnTo>
                    <a:lnTo>
                      <a:pt x="134" y="1350"/>
                    </a:lnTo>
                    <a:close/>
                    <a:moveTo>
                      <a:pt x="138" y="1658"/>
                    </a:moveTo>
                    <a:lnTo>
                      <a:pt x="138" y="1658"/>
                    </a:lnTo>
                    <a:lnTo>
                      <a:pt x="140" y="1652"/>
                    </a:lnTo>
                    <a:lnTo>
                      <a:pt x="138" y="1650"/>
                    </a:lnTo>
                    <a:lnTo>
                      <a:pt x="136" y="1650"/>
                    </a:lnTo>
                    <a:lnTo>
                      <a:pt x="132" y="1652"/>
                    </a:lnTo>
                    <a:lnTo>
                      <a:pt x="128" y="1652"/>
                    </a:lnTo>
                    <a:lnTo>
                      <a:pt x="124" y="1652"/>
                    </a:lnTo>
                    <a:lnTo>
                      <a:pt x="122" y="1654"/>
                    </a:lnTo>
                    <a:lnTo>
                      <a:pt x="120" y="1656"/>
                    </a:lnTo>
                    <a:lnTo>
                      <a:pt x="122" y="1656"/>
                    </a:lnTo>
                    <a:lnTo>
                      <a:pt x="126" y="1660"/>
                    </a:lnTo>
                    <a:lnTo>
                      <a:pt x="134" y="1660"/>
                    </a:lnTo>
                    <a:lnTo>
                      <a:pt x="136" y="1660"/>
                    </a:lnTo>
                    <a:lnTo>
                      <a:pt x="138" y="1658"/>
                    </a:lnTo>
                    <a:close/>
                    <a:moveTo>
                      <a:pt x="124" y="1360"/>
                    </a:moveTo>
                    <a:lnTo>
                      <a:pt x="124" y="1360"/>
                    </a:lnTo>
                    <a:lnTo>
                      <a:pt x="122" y="1360"/>
                    </a:lnTo>
                    <a:lnTo>
                      <a:pt x="124" y="1362"/>
                    </a:lnTo>
                    <a:lnTo>
                      <a:pt x="132" y="1368"/>
                    </a:lnTo>
                    <a:lnTo>
                      <a:pt x="134" y="1370"/>
                    </a:lnTo>
                    <a:lnTo>
                      <a:pt x="138" y="1368"/>
                    </a:lnTo>
                    <a:lnTo>
                      <a:pt x="138" y="1366"/>
                    </a:lnTo>
                    <a:lnTo>
                      <a:pt x="136" y="1362"/>
                    </a:lnTo>
                    <a:lnTo>
                      <a:pt x="132" y="1358"/>
                    </a:lnTo>
                    <a:lnTo>
                      <a:pt x="130" y="1358"/>
                    </a:lnTo>
                    <a:lnTo>
                      <a:pt x="124" y="1360"/>
                    </a:lnTo>
                    <a:close/>
                    <a:moveTo>
                      <a:pt x="162" y="1352"/>
                    </a:moveTo>
                    <a:lnTo>
                      <a:pt x="162" y="1352"/>
                    </a:lnTo>
                    <a:lnTo>
                      <a:pt x="162" y="1348"/>
                    </a:lnTo>
                    <a:lnTo>
                      <a:pt x="160" y="1344"/>
                    </a:lnTo>
                    <a:lnTo>
                      <a:pt x="160" y="1350"/>
                    </a:lnTo>
                    <a:lnTo>
                      <a:pt x="160" y="1352"/>
                    </a:lnTo>
                    <a:lnTo>
                      <a:pt x="162" y="1352"/>
                    </a:lnTo>
                    <a:close/>
                    <a:moveTo>
                      <a:pt x="128" y="1670"/>
                    </a:moveTo>
                    <a:lnTo>
                      <a:pt x="128" y="1670"/>
                    </a:lnTo>
                    <a:lnTo>
                      <a:pt x="126" y="1670"/>
                    </a:lnTo>
                    <a:lnTo>
                      <a:pt x="124" y="1672"/>
                    </a:lnTo>
                    <a:lnTo>
                      <a:pt x="122" y="1678"/>
                    </a:lnTo>
                    <a:lnTo>
                      <a:pt x="124" y="1686"/>
                    </a:lnTo>
                    <a:lnTo>
                      <a:pt x="126" y="1688"/>
                    </a:lnTo>
                    <a:lnTo>
                      <a:pt x="128" y="1688"/>
                    </a:lnTo>
                    <a:lnTo>
                      <a:pt x="130" y="1688"/>
                    </a:lnTo>
                    <a:lnTo>
                      <a:pt x="130" y="1684"/>
                    </a:lnTo>
                    <a:lnTo>
                      <a:pt x="128" y="1682"/>
                    </a:lnTo>
                    <a:lnTo>
                      <a:pt x="128" y="1680"/>
                    </a:lnTo>
                    <a:lnTo>
                      <a:pt x="130" y="1678"/>
                    </a:lnTo>
                    <a:lnTo>
                      <a:pt x="132" y="1674"/>
                    </a:lnTo>
                    <a:lnTo>
                      <a:pt x="130" y="1672"/>
                    </a:lnTo>
                    <a:lnTo>
                      <a:pt x="128" y="1670"/>
                    </a:lnTo>
                    <a:close/>
                    <a:moveTo>
                      <a:pt x="238" y="1920"/>
                    </a:moveTo>
                    <a:lnTo>
                      <a:pt x="238" y="1920"/>
                    </a:lnTo>
                    <a:lnTo>
                      <a:pt x="236" y="1924"/>
                    </a:lnTo>
                    <a:lnTo>
                      <a:pt x="238" y="1926"/>
                    </a:lnTo>
                    <a:lnTo>
                      <a:pt x="240" y="1930"/>
                    </a:lnTo>
                    <a:lnTo>
                      <a:pt x="246" y="1930"/>
                    </a:lnTo>
                    <a:lnTo>
                      <a:pt x="248" y="1930"/>
                    </a:lnTo>
                    <a:lnTo>
                      <a:pt x="252" y="1926"/>
                    </a:lnTo>
                    <a:lnTo>
                      <a:pt x="252" y="1924"/>
                    </a:lnTo>
                    <a:lnTo>
                      <a:pt x="254" y="1920"/>
                    </a:lnTo>
                    <a:lnTo>
                      <a:pt x="252" y="1918"/>
                    </a:lnTo>
                    <a:lnTo>
                      <a:pt x="250" y="1916"/>
                    </a:lnTo>
                    <a:lnTo>
                      <a:pt x="248" y="1914"/>
                    </a:lnTo>
                    <a:lnTo>
                      <a:pt x="244" y="1916"/>
                    </a:lnTo>
                    <a:lnTo>
                      <a:pt x="240" y="1916"/>
                    </a:lnTo>
                    <a:lnTo>
                      <a:pt x="238" y="1920"/>
                    </a:lnTo>
                    <a:close/>
                    <a:moveTo>
                      <a:pt x="232" y="1878"/>
                    </a:moveTo>
                    <a:lnTo>
                      <a:pt x="232" y="1878"/>
                    </a:lnTo>
                    <a:lnTo>
                      <a:pt x="236" y="1878"/>
                    </a:lnTo>
                    <a:lnTo>
                      <a:pt x="240" y="1876"/>
                    </a:lnTo>
                    <a:lnTo>
                      <a:pt x="246" y="1870"/>
                    </a:lnTo>
                    <a:lnTo>
                      <a:pt x="248" y="1862"/>
                    </a:lnTo>
                    <a:lnTo>
                      <a:pt x="246" y="1858"/>
                    </a:lnTo>
                    <a:lnTo>
                      <a:pt x="244" y="1856"/>
                    </a:lnTo>
                    <a:lnTo>
                      <a:pt x="240" y="1858"/>
                    </a:lnTo>
                    <a:lnTo>
                      <a:pt x="234" y="1866"/>
                    </a:lnTo>
                    <a:lnTo>
                      <a:pt x="230" y="1874"/>
                    </a:lnTo>
                    <a:lnTo>
                      <a:pt x="230" y="1876"/>
                    </a:lnTo>
                    <a:lnTo>
                      <a:pt x="232" y="1878"/>
                    </a:lnTo>
                    <a:close/>
                    <a:moveTo>
                      <a:pt x="290" y="1568"/>
                    </a:moveTo>
                    <a:lnTo>
                      <a:pt x="290" y="1568"/>
                    </a:lnTo>
                    <a:lnTo>
                      <a:pt x="294" y="1572"/>
                    </a:lnTo>
                    <a:lnTo>
                      <a:pt x="298" y="1572"/>
                    </a:lnTo>
                    <a:lnTo>
                      <a:pt x="302" y="1572"/>
                    </a:lnTo>
                    <a:lnTo>
                      <a:pt x="304" y="1572"/>
                    </a:lnTo>
                    <a:lnTo>
                      <a:pt x="306" y="1574"/>
                    </a:lnTo>
                    <a:lnTo>
                      <a:pt x="310" y="1574"/>
                    </a:lnTo>
                    <a:lnTo>
                      <a:pt x="312" y="1572"/>
                    </a:lnTo>
                    <a:lnTo>
                      <a:pt x="312" y="1570"/>
                    </a:lnTo>
                    <a:lnTo>
                      <a:pt x="310" y="1568"/>
                    </a:lnTo>
                    <a:lnTo>
                      <a:pt x="310" y="1570"/>
                    </a:lnTo>
                    <a:lnTo>
                      <a:pt x="308" y="1570"/>
                    </a:lnTo>
                    <a:lnTo>
                      <a:pt x="308" y="1568"/>
                    </a:lnTo>
                    <a:lnTo>
                      <a:pt x="304" y="1566"/>
                    </a:lnTo>
                    <a:lnTo>
                      <a:pt x="302" y="1566"/>
                    </a:lnTo>
                    <a:lnTo>
                      <a:pt x="300" y="1566"/>
                    </a:lnTo>
                    <a:lnTo>
                      <a:pt x="300" y="1564"/>
                    </a:lnTo>
                    <a:lnTo>
                      <a:pt x="302" y="1560"/>
                    </a:lnTo>
                    <a:lnTo>
                      <a:pt x="300" y="1560"/>
                    </a:lnTo>
                    <a:lnTo>
                      <a:pt x="296" y="1556"/>
                    </a:lnTo>
                    <a:lnTo>
                      <a:pt x="292" y="1556"/>
                    </a:lnTo>
                    <a:lnTo>
                      <a:pt x="290" y="1560"/>
                    </a:lnTo>
                    <a:lnTo>
                      <a:pt x="288" y="1564"/>
                    </a:lnTo>
                    <a:lnTo>
                      <a:pt x="290" y="1568"/>
                    </a:lnTo>
                    <a:close/>
                    <a:moveTo>
                      <a:pt x="208" y="1778"/>
                    </a:moveTo>
                    <a:lnTo>
                      <a:pt x="208" y="1778"/>
                    </a:lnTo>
                    <a:lnTo>
                      <a:pt x="206" y="1784"/>
                    </a:lnTo>
                    <a:lnTo>
                      <a:pt x="206" y="1788"/>
                    </a:lnTo>
                    <a:lnTo>
                      <a:pt x="210" y="1792"/>
                    </a:lnTo>
                    <a:lnTo>
                      <a:pt x="214" y="1792"/>
                    </a:lnTo>
                    <a:lnTo>
                      <a:pt x="216" y="1792"/>
                    </a:lnTo>
                    <a:lnTo>
                      <a:pt x="218" y="1788"/>
                    </a:lnTo>
                    <a:lnTo>
                      <a:pt x="216" y="1782"/>
                    </a:lnTo>
                    <a:lnTo>
                      <a:pt x="212" y="1776"/>
                    </a:lnTo>
                    <a:lnTo>
                      <a:pt x="210" y="1776"/>
                    </a:lnTo>
                    <a:lnTo>
                      <a:pt x="208" y="1778"/>
                    </a:lnTo>
                    <a:close/>
                    <a:moveTo>
                      <a:pt x="618" y="1434"/>
                    </a:moveTo>
                    <a:lnTo>
                      <a:pt x="618" y="1434"/>
                    </a:lnTo>
                    <a:lnTo>
                      <a:pt x="620" y="1434"/>
                    </a:lnTo>
                    <a:lnTo>
                      <a:pt x="622" y="1430"/>
                    </a:lnTo>
                    <a:lnTo>
                      <a:pt x="622" y="1428"/>
                    </a:lnTo>
                    <a:lnTo>
                      <a:pt x="620" y="1426"/>
                    </a:lnTo>
                    <a:lnTo>
                      <a:pt x="616" y="1430"/>
                    </a:lnTo>
                    <a:lnTo>
                      <a:pt x="616" y="1432"/>
                    </a:lnTo>
                    <a:lnTo>
                      <a:pt x="618" y="1434"/>
                    </a:lnTo>
                    <a:close/>
                    <a:moveTo>
                      <a:pt x="882" y="1770"/>
                    </a:moveTo>
                    <a:lnTo>
                      <a:pt x="882" y="1770"/>
                    </a:lnTo>
                    <a:lnTo>
                      <a:pt x="876" y="1774"/>
                    </a:lnTo>
                    <a:lnTo>
                      <a:pt x="870" y="1774"/>
                    </a:lnTo>
                    <a:lnTo>
                      <a:pt x="866" y="1772"/>
                    </a:lnTo>
                    <a:lnTo>
                      <a:pt x="860" y="1774"/>
                    </a:lnTo>
                    <a:lnTo>
                      <a:pt x="860" y="1776"/>
                    </a:lnTo>
                    <a:lnTo>
                      <a:pt x="864" y="1778"/>
                    </a:lnTo>
                    <a:lnTo>
                      <a:pt x="870" y="1782"/>
                    </a:lnTo>
                    <a:lnTo>
                      <a:pt x="870" y="1784"/>
                    </a:lnTo>
                    <a:lnTo>
                      <a:pt x="870" y="1786"/>
                    </a:lnTo>
                    <a:lnTo>
                      <a:pt x="870" y="1788"/>
                    </a:lnTo>
                    <a:lnTo>
                      <a:pt x="872" y="1790"/>
                    </a:lnTo>
                    <a:lnTo>
                      <a:pt x="874" y="1792"/>
                    </a:lnTo>
                    <a:lnTo>
                      <a:pt x="872" y="1796"/>
                    </a:lnTo>
                    <a:lnTo>
                      <a:pt x="870" y="1798"/>
                    </a:lnTo>
                    <a:lnTo>
                      <a:pt x="872" y="1800"/>
                    </a:lnTo>
                    <a:lnTo>
                      <a:pt x="874" y="1800"/>
                    </a:lnTo>
                    <a:lnTo>
                      <a:pt x="876" y="1804"/>
                    </a:lnTo>
                    <a:lnTo>
                      <a:pt x="876" y="1806"/>
                    </a:lnTo>
                    <a:lnTo>
                      <a:pt x="878" y="1806"/>
                    </a:lnTo>
                    <a:lnTo>
                      <a:pt x="882" y="1806"/>
                    </a:lnTo>
                    <a:lnTo>
                      <a:pt x="886" y="1806"/>
                    </a:lnTo>
                    <a:lnTo>
                      <a:pt x="888" y="1808"/>
                    </a:lnTo>
                    <a:lnTo>
                      <a:pt x="892" y="1806"/>
                    </a:lnTo>
                    <a:lnTo>
                      <a:pt x="894" y="1808"/>
                    </a:lnTo>
                    <a:lnTo>
                      <a:pt x="896" y="1810"/>
                    </a:lnTo>
                    <a:lnTo>
                      <a:pt x="896" y="1814"/>
                    </a:lnTo>
                    <a:lnTo>
                      <a:pt x="894" y="1814"/>
                    </a:lnTo>
                    <a:lnTo>
                      <a:pt x="892" y="1814"/>
                    </a:lnTo>
                    <a:lnTo>
                      <a:pt x="890" y="1816"/>
                    </a:lnTo>
                    <a:lnTo>
                      <a:pt x="892" y="1816"/>
                    </a:lnTo>
                    <a:lnTo>
                      <a:pt x="894" y="1818"/>
                    </a:lnTo>
                    <a:lnTo>
                      <a:pt x="898" y="1820"/>
                    </a:lnTo>
                    <a:lnTo>
                      <a:pt x="898" y="1822"/>
                    </a:lnTo>
                    <a:lnTo>
                      <a:pt x="896" y="1824"/>
                    </a:lnTo>
                    <a:lnTo>
                      <a:pt x="896" y="1826"/>
                    </a:lnTo>
                    <a:lnTo>
                      <a:pt x="900" y="1832"/>
                    </a:lnTo>
                    <a:lnTo>
                      <a:pt x="902" y="1836"/>
                    </a:lnTo>
                    <a:lnTo>
                      <a:pt x="904" y="1840"/>
                    </a:lnTo>
                    <a:lnTo>
                      <a:pt x="904" y="1844"/>
                    </a:lnTo>
                    <a:lnTo>
                      <a:pt x="906" y="1846"/>
                    </a:lnTo>
                    <a:lnTo>
                      <a:pt x="906" y="1848"/>
                    </a:lnTo>
                    <a:lnTo>
                      <a:pt x="908" y="1848"/>
                    </a:lnTo>
                    <a:lnTo>
                      <a:pt x="908" y="1844"/>
                    </a:lnTo>
                    <a:lnTo>
                      <a:pt x="908" y="1838"/>
                    </a:lnTo>
                    <a:lnTo>
                      <a:pt x="910" y="1834"/>
                    </a:lnTo>
                    <a:lnTo>
                      <a:pt x="912" y="1832"/>
                    </a:lnTo>
                    <a:lnTo>
                      <a:pt x="912" y="1828"/>
                    </a:lnTo>
                    <a:lnTo>
                      <a:pt x="908" y="1824"/>
                    </a:lnTo>
                    <a:lnTo>
                      <a:pt x="902" y="1822"/>
                    </a:lnTo>
                    <a:lnTo>
                      <a:pt x="904" y="1822"/>
                    </a:lnTo>
                    <a:lnTo>
                      <a:pt x="906" y="1820"/>
                    </a:lnTo>
                    <a:lnTo>
                      <a:pt x="910" y="1820"/>
                    </a:lnTo>
                    <a:lnTo>
                      <a:pt x="912" y="1818"/>
                    </a:lnTo>
                    <a:lnTo>
                      <a:pt x="912" y="1816"/>
                    </a:lnTo>
                    <a:lnTo>
                      <a:pt x="912" y="1812"/>
                    </a:lnTo>
                    <a:lnTo>
                      <a:pt x="912" y="1810"/>
                    </a:lnTo>
                    <a:lnTo>
                      <a:pt x="912" y="1808"/>
                    </a:lnTo>
                    <a:lnTo>
                      <a:pt x="918" y="1804"/>
                    </a:lnTo>
                    <a:lnTo>
                      <a:pt x="924" y="1802"/>
                    </a:lnTo>
                    <a:lnTo>
                      <a:pt x="926" y="1800"/>
                    </a:lnTo>
                    <a:lnTo>
                      <a:pt x="924" y="1798"/>
                    </a:lnTo>
                    <a:lnTo>
                      <a:pt x="918" y="1794"/>
                    </a:lnTo>
                    <a:lnTo>
                      <a:pt x="914" y="1790"/>
                    </a:lnTo>
                    <a:lnTo>
                      <a:pt x="914" y="1788"/>
                    </a:lnTo>
                    <a:lnTo>
                      <a:pt x="916" y="1784"/>
                    </a:lnTo>
                    <a:lnTo>
                      <a:pt x="922" y="1782"/>
                    </a:lnTo>
                    <a:lnTo>
                      <a:pt x="926" y="1782"/>
                    </a:lnTo>
                    <a:lnTo>
                      <a:pt x="928" y="1778"/>
                    </a:lnTo>
                    <a:lnTo>
                      <a:pt x="928" y="1772"/>
                    </a:lnTo>
                    <a:lnTo>
                      <a:pt x="928" y="1764"/>
                    </a:lnTo>
                    <a:lnTo>
                      <a:pt x="930" y="1758"/>
                    </a:lnTo>
                    <a:lnTo>
                      <a:pt x="932" y="1754"/>
                    </a:lnTo>
                    <a:lnTo>
                      <a:pt x="930" y="1752"/>
                    </a:lnTo>
                    <a:lnTo>
                      <a:pt x="920" y="1750"/>
                    </a:lnTo>
                    <a:lnTo>
                      <a:pt x="914" y="1750"/>
                    </a:lnTo>
                    <a:lnTo>
                      <a:pt x="908" y="1752"/>
                    </a:lnTo>
                    <a:lnTo>
                      <a:pt x="904" y="1756"/>
                    </a:lnTo>
                    <a:lnTo>
                      <a:pt x="902" y="1760"/>
                    </a:lnTo>
                    <a:lnTo>
                      <a:pt x="904" y="1762"/>
                    </a:lnTo>
                    <a:lnTo>
                      <a:pt x="904" y="1764"/>
                    </a:lnTo>
                    <a:lnTo>
                      <a:pt x="900" y="1772"/>
                    </a:lnTo>
                    <a:lnTo>
                      <a:pt x="898" y="1776"/>
                    </a:lnTo>
                    <a:lnTo>
                      <a:pt x="896" y="1774"/>
                    </a:lnTo>
                    <a:lnTo>
                      <a:pt x="896" y="1770"/>
                    </a:lnTo>
                    <a:lnTo>
                      <a:pt x="898" y="1762"/>
                    </a:lnTo>
                    <a:lnTo>
                      <a:pt x="896" y="1760"/>
                    </a:lnTo>
                    <a:lnTo>
                      <a:pt x="894" y="1760"/>
                    </a:lnTo>
                    <a:lnTo>
                      <a:pt x="890" y="1760"/>
                    </a:lnTo>
                    <a:lnTo>
                      <a:pt x="884" y="1758"/>
                    </a:lnTo>
                    <a:lnTo>
                      <a:pt x="880" y="1758"/>
                    </a:lnTo>
                    <a:lnTo>
                      <a:pt x="876" y="1758"/>
                    </a:lnTo>
                    <a:lnTo>
                      <a:pt x="878" y="1760"/>
                    </a:lnTo>
                    <a:lnTo>
                      <a:pt x="882" y="1762"/>
                    </a:lnTo>
                    <a:lnTo>
                      <a:pt x="886" y="1764"/>
                    </a:lnTo>
                    <a:lnTo>
                      <a:pt x="884" y="1768"/>
                    </a:lnTo>
                    <a:lnTo>
                      <a:pt x="882" y="1770"/>
                    </a:lnTo>
                    <a:close/>
                    <a:moveTo>
                      <a:pt x="850" y="1762"/>
                    </a:moveTo>
                    <a:lnTo>
                      <a:pt x="850" y="1762"/>
                    </a:lnTo>
                    <a:lnTo>
                      <a:pt x="848" y="1760"/>
                    </a:lnTo>
                    <a:lnTo>
                      <a:pt x="846" y="1764"/>
                    </a:lnTo>
                    <a:lnTo>
                      <a:pt x="848" y="1768"/>
                    </a:lnTo>
                    <a:lnTo>
                      <a:pt x="848" y="1772"/>
                    </a:lnTo>
                    <a:lnTo>
                      <a:pt x="850" y="1772"/>
                    </a:lnTo>
                    <a:lnTo>
                      <a:pt x="850" y="1770"/>
                    </a:lnTo>
                    <a:lnTo>
                      <a:pt x="852" y="1766"/>
                    </a:lnTo>
                    <a:lnTo>
                      <a:pt x="850" y="1762"/>
                    </a:lnTo>
                    <a:close/>
                    <a:moveTo>
                      <a:pt x="834" y="1814"/>
                    </a:moveTo>
                    <a:lnTo>
                      <a:pt x="834" y="1814"/>
                    </a:lnTo>
                    <a:lnTo>
                      <a:pt x="846" y="1816"/>
                    </a:lnTo>
                    <a:lnTo>
                      <a:pt x="852" y="1814"/>
                    </a:lnTo>
                    <a:lnTo>
                      <a:pt x="856" y="1812"/>
                    </a:lnTo>
                    <a:lnTo>
                      <a:pt x="858" y="1808"/>
                    </a:lnTo>
                    <a:lnTo>
                      <a:pt x="858" y="1806"/>
                    </a:lnTo>
                    <a:lnTo>
                      <a:pt x="858" y="1800"/>
                    </a:lnTo>
                    <a:lnTo>
                      <a:pt x="856" y="1794"/>
                    </a:lnTo>
                    <a:lnTo>
                      <a:pt x="856" y="1790"/>
                    </a:lnTo>
                    <a:lnTo>
                      <a:pt x="856" y="1788"/>
                    </a:lnTo>
                    <a:lnTo>
                      <a:pt x="852" y="1784"/>
                    </a:lnTo>
                    <a:lnTo>
                      <a:pt x="850" y="1782"/>
                    </a:lnTo>
                    <a:lnTo>
                      <a:pt x="850" y="1784"/>
                    </a:lnTo>
                    <a:lnTo>
                      <a:pt x="848" y="1786"/>
                    </a:lnTo>
                    <a:lnTo>
                      <a:pt x="840" y="1782"/>
                    </a:lnTo>
                    <a:lnTo>
                      <a:pt x="836" y="1782"/>
                    </a:lnTo>
                    <a:lnTo>
                      <a:pt x="830" y="1784"/>
                    </a:lnTo>
                    <a:lnTo>
                      <a:pt x="824" y="1786"/>
                    </a:lnTo>
                    <a:lnTo>
                      <a:pt x="818" y="1786"/>
                    </a:lnTo>
                    <a:lnTo>
                      <a:pt x="816" y="1786"/>
                    </a:lnTo>
                    <a:lnTo>
                      <a:pt x="814" y="1788"/>
                    </a:lnTo>
                    <a:lnTo>
                      <a:pt x="814" y="1790"/>
                    </a:lnTo>
                    <a:lnTo>
                      <a:pt x="816" y="1792"/>
                    </a:lnTo>
                    <a:lnTo>
                      <a:pt x="820" y="1798"/>
                    </a:lnTo>
                    <a:lnTo>
                      <a:pt x="824" y="1806"/>
                    </a:lnTo>
                    <a:lnTo>
                      <a:pt x="824" y="1810"/>
                    </a:lnTo>
                    <a:lnTo>
                      <a:pt x="826" y="1808"/>
                    </a:lnTo>
                    <a:lnTo>
                      <a:pt x="828" y="1808"/>
                    </a:lnTo>
                    <a:lnTo>
                      <a:pt x="830" y="1808"/>
                    </a:lnTo>
                    <a:lnTo>
                      <a:pt x="830" y="1810"/>
                    </a:lnTo>
                    <a:lnTo>
                      <a:pt x="830" y="1812"/>
                    </a:lnTo>
                    <a:lnTo>
                      <a:pt x="830" y="1814"/>
                    </a:lnTo>
                    <a:lnTo>
                      <a:pt x="834" y="1814"/>
                    </a:lnTo>
                    <a:close/>
                    <a:moveTo>
                      <a:pt x="898" y="1832"/>
                    </a:moveTo>
                    <a:lnTo>
                      <a:pt x="898" y="1832"/>
                    </a:lnTo>
                    <a:lnTo>
                      <a:pt x="894" y="1826"/>
                    </a:lnTo>
                    <a:lnTo>
                      <a:pt x="892" y="1826"/>
                    </a:lnTo>
                    <a:lnTo>
                      <a:pt x="890" y="1828"/>
                    </a:lnTo>
                    <a:lnTo>
                      <a:pt x="890" y="1830"/>
                    </a:lnTo>
                    <a:lnTo>
                      <a:pt x="888" y="1830"/>
                    </a:lnTo>
                    <a:lnTo>
                      <a:pt x="878" y="1824"/>
                    </a:lnTo>
                    <a:lnTo>
                      <a:pt x="872" y="1822"/>
                    </a:lnTo>
                    <a:lnTo>
                      <a:pt x="868" y="1822"/>
                    </a:lnTo>
                    <a:lnTo>
                      <a:pt x="866" y="1826"/>
                    </a:lnTo>
                    <a:lnTo>
                      <a:pt x="866" y="1830"/>
                    </a:lnTo>
                    <a:lnTo>
                      <a:pt x="870" y="1834"/>
                    </a:lnTo>
                    <a:lnTo>
                      <a:pt x="876" y="1838"/>
                    </a:lnTo>
                    <a:lnTo>
                      <a:pt x="886" y="1840"/>
                    </a:lnTo>
                    <a:lnTo>
                      <a:pt x="894" y="1842"/>
                    </a:lnTo>
                    <a:lnTo>
                      <a:pt x="898" y="1842"/>
                    </a:lnTo>
                    <a:lnTo>
                      <a:pt x="900" y="1840"/>
                    </a:lnTo>
                    <a:lnTo>
                      <a:pt x="898" y="1832"/>
                    </a:lnTo>
                    <a:close/>
                    <a:moveTo>
                      <a:pt x="914" y="1822"/>
                    </a:moveTo>
                    <a:lnTo>
                      <a:pt x="914" y="1822"/>
                    </a:lnTo>
                    <a:lnTo>
                      <a:pt x="912" y="1824"/>
                    </a:lnTo>
                    <a:lnTo>
                      <a:pt x="914" y="1826"/>
                    </a:lnTo>
                    <a:lnTo>
                      <a:pt x="918" y="1824"/>
                    </a:lnTo>
                    <a:lnTo>
                      <a:pt x="924" y="1820"/>
                    </a:lnTo>
                    <a:lnTo>
                      <a:pt x="926" y="1820"/>
                    </a:lnTo>
                    <a:lnTo>
                      <a:pt x="926" y="1818"/>
                    </a:lnTo>
                    <a:lnTo>
                      <a:pt x="922" y="1816"/>
                    </a:lnTo>
                    <a:lnTo>
                      <a:pt x="918" y="1816"/>
                    </a:lnTo>
                    <a:lnTo>
                      <a:pt x="914" y="1822"/>
                    </a:lnTo>
                    <a:close/>
                    <a:moveTo>
                      <a:pt x="868" y="1848"/>
                    </a:moveTo>
                    <a:lnTo>
                      <a:pt x="868" y="1848"/>
                    </a:lnTo>
                    <a:lnTo>
                      <a:pt x="866" y="1850"/>
                    </a:lnTo>
                    <a:lnTo>
                      <a:pt x="868" y="1852"/>
                    </a:lnTo>
                    <a:lnTo>
                      <a:pt x="872" y="1854"/>
                    </a:lnTo>
                    <a:lnTo>
                      <a:pt x="876" y="1854"/>
                    </a:lnTo>
                    <a:lnTo>
                      <a:pt x="880" y="1854"/>
                    </a:lnTo>
                    <a:lnTo>
                      <a:pt x="878" y="1852"/>
                    </a:lnTo>
                    <a:lnTo>
                      <a:pt x="876" y="1848"/>
                    </a:lnTo>
                    <a:lnTo>
                      <a:pt x="872" y="1848"/>
                    </a:lnTo>
                    <a:lnTo>
                      <a:pt x="868" y="1848"/>
                    </a:lnTo>
                    <a:close/>
                    <a:moveTo>
                      <a:pt x="1030" y="1820"/>
                    </a:moveTo>
                    <a:lnTo>
                      <a:pt x="1030" y="1820"/>
                    </a:lnTo>
                    <a:lnTo>
                      <a:pt x="1032" y="1818"/>
                    </a:lnTo>
                    <a:lnTo>
                      <a:pt x="1034" y="1814"/>
                    </a:lnTo>
                    <a:lnTo>
                      <a:pt x="1032" y="1810"/>
                    </a:lnTo>
                    <a:lnTo>
                      <a:pt x="1030" y="1808"/>
                    </a:lnTo>
                    <a:lnTo>
                      <a:pt x="1022" y="1802"/>
                    </a:lnTo>
                    <a:lnTo>
                      <a:pt x="1018" y="1800"/>
                    </a:lnTo>
                    <a:lnTo>
                      <a:pt x="1016" y="1802"/>
                    </a:lnTo>
                    <a:lnTo>
                      <a:pt x="1014" y="1806"/>
                    </a:lnTo>
                    <a:lnTo>
                      <a:pt x="1016" y="1812"/>
                    </a:lnTo>
                    <a:lnTo>
                      <a:pt x="1022" y="1818"/>
                    </a:lnTo>
                    <a:lnTo>
                      <a:pt x="1026" y="1820"/>
                    </a:lnTo>
                    <a:lnTo>
                      <a:pt x="1030" y="1820"/>
                    </a:lnTo>
                    <a:close/>
                    <a:moveTo>
                      <a:pt x="952" y="1846"/>
                    </a:moveTo>
                    <a:lnTo>
                      <a:pt x="952" y="1846"/>
                    </a:lnTo>
                    <a:lnTo>
                      <a:pt x="952" y="1848"/>
                    </a:lnTo>
                    <a:lnTo>
                      <a:pt x="954" y="1850"/>
                    </a:lnTo>
                    <a:lnTo>
                      <a:pt x="954" y="1854"/>
                    </a:lnTo>
                    <a:lnTo>
                      <a:pt x="954" y="1856"/>
                    </a:lnTo>
                    <a:lnTo>
                      <a:pt x="952" y="1858"/>
                    </a:lnTo>
                    <a:lnTo>
                      <a:pt x="952" y="1860"/>
                    </a:lnTo>
                    <a:lnTo>
                      <a:pt x="960" y="1866"/>
                    </a:lnTo>
                    <a:lnTo>
                      <a:pt x="962" y="1866"/>
                    </a:lnTo>
                    <a:lnTo>
                      <a:pt x="964" y="1866"/>
                    </a:lnTo>
                    <a:lnTo>
                      <a:pt x="964" y="1864"/>
                    </a:lnTo>
                    <a:lnTo>
                      <a:pt x="964" y="1862"/>
                    </a:lnTo>
                    <a:lnTo>
                      <a:pt x="966" y="1860"/>
                    </a:lnTo>
                    <a:lnTo>
                      <a:pt x="968" y="1858"/>
                    </a:lnTo>
                    <a:lnTo>
                      <a:pt x="972" y="1862"/>
                    </a:lnTo>
                    <a:lnTo>
                      <a:pt x="976" y="1864"/>
                    </a:lnTo>
                    <a:lnTo>
                      <a:pt x="976" y="1862"/>
                    </a:lnTo>
                    <a:lnTo>
                      <a:pt x="976" y="1860"/>
                    </a:lnTo>
                    <a:lnTo>
                      <a:pt x="972" y="1858"/>
                    </a:lnTo>
                    <a:lnTo>
                      <a:pt x="972" y="1856"/>
                    </a:lnTo>
                    <a:lnTo>
                      <a:pt x="972" y="1854"/>
                    </a:lnTo>
                    <a:lnTo>
                      <a:pt x="974" y="1850"/>
                    </a:lnTo>
                    <a:lnTo>
                      <a:pt x="974" y="1846"/>
                    </a:lnTo>
                    <a:lnTo>
                      <a:pt x="972" y="1846"/>
                    </a:lnTo>
                    <a:lnTo>
                      <a:pt x="970" y="1844"/>
                    </a:lnTo>
                    <a:lnTo>
                      <a:pt x="966" y="1842"/>
                    </a:lnTo>
                    <a:lnTo>
                      <a:pt x="964" y="1840"/>
                    </a:lnTo>
                    <a:lnTo>
                      <a:pt x="960" y="1838"/>
                    </a:lnTo>
                    <a:lnTo>
                      <a:pt x="956" y="1840"/>
                    </a:lnTo>
                    <a:lnTo>
                      <a:pt x="954" y="1842"/>
                    </a:lnTo>
                    <a:lnTo>
                      <a:pt x="958" y="1844"/>
                    </a:lnTo>
                    <a:lnTo>
                      <a:pt x="964" y="1846"/>
                    </a:lnTo>
                    <a:lnTo>
                      <a:pt x="966" y="1848"/>
                    </a:lnTo>
                    <a:lnTo>
                      <a:pt x="964" y="1850"/>
                    </a:lnTo>
                    <a:lnTo>
                      <a:pt x="960" y="1850"/>
                    </a:lnTo>
                    <a:lnTo>
                      <a:pt x="952" y="1846"/>
                    </a:lnTo>
                    <a:close/>
                    <a:moveTo>
                      <a:pt x="862" y="1678"/>
                    </a:moveTo>
                    <a:lnTo>
                      <a:pt x="862" y="1678"/>
                    </a:lnTo>
                    <a:lnTo>
                      <a:pt x="864" y="1678"/>
                    </a:lnTo>
                    <a:lnTo>
                      <a:pt x="868" y="1678"/>
                    </a:lnTo>
                    <a:lnTo>
                      <a:pt x="872" y="1674"/>
                    </a:lnTo>
                    <a:lnTo>
                      <a:pt x="872" y="1672"/>
                    </a:lnTo>
                    <a:lnTo>
                      <a:pt x="868" y="1672"/>
                    </a:lnTo>
                    <a:lnTo>
                      <a:pt x="864" y="1674"/>
                    </a:lnTo>
                    <a:lnTo>
                      <a:pt x="862" y="1678"/>
                    </a:lnTo>
                    <a:close/>
                    <a:moveTo>
                      <a:pt x="860" y="1816"/>
                    </a:moveTo>
                    <a:lnTo>
                      <a:pt x="860" y="1816"/>
                    </a:lnTo>
                    <a:lnTo>
                      <a:pt x="860" y="1814"/>
                    </a:lnTo>
                    <a:lnTo>
                      <a:pt x="860" y="1812"/>
                    </a:lnTo>
                    <a:lnTo>
                      <a:pt x="858" y="1814"/>
                    </a:lnTo>
                    <a:lnTo>
                      <a:pt x="856" y="1818"/>
                    </a:lnTo>
                    <a:lnTo>
                      <a:pt x="850" y="1826"/>
                    </a:lnTo>
                    <a:lnTo>
                      <a:pt x="848" y="1830"/>
                    </a:lnTo>
                    <a:lnTo>
                      <a:pt x="848" y="1834"/>
                    </a:lnTo>
                    <a:lnTo>
                      <a:pt x="850" y="1836"/>
                    </a:lnTo>
                    <a:lnTo>
                      <a:pt x="852" y="1836"/>
                    </a:lnTo>
                    <a:lnTo>
                      <a:pt x="854" y="1830"/>
                    </a:lnTo>
                    <a:lnTo>
                      <a:pt x="860" y="1816"/>
                    </a:lnTo>
                    <a:close/>
                    <a:moveTo>
                      <a:pt x="1100" y="2508"/>
                    </a:moveTo>
                    <a:lnTo>
                      <a:pt x="1100" y="2508"/>
                    </a:lnTo>
                    <a:lnTo>
                      <a:pt x="1102" y="2508"/>
                    </a:lnTo>
                    <a:lnTo>
                      <a:pt x="1100" y="2506"/>
                    </a:lnTo>
                    <a:lnTo>
                      <a:pt x="1094" y="2504"/>
                    </a:lnTo>
                    <a:lnTo>
                      <a:pt x="1086" y="2504"/>
                    </a:lnTo>
                    <a:lnTo>
                      <a:pt x="1084" y="2504"/>
                    </a:lnTo>
                    <a:lnTo>
                      <a:pt x="1084" y="2506"/>
                    </a:lnTo>
                    <a:lnTo>
                      <a:pt x="1086" y="2508"/>
                    </a:lnTo>
                    <a:lnTo>
                      <a:pt x="1092" y="2510"/>
                    </a:lnTo>
                    <a:lnTo>
                      <a:pt x="1096" y="2510"/>
                    </a:lnTo>
                    <a:lnTo>
                      <a:pt x="1100" y="2508"/>
                    </a:lnTo>
                    <a:close/>
                    <a:moveTo>
                      <a:pt x="1092" y="2518"/>
                    </a:moveTo>
                    <a:lnTo>
                      <a:pt x="1092" y="2518"/>
                    </a:lnTo>
                    <a:lnTo>
                      <a:pt x="1108" y="2520"/>
                    </a:lnTo>
                    <a:lnTo>
                      <a:pt x="1110" y="2518"/>
                    </a:lnTo>
                    <a:lnTo>
                      <a:pt x="1108" y="2516"/>
                    </a:lnTo>
                    <a:lnTo>
                      <a:pt x="1100" y="2514"/>
                    </a:lnTo>
                    <a:lnTo>
                      <a:pt x="1086" y="2514"/>
                    </a:lnTo>
                    <a:lnTo>
                      <a:pt x="1084" y="2514"/>
                    </a:lnTo>
                    <a:lnTo>
                      <a:pt x="1082" y="2516"/>
                    </a:lnTo>
                    <a:lnTo>
                      <a:pt x="1092" y="2518"/>
                    </a:lnTo>
                    <a:close/>
                    <a:moveTo>
                      <a:pt x="1108" y="1672"/>
                    </a:moveTo>
                    <a:lnTo>
                      <a:pt x="1108" y="1672"/>
                    </a:lnTo>
                    <a:lnTo>
                      <a:pt x="1106" y="1672"/>
                    </a:lnTo>
                    <a:lnTo>
                      <a:pt x="1104" y="1674"/>
                    </a:lnTo>
                    <a:lnTo>
                      <a:pt x="1102" y="1682"/>
                    </a:lnTo>
                    <a:lnTo>
                      <a:pt x="1100" y="1692"/>
                    </a:lnTo>
                    <a:lnTo>
                      <a:pt x="1094" y="1700"/>
                    </a:lnTo>
                    <a:lnTo>
                      <a:pt x="1090" y="1710"/>
                    </a:lnTo>
                    <a:lnTo>
                      <a:pt x="1086" y="1722"/>
                    </a:lnTo>
                    <a:lnTo>
                      <a:pt x="1084" y="1734"/>
                    </a:lnTo>
                    <a:lnTo>
                      <a:pt x="1084" y="1740"/>
                    </a:lnTo>
                    <a:lnTo>
                      <a:pt x="1086" y="1744"/>
                    </a:lnTo>
                    <a:lnTo>
                      <a:pt x="1090" y="1734"/>
                    </a:lnTo>
                    <a:lnTo>
                      <a:pt x="1100" y="1708"/>
                    </a:lnTo>
                    <a:lnTo>
                      <a:pt x="1108" y="1684"/>
                    </a:lnTo>
                    <a:lnTo>
                      <a:pt x="1110" y="1676"/>
                    </a:lnTo>
                    <a:lnTo>
                      <a:pt x="1110" y="1674"/>
                    </a:lnTo>
                    <a:lnTo>
                      <a:pt x="1108" y="1672"/>
                    </a:lnTo>
                    <a:close/>
                    <a:moveTo>
                      <a:pt x="1804" y="2938"/>
                    </a:moveTo>
                    <a:lnTo>
                      <a:pt x="1804" y="2938"/>
                    </a:lnTo>
                    <a:lnTo>
                      <a:pt x="1810" y="2932"/>
                    </a:lnTo>
                    <a:lnTo>
                      <a:pt x="1812" y="2928"/>
                    </a:lnTo>
                    <a:lnTo>
                      <a:pt x="1808" y="2930"/>
                    </a:lnTo>
                    <a:lnTo>
                      <a:pt x="1800" y="2934"/>
                    </a:lnTo>
                    <a:lnTo>
                      <a:pt x="1790" y="2940"/>
                    </a:lnTo>
                    <a:lnTo>
                      <a:pt x="1776" y="2946"/>
                    </a:lnTo>
                    <a:lnTo>
                      <a:pt x="1768" y="2946"/>
                    </a:lnTo>
                    <a:lnTo>
                      <a:pt x="1760" y="2944"/>
                    </a:lnTo>
                    <a:lnTo>
                      <a:pt x="1754" y="2944"/>
                    </a:lnTo>
                    <a:lnTo>
                      <a:pt x="1750" y="2944"/>
                    </a:lnTo>
                    <a:lnTo>
                      <a:pt x="1748" y="2946"/>
                    </a:lnTo>
                    <a:lnTo>
                      <a:pt x="1748" y="2948"/>
                    </a:lnTo>
                    <a:lnTo>
                      <a:pt x="1748" y="2954"/>
                    </a:lnTo>
                    <a:lnTo>
                      <a:pt x="1746" y="2954"/>
                    </a:lnTo>
                    <a:lnTo>
                      <a:pt x="1742" y="2954"/>
                    </a:lnTo>
                    <a:lnTo>
                      <a:pt x="1736" y="2954"/>
                    </a:lnTo>
                    <a:lnTo>
                      <a:pt x="1732" y="2958"/>
                    </a:lnTo>
                    <a:lnTo>
                      <a:pt x="1730" y="2960"/>
                    </a:lnTo>
                    <a:lnTo>
                      <a:pt x="1726" y="2960"/>
                    </a:lnTo>
                    <a:lnTo>
                      <a:pt x="1722" y="2960"/>
                    </a:lnTo>
                    <a:lnTo>
                      <a:pt x="1722" y="2962"/>
                    </a:lnTo>
                    <a:lnTo>
                      <a:pt x="1726" y="2974"/>
                    </a:lnTo>
                    <a:lnTo>
                      <a:pt x="1728" y="2978"/>
                    </a:lnTo>
                    <a:lnTo>
                      <a:pt x="1732" y="2980"/>
                    </a:lnTo>
                    <a:lnTo>
                      <a:pt x="1736" y="2982"/>
                    </a:lnTo>
                    <a:lnTo>
                      <a:pt x="1742" y="2982"/>
                    </a:lnTo>
                    <a:lnTo>
                      <a:pt x="1748" y="2982"/>
                    </a:lnTo>
                    <a:lnTo>
                      <a:pt x="1750" y="2984"/>
                    </a:lnTo>
                    <a:lnTo>
                      <a:pt x="1752" y="2986"/>
                    </a:lnTo>
                    <a:lnTo>
                      <a:pt x="1754" y="2984"/>
                    </a:lnTo>
                    <a:lnTo>
                      <a:pt x="1754" y="2982"/>
                    </a:lnTo>
                    <a:lnTo>
                      <a:pt x="1756" y="2980"/>
                    </a:lnTo>
                    <a:lnTo>
                      <a:pt x="1764" y="2978"/>
                    </a:lnTo>
                    <a:lnTo>
                      <a:pt x="1770" y="2976"/>
                    </a:lnTo>
                    <a:lnTo>
                      <a:pt x="1774" y="2974"/>
                    </a:lnTo>
                    <a:lnTo>
                      <a:pt x="1776" y="2970"/>
                    </a:lnTo>
                    <a:lnTo>
                      <a:pt x="1780" y="2966"/>
                    </a:lnTo>
                    <a:lnTo>
                      <a:pt x="1782" y="2964"/>
                    </a:lnTo>
                    <a:lnTo>
                      <a:pt x="1790" y="2964"/>
                    </a:lnTo>
                    <a:lnTo>
                      <a:pt x="1794" y="2964"/>
                    </a:lnTo>
                    <a:lnTo>
                      <a:pt x="1796" y="2962"/>
                    </a:lnTo>
                    <a:lnTo>
                      <a:pt x="1794" y="2960"/>
                    </a:lnTo>
                    <a:lnTo>
                      <a:pt x="1790" y="2954"/>
                    </a:lnTo>
                    <a:lnTo>
                      <a:pt x="1790" y="2950"/>
                    </a:lnTo>
                    <a:lnTo>
                      <a:pt x="1796" y="2944"/>
                    </a:lnTo>
                    <a:lnTo>
                      <a:pt x="1804" y="2938"/>
                    </a:lnTo>
                    <a:close/>
                    <a:moveTo>
                      <a:pt x="1538" y="2902"/>
                    </a:moveTo>
                    <a:lnTo>
                      <a:pt x="1538" y="2902"/>
                    </a:lnTo>
                    <a:lnTo>
                      <a:pt x="1540" y="2906"/>
                    </a:lnTo>
                    <a:lnTo>
                      <a:pt x="1538" y="2910"/>
                    </a:lnTo>
                    <a:lnTo>
                      <a:pt x="1538" y="2914"/>
                    </a:lnTo>
                    <a:lnTo>
                      <a:pt x="1542" y="2918"/>
                    </a:lnTo>
                    <a:lnTo>
                      <a:pt x="1544" y="2918"/>
                    </a:lnTo>
                    <a:lnTo>
                      <a:pt x="1548" y="2914"/>
                    </a:lnTo>
                    <a:lnTo>
                      <a:pt x="1554" y="2904"/>
                    </a:lnTo>
                    <a:lnTo>
                      <a:pt x="1558" y="2894"/>
                    </a:lnTo>
                    <a:lnTo>
                      <a:pt x="1560" y="2888"/>
                    </a:lnTo>
                    <a:lnTo>
                      <a:pt x="1560" y="2886"/>
                    </a:lnTo>
                    <a:lnTo>
                      <a:pt x="1558" y="2886"/>
                    </a:lnTo>
                    <a:lnTo>
                      <a:pt x="1554" y="2886"/>
                    </a:lnTo>
                    <a:lnTo>
                      <a:pt x="1546" y="2892"/>
                    </a:lnTo>
                    <a:lnTo>
                      <a:pt x="1540" y="2898"/>
                    </a:lnTo>
                    <a:lnTo>
                      <a:pt x="1538" y="2900"/>
                    </a:lnTo>
                    <a:lnTo>
                      <a:pt x="1538" y="2902"/>
                    </a:lnTo>
                    <a:close/>
                    <a:moveTo>
                      <a:pt x="644" y="1508"/>
                    </a:moveTo>
                    <a:lnTo>
                      <a:pt x="644" y="1508"/>
                    </a:lnTo>
                    <a:lnTo>
                      <a:pt x="646" y="1510"/>
                    </a:lnTo>
                    <a:lnTo>
                      <a:pt x="648" y="1508"/>
                    </a:lnTo>
                    <a:lnTo>
                      <a:pt x="650" y="1500"/>
                    </a:lnTo>
                    <a:lnTo>
                      <a:pt x="650" y="1498"/>
                    </a:lnTo>
                    <a:lnTo>
                      <a:pt x="646" y="1498"/>
                    </a:lnTo>
                    <a:lnTo>
                      <a:pt x="640" y="1500"/>
                    </a:lnTo>
                    <a:lnTo>
                      <a:pt x="636" y="1504"/>
                    </a:lnTo>
                    <a:lnTo>
                      <a:pt x="634" y="1510"/>
                    </a:lnTo>
                    <a:lnTo>
                      <a:pt x="636" y="1514"/>
                    </a:lnTo>
                    <a:lnTo>
                      <a:pt x="638" y="1516"/>
                    </a:lnTo>
                    <a:lnTo>
                      <a:pt x="642" y="1518"/>
                    </a:lnTo>
                    <a:lnTo>
                      <a:pt x="644" y="1516"/>
                    </a:lnTo>
                    <a:lnTo>
                      <a:pt x="644" y="1514"/>
                    </a:lnTo>
                    <a:lnTo>
                      <a:pt x="642" y="1508"/>
                    </a:lnTo>
                    <a:lnTo>
                      <a:pt x="640" y="1506"/>
                    </a:lnTo>
                    <a:lnTo>
                      <a:pt x="644" y="1508"/>
                    </a:lnTo>
                    <a:close/>
                    <a:moveTo>
                      <a:pt x="632" y="1558"/>
                    </a:moveTo>
                    <a:lnTo>
                      <a:pt x="632" y="1558"/>
                    </a:lnTo>
                    <a:lnTo>
                      <a:pt x="634" y="1556"/>
                    </a:lnTo>
                    <a:lnTo>
                      <a:pt x="634" y="1554"/>
                    </a:lnTo>
                    <a:lnTo>
                      <a:pt x="634" y="1548"/>
                    </a:lnTo>
                    <a:lnTo>
                      <a:pt x="630" y="1544"/>
                    </a:lnTo>
                    <a:lnTo>
                      <a:pt x="630" y="1546"/>
                    </a:lnTo>
                    <a:lnTo>
                      <a:pt x="630" y="1554"/>
                    </a:lnTo>
                    <a:lnTo>
                      <a:pt x="630" y="1558"/>
                    </a:lnTo>
                    <a:lnTo>
                      <a:pt x="632" y="1558"/>
                    </a:lnTo>
                    <a:close/>
                    <a:moveTo>
                      <a:pt x="628" y="1528"/>
                    </a:moveTo>
                    <a:lnTo>
                      <a:pt x="628" y="1528"/>
                    </a:lnTo>
                    <a:lnTo>
                      <a:pt x="630" y="1528"/>
                    </a:lnTo>
                    <a:lnTo>
                      <a:pt x="630" y="1526"/>
                    </a:lnTo>
                    <a:lnTo>
                      <a:pt x="632" y="1522"/>
                    </a:lnTo>
                    <a:lnTo>
                      <a:pt x="632" y="1520"/>
                    </a:lnTo>
                    <a:lnTo>
                      <a:pt x="634" y="1520"/>
                    </a:lnTo>
                    <a:lnTo>
                      <a:pt x="634" y="1522"/>
                    </a:lnTo>
                    <a:lnTo>
                      <a:pt x="636" y="1522"/>
                    </a:lnTo>
                    <a:lnTo>
                      <a:pt x="638" y="1522"/>
                    </a:lnTo>
                    <a:lnTo>
                      <a:pt x="638" y="1520"/>
                    </a:lnTo>
                    <a:lnTo>
                      <a:pt x="636" y="1518"/>
                    </a:lnTo>
                    <a:lnTo>
                      <a:pt x="632" y="1514"/>
                    </a:lnTo>
                    <a:lnTo>
                      <a:pt x="628" y="1512"/>
                    </a:lnTo>
                    <a:lnTo>
                      <a:pt x="628" y="1516"/>
                    </a:lnTo>
                    <a:lnTo>
                      <a:pt x="628" y="1528"/>
                    </a:lnTo>
                    <a:close/>
                    <a:moveTo>
                      <a:pt x="1186" y="1636"/>
                    </a:moveTo>
                    <a:lnTo>
                      <a:pt x="1186" y="1636"/>
                    </a:lnTo>
                    <a:lnTo>
                      <a:pt x="1180" y="1640"/>
                    </a:lnTo>
                    <a:lnTo>
                      <a:pt x="1176" y="1638"/>
                    </a:lnTo>
                    <a:lnTo>
                      <a:pt x="1174" y="1638"/>
                    </a:lnTo>
                    <a:lnTo>
                      <a:pt x="1164" y="1646"/>
                    </a:lnTo>
                    <a:lnTo>
                      <a:pt x="1156" y="1656"/>
                    </a:lnTo>
                    <a:lnTo>
                      <a:pt x="1150" y="1666"/>
                    </a:lnTo>
                    <a:lnTo>
                      <a:pt x="1150" y="1676"/>
                    </a:lnTo>
                    <a:lnTo>
                      <a:pt x="1154" y="1682"/>
                    </a:lnTo>
                    <a:lnTo>
                      <a:pt x="1154" y="1686"/>
                    </a:lnTo>
                    <a:lnTo>
                      <a:pt x="1154" y="1690"/>
                    </a:lnTo>
                    <a:lnTo>
                      <a:pt x="1154" y="1696"/>
                    </a:lnTo>
                    <a:lnTo>
                      <a:pt x="1154" y="1700"/>
                    </a:lnTo>
                    <a:lnTo>
                      <a:pt x="1158" y="1700"/>
                    </a:lnTo>
                    <a:lnTo>
                      <a:pt x="1162" y="1696"/>
                    </a:lnTo>
                    <a:lnTo>
                      <a:pt x="1166" y="1690"/>
                    </a:lnTo>
                    <a:lnTo>
                      <a:pt x="1170" y="1682"/>
                    </a:lnTo>
                    <a:lnTo>
                      <a:pt x="1178" y="1674"/>
                    </a:lnTo>
                    <a:lnTo>
                      <a:pt x="1182" y="1670"/>
                    </a:lnTo>
                    <a:lnTo>
                      <a:pt x="1184" y="1666"/>
                    </a:lnTo>
                    <a:lnTo>
                      <a:pt x="1182" y="1662"/>
                    </a:lnTo>
                    <a:lnTo>
                      <a:pt x="1180" y="1658"/>
                    </a:lnTo>
                    <a:lnTo>
                      <a:pt x="1180" y="1656"/>
                    </a:lnTo>
                    <a:lnTo>
                      <a:pt x="1182" y="1652"/>
                    </a:lnTo>
                    <a:lnTo>
                      <a:pt x="1186" y="1646"/>
                    </a:lnTo>
                    <a:lnTo>
                      <a:pt x="1194" y="1638"/>
                    </a:lnTo>
                    <a:lnTo>
                      <a:pt x="1198" y="1632"/>
                    </a:lnTo>
                    <a:lnTo>
                      <a:pt x="1196" y="1630"/>
                    </a:lnTo>
                    <a:lnTo>
                      <a:pt x="1194" y="1632"/>
                    </a:lnTo>
                    <a:lnTo>
                      <a:pt x="1186" y="1636"/>
                    </a:lnTo>
                    <a:close/>
                    <a:moveTo>
                      <a:pt x="1058" y="962"/>
                    </a:moveTo>
                    <a:lnTo>
                      <a:pt x="1058" y="962"/>
                    </a:lnTo>
                    <a:lnTo>
                      <a:pt x="1050" y="960"/>
                    </a:lnTo>
                    <a:lnTo>
                      <a:pt x="1048" y="962"/>
                    </a:lnTo>
                    <a:lnTo>
                      <a:pt x="1046" y="964"/>
                    </a:lnTo>
                    <a:lnTo>
                      <a:pt x="1048" y="964"/>
                    </a:lnTo>
                    <a:lnTo>
                      <a:pt x="1054" y="964"/>
                    </a:lnTo>
                    <a:lnTo>
                      <a:pt x="1058" y="962"/>
                    </a:lnTo>
                    <a:close/>
                    <a:moveTo>
                      <a:pt x="1366" y="1568"/>
                    </a:moveTo>
                    <a:lnTo>
                      <a:pt x="1366" y="1568"/>
                    </a:lnTo>
                    <a:lnTo>
                      <a:pt x="1364" y="1566"/>
                    </a:lnTo>
                    <a:lnTo>
                      <a:pt x="1360" y="1564"/>
                    </a:lnTo>
                    <a:lnTo>
                      <a:pt x="1356" y="1564"/>
                    </a:lnTo>
                    <a:lnTo>
                      <a:pt x="1354" y="1566"/>
                    </a:lnTo>
                    <a:lnTo>
                      <a:pt x="1356" y="1568"/>
                    </a:lnTo>
                    <a:lnTo>
                      <a:pt x="1360" y="1570"/>
                    </a:lnTo>
                    <a:lnTo>
                      <a:pt x="1364" y="1570"/>
                    </a:lnTo>
                    <a:lnTo>
                      <a:pt x="1366" y="1568"/>
                    </a:lnTo>
                    <a:close/>
                    <a:moveTo>
                      <a:pt x="1332" y="1588"/>
                    </a:moveTo>
                    <a:lnTo>
                      <a:pt x="1332" y="1588"/>
                    </a:lnTo>
                    <a:lnTo>
                      <a:pt x="1336" y="1586"/>
                    </a:lnTo>
                    <a:lnTo>
                      <a:pt x="1338" y="1584"/>
                    </a:lnTo>
                    <a:lnTo>
                      <a:pt x="1338" y="1582"/>
                    </a:lnTo>
                    <a:lnTo>
                      <a:pt x="1342" y="1580"/>
                    </a:lnTo>
                    <a:lnTo>
                      <a:pt x="1344" y="1582"/>
                    </a:lnTo>
                    <a:lnTo>
                      <a:pt x="1346" y="1580"/>
                    </a:lnTo>
                    <a:lnTo>
                      <a:pt x="1346" y="1578"/>
                    </a:lnTo>
                    <a:lnTo>
                      <a:pt x="1348" y="1578"/>
                    </a:lnTo>
                    <a:lnTo>
                      <a:pt x="1350" y="1578"/>
                    </a:lnTo>
                    <a:lnTo>
                      <a:pt x="1352" y="1576"/>
                    </a:lnTo>
                    <a:lnTo>
                      <a:pt x="1350" y="1574"/>
                    </a:lnTo>
                    <a:lnTo>
                      <a:pt x="1346" y="1570"/>
                    </a:lnTo>
                    <a:lnTo>
                      <a:pt x="1336" y="1562"/>
                    </a:lnTo>
                    <a:lnTo>
                      <a:pt x="1334" y="1562"/>
                    </a:lnTo>
                    <a:lnTo>
                      <a:pt x="1330" y="1566"/>
                    </a:lnTo>
                    <a:lnTo>
                      <a:pt x="1326" y="1568"/>
                    </a:lnTo>
                    <a:lnTo>
                      <a:pt x="1320" y="1570"/>
                    </a:lnTo>
                    <a:lnTo>
                      <a:pt x="1316" y="1570"/>
                    </a:lnTo>
                    <a:lnTo>
                      <a:pt x="1312" y="1570"/>
                    </a:lnTo>
                    <a:lnTo>
                      <a:pt x="1310" y="1572"/>
                    </a:lnTo>
                    <a:lnTo>
                      <a:pt x="1312" y="1574"/>
                    </a:lnTo>
                    <a:lnTo>
                      <a:pt x="1322" y="1574"/>
                    </a:lnTo>
                    <a:lnTo>
                      <a:pt x="1324" y="1574"/>
                    </a:lnTo>
                    <a:lnTo>
                      <a:pt x="1326" y="1576"/>
                    </a:lnTo>
                    <a:lnTo>
                      <a:pt x="1326" y="1580"/>
                    </a:lnTo>
                    <a:lnTo>
                      <a:pt x="1328" y="1584"/>
                    </a:lnTo>
                    <a:lnTo>
                      <a:pt x="1330" y="1586"/>
                    </a:lnTo>
                    <a:lnTo>
                      <a:pt x="1332" y="1588"/>
                    </a:lnTo>
                    <a:close/>
                    <a:moveTo>
                      <a:pt x="1306" y="1608"/>
                    </a:moveTo>
                    <a:lnTo>
                      <a:pt x="1306" y="1608"/>
                    </a:lnTo>
                    <a:lnTo>
                      <a:pt x="1304" y="1610"/>
                    </a:lnTo>
                    <a:lnTo>
                      <a:pt x="1302" y="1612"/>
                    </a:lnTo>
                    <a:lnTo>
                      <a:pt x="1304" y="1616"/>
                    </a:lnTo>
                    <a:lnTo>
                      <a:pt x="1310" y="1618"/>
                    </a:lnTo>
                    <a:lnTo>
                      <a:pt x="1316" y="1622"/>
                    </a:lnTo>
                    <a:lnTo>
                      <a:pt x="1316" y="1624"/>
                    </a:lnTo>
                    <a:lnTo>
                      <a:pt x="1312" y="1628"/>
                    </a:lnTo>
                    <a:lnTo>
                      <a:pt x="1308" y="1630"/>
                    </a:lnTo>
                    <a:lnTo>
                      <a:pt x="1308" y="1634"/>
                    </a:lnTo>
                    <a:lnTo>
                      <a:pt x="1308" y="1636"/>
                    </a:lnTo>
                    <a:lnTo>
                      <a:pt x="1314" y="1636"/>
                    </a:lnTo>
                    <a:lnTo>
                      <a:pt x="1316" y="1634"/>
                    </a:lnTo>
                    <a:lnTo>
                      <a:pt x="1318" y="1630"/>
                    </a:lnTo>
                    <a:lnTo>
                      <a:pt x="1322" y="1620"/>
                    </a:lnTo>
                    <a:lnTo>
                      <a:pt x="1326" y="1618"/>
                    </a:lnTo>
                    <a:lnTo>
                      <a:pt x="1328" y="1616"/>
                    </a:lnTo>
                    <a:lnTo>
                      <a:pt x="1330" y="1616"/>
                    </a:lnTo>
                    <a:lnTo>
                      <a:pt x="1334" y="1618"/>
                    </a:lnTo>
                    <a:lnTo>
                      <a:pt x="1340" y="1614"/>
                    </a:lnTo>
                    <a:lnTo>
                      <a:pt x="1348" y="1610"/>
                    </a:lnTo>
                    <a:lnTo>
                      <a:pt x="1352" y="1604"/>
                    </a:lnTo>
                    <a:lnTo>
                      <a:pt x="1356" y="1602"/>
                    </a:lnTo>
                    <a:lnTo>
                      <a:pt x="1358" y="1602"/>
                    </a:lnTo>
                    <a:lnTo>
                      <a:pt x="1358" y="1604"/>
                    </a:lnTo>
                    <a:lnTo>
                      <a:pt x="1362" y="1604"/>
                    </a:lnTo>
                    <a:lnTo>
                      <a:pt x="1364" y="1602"/>
                    </a:lnTo>
                    <a:lnTo>
                      <a:pt x="1362" y="1602"/>
                    </a:lnTo>
                    <a:lnTo>
                      <a:pt x="1354" y="1596"/>
                    </a:lnTo>
                    <a:lnTo>
                      <a:pt x="1348" y="1594"/>
                    </a:lnTo>
                    <a:lnTo>
                      <a:pt x="1342" y="1594"/>
                    </a:lnTo>
                    <a:lnTo>
                      <a:pt x="1338" y="1594"/>
                    </a:lnTo>
                    <a:lnTo>
                      <a:pt x="1334" y="1592"/>
                    </a:lnTo>
                    <a:lnTo>
                      <a:pt x="1330" y="1590"/>
                    </a:lnTo>
                    <a:lnTo>
                      <a:pt x="1324" y="1592"/>
                    </a:lnTo>
                    <a:lnTo>
                      <a:pt x="1318" y="1594"/>
                    </a:lnTo>
                    <a:lnTo>
                      <a:pt x="1314" y="1600"/>
                    </a:lnTo>
                    <a:lnTo>
                      <a:pt x="1312" y="1602"/>
                    </a:lnTo>
                    <a:lnTo>
                      <a:pt x="1310" y="1602"/>
                    </a:lnTo>
                    <a:lnTo>
                      <a:pt x="1308" y="1598"/>
                    </a:lnTo>
                    <a:lnTo>
                      <a:pt x="1304" y="1598"/>
                    </a:lnTo>
                    <a:lnTo>
                      <a:pt x="1304" y="1600"/>
                    </a:lnTo>
                    <a:lnTo>
                      <a:pt x="1306" y="1604"/>
                    </a:lnTo>
                    <a:lnTo>
                      <a:pt x="1308" y="1606"/>
                    </a:lnTo>
                    <a:lnTo>
                      <a:pt x="1308" y="1608"/>
                    </a:lnTo>
                    <a:lnTo>
                      <a:pt x="1306" y="1608"/>
                    </a:lnTo>
                    <a:close/>
                    <a:moveTo>
                      <a:pt x="1364" y="1596"/>
                    </a:moveTo>
                    <a:lnTo>
                      <a:pt x="1364" y="1596"/>
                    </a:lnTo>
                    <a:lnTo>
                      <a:pt x="1364" y="1592"/>
                    </a:lnTo>
                    <a:lnTo>
                      <a:pt x="1360" y="1590"/>
                    </a:lnTo>
                    <a:lnTo>
                      <a:pt x="1356" y="1588"/>
                    </a:lnTo>
                    <a:lnTo>
                      <a:pt x="1354" y="1588"/>
                    </a:lnTo>
                    <a:lnTo>
                      <a:pt x="1354" y="1592"/>
                    </a:lnTo>
                    <a:lnTo>
                      <a:pt x="1356" y="1596"/>
                    </a:lnTo>
                    <a:lnTo>
                      <a:pt x="1360" y="1598"/>
                    </a:lnTo>
                    <a:lnTo>
                      <a:pt x="1364" y="1596"/>
                    </a:lnTo>
                    <a:close/>
                    <a:moveTo>
                      <a:pt x="1102" y="2532"/>
                    </a:moveTo>
                    <a:lnTo>
                      <a:pt x="1102" y="2532"/>
                    </a:lnTo>
                    <a:lnTo>
                      <a:pt x="1110" y="2530"/>
                    </a:lnTo>
                    <a:lnTo>
                      <a:pt x="1112" y="2530"/>
                    </a:lnTo>
                    <a:lnTo>
                      <a:pt x="1110" y="2528"/>
                    </a:lnTo>
                    <a:lnTo>
                      <a:pt x="1098" y="2526"/>
                    </a:lnTo>
                    <a:lnTo>
                      <a:pt x="1092" y="2528"/>
                    </a:lnTo>
                    <a:lnTo>
                      <a:pt x="1094" y="2530"/>
                    </a:lnTo>
                    <a:lnTo>
                      <a:pt x="1096" y="2532"/>
                    </a:lnTo>
                    <a:lnTo>
                      <a:pt x="1102" y="2532"/>
                    </a:lnTo>
                    <a:close/>
                    <a:moveTo>
                      <a:pt x="470" y="2754"/>
                    </a:moveTo>
                    <a:lnTo>
                      <a:pt x="470" y="2754"/>
                    </a:lnTo>
                    <a:lnTo>
                      <a:pt x="472" y="2756"/>
                    </a:lnTo>
                    <a:lnTo>
                      <a:pt x="476" y="2756"/>
                    </a:lnTo>
                    <a:lnTo>
                      <a:pt x="482" y="2752"/>
                    </a:lnTo>
                    <a:lnTo>
                      <a:pt x="486" y="2746"/>
                    </a:lnTo>
                    <a:lnTo>
                      <a:pt x="486" y="2744"/>
                    </a:lnTo>
                    <a:lnTo>
                      <a:pt x="484" y="2740"/>
                    </a:lnTo>
                    <a:lnTo>
                      <a:pt x="482" y="2740"/>
                    </a:lnTo>
                    <a:lnTo>
                      <a:pt x="480" y="2740"/>
                    </a:lnTo>
                    <a:lnTo>
                      <a:pt x="474" y="2744"/>
                    </a:lnTo>
                    <a:lnTo>
                      <a:pt x="470" y="2750"/>
                    </a:lnTo>
                    <a:lnTo>
                      <a:pt x="470" y="2752"/>
                    </a:lnTo>
                    <a:lnTo>
                      <a:pt x="470" y="2754"/>
                    </a:lnTo>
                    <a:close/>
                    <a:moveTo>
                      <a:pt x="808" y="2632"/>
                    </a:moveTo>
                    <a:lnTo>
                      <a:pt x="808" y="2632"/>
                    </a:lnTo>
                    <a:lnTo>
                      <a:pt x="804" y="2628"/>
                    </a:lnTo>
                    <a:lnTo>
                      <a:pt x="802" y="2626"/>
                    </a:lnTo>
                    <a:lnTo>
                      <a:pt x="798" y="2624"/>
                    </a:lnTo>
                    <a:lnTo>
                      <a:pt x="794" y="2626"/>
                    </a:lnTo>
                    <a:lnTo>
                      <a:pt x="790" y="2628"/>
                    </a:lnTo>
                    <a:lnTo>
                      <a:pt x="776" y="2638"/>
                    </a:lnTo>
                    <a:lnTo>
                      <a:pt x="768" y="2644"/>
                    </a:lnTo>
                    <a:lnTo>
                      <a:pt x="762" y="2646"/>
                    </a:lnTo>
                    <a:lnTo>
                      <a:pt x="758" y="2644"/>
                    </a:lnTo>
                    <a:lnTo>
                      <a:pt x="756" y="2642"/>
                    </a:lnTo>
                    <a:lnTo>
                      <a:pt x="752" y="2640"/>
                    </a:lnTo>
                    <a:lnTo>
                      <a:pt x="750" y="2650"/>
                    </a:lnTo>
                    <a:lnTo>
                      <a:pt x="752" y="2654"/>
                    </a:lnTo>
                    <a:lnTo>
                      <a:pt x="752" y="2658"/>
                    </a:lnTo>
                    <a:lnTo>
                      <a:pt x="756" y="2664"/>
                    </a:lnTo>
                    <a:lnTo>
                      <a:pt x="760" y="2672"/>
                    </a:lnTo>
                    <a:lnTo>
                      <a:pt x="762" y="2678"/>
                    </a:lnTo>
                    <a:lnTo>
                      <a:pt x="762" y="2686"/>
                    </a:lnTo>
                    <a:lnTo>
                      <a:pt x="762" y="2694"/>
                    </a:lnTo>
                    <a:lnTo>
                      <a:pt x="764" y="2698"/>
                    </a:lnTo>
                    <a:lnTo>
                      <a:pt x="764" y="2702"/>
                    </a:lnTo>
                    <a:lnTo>
                      <a:pt x="762" y="2714"/>
                    </a:lnTo>
                    <a:lnTo>
                      <a:pt x="760" y="2728"/>
                    </a:lnTo>
                    <a:lnTo>
                      <a:pt x="764" y="2742"/>
                    </a:lnTo>
                    <a:lnTo>
                      <a:pt x="766" y="2746"/>
                    </a:lnTo>
                    <a:lnTo>
                      <a:pt x="770" y="2750"/>
                    </a:lnTo>
                    <a:lnTo>
                      <a:pt x="774" y="2752"/>
                    </a:lnTo>
                    <a:lnTo>
                      <a:pt x="778" y="2752"/>
                    </a:lnTo>
                    <a:lnTo>
                      <a:pt x="782" y="2752"/>
                    </a:lnTo>
                    <a:lnTo>
                      <a:pt x="784" y="2748"/>
                    </a:lnTo>
                    <a:lnTo>
                      <a:pt x="788" y="2742"/>
                    </a:lnTo>
                    <a:lnTo>
                      <a:pt x="790" y="2738"/>
                    </a:lnTo>
                    <a:lnTo>
                      <a:pt x="792" y="2736"/>
                    </a:lnTo>
                    <a:lnTo>
                      <a:pt x="796" y="2738"/>
                    </a:lnTo>
                    <a:lnTo>
                      <a:pt x="802" y="2740"/>
                    </a:lnTo>
                    <a:lnTo>
                      <a:pt x="806" y="2740"/>
                    </a:lnTo>
                    <a:lnTo>
                      <a:pt x="808" y="2736"/>
                    </a:lnTo>
                    <a:lnTo>
                      <a:pt x="810" y="2726"/>
                    </a:lnTo>
                    <a:lnTo>
                      <a:pt x="814" y="2708"/>
                    </a:lnTo>
                    <a:lnTo>
                      <a:pt x="816" y="2698"/>
                    </a:lnTo>
                    <a:lnTo>
                      <a:pt x="814" y="2690"/>
                    </a:lnTo>
                    <a:lnTo>
                      <a:pt x="812" y="2682"/>
                    </a:lnTo>
                    <a:lnTo>
                      <a:pt x="810" y="2678"/>
                    </a:lnTo>
                    <a:lnTo>
                      <a:pt x="814" y="2672"/>
                    </a:lnTo>
                    <a:lnTo>
                      <a:pt x="818" y="2668"/>
                    </a:lnTo>
                    <a:lnTo>
                      <a:pt x="818" y="2662"/>
                    </a:lnTo>
                    <a:lnTo>
                      <a:pt x="818" y="2652"/>
                    </a:lnTo>
                    <a:lnTo>
                      <a:pt x="814" y="2642"/>
                    </a:lnTo>
                    <a:lnTo>
                      <a:pt x="808" y="2632"/>
                    </a:lnTo>
                    <a:close/>
                    <a:moveTo>
                      <a:pt x="576" y="2694"/>
                    </a:moveTo>
                    <a:lnTo>
                      <a:pt x="576" y="2694"/>
                    </a:lnTo>
                    <a:lnTo>
                      <a:pt x="578" y="2696"/>
                    </a:lnTo>
                    <a:lnTo>
                      <a:pt x="580" y="2696"/>
                    </a:lnTo>
                    <a:lnTo>
                      <a:pt x="584" y="2696"/>
                    </a:lnTo>
                    <a:lnTo>
                      <a:pt x="588" y="2698"/>
                    </a:lnTo>
                    <a:lnTo>
                      <a:pt x="592" y="2702"/>
                    </a:lnTo>
                    <a:lnTo>
                      <a:pt x="594" y="2700"/>
                    </a:lnTo>
                    <a:lnTo>
                      <a:pt x="596" y="2698"/>
                    </a:lnTo>
                    <a:lnTo>
                      <a:pt x="594" y="2692"/>
                    </a:lnTo>
                    <a:lnTo>
                      <a:pt x="594" y="2690"/>
                    </a:lnTo>
                    <a:lnTo>
                      <a:pt x="590" y="2688"/>
                    </a:lnTo>
                    <a:lnTo>
                      <a:pt x="584" y="2686"/>
                    </a:lnTo>
                    <a:lnTo>
                      <a:pt x="578" y="2688"/>
                    </a:lnTo>
                    <a:lnTo>
                      <a:pt x="576" y="2690"/>
                    </a:lnTo>
                    <a:lnTo>
                      <a:pt x="576" y="2694"/>
                    </a:lnTo>
                    <a:close/>
                    <a:moveTo>
                      <a:pt x="1022" y="2792"/>
                    </a:moveTo>
                    <a:lnTo>
                      <a:pt x="1022" y="2792"/>
                    </a:lnTo>
                    <a:lnTo>
                      <a:pt x="1016" y="2792"/>
                    </a:lnTo>
                    <a:lnTo>
                      <a:pt x="1010" y="2794"/>
                    </a:lnTo>
                    <a:lnTo>
                      <a:pt x="998" y="2800"/>
                    </a:lnTo>
                    <a:lnTo>
                      <a:pt x="990" y="2802"/>
                    </a:lnTo>
                    <a:lnTo>
                      <a:pt x="982" y="2802"/>
                    </a:lnTo>
                    <a:lnTo>
                      <a:pt x="974" y="2800"/>
                    </a:lnTo>
                    <a:lnTo>
                      <a:pt x="966" y="2796"/>
                    </a:lnTo>
                    <a:lnTo>
                      <a:pt x="960" y="2790"/>
                    </a:lnTo>
                    <a:lnTo>
                      <a:pt x="954" y="2790"/>
                    </a:lnTo>
                    <a:lnTo>
                      <a:pt x="950" y="2792"/>
                    </a:lnTo>
                    <a:lnTo>
                      <a:pt x="948" y="2794"/>
                    </a:lnTo>
                    <a:lnTo>
                      <a:pt x="944" y="2800"/>
                    </a:lnTo>
                    <a:lnTo>
                      <a:pt x="942" y="2800"/>
                    </a:lnTo>
                    <a:lnTo>
                      <a:pt x="938" y="2794"/>
                    </a:lnTo>
                    <a:lnTo>
                      <a:pt x="936" y="2794"/>
                    </a:lnTo>
                    <a:lnTo>
                      <a:pt x="934" y="2792"/>
                    </a:lnTo>
                    <a:lnTo>
                      <a:pt x="930" y="2796"/>
                    </a:lnTo>
                    <a:lnTo>
                      <a:pt x="926" y="2802"/>
                    </a:lnTo>
                    <a:lnTo>
                      <a:pt x="924" y="2814"/>
                    </a:lnTo>
                    <a:lnTo>
                      <a:pt x="926" y="2820"/>
                    </a:lnTo>
                    <a:lnTo>
                      <a:pt x="930" y="2822"/>
                    </a:lnTo>
                    <a:lnTo>
                      <a:pt x="944" y="2828"/>
                    </a:lnTo>
                    <a:lnTo>
                      <a:pt x="954" y="2832"/>
                    </a:lnTo>
                    <a:lnTo>
                      <a:pt x="966" y="2840"/>
                    </a:lnTo>
                    <a:lnTo>
                      <a:pt x="976" y="2848"/>
                    </a:lnTo>
                    <a:lnTo>
                      <a:pt x="982" y="2850"/>
                    </a:lnTo>
                    <a:lnTo>
                      <a:pt x="986" y="2850"/>
                    </a:lnTo>
                    <a:lnTo>
                      <a:pt x="994" y="2852"/>
                    </a:lnTo>
                    <a:lnTo>
                      <a:pt x="1000" y="2858"/>
                    </a:lnTo>
                    <a:lnTo>
                      <a:pt x="1008" y="2864"/>
                    </a:lnTo>
                    <a:lnTo>
                      <a:pt x="1016" y="2870"/>
                    </a:lnTo>
                    <a:lnTo>
                      <a:pt x="1030" y="2874"/>
                    </a:lnTo>
                    <a:lnTo>
                      <a:pt x="1032" y="2874"/>
                    </a:lnTo>
                    <a:lnTo>
                      <a:pt x="1032" y="2870"/>
                    </a:lnTo>
                    <a:lnTo>
                      <a:pt x="1034" y="2862"/>
                    </a:lnTo>
                    <a:lnTo>
                      <a:pt x="1036" y="2852"/>
                    </a:lnTo>
                    <a:lnTo>
                      <a:pt x="1036" y="2844"/>
                    </a:lnTo>
                    <a:lnTo>
                      <a:pt x="1034" y="2840"/>
                    </a:lnTo>
                    <a:lnTo>
                      <a:pt x="1032" y="2838"/>
                    </a:lnTo>
                    <a:lnTo>
                      <a:pt x="1030" y="2834"/>
                    </a:lnTo>
                    <a:lnTo>
                      <a:pt x="1030" y="2828"/>
                    </a:lnTo>
                    <a:lnTo>
                      <a:pt x="1036" y="2814"/>
                    </a:lnTo>
                    <a:lnTo>
                      <a:pt x="1050" y="2788"/>
                    </a:lnTo>
                    <a:lnTo>
                      <a:pt x="1052" y="2786"/>
                    </a:lnTo>
                    <a:lnTo>
                      <a:pt x="1050" y="2784"/>
                    </a:lnTo>
                    <a:lnTo>
                      <a:pt x="1042" y="2788"/>
                    </a:lnTo>
                    <a:lnTo>
                      <a:pt x="1032" y="2792"/>
                    </a:lnTo>
                    <a:lnTo>
                      <a:pt x="1026" y="2792"/>
                    </a:lnTo>
                    <a:lnTo>
                      <a:pt x="1022" y="2792"/>
                    </a:lnTo>
                    <a:close/>
                    <a:moveTo>
                      <a:pt x="802" y="2526"/>
                    </a:moveTo>
                    <a:lnTo>
                      <a:pt x="802" y="2526"/>
                    </a:lnTo>
                    <a:lnTo>
                      <a:pt x="800" y="2524"/>
                    </a:lnTo>
                    <a:lnTo>
                      <a:pt x="800" y="2526"/>
                    </a:lnTo>
                    <a:lnTo>
                      <a:pt x="798" y="2534"/>
                    </a:lnTo>
                    <a:lnTo>
                      <a:pt x="798" y="2540"/>
                    </a:lnTo>
                    <a:lnTo>
                      <a:pt x="798" y="2542"/>
                    </a:lnTo>
                    <a:lnTo>
                      <a:pt x="794" y="2542"/>
                    </a:lnTo>
                    <a:lnTo>
                      <a:pt x="790" y="2542"/>
                    </a:lnTo>
                    <a:lnTo>
                      <a:pt x="788" y="2542"/>
                    </a:lnTo>
                    <a:lnTo>
                      <a:pt x="782" y="2546"/>
                    </a:lnTo>
                    <a:lnTo>
                      <a:pt x="778" y="2548"/>
                    </a:lnTo>
                    <a:lnTo>
                      <a:pt x="774" y="2550"/>
                    </a:lnTo>
                    <a:lnTo>
                      <a:pt x="772" y="2550"/>
                    </a:lnTo>
                    <a:lnTo>
                      <a:pt x="772" y="2554"/>
                    </a:lnTo>
                    <a:lnTo>
                      <a:pt x="770" y="2568"/>
                    </a:lnTo>
                    <a:lnTo>
                      <a:pt x="770" y="2580"/>
                    </a:lnTo>
                    <a:lnTo>
                      <a:pt x="770" y="2584"/>
                    </a:lnTo>
                    <a:lnTo>
                      <a:pt x="772" y="2586"/>
                    </a:lnTo>
                    <a:lnTo>
                      <a:pt x="776" y="2586"/>
                    </a:lnTo>
                    <a:lnTo>
                      <a:pt x="776" y="2588"/>
                    </a:lnTo>
                    <a:lnTo>
                      <a:pt x="774" y="2592"/>
                    </a:lnTo>
                    <a:lnTo>
                      <a:pt x="772" y="2594"/>
                    </a:lnTo>
                    <a:lnTo>
                      <a:pt x="772" y="2596"/>
                    </a:lnTo>
                    <a:lnTo>
                      <a:pt x="778" y="2596"/>
                    </a:lnTo>
                    <a:lnTo>
                      <a:pt x="780" y="2598"/>
                    </a:lnTo>
                    <a:lnTo>
                      <a:pt x="778" y="2602"/>
                    </a:lnTo>
                    <a:lnTo>
                      <a:pt x="776" y="2604"/>
                    </a:lnTo>
                    <a:lnTo>
                      <a:pt x="776" y="2606"/>
                    </a:lnTo>
                    <a:lnTo>
                      <a:pt x="778" y="2608"/>
                    </a:lnTo>
                    <a:lnTo>
                      <a:pt x="786" y="2612"/>
                    </a:lnTo>
                    <a:lnTo>
                      <a:pt x="788" y="2614"/>
                    </a:lnTo>
                    <a:lnTo>
                      <a:pt x="790" y="2616"/>
                    </a:lnTo>
                    <a:lnTo>
                      <a:pt x="792" y="2616"/>
                    </a:lnTo>
                    <a:lnTo>
                      <a:pt x="794" y="2616"/>
                    </a:lnTo>
                    <a:lnTo>
                      <a:pt x="794" y="2612"/>
                    </a:lnTo>
                    <a:lnTo>
                      <a:pt x="794" y="2610"/>
                    </a:lnTo>
                    <a:lnTo>
                      <a:pt x="796" y="2606"/>
                    </a:lnTo>
                    <a:lnTo>
                      <a:pt x="800" y="2604"/>
                    </a:lnTo>
                    <a:lnTo>
                      <a:pt x="800" y="2600"/>
                    </a:lnTo>
                    <a:lnTo>
                      <a:pt x="802" y="2588"/>
                    </a:lnTo>
                    <a:lnTo>
                      <a:pt x="802" y="2582"/>
                    </a:lnTo>
                    <a:lnTo>
                      <a:pt x="804" y="2578"/>
                    </a:lnTo>
                    <a:lnTo>
                      <a:pt x="808" y="2574"/>
                    </a:lnTo>
                    <a:lnTo>
                      <a:pt x="808" y="2562"/>
                    </a:lnTo>
                    <a:lnTo>
                      <a:pt x="806" y="2552"/>
                    </a:lnTo>
                    <a:lnTo>
                      <a:pt x="804" y="2546"/>
                    </a:lnTo>
                    <a:lnTo>
                      <a:pt x="804" y="2544"/>
                    </a:lnTo>
                    <a:lnTo>
                      <a:pt x="804" y="2540"/>
                    </a:lnTo>
                    <a:lnTo>
                      <a:pt x="804" y="2530"/>
                    </a:lnTo>
                    <a:lnTo>
                      <a:pt x="804" y="2528"/>
                    </a:lnTo>
                    <a:lnTo>
                      <a:pt x="802" y="2526"/>
                    </a:lnTo>
                    <a:close/>
                    <a:moveTo>
                      <a:pt x="550" y="2700"/>
                    </a:moveTo>
                    <a:lnTo>
                      <a:pt x="550" y="2700"/>
                    </a:lnTo>
                    <a:lnTo>
                      <a:pt x="548" y="2696"/>
                    </a:lnTo>
                    <a:lnTo>
                      <a:pt x="544" y="2696"/>
                    </a:lnTo>
                    <a:lnTo>
                      <a:pt x="538" y="2698"/>
                    </a:lnTo>
                    <a:lnTo>
                      <a:pt x="532" y="2702"/>
                    </a:lnTo>
                    <a:lnTo>
                      <a:pt x="520" y="2712"/>
                    </a:lnTo>
                    <a:lnTo>
                      <a:pt x="518" y="2716"/>
                    </a:lnTo>
                    <a:lnTo>
                      <a:pt x="520" y="2718"/>
                    </a:lnTo>
                    <a:lnTo>
                      <a:pt x="520" y="2720"/>
                    </a:lnTo>
                    <a:lnTo>
                      <a:pt x="526" y="2718"/>
                    </a:lnTo>
                    <a:lnTo>
                      <a:pt x="530" y="2718"/>
                    </a:lnTo>
                    <a:lnTo>
                      <a:pt x="532" y="2720"/>
                    </a:lnTo>
                    <a:lnTo>
                      <a:pt x="536" y="2726"/>
                    </a:lnTo>
                    <a:lnTo>
                      <a:pt x="542" y="2730"/>
                    </a:lnTo>
                    <a:lnTo>
                      <a:pt x="546" y="2732"/>
                    </a:lnTo>
                    <a:lnTo>
                      <a:pt x="548" y="2732"/>
                    </a:lnTo>
                    <a:lnTo>
                      <a:pt x="554" y="2726"/>
                    </a:lnTo>
                    <a:lnTo>
                      <a:pt x="562" y="2708"/>
                    </a:lnTo>
                    <a:lnTo>
                      <a:pt x="564" y="2706"/>
                    </a:lnTo>
                    <a:lnTo>
                      <a:pt x="564" y="2704"/>
                    </a:lnTo>
                    <a:lnTo>
                      <a:pt x="558" y="2704"/>
                    </a:lnTo>
                    <a:lnTo>
                      <a:pt x="552" y="2706"/>
                    </a:lnTo>
                    <a:lnTo>
                      <a:pt x="550" y="2704"/>
                    </a:lnTo>
                    <a:lnTo>
                      <a:pt x="550" y="2700"/>
                    </a:lnTo>
                    <a:close/>
                    <a:moveTo>
                      <a:pt x="1254" y="2806"/>
                    </a:moveTo>
                    <a:lnTo>
                      <a:pt x="1254" y="2806"/>
                    </a:lnTo>
                    <a:lnTo>
                      <a:pt x="1252" y="2810"/>
                    </a:lnTo>
                    <a:lnTo>
                      <a:pt x="1254" y="2814"/>
                    </a:lnTo>
                    <a:lnTo>
                      <a:pt x="1260" y="2818"/>
                    </a:lnTo>
                    <a:lnTo>
                      <a:pt x="1264" y="2820"/>
                    </a:lnTo>
                    <a:lnTo>
                      <a:pt x="1266" y="2818"/>
                    </a:lnTo>
                    <a:lnTo>
                      <a:pt x="1266" y="2816"/>
                    </a:lnTo>
                    <a:lnTo>
                      <a:pt x="1264" y="2812"/>
                    </a:lnTo>
                    <a:lnTo>
                      <a:pt x="1258" y="2808"/>
                    </a:lnTo>
                    <a:lnTo>
                      <a:pt x="1254" y="2806"/>
                    </a:lnTo>
                    <a:close/>
                    <a:moveTo>
                      <a:pt x="1410" y="2874"/>
                    </a:moveTo>
                    <a:lnTo>
                      <a:pt x="1410" y="2874"/>
                    </a:lnTo>
                    <a:lnTo>
                      <a:pt x="1412" y="2870"/>
                    </a:lnTo>
                    <a:lnTo>
                      <a:pt x="1410" y="2868"/>
                    </a:lnTo>
                    <a:lnTo>
                      <a:pt x="1408" y="2868"/>
                    </a:lnTo>
                    <a:lnTo>
                      <a:pt x="1402" y="2870"/>
                    </a:lnTo>
                    <a:lnTo>
                      <a:pt x="1402" y="2872"/>
                    </a:lnTo>
                    <a:lnTo>
                      <a:pt x="1400" y="2874"/>
                    </a:lnTo>
                    <a:lnTo>
                      <a:pt x="1402" y="2876"/>
                    </a:lnTo>
                    <a:lnTo>
                      <a:pt x="1406" y="2876"/>
                    </a:lnTo>
                    <a:lnTo>
                      <a:pt x="1410" y="2874"/>
                    </a:lnTo>
                    <a:close/>
                    <a:moveTo>
                      <a:pt x="1214" y="2706"/>
                    </a:moveTo>
                    <a:lnTo>
                      <a:pt x="1214" y="2706"/>
                    </a:lnTo>
                    <a:lnTo>
                      <a:pt x="1214" y="2712"/>
                    </a:lnTo>
                    <a:lnTo>
                      <a:pt x="1218" y="2718"/>
                    </a:lnTo>
                    <a:lnTo>
                      <a:pt x="1224" y="2722"/>
                    </a:lnTo>
                    <a:lnTo>
                      <a:pt x="1230" y="2726"/>
                    </a:lnTo>
                    <a:lnTo>
                      <a:pt x="1232" y="2726"/>
                    </a:lnTo>
                    <a:lnTo>
                      <a:pt x="1230" y="2724"/>
                    </a:lnTo>
                    <a:lnTo>
                      <a:pt x="1228" y="2720"/>
                    </a:lnTo>
                    <a:lnTo>
                      <a:pt x="1224" y="2714"/>
                    </a:lnTo>
                    <a:lnTo>
                      <a:pt x="1222" y="2708"/>
                    </a:lnTo>
                    <a:lnTo>
                      <a:pt x="1222" y="2704"/>
                    </a:lnTo>
                    <a:lnTo>
                      <a:pt x="1218" y="2702"/>
                    </a:lnTo>
                    <a:lnTo>
                      <a:pt x="1216" y="2702"/>
                    </a:lnTo>
                    <a:lnTo>
                      <a:pt x="1214" y="2706"/>
                    </a:lnTo>
                    <a:close/>
                    <a:moveTo>
                      <a:pt x="1468" y="2954"/>
                    </a:moveTo>
                    <a:lnTo>
                      <a:pt x="1468" y="2954"/>
                    </a:lnTo>
                    <a:lnTo>
                      <a:pt x="1464" y="2956"/>
                    </a:lnTo>
                    <a:lnTo>
                      <a:pt x="1462" y="2956"/>
                    </a:lnTo>
                    <a:lnTo>
                      <a:pt x="1460" y="2952"/>
                    </a:lnTo>
                    <a:lnTo>
                      <a:pt x="1460" y="2948"/>
                    </a:lnTo>
                    <a:lnTo>
                      <a:pt x="1456" y="2946"/>
                    </a:lnTo>
                    <a:lnTo>
                      <a:pt x="1452" y="2946"/>
                    </a:lnTo>
                    <a:lnTo>
                      <a:pt x="1446" y="2948"/>
                    </a:lnTo>
                    <a:lnTo>
                      <a:pt x="1442" y="2946"/>
                    </a:lnTo>
                    <a:lnTo>
                      <a:pt x="1434" y="2944"/>
                    </a:lnTo>
                    <a:lnTo>
                      <a:pt x="1424" y="2942"/>
                    </a:lnTo>
                    <a:lnTo>
                      <a:pt x="1418" y="2942"/>
                    </a:lnTo>
                    <a:lnTo>
                      <a:pt x="1410" y="2944"/>
                    </a:lnTo>
                    <a:lnTo>
                      <a:pt x="1406" y="2944"/>
                    </a:lnTo>
                    <a:lnTo>
                      <a:pt x="1402" y="2942"/>
                    </a:lnTo>
                    <a:lnTo>
                      <a:pt x="1398" y="2938"/>
                    </a:lnTo>
                    <a:lnTo>
                      <a:pt x="1396" y="2934"/>
                    </a:lnTo>
                    <a:lnTo>
                      <a:pt x="1394" y="2932"/>
                    </a:lnTo>
                    <a:lnTo>
                      <a:pt x="1392" y="2934"/>
                    </a:lnTo>
                    <a:lnTo>
                      <a:pt x="1390" y="2934"/>
                    </a:lnTo>
                    <a:lnTo>
                      <a:pt x="1386" y="2934"/>
                    </a:lnTo>
                    <a:lnTo>
                      <a:pt x="1382" y="2932"/>
                    </a:lnTo>
                    <a:lnTo>
                      <a:pt x="1380" y="2928"/>
                    </a:lnTo>
                    <a:lnTo>
                      <a:pt x="1378" y="2928"/>
                    </a:lnTo>
                    <a:lnTo>
                      <a:pt x="1378" y="2930"/>
                    </a:lnTo>
                    <a:lnTo>
                      <a:pt x="1376" y="2934"/>
                    </a:lnTo>
                    <a:lnTo>
                      <a:pt x="1374" y="2936"/>
                    </a:lnTo>
                    <a:lnTo>
                      <a:pt x="1372" y="2938"/>
                    </a:lnTo>
                    <a:lnTo>
                      <a:pt x="1372" y="2946"/>
                    </a:lnTo>
                    <a:lnTo>
                      <a:pt x="1372" y="2950"/>
                    </a:lnTo>
                    <a:lnTo>
                      <a:pt x="1376" y="2952"/>
                    </a:lnTo>
                    <a:lnTo>
                      <a:pt x="1388" y="2952"/>
                    </a:lnTo>
                    <a:lnTo>
                      <a:pt x="1402" y="2954"/>
                    </a:lnTo>
                    <a:lnTo>
                      <a:pt x="1410" y="2958"/>
                    </a:lnTo>
                    <a:lnTo>
                      <a:pt x="1418" y="2962"/>
                    </a:lnTo>
                    <a:lnTo>
                      <a:pt x="1422" y="2964"/>
                    </a:lnTo>
                    <a:lnTo>
                      <a:pt x="1428" y="2966"/>
                    </a:lnTo>
                    <a:lnTo>
                      <a:pt x="1440" y="2966"/>
                    </a:lnTo>
                    <a:lnTo>
                      <a:pt x="1452" y="2964"/>
                    </a:lnTo>
                    <a:lnTo>
                      <a:pt x="1468" y="2964"/>
                    </a:lnTo>
                    <a:lnTo>
                      <a:pt x="1476" y="2962"/>
                    </a:lnTo>
                    <a:lnTo>
                      <a:pt x="1480" y="2960"/>
                    </a:lnTo>
                    <a:lnTo>
                      <a:pt x="1482" y="2958"/>
                    </a:lnTo>
                    <a:lnTo>
                      <a:pt x="1484" y="2954"/>
                    </a:lnTo>
                    <a:lnTo>
                      <a:pt x="1482" y="2952"/>
                    </a:lnTo>
                    <a:lnTo>
                      <a:pt x="1478" y="2950"/>
                    </a:lnTo>
                    <a:lnTo>
                      <a:pt x="1474" y="2950"/>
                    </a:lnTo>
                    <a:lnTo>
                      <a:pt x="1468" y="2954"/>
                    </a:lnTo>
                    <a:close/>
                    <a:moveTo>
                      <a:pt x="1518" y="2942"/>
                    </a:moveTo>
                    <a:lnTo>
                      <a:pt x="1518" y="2942"/>
                    </a:lnTo>
                    <a:lnTo>
                      <a:pt x="1520" y="2940"/>
                    </a:lnTo>
                    <a:lnTo>
                      <a:pt x="1520" y="2938"/>
                    </a:lnTo>
                    <a:lnTo>
                      <a:pt x="1518" y="2926"/>
                    </a:lnTo>
                    <a:lnTo>
                      <a:pt x="1516" y="2924"/>
                    </a:lnTo>
                    <a:lnTo>
                      <a:pt x="1516" y="2926"/>
                    </a:lnTo>
                    <a:lnTo>
                      <a:pt x="1514" y="2932"/>
                    </a:lnTo>
                    <a:lnTo>
                      <a:pt x="1514" y="2938"/>
                    </a:lnTo>
                    <a:lnTo>
                      <a:pt x="1516" y="2940"/>
                    </a:lnTo>
                    <a:lnTo>
                      <a:pt x="1518" y="2942"/>
                    </a:lnTo>
                    <a:close/>
                    <a:moveTo>
                      <a:pt x="1252" y="2768"/>
                    </a:moveTo>
                    <a:lnTo>
                      <a:pt x="1252" y="2768"/>
                    </a:lnTo>
                    <a:lnTo>
                      <a:pt x="1254" y="2768"/>
                    </a:lnTo>
                    <a:lnTo>
                      <a:pt x="1256" y="2766"/>
                    </a:lnTo>
                    <a:lnTo>
                      <a:pt x="1256" y="2764"/>
                    </a:lnTo>
                    <a:lnTo>
                      <a:pt x="1254" y="2760"/>
                    </a:lnTo>
                    <a:lnTo>
                      <a:pt x="1254" y="2758"/>
                    </a:lnTo>
                    <a:lnTo>
                      <a:pt x="1252" y="2758"/>
                    </a:lnTo>
                    <a:lnTo>
                      <a:pt x="1250" y="2762"/>
                    </a:lnTo>
                    <a:lnTo>
                      <a:pt x="1248" y="2766"/>
                    </a:lnTo>
                    <a:lnTo>
                      <a:pt x="1250" y="2768"/>
                    </a:lnTo>
                    <a:lnTo>
                      <a:pt x="1252" y="2768"/>
                    </a:lnTo>
                    <a:close/>
                    <a:moveTo>
                      <a:pt x="1256" y="2790"/>
                    </a:moveTo>
                    <a:lnTo>
                      <a:pt x="1256" y="2790"/>
                    </a:lnTo>
                    <a:lnTo>
                      <a:pt x="1254" y="2786"/>
                    </a:lnTo>
                    <a:lnTo>
                      <a:pt x="1252" y="2782"/>
                    </a:lnTo>
                    <a:lnTo>
                      <a:pt x="1252" y="2780"/>
                    </a:lnTo>
                    <a:lnTo>
                      <a:pt x="1250" y="2780"/>
                    </a:lnTo>
                    <a:lnTo>
                      <a:pt x="1248" y="2782"/>
                    </a:lnTo>
                    <a:lnTo>
                      <a:pt x="1244" y="2782"/>
                    </a:lnTo>
                    <a:lnTo>
                      <a:pt x="1242" y="2784"/>
                    </a:lnTo>
                    <a:lnTo>
                      <a:pt x="1242" y="2790"/>
                    </a:lnTo>
                    <a:lnTo>
                      <a:pt x="1244" y="2794"/>
                    </a:lnTo>
                    <a:lnTo>
                      <a:pt x="1246" y="2794"/>
                    </a:lnTo>
                    <a:lnTo>
                      <a:pt x="1250" y="2794"/>
                    </a:lnTo>
                    <a:lnTo>
                      <a:pt x="1256" y="2796"/>
                    </a:lnTo>
                    <a:lnTo>
                      <a:pt x="1260" y="2798"/>
                    </a:lnTo>
                    <a:lnTo>
                      <a:pt x="1260" y="2794"/>
                    </a:lnTo>
                    <a:lnTo>
                      <a:pt x="1256" y="2790"/>
                    </a:lnTo>
                    <a:close/>
                    <a:moveTo>
                      <a:pt x="1348" y="2902"/>
                    </a:moveTo>
                    <a:lnTo>
                      <a:pt x="1348" y="2902"/>
                    </a:lnTo>
                    <a:lnTo>
                      <a:pt x="1352" y="2904"/>
                    </a:lnTo>
                    <a:lnTo>
                      <a:pt x="1352" y="2902"/>
                    </a:lnTo>
                    <a:lnTo>
                      <a:pt x="1352" y="2898"/>
                    </a:lnTo>
                    <a:lnTo>
                      <a:pt x="1350" y="2892"/>
                    </a:lnTo>
                    <a:lnTo>
                      <a:pt x="1346" y="2890"/>
                    </a:lnTo>
                    <a:lnTo>
                      <a:pt x="1344" y="2892"/>
                    </a:lnTo>
                    <a:lnTo>
                      <a:pt x="1346" y="2896"/>
                    </a:lnTo>
                    <a:lnTo>
                      <a:pt x="1348" y="2902"/>
                    </a:lnTo>
                    <a:close/>
                    <a:moveTo>
                      <a:pt x="1448" y="2860"/>
                    </a:moveTo>
                    <a:lnTo>
                      <a:pt x="1448" y="2860"/>
                    </a:lnTo>
                    <a:lnTo>
                      <a:pt x="1450" y="2860"/>
                    </a:lnTo>
                    <a:lnTo>
                      <a:pt x="1452" y="2860"/>
                    </a:lnTo>
                    <a:lnTo>
                      <a:pt x="1454" y="2854"/>
                    </a:lnTo>
                    <a:lnTo>
                      <a:pt x="1452" y="2848"/>
                    </a:lnTo>
                    <a:lnTo>
                      <a:pt x="1452" y="2846"/>
                    </a:lnTo>
                    <a:lnTo>
                      <a:pt x="1448" y="2846"/>
                    </a:lnTo>
                    <a:lnTo>
                      <a:pt x="1446" y="2850"/>
                    </a:lnTo>
                    <a:lnTo>
                      <a:pt x="1444" y="2852"/>
                    </a:lnTo>
                    <a:lnTo>
                      <a:pt x="1446" y="2856"/>
                    </a:lnTo>
                    <a:lnTo>
                      <a:pt x="1448" y="2860"/>
                    </a:lnTo>
                    <a:close/>
                    <a:moveTo>
                      <a:pt x="1440" y="2848"/>
                    </a:moveTo>
                    <a:lnTo>
                      <a:pt x="1440" y="2848"/>
                    </a:lnTo>
                    <a:lnTo>
                      <a:pt x="1438" y="2848"/>
                    </a:lnTo>
                    <a:lnTo>
                      <a:pt x="1434" y="2850"/>
                    </a:lnTo>
                    <a:lnTo>
                      <a:pt x="1434" y="2854"/>
                    </a:lnTo>
                    <a:lnTo>
                      <a:pt x="1436" y="2856"/>
                    </a:lnTo>
                    <a:lnTo>
                      <a:pt x="1438" y="2856"/>
                    </a:lnTo>
                    <a:lnTo>
                      <a:pt x="1440" y="2854"/>
                    </a:lnTo>
                    <a:lnTo>
                      <a:pt x="1440" y="2850"/>
                    </a:lnTo>
                    <a:lnTo>
                      <a:pt x="1440" y="2848"/>
                    </a:lnTo>
                    <a:close/>
                    <a:moveTo>
                      <a:pt x="2822" y="3608"/>
                    </a:moveTo>
                    <a:lnTo>
                      <a:pt x="2822" y="3608"/>
                    </a:lnTo>
                    <a:lnTo>
                      <a:pt x="2818" y="3606"/>
                    </a:lnTo>
                    <a:lnTo>
                      <a:pt x="2814" y="3598"/>
                    </a:lnTo>
                    <a:lnTo>
                      <a:pt x="2802" y="3578"/>
                    </a:lnTo>
                    <a:lnTo>
                      <a:pt x="2798" y="3570"/>
                    </a:lnTo>
                    <a:lnTo>
                      <a:pt x="2792" y="3562"/>
                    </a:lnTo>
                    <a:lnTo>
                      <a:pt x="2786" y="3558"/>
                    </a:lnTo>
                    <a:lnTo>
                      <a:pt x="2782" y="3556"/>
                    </a:lnTo>
                    <a:lnTo>
                      <a:pt x="2780" y="3558"/>
                    </a:lnTo>
                    <a:lnTo>
                      <a:pt x="2776" y="3558"/>
                    </a:lnTo>
                    <a:lnTo>
                      <a:pt x="2774" y="3558"/>
                    </a:lnTo>
                    <a:lnTo>
                      <a:pt x="2768" y="3554"/>
                    </a:lnTo>
                    <a:lnTo>
                      <a:pt x="2762" y="3550"/>
                    </a:lnTo>
                    <a:lnTo>
                      <a:pt x="2756" y="3548"/>
                    </a:lnTo>
                    <a:lnTo>
                      <a:pt x="2746" y="3546"/>
                    </a:lnTo>
                    <a:lnTo>
                      <a:pt x="2738" y="3544"/>
                    </a:lnTo>
                    <a:lnTo>
                      <a:pt x="2728" y="3540"/>
                    </a:lnTo>
                    <a:lnTo>
                      <a:pt x="2720" y="3532"/>
                    </a:lnTo>
                    <a:lnTo>
                      <a:pt x="2712" y="3524"/>
                    </a:lnTo>
                    <a:lnTo>
                      <a:pt x="2706" y="3516"/>
                    </a:lnTo>
                    <a:lnTo>
                      <a:pt x="2700" y="3506"/>
                    </a:lnTo>
                    <a:lnTo>
                      <a:pt x="2696" y="3496"/>
                    </a:lnTo>
                    <a:lnTo>
                      <a:pt x="2694" y="3488"/>
                    </a:lnTo>
                    <a:lnTo>
                      <a:pt x="2694" y="3464"/>
                    </a:lnTo>
                    <a:lnTo>
                      <a:pt x="2694" y="3458"/>
                    </a:lnTo>
                    <a:lnTo>
                      <a:pt x="2692" y="3454"/>
                    </a:lnTo>
                    <a:lnTo>
                      <a:pt x="2692" y="3448"/>
                    </a:lnTo>
                    <a:lnTo>
                      <a:pt x="2694" y="3442"/>
                    </a:lnTo>
                    <a:lnTo>
                      <a:pt x="2696" y="3438"/>
                    </a:lnTo>
                    <a:lnTo>
                      <a:pt x="2696" y="3434"/>
                    </a:lnTo>
                    <a:lnTo>
                      <a:pt x="2696" y="3430"/>
                    </a:lnTo>
                    <a:lnTo>
                      <a:pt x="2698" y="3422"/>
                    </a:lnTo>
                    <a:lnTo>
                      <a:pt x="2700" y="3418"/>
                    </a:lnTo>
                    <a:lnTo>
                      <a:pt x="2698" y="3416"/>
                    </a:lnTo>
                    <a:lnTo>
                      <a:pt x="2696" y="3414"/>
                    </a:lnTo>
                    <a:lnTo>
                      <a:pt x="2694" y="3416"/>
                    </a:lnTo>
                    <a:lnTo>
                      <a:pt x="2692" y="3416"/>
                    </a:lnTo>
                    <a:lnTo>
                      <a:pt x="2692" y="3420"/>
                    </a:lnTo>
                    <a:lnTo>
                      <a:pt x="2694" y="3424"/>
                    </a:lnTo>
                    <a:lnTo>
                      <a:pt x="2692" y="3424"/>
                    </a:lnTo>
                    <a:lnTo>
                      <a:pt x="2688" y="3422"/>
                    </a:lnTo>
                    <a:lnTo>
                      <a:pt x="2686" y="3422"/>
                    </a:lnTo>
                    <a:lnTo>
                      <a:pt x="2684" y="3432"/>
                    </a:lnTo>
                    <a:lnTo>
                      <a:pt x="2680" y="3444"/>
                    </a:lnTo>
                    <a:lnTo>
                      <a:pt x="2678" y="3444"/>
                    </a:lnTo>
                    <a:lnTo>
                      <a:pt x="2676" y="3444"/>
                    </a:lnTo>
                    <a:lnTo>
                      <a:pt x="2674" y="3444"/>
                    </a:lnTo>
                    <a:lnTo>
                      <a:pt x="2670" y="3452"/>
                    </a:lnTo>
                    <a:lnTo>
                      <a:pt x="2666" y="3458"/>
                    </a:lnTo>
                    <a:lnTo>
                      <a:pt x="2660" y="3462"/>
                    </a:lnTo>
                    <a:lnTo>
                      <a:pt x="2654" y="3468"/>
                    </a:lnTo>
                    <a:lnTo>
                      <a:pt x="2646" y="3476"/>
                    </a:lnTo>
                    <a:lnTo>
                      <a:pt x="2638" y="3488"/>
                    </a:lnTo>
                    <a:lnTo>
                      <a:pt x="2628" y="3496"/>
                    </a:lnTo>
                    <a:lnTo>
                      <a:pt x="2614" y="3508"/>
                    </a:lnTo>
                    <a:lnTo>
                      <a:pt x="2616" y="3510"/>
                    </a:lnTo>
                    <a:lnTo>
                      <a:pt x="2618" y="3512"/>
                    </a:lnTo>
                    <a:lnTo>
                      <a:pt x="2618" y="3516"/>
                    </a:lnTo>
                    <a:lnTo>
                      <a:pt x="2614" y="3524"/>
                    </a:lnTo>
                    <a:lnTo>
                      <a:pt x="2606" y="3530"/>
                    </a:lnTo>
                    <a:lnTo>
                      <a:pt x="2598" y="3532"/>
                    </a:lnTo>
                    <a:lnTo>
                      <a:pt x="2588" y="3534"/>
                    </a:lnTo>
                    <a:lnTo>
                      <a:pt x="2578" y="3532"/>
                    </a:lnTo>
                    <a:lnTo>
                      <a:pt x="2558" y="3528"/>
                    </a:lnTo>
                    <a:lnTo>
                      <a:pt x="2546" y="3528"/>
                    </a:lnTo>
                    <a:lnTo>
                      <a:pt x="2538" y="3532"/>
                    </a:lnTo>
                    <a:lnTo>
                      <a:pt x="2522" y="3538"/>
                    </a:lnTo>
                    <a:lnTo>
                      <a:pt x="2514" y="3538"/>
                    </a:lnTo>
                    <a:lnTo>
                      <a:pt x="2512" y="3538"/>
                    </a:lnTo>
                    <a:lnTo>
                      <a:pt x="2510" y="3536"/>
                    </a:lnTo>
                    <a:lnTo>
                      <a:pt x="2510" y="3528"/>
                    </a:lnTo>
                    <a:lnTo>
                      <a:pt x="2510" y="3522"/>
                    </a:lnTo>
                    <a:lnTo>
                      <a:pt x="2506" y="3522"/>
                    </a:lnTo>
                    <a:lnTo>
                      <a:pt x="2502" y="3522"/>
                    </a:lnTo>
                    <a:lnTo>
                      <a:pt x="2496" y="3522"/>
                    </a:lnTo>
                    <a:lnTo>
                      <a:pt x="2492" y="3520"/>
                    </a:lnTo>
                    <a:lnTo>
                      <a:pt x="2490" y="3518"/>
                    </a:lnTo>
                    <a:lnTo>
                      <a:pt x="2492" y="3514"/>
                    </a:lnTo>
                    <a:lnTo>
                      <a:pt x="2496" y="3510"/>
                    </a:lnTo>
                    <a:lnTo>
                      <a:pt x="2496" y="3506"/>
                    </a:lnTo>
                    <a:lnTo>
                      <a:pt x="2492" y="3508"/>
                    </a:lnTo>
                    <a:lnTo>
                      <a:pt x="2490" y="3508"/>
                    </a:lnTo>
                    <a:lnTo>
                      <a:pt x="2488" y="3508"/>
                    </a:lnTo>
                    <a:lnTo>
                      <a:pt x="2486" y="3506"/>
                    </a:lnTo>
                    <a:lnTo>
                      <a:pt x="2488" y="3504"/>
                    </a:lnTo>
                    <a:lnTo>
                      <a:pt x="2490" y="3504"/>
                    </a:lnTo>
                    <a:lnTo>
                      <a:pt x="2494" y="3504"/>
                    </a:lnTo>
                    <a:lnTo>
                      <a:pt x="2496" y="3502"/>
                    </a:lnTo>
                    <a:lnTo>
                      <a:pt x="2498" y="3496"/>
                    </a:lnTo>
                    <a:lnTo>
                      <a:pt x="2502" y="3480"/>
                    </a:lnTo>
                    <a:lnTo>
                      <a:pt x="2502" y="3474"/>
                    </a:lnTo>
                    <a:lnTo>
                      <a:pt x="2500" y="3468"/>
                    </a:lnTo>
                    <a:lnTo>
                      <a:pt x="2496" y="3462"/>
                    </a:lnTo>
                    <a:lnTo>
                      <a:pt x="2496" y="3458"/>
                    </a:lnTo>
                    <a:lnTo>
                      <a:pt x="2498" y="3454"/>
                    </a:lnTo>
                    <a:lnTo>
                      <a:pt x="2500" y="3448"/>
                    </a:lnTo>
                    <a:lnTo>
                      <a:pt x="2498" y="3440"/>
                    </a:lnTo>
                    <a:lnTo>
                      <a:pt x="2494" y="3434"/>
                    </a:lnTo>
                    <a:lnTo>
                      <a:pt x="2490" y="3428"/>
                    </a:lnTo>
                    <a:lnTo>
                      <a:pt x="2486" y="3426"/>
                    </a:lnTo>
                    <a:lnTo>
                      <a:pt x="2484" y="3426"/>
                    </a:lnTo>
                    <a:lnTo>
                      <a:pt x="2480" y="3430"/>
                    </a:lnTo>
                    <a:lnTo>
                      <a:pt x="2476" y="3444"/>
                    </a:lnTo>
                    <a:lnTo>
                      <a:pt x="2470" y="3456"/>
                    </a:lnTo>
                    <a:lnTo>
                      <a:pt x="2470" y="3466"/>
                    </a:lnTo>
                    <a:lnTo>
                      <a:pt x="2468" y="3498"/>
                    </a:lnTo>
                    <a:lnTo>
                      <a:pt x="2464" y="3486"/>
                    </a:lnTo>
                    <a:lnTo>
                      <a:pt x="2460" y="3478"/>
                    </a:lnTo>
                    <a:lnTo>
                      <a:pt x="2458" y="3468"/>
                    </a:lnTo>
                    <a:lnTo>
                      <a:pt x="2452" y="3462"/>
                    </a:lnTo>
                    <a:lnTo>
                      <a:pt x="2448" y="3456"/>
                    </a:lnTo>
                    <a:lnTo>
                      <a:pt x="2448" y="3454"/>
                    </a:lnTo>
                    <a:lnTo>
                      <a:pt x="2448" y="3450"/>
                    </a:lnTo>
                    <a:lnTo>
                      <a:pt x="2444" y="3444"/>
                    </a:lnTo>
                    <a:lnTo>
                      <a:pt x="2442" y="3438"/>
                    </a:lnTo>
                    <a:lnTo>
                      <a:pt x="2442" y="3434"/>
                    </a:lnTo>
                    <a:lnTo>
                      <a:pt x="2442" y="3428"/>
                    </a:lnTo>
                    <a:lnTo>
                      <a:pt x="2444" y="3420"/>
                    </a:lnTo>
                    <a:lnTo>
                      <a:pt x="2442" y="3414"/>
                    </a:lnTo>
                    <a:lnTo>
                      <a:pt x="2440" y="3408"/>
                    </a:lnTo>
                    <a:lnTo>
                      <a:pt x="2438" y="3402"/>
                    </a:lnTo>
                    <a:lnTo>
                      <a:pt x="2438" y="3400"/>
                    </a:lnTo>
                    <a:lnTo>
                      <a:pt x="2442" y="3400"/>
                    </a:lnTo>
                    <a:lnTo>
                      <a:pt x="2444" y="3404"/>
                    </a:lnTo>
                    <a:lnTo>
                      <a:pt x="2448" y="3404"/>
                    </a:lnTo>
                    <a:lnTo>
                      <a:pt x="2448" y="3406"/>
                    </a:lnTo>
                    <a:lnTo>
                      <a:pt x="2446" y="3408"/>
                    </a:lnTo>
                    <a:lnTo>
                      <a:pt x="2444" y="3410"/>
                    </a:lnTo>
                    <a:lnTo>
                      <a:pt x="2448" y="3410"/>
                    </a:lnTo>
                    <a:lnTo>
                      <a:pt x="2450" y="3412"/>
                    </a:lnTo>
                    <a:lnTo>
                      <a:pt x="2448" y="3414"/>
                    </a:lnTo>
                    <a:lnTo>
                      <a:pt x="2450" y="3416"/>
                    </a:lnTo>
                    <a:lnTo>
                      <a:pt x="2454" y="3420"/>
                    </a:lnTo>
                    <a:lnTo>
                      <a:pt x="2456" y="3422"/>
                    </a:lnTo>
                    <a:lnTo>
                      <a:pt x="2458" y="3422"/>
                    </a:lnTo>
                    <a:lnTo>
                      <a:pt x="2460" y="3422"/>
                    </a:lnTo>
                    <a:lnTo>
                      <a:pt x="2460" y="3420"/>
                    </a:lnTo>
                    <a:lnTo>
                      <a:pt x="2460" y="3418"/>
                    </a:lnTo>
                    <a:lnTo>
                      <a:pt x="2462" y="3416"/>
                    </a:lnTo>
                    <a:lnTo>
                      <a:pt x="2464" y="3412"/>
                    </a:lnTo>
                    <a:lnTo>
                      <a:pt x="2466" y="3406"/>
                    </a:lnTo>
                    <a:lnTo>
                      <a:pt x="2466" y="3402"/>
                    </a:lnTo>
                    <a:lnTo>
                      <a:pt x="2468" y="3400"/>
                    </a:lnTo>
                    <a:lnTo>
                      <a:pt x="2468" y="3402"/>
                    </a:lnTo>
                    <a:lnTo>
                      <a:pt x="2474" y="3404"/>
                    </a:lnTo>
                    <a:lnTo>
                      <a:pt x="2476" y="3404"/>
                    </a:lnTo>
                    <a:lnTo>
                      <a:pt x="2476" y="3402"/>
                    </a:lnTo>
                    <a:lnTo>
                      <a:pt x="2478" y="3402"/>
                    </a:lnTo>
                    <a:lnTo>
                      <a:pt x="2480" y="3400"/>
                    </a:lnTo>
                    <a:lnTo>
                      <a:pt x="2480" y="3398"/>
                    </a:lnTo>
                    <a:lnTo>
                      <a:pt x="2482" y="3396"/>
                    </a:lnTo>
                    <a:lnTo>
                      <a:pt x="2482" y="3394"/>
                    </a:lnTo>
                    <a:lnTo>
                      <a:pt x="2482" y="3392"/>
                    </a:lnTo>
                    <a:lnTo>
                      <a:pt x="2482" y="3388"/>
                    </a:lnTo>
                    <a:lnTo>
                      <a:pt x="2480" y="3386"/>
                    </a:lnTo>
                    <a:lnTo>
                      <a:pt x="2482" y="3384"/>
                    </a:lnTo>
                    <a:lnTo>
                      <a:pt x="2480" y="3384"/>
                    </a:lnTo>
                    <a:lnTo>
                      <a:pt x="2478" y="3384"/>
                    </a:lnTo>
                    <a:lnTo>
                      <a:pt x="2478" y="3386"/>
                    </a:lnTo>
                    <a:lnTo>
                      <a:pt x="2476" y="3388"/>
                    </a:lnTo>
                    <a:lnTo>
                      <a:pt x="2472" y="3388"/>
                    </a:lnTo>
                    <a:lnTo>
                      <a:pt x="2470" y="3388"/>
                    </a:lnTo>
                    <a:lnTo>
                      <a:pt x="2468" y="3382"/>
                    </a:lnTo>
                    <a:lnTo>
                      <a:pt x="2466" y="3378"/>
                    </a:lnTo>
                    <a:lnTo>
                      <a:pt x="2468" y="3374"/>
                    </a:lnTo>
                    <a:lnTo>
                      <a:pt x="2468" y="3372"/>
                    </a:lnTo>
                    <a:lnTo>
                      <a:pt x="2466" y="3370"/>
                    </a:lnTo>
                    <a:lnTo>
                      <a:pt x="2464" y="3370"/>
                    </a:lnTo>
                    <a:lnTo>
                      <a:pt x="2464" y="3374"/>
                    </a:lnTo>
                    <a:lnTo>
                      <a:pt x="2462" y="3378"/>
                    </a:lnTo>
                    <a:lnTo>
                      <a:pt x="2462" y="3380"/>
                    </a:lnTo>
                    <a:lnTo>
                      <a:pt x="2460" y="3380"/>
                    </a:lnTo>
                    <a:lnTo>
                      <a:pt x="2456" y="3380"/>
                    </a:lnTo>
                    <a:lnTo>
                      <a:pt x="2452" y="3382"/>
                    </a:lnTo>
                    <a:lnTo>
                      <a:pt x="2450" y="3384"/>
                    </a:lnTo>
                    <a:lnTo>
                      <a:pt x="2446" y="3384"/>
                    </a:lnTo>
                    <a:lnTo>
                      <a:pt x="2444" y="3384"/>
                    </a:lnTo>
                    <a:lnTo>
                      <a:pt x="2444" y="3388"/>
                    </a:lnTo>
                    <a:lnTo>
                      <a:pt x="2442" y="3394"/>
                    </a:lnTo>
                    <a:lnTo>
                      <a:pt x="2434" y="3388"/>
                    </a:lnTo>
                    <a:lnTo>
                      <a:pt x="2422" y="3378"/>
                    </a:lnTo>
                    <a:lnTo>
                      <a:pt x="2414" y="3368"/>
                    </a:lnTo>
                    <a:lnTo>
                      <a:pt x="2410" y="3364"/>
                    </a:lnTo>
                    <a:lnTo>
                      <a:pt x="2410" y="3358"/>
                    </a:lnTo>
                    <a:lnTo>
                      <a:pt x="2410" y="3354"/>
                    </a:lnTo>
                    <a:lnTo>
                      <a:pt x="2408" y="3352"/>
                    </a:lnTo>
                    <a:lnTo>
                      <a:pt x="2402" y="3350"/>
                    </a:lnTo>
                    <a:lnTo>
                      <a:pt x="2394" y="3350"/>
                    </a:lnTo>
                    <a:lnTo>
                      <a:pt x="2392" y="3348"/>
                    </a:lnTo>
                    <a:lnTo>
                      <a:pt x="2392" y="3344"/>
                    </a:lnTo>
                    <a:lnTo>
                      <a:pt x="2390" y="3338"/>
                    </a:lnTo>
                    <a:lnTo>
                      <a:pt x="2386" y="3330"/>
                    </a:lnTo>
                    <a:lnTo>
                      <a:pt x="2382" y="3320"/>
                    </a:lnTo>
                    <a:lnTo>
                      <a:pt x="2376" y="3302"/>
                    </a:lnTo>
                    <a:lnTo>
                      <a:pt x="2370" y="3290"/>
                    </a:lnTo>
                    <a:lnTo>
                      <a:pt x="2366" y="3284"/>
                    </a:lnTo>
                    <a:lnTo>
                      <a:pt x="2364" y="3280"/>
                    </a:lnTo>
                    <a:lnTo>
                      <a:pt x="2362" y="3270"/>
                    </a:lnTo>
                    <a:lnTo>
                      <a:pt x="2360" y="3266"/>
                    </a:lnTo>
                    <a:lnTo>
                      <a:pt x="2358" y="3264"/>
                    </a:lnTo>
                    <a:lnTo>
                      <a:pt x="2352" y="3262"/>
                    </a:lnTo>
                    <a:lnTo>
                      <a:pt x="2346" y="3260"/>
                    </a:lnTo>
                    <a:lnTo>
                      <a:pt x="2346" y="3258"/>
                    </a:lnTo>
                    <a:lnTo>
                      <a:pt x="2346" y="3254"/>
                    </a:lnTo>
                    <a:lnTo>
                      <a:pt x="2350" y="3250"/>
                    </a:lnTo>
                    <a:lnTo>
                      <a:pt x="2354" y="3248"/>
                    </a:lnTo>
                    <a:lnTo>
                      <a:pt x="2360" y="3250"/>
                    </a:lnTo>
                    <a:lnTo>
                      <a:pt x="2362" y="3248"/>
                    </a:lnTo>
                    <a:lnTo>
                      <a:pt x="2362" y="3246"/>
                    </a:lnTo>
                    <a:lnTo>
                      <a:pt x="2354" y="3228"/>
                    </a:lnTo>
                    <a:lnTo>
                      <a:pt x="2354" y="3224"/>
                    </a:lnTo>
                    <a:lnTo>
                      <a:pt x="2356" y="3224"/>
                    </a:lnTo>
                    <a:lnTo>
                      <a:pt x="2364" y="3226"/>
                    </a:lnTo>
                    <a:lnTo>
                      <a:pt x="2372" y="3230"/>
                    </a:lnTo>
                    <a:lnTo>
                      <a:pt x="2376" y="3232"/>
                    </a:lnTo>
                    <a:lnTo>
                      <a:pt x="2378" y="3230"/>
                    </a:lnTo>
                    <a:lnTo>
                      <a:pt x="2384" y="3226"/>
                    </a:lnTo>
                    <a:lnTo>
                      <a:pt x="2390" y="3226"/>
                    </a:lnTo>
                    <a:lnTo>
                      <a:pt x="2392" y="3224"/>
                    </a:lnTo>
                    <a:lnTo>
                      <a:pt x="2394" y="3216"/>
                    </a:lnTo>
                    <a:lnTo>
                      <a:pt x="2396" y="3212"/>
                    </a:lnTo>
                    <a:lnTo>
                      <a:pt x="2398" y="3212"/>
                    </a:lnTo>
                    <a:lnTo>
                      <a:pt x="2406" y="3218"/>
                    </a:lnTo>
                    <a:lnTo>
                      <a:pt x="2412" y="3222"/>
                    </a:lnTo>
                    <a:lnTo>
                      <a:pt x="2416" y="3224"/>
                    </a:lnTo>
                    <a:lnTo>
                      <a:pt x="2424" y="3224"/>
                    </a:lnTo>
                    <a:lnTo>
                      <a:pt x="2430" y="3222"/>
                    </a:lnTo>
                    <a:lnTo>
                      <a:pt x="2436" y="3218"/>
                    </a:lnTo>
                    <a:lnTo>
                      <a:pt x="2438" y="3218"/>
                    </a:lnTo>
                    <a:lnTo>
                      <a:pt x="2440" y="3220"/>
                    </a:lnTo>
                    <a:lnTo>
                      <a:pt x="2442" y="3222"/>
                    </a:lnTo>
                    <a:lnTo>
                      <a:pt x="2444" y="3232"/>
                    </a:lnTo>
                    <a:lnTo>
                      <a:pt x="2448" y="3238"/>
                    </a:lnTo>
                    <a:lnTo>
                      <a:pt x="2452" y="3244"/>
                    </a:lnTo>
                    <a:lnTo>
                      <a:pt x="2452" y="3220"/>
                    </a:lnTo>
                    <a:lnTo>
                      <a:pt x="2414" y="3146"/>
                    </a:lnTo>
                    <a:lnTo>
                      <a:pt x="2378" y="3050"/>
                    </a:lnTo>
                    <a:lnTo>
                      <a:pt x="2372" y="3006"/>
                    </a:lnTo>
                    <a:lnTo>
                      <a:pt x="2378" y="2910"/>
                    </a:lnTo>
                    <a:lnTo>
                      <a:pt x="2378" y="2868"/>
                    </a:lnTo>
                    <a:lnTo>
                      <a:pt x="2392" y="2778"/>
                    </a:lnTo>
                    <a:lnTo>
                      <a:pt x="2386" y="2780"/>
                    </a:lnTo>
                    <a:lnTo>
                      <a:pt x="2382" y="2780"/>
                    </a:lnTo>
                    <a:lnTo>
                      <a:pt x="2380" y="2778"/>
                    </a:lnTo>
                    <a:lnTo>
                      <a:pt x="2380" y="2776"/>
                    </a:lnTo>
                    <a:lnTo>
                      <a:pt x="2378" y="2770"/>
                    </a:lnTo>
                    <a:lnTo>
                      <a:pt x="2376" y="2768"/>
                    </a:lnTo>
                    <a:lnTo>
                      <a:pt x="2374" y="2768"/>
                    </a:lnTo>
                    <a:lnTo>
                      <a:pt x="2376" y="2768"/>
                    </a:lnTo>
                    <a:lnTo>
                      <a:pt x="2378" y="2770"/>
                    </a:lnTo>
                    <a:lnTo>
                      <a:pt x="2380" y="2776"/>
                    </a:lnTo>
                    <a:lnTo>
                      <a:pt x="2380" y="2778"/>
                    </a:lnTo>
                    <a:lnTo>
                      <a:pt x="2382" y="2780"/>
                    </a:lnTo>
                    <a:lnTo>
                      <a:pt x="2386" y="2780"/>
                    </a:lnTo>
                    <a:lnTo>
                      <a:pt x="2392" y="2778"/>
                    </a:lnTo>
                    <a:lnTo>
                      <a:pt x="2390" y="2764"/>
                    </a:lnTo>
                    <a:lnTo>
                      <a:pt x="2394" y="2746"/>
                    </a:lnTo>
                    <a:lnTo>
                      <a:pt x="2390" y="2726"/>
                    </a:lnTo>
                    <a:lnTo>
                      <a:pt x="2386" y="2674"/>
                    </a:lnTo>
                    <a:lnTo>
                      <a:pt x="2384" y="2658"/>
                    </a:lnTo>
                    <a:lnTo>
                      <a:pt x="2386" y="2626"/>
                    </a:lnTo>
                    <a:lnTo>
                      <a:pt x="2360" y="2586"/>
                    </a:lnTo>
                    <a:lnTo>
                      <a:pt x="2336" y="2534"/>
                    </a:lnTo>
                    <a:lnTo>
                      <a:pt x="2284" y="2470"/>
                    </a:lnTo>
                    <a:lnTo>
                      <a:pt x="2274" y="2434"/>
                    </a:lnTo>
                    <a:lnTo>
                      <a:pt x="2302" y="2390"/>
                    </a:lnTo>
                    <a:lnTo>
                      <a:pt x="2334" y="2368"/>
                    </a:lnTo>
                    <a:lnTo>
                      <a:pt x="2352" y="2336"/>
                    </a:lnTo>
                    <a:lnTo>
                      <a:pt x="2346" y="2304"/>
                    </a:lnTo>
                    <a:lnTo>
                      <a:pt x="2318" y="2270"/>
                    </a:lnTo>
                    <a:lnTo>
                      <a:pt x="2280" y="2246"/>
                    </a:lnTo>
                    <a:lnTo>
                      <a:pt x="2264" y="2186"/>
                    </a:lnTo>
                    <a:lnTo>
                      <a:pt x="2274" y="2140"/>
                    </a:lnTo>
                    <a:lnTo>
                      <a:pt x="2288" y="2090"/>
                    </a:lnTo>
                    <a:lnTo>
                      <a:pt x="2290" y="2086"/>
                    </a:lnTo>
                    <a:lnTo>
                      <a:pt x="2296" y="2086"/>
                    </a:lnTo>
                    <a:lnTo>
                      <a:pt x="2308" y="2088"/>
                    </a:lnTo>
                    <a:lnTo>
                      <a:pt x="2328" y="2096"/>
                    </a:lnTo>
                    <a:lnTo>
                      <a:pt x="2370" y="2082"/>
                    </a:lnTo>
                    <a:lnTo>
                      <a:pt x="2376" y="2058"/>
                    </a:lnTo>
                    <a:lnTo>
                      <a:pt x="2440" y="2024"/>
                    </a:lnTo>
                    <a:lnTo>
                      <a:pt x="2384" y="1780"/>
                    </a:lnTo>
                    <a:lnTo>
                      <a:pt x="2264" y="1588"/>
                    </a:lnTo>
                    <a:lnTo>
                      <a:pt x="2204" y="1444"/>
                    </a:lnTo>
                    <a:lnTo>
                      <a:pt x="2204" y="1264"/>
                    </a:lnTo>
                    <a:lnTo>
                      <a:pt x="2212" y="1228"/>
                    </a:lnTo>
                    <a:lnTo>
                      <a:pt x="2224" y="1194"/>
                    </a:lnTo>
                    <a:lnTo>
                      <a:pt x="2232" y="1174"/>
                    </a:lnTo>
                    <a:lnTo>
                      <a:pt x="2240" y="1156"/>
                    </a:lnTo>
                    <a:lnTo>
                      <a:pt x="2248" y="1138"/>
                    </a:lnTo>
                    <a:lnTo>
                      <a:pt x="2258" y="1112"/>
                    </a:lnTo>
                    <a:lnTo>
                      <a:pt x="2282" y="1046"/>
                    </a:lnTo>
                    <a:lnTo>
                      <a:pt x="2276" y="1048"/>
                    </a:lnTo>
                    <a:lnTo>
                      <a:pt x="2274" y="1046"/>
                    </a:lnTo>
                    <a:lnTo>
                      <a:pt x="2270" y="1038"/>
                    </a:lnTo>
                    <a:lnTo>
                      <a:pt x="2266" y="1032"/>
                    </a:lnTo>
                    <a:lnTo>
                      <a:pt x="2262" y="1026"/>
                    </a:lnTo>
                    <a:lnTo>
                      <a:pt x="2256" y="1018"/>
                    </a:lnTo>
                    <a:lnTo>
                      <a:pt x="2246" y="1014"/>
                    </a:lnTo>
                    <a:lnTo>
                      <a:pt x="2236" y="1006"/>
                    </a:lnTo>
                    <a:lnTo>
                      <a:pt x="2234" y="1004"/>
                    </a:lnTo>
                    <a:lnTo>
                      <a:pt x="2232" y="1000"/>
                    </a:lnTo>
                    <a:lnTo>
                      <a:pt x="2234" y="998"/>
                    </a:lnTo>
                    <a:lnTo>
                      <a:pt x="2234" y="994"/>
                    </a:lnTo>
                    <a:lnTo>
                      <a:pt x="2242" y="988"/>
                    </a:lnTo>
                    <a:lnTo>
                      <a:pt x="2250" y="982"/>
                    </a:lnTo>
                    <a:lnTo>
                      <a:pt x="2262" y="978"/>
                    </a:lnTo>
                    <a:lnTo>
                      <a:pt x="2274" y="974"/>
                    </a:lnTo>
                    <a:lnTo>
                      <a:pt x="2286" y="974"/>
                    </a:lnTo>
                    <a:lnTo>
                      <a:pt x="2292" y="974"/>
                    </a:lnTo>
                    <a:lnTo>
                      <a:pt x="2296" y="972"/>
                    </a:lnTo>
                    <a:lnTo>
                      <a:pt x="2298" y="968"/>
                    </a:lnTo>
                    <a:lnTo>
                      <a:pt x="2300" y="966"/>
                    </a:lnTo>
                    <a:lnTo>
                      <a:pt x="2298" y="956"/>
                    </a:lnTo>
                    <a:lnTo>
                      <a:pt x="2294" y="946"/>
                    </a:lnTo>
                    <a:lnTo>
                      <a:pt x="2284" y="936"/>
                    </a:lnTo>
                    <a:lnTo>
                      <a:pt x="2272" y="928"/>
                    </a:lnTo>
                    <a:lnTo>
                      <a:pt x="2258" y="922"/>
                    </a:lnTo>
                    <a:lnTo>
                      <a:pt x="2250" y="922"/>
                    </a:lnTo>
                    <a:lnTo>
                      <a:pt x="2242" y="920"/>
                    </a:lnTo>
                    <a:lnTo>
                      <a:pt x="2224" y="920"/>
                    </a:lnTo>
                    <a:lnTo>
                      <a:pt x="2208" y="918"/>
                    </a:lnTo>
                    <a:lnTo>
                      <a:pt x="2182" y="912"/>
                    </a:lnTo>
                    <a:lnTo>
                      <a:pt x="2174" y="912"/>
                    </a:lnTo>
                    <a:lnTo>
                      <a:pt x="2172" y="912"/>
                    </a:lnTo>
                    <a:lnTo>
                      <a:pt x="2172" y="914"/>
                    </a:lnTo>
                    <a:lnTo>
                      <a:pt x="2174" y="918"/>
                    </a:lnTo>
                    <a:lnTo>
                      <a:pt x="2186" y="928"/>
                    </a:lnTo>
                    <a:lnTo>
                      <a:pt x="2192" y="934"/>
                    </a:lnTo>
                    <a:lnTo>
                      <a:pt x="2196" y="942"/>
                    </a:lnTo>
                    <a:lnTo>
                      <a:pt x="2198" y="948"/>
                    </a:lnTo>
                    <a:lnTo>
                      <a:pt x="2200" y="954"/>
                    </a:lnTo>
                    <a:lnTo>
                      <a:pt x="2196" y="966"/>
                    </a:lnTo>
                    <a:lnTo>
                      <a:pt x="2192" y="978"/>
                    </a:lnTo>
                    <a:lnTo>
                      <a:pt x="2188" y="990"/>
                    </a:lnTo>
                    <a:lnTo>
                      <a:pt x="2186" y="1000"/>
                    </a:lnTo>
                    <a:lnTo>
                      <a:pt x="2186" y="1006"/>
                    </a:lnTo>
                    <a:lnTo>
                      <a:pt x="2188" y="1012"/>
                    </a:lnTo>
                    <a:lnTo>
                      <a:pt x="2194" y="1016"/>
                    </a:lnTo>
                    <a:lnTo>
                      <a:pt x="2200" y="1022"/>
                    </a:lnTo>
                    <a:lnTo>
                      <a:pt x="2212" y="1032"/>
                    </a:lnTo>
                    <a:lnTo>
                      <a:pt x="2216" y="1036"/>
                    </a:lnTo>
                    <a:lnTo>
                      <a:pt x="2218" y="1040"/>
                    </a:lnTo>
                    <a:lnTo>
                      <a:pt x="2216" y="1046"/>
                    </a:lnTo>
                    <a:lnTo>
                      <a:pt x="2214" y="1054"/>
                    </a:lnTo>
                    <a:lnTo>
                      <a:pt x="2208" y="1062"/>
                    </a:lnTo>
                    <a:lnTo>
                      <a:pt x="2204" y="1072"/>
                    </a:lnTo>
                    <a:lnTo>
                      <a:pt x="2200" y="1084"/>
                    </a:lnTo>
                    <a:lnTo>
                      <a:pt x="2202" y="1098"/>
                    </a:lnTo>
                    <a:lnTo>
                      <a:pt x="2202" y="1106"/>
                    </a:lnTo>
                    <a:lnTo>
                      <a:pt x="2200" y="1104"/>
                    </a:lnTo>
                    <a:lnTo>
                      <a:pt x="2192" y="1096"/>
                    </a:lnTo>
                    <a:lnTo>
                      <a:pt x="2180" y="1084"/>
                    </a:lnTo>
                    <a:lnTo>
                      <a:pt x="2166" y="1072"/>
                    </a:lnTo>
                    <a:lnTo>
                      <a:pt x="2156" y="1068"/>
                    </a:lnTo>
                    <a:lnTo>
                      <a:pt x="2148" y="1066"/>
                    </a:lnTo>
                    <a:lnTo>
                      <a:pt x="2136" y="1064"/>
                    </a:lnTo>
                    <a:lnTo>
                      <a:pt x="2126" y="1066"/>
                    </a:lnTo>
                    <a:lnTo>
                      <a:pt x="2114" y="1070"/>
                    </a:lnTo>
                    <a:lnTo>
                      <a:pt x="2102" y="1076"/>
                    </a:lnTo>
                    <a:lnTo>
                      <a:pt x="2078" y="1092"/>
                    </a:lnTo>
                    <a:lnTo>
                      <a:pt x="2056" y="1104"/>
                    </a:lnTo>
                    <a:lnTo>
                      <a:pt x="2040" y="1114"/>
                    </a:lnTo>
                    <a:lnTo>
                      <a:pt x="2028" y="1122"/>
                    </a:lnTo>
                    <a:lnTo>
                      <a:pt x="2022" y="1130"/>
                    </a:lnTo>
                    <a:lnTo>
                      <a:pt x="2020" y="1134"/>
                    </a:lnTo>
                    <a:lnTo>
                      <a:pt x="2022" y="1140"/>
                    </a:lnTo>
                    <a:lnTo>
                      <a:pt x="2026" y="1150"/>
                    </a:lnTo>
                    <a:lnTo>
                      <a:pt x="2040" y="1166"/>
                    </a:lnTo>
                    <a:lnTo>
                      <a:pt x="2052" y="1180"/>
                    </a:lnTo>
                    <a:lnTo>
                      <a:pt x="2054" y="1186"/>
                    </a:lnTo>
                    <a:lnTo>
                      <a:pt x="2054" y="1192"/>
                    </a:lnTo>
                    <a:lnTo>
                      <a:pt x="2054" y="1196"/>
                    </a:lnTo>
                    <a:lnTo>
                      <a:pt x="2050" y="1198"/>
                    </a:lnTo>
                    <a:lnTo>
                      <a:pt x="2046" y="1200"/>
                    </a:lnTo>
                    <a:lnTo>
                      <a:pt x="2040" y="1202"/>
                    </a:lnTo>
                    <a:lnTo>
                      <a:pt x="2026" y="1202"/>
                    </a:lnTo>
                    <a:lnTo>
                      <a:pt x="2006" y="1198"/>
                    </a:lnTo>
                    <a:lnTo>
                      <a:pt x="1984" y="1190"/>
                    </a:lnTo>
                    <a:lnTo>
                      <a:pt x="1958" y="1180"/>
                    </a:lnTo>
                    <a:lnTo>
                      <a:pt x="1934" y="1170"/>
                    </a:lnTo>
                    <a:lnTo>
                      <a:pt x="1916" y="1164"/>
                    </a:lnTo>
                    <a:lnTo>
                      <a:pt x="1900" y="1162"/>
                    </a:lnTo>
                    <a:lnTo>
                      <a:pt x="1892" y="1164"/>
                    </a:lnTo>
                    <a:lnTo>
                      <a:pt x="1888" y="1166"/>
                    </a:lnTo>
                    <a:lnTo>
                      <a:pt x="1886" y="1170"/>
                    </a:lnTo>
                    <a:lnTo>
                      <a:pt x="1886" y="1176"/>
                    </a:lnTo>
                    <a:lnTo>
                      <a:pt x="1892" y="1186"/>
                    </a:lnTo>
                    <a:lnTo>
                      <a:pt x="1900" y="1196"/>
                    </a:lnTo>
                    <a:lnTo>
                      <a:pt x="1912" y="1206"/>
                    </a:lnTo>
                    <a:lnTo>
                      <a:pt x="1924" y="1214"/>
                    </a:lnTo>
                    <a:lnTo>
                      <a:pt x="1946" y="1222"/>
                    </a:lnTo>
                    <a:lnTo>
                      <a:pt x="1954" y="1226"/>
                    </a:lnTo>
                    <a:lnTo>
                      <a:pt x="1956" y="1228"/>
                    </a:lnTo>
                    <a:lnTo>
                      <a:pt x="1956" y="1232"/>
                    </a:lnTo>
                    <a:lnTo>
                      <a:pt x="1952" y="1238"/>
                    </a:lnTo>
                    <a:lnTo>
                      <a:pt x="1940" y="1246"/>
                    </a:lnTo>
                    <a:lnTo>
                      <a:pt x="1926" y="1252"/>
                    </a:lnTo>
                    <a:lnTo>
                      <a:pt x="1920" y="1252"/>
                    </a:lnTo>
                    <a:lnTo>
                      <a:pt x="1916" y="1252"/>
                    </a:lnTo>
                    <a:lnTo>
                      <a:pt x="1908" y="1248"/>
                    </a:lnTo>
                    <a:lnTo>
                      <a:pt x="1902" y="1240"/>
                    </a:lnTo>
                    <a:lnTo>
                      <a:pt x="1894" y="1232"/>
                    </a:lnTo>
                    <a:lnTo>
                      <a:pt x="1886" y="1224"/>
                    </a:lnTo>
                    <a:lnTo>
                      <a:pt x="1874" y="1216"/>
                    </a:lnTo>
                    <a:lnTo>
                      <a:pt x="1868" y="1212"/>
                    </a:lnTo>
                    <a:lnTo>
                      <a:pt x="1858" y="1210"/>
                    </a:lnTo>
                    <a:lnTo>
                      <a:pt x="1844" y="1206"/>
                    </a:lnTo>
                    <a:lnTo>
                      <a:pt x="1836" y="1202"/>
                    </a:lnTo>
                    <a:lnTo>
                      <a:pt x="1832" y="1196"/>
                    </a:lnTo>
                    <a:lnTo>
                      <a:pt x="1832" y="1188"/>
                    </a:lnTo>
                    <a:lnTo>
                      <a:pt x="1832" y="1182"/>
                    </a:lnTo>
                    <a:lnTo>
                      <a:pt x="1830" y="1174"/>
                    </a:lnTo>
                    <a:lnTo>
                      <a:pt x="1826" y="1164"/>
                    </a:lnTo>
                    <a:lnTo>
                      <a:pt x="1818" y="1156"/>
                    </a:lnTo>
                    <a:lnTo>
                      <a:pt x="1814" y="1152"/>
                    </a:lnTo>
                    <a:lnTo>
                      <a:pt x="1812" y="1148"/>
                    </a:lnTo>
                    <a:lnTo>
                      <a:pt x="1812" y="1144"/>
                    </a:lnTo>
                    <a:lnTo>
                      <a:pt x="1812" y="1140"/>
                    </a:lnTo>
                    <a:lnTo>
                      <a:pt x="1816" y="1134"/>
                    </a:lnTo>
                    <a:lnTo>
                      <a:pt x="1822" y="1128"/>
                    </a:lnTo>
                    <a:lnTo>
                      <a:pt x="1826" y="1122"/>
                    </a:lnTo>
                    <a:lnTo>
                      <a:pt x="1830" y="1114"/>
                    </a:lnTo>
                    <a:lnTo>
                      <a:pt x="1828" y="1110"/>
                    </a:lnTo>
                    <a:lnTo>
                      <a:pt x="1826" y="1106"/>
                    </a:lnTo>
                    <a:lnTo>
                      <a:pt x="1822" y="1100"/>
                    </a:lnTo>
                    <a:lnTo>
                      <a:pt x="1816" y="1096"/>
                    </a:lnTo>
                    <a:lnTo>
                      <a:pt x="1800" y="1084"/>
                    </a:lnTo>
                    <a:lnTo>
                      <a:pt x="1784" y="1076"/>
                    </a:lnTo>
                    <a:lnTo>
                      <a:pt x="1758" y="1060"/>
                    </a:lnTo>
                    <a:lnTo>
                      <a:pt x="1746" y="1054"/>
                    </a:lnTo>
                    <a:lnTo>
                      <a:pt x="1738" y="1046"/>
                    </a:lnTo>
                    <a:lnTo>
                      <a:pt x="1730" y="1036"/>
                    </a:lnTo>
                    <a:lnTo>
                      <a:pt x="1726" y="1026"/>
                    </a:lnTo>
                    <a:lnTo>
                      <a:pt x="1724" y="1018"/>
                    </a:lnTo>
                    <a:lnTo>
                      <a:pt x="1726" y="1016"/>
                    </a:lnTo>
                    <a:lnTo>
                      <a:pt x="1736" y="1026"/>
                    </a:lnTo>
                    <a:lnTo>
                      <a:pt x="1746" y="1036"/>
                    </a:lnTo>
                    <a:lnTo>
                      <a:pt x="1762" y="1044"/>
                    </a:lnTo>
                    <a:lnTo>
                      <a:pt x="1782" y="1054"/>
                    </a:lnTo>
                    <a:lnTo>
                      <a:pt x="1808" y="1060"/>
                    </a:lnTo>
                    <a:lnTo>
                      <a:pt x="1836" y="1066"/>
                    </a:lnTo>
                    <a:lnTo>
                      <a:pt x="1864" y="1074"/>
                    </a:lnTo>
                    <a:lnTo>
                      <a:pt x="1920" y="1092"/>
                    </a:lnTo>
                    <a:lnTo>
                      <a:pt x="1948" y="1098"/>
                    </a:lnTo>
                    <a:lnTo>
                      <a:pt x="1962" y="1100"/>
                    </a:lnTo>
                    <a:lnTo>
                      <a:pt x="1976" y="1100"/>
                    </a:lnTo>
                    <a:lnTo>
                      <a:pt x="1990" y="1098"/>
                    </a:lnTo>
                    <a:lnTo>
                      <a:pt x="2002" y="1096"/>
                    </a:lnTo>
                    <a:lnTo>
                      <a:pt x="2016" y="1092"/>
                    </a:lnTo>
                    <a:lnTo>
                      <a:pt x="2030" y="1084"/>
                    </a:lnTo>
                    <a:lnTo>
                      <a:pt x="2052" y="1070"/>
                    </a:lnTo>
                    <a:lnTo>
                      <a:pt x="2072" y="1056"/>
                    </a:lnTo>
                    <a:lnTo>
                      <a:pt x="2084" y="1042"/>
                    </a:lnTo>
                    <a:lnTo>
                      <a:pt x="2090" y="1036"/>
                    </a:lnTo>
                    <a:lnTo>
                      <a:pt x="2092" y="1030"/>
                    </a:lnTo>
                    <a:lnTo>
                      <a:pt x="2094" y="1022"/>
                    </a:lnTo>
                    <a:lnTo>
                      <a:pt x="2092" y="1016"/>
                    </a:lnTo>
                    <a:lnTo>
                      <a:pt x="2090" y="1010"/>
                    </a:lnTo>
                    <a:lnTo>
                      <a:pt x="2086" y="1002"/>
                    </a:lnTo>
                    <a:lnTo>
                      <a:pt x="2080" y="994"/>
                    </a:lnTo>
                    <a:lnTo>
                      <a:pt x="2072" y="988"/>
                    </a:lnTo>
                    <a:lnTo>
                      <a:pt x="2050" y="970"/>
                    </a:lnTo>
                    <a:lnTo>
                      <a:pt x="2010" y="946"/>
                    </a:lnTo>
                    <a:lnTo>
                      <a:pt x="1982" y="934"/>
                    </a:lnTo>
                    <a:lnTo>
                      <a:pt x="1954" y="920"/>
                    </a:lnTo>
                    <a:lnTo>
                      <a:pt x="1910" y="896"/>
                    </a:lnTo>
                    <a:lnTo>
                      <a:pt x="1884" y="882"/>
                    </a:lnTo>
                    <a:lnTo>
                      <a:pt x="1868" y="874"/>
                    </a:lnTo>
                    <a:lnTo>
                      <a:pt x="1854" y="870"/>
                    </a:lnTo>
                    <a:lnTo>
                      <a:pt x="1844" y="870"/>
                    </a:lnTo>
                    <a:lnTo>
                      <a:pt x="1834" y="872"/>
                    </a:lnTo>
                    <a:lnTo>
                      <a:pt x="1822" y="872"/>
                    </a:lnTo>
                    <a:lnTo>
                      <a:pt x="1808" y="870"/>
                    </a:lnTo>
                    <a:lnTo>
                      <a:pt x="1786" y="866"/>
                    </a:lnTo>
                    <a:lnTo>
                      <a:pt x="1768" y="858"/>
                    </a:lnTo>
                    <a:lnTo>
                      <a:pt x="1758" y="852"/>
                    </a:lnTo>
                    <a:lnTo>
                      <a:pt x="1756" y="850"/>
                    </a:lnTo>
                    <a:lnTo>
                      <a:pt x="1756" y="846"/>
                    </a:lnTo>
                    <a:lnTo>
                      <a:pt x="1758" y="844"/>
                    </a:lnTo>
                    <a:lnTo>
                      <a:pt x="1758" y="840"/>
                    </a:lnTo>
                    <a:lnTo>
                      <a:pt x="1752" y="834"/>
                    </a:lnTo>
                    <a:lnTo>
                      <a:pt x="1740" y="828"/>
                    </a:lnTo>
                    <a:lnTo>
                      <a:pt x="1726" y="824"/>
                    </a:lnTo>
                    <a:lnTo>
                      <a:pt x="1718" y="824"/>
                    </a:lnTo>
                    <a:lnTo>
                      <a:pt x="1712" y="826"/>
                    </a:lnTo>
                    <a:lnTo>
                      <a:pt x="1710" y="830"/>
                    </a:lnTo>
                    <a:lnTo>
                      <a:pt x="1706" y="834"/>
                    </a:lnTo>
                    <a:lnTo>
                      <a:pt x="1698" y="838"/>
                    </a:lnTo>
                    <a:lnTo>
                      <a:pt x="1686" y="838"/>
                    </a:lnTo>
                    <a:lnTo>
                      <a:pt x="1666" y="834"/>
                    </a:lnTo>
                    <a:lnTo>
                      <a:pt x="1658" y="832"/>
                    </a:lnTo>
                    <a:lnTo>
                      <a:pt x="1652" y="832"/>
                    </a:lnTo>
                    <a:lnTo>
                      <a:pt x="1648" y="832"/>
                    </a:lnTo>
                    <a:lnTo>
                      <a:pt x="1644" y="828"/>
                    </a:lnTo>
                    <a:lnTo>
                      <a:pt x="1640" y="828"/>
                    </a:lnTo>
                    <a:lnTo>
                      <a:pt x="1638" y="830"/>
                    </a:lnTo>
                    <a:lnTo>
                      <a:pt x="1636" y="834"/>
                    </a:lnTo>
                    <a:lnTo>
                      <a:pt x="1630" y="836"/>
                    </a:lnTo>
                    <a:lnTo>
                      <a:pt x="1620" y="838"/>
                    </a:lnTo>
                    <a:lnTo>
                      <a:pt x="1618" y="838"/>
                    </a:lnTo>
                    <a:lnTo>
                      <a:pt x="1618" y="834"/>
                    </a:lnTo>
                    <a:lnTo>
                      <a:pt x="1622" y="830"/>
                    </a:lnTo>
                    <a:lnTo>
                      <a:pt x="1622" y="826"/>
                    </a:lnTo>
                    <a:lnTo>
                      <a:pt x="1620" y="822"/>
                    </a:lnTo>
                    <a:lnTo>
                      <a:pt x="1618" y="820"/>
                    </a:lnTo>
                    <a:lnTo>
                      <a:pt x="1614" y="818"/>
                    </a:lnTo>
                    <a:lnTo>
                      <a:pt x="1608" y="818"/>
                    </a:lnTo>
                    <a:lnTo>
                      <a:pt x="1598" y="816"/>
                    </a:lnTo>
                    <a:lnTo>
                      <a:pt x="1590" y="814"/>
                    </a:lnTo>
                    <a:lnTo>
                      <a:pt x="1586" y="812"/>
                    </a:lnTo>
                    <a:lnTo>
                      <a:pt x="1580" y="810"/>
                    </a:lnTo>
                    <a:lnTo>
                      <a:pt x="1576" y="810"/>
                    </a:lnTo>
                    <a:lnTo>
                      <a:pt x="1580" y="808"/>
                    </a:lnTo>
                    <a:lnTo>
                      <a:pt x="1592" y="808"/>
                    </a:lnTo>
                    <a:lnTo>
                      <a:pt x="1612" y="812"/>
                    </a:lnTo>
                    <a:lnTo>
                      <a:pt x="1624" y="812"/>
                    </a:lnTo>
                    <a:lnTo>
                      <a:pt x="1634" y="812"/>
                    </a:lnTo>
                    <a:lnTo>
                      <a:pt x="1640" y="810"/>
                    </a:lnTo>
                    <a:lnTo>
                      <a:pt x="1646" y="808"/>
                    </a:lnTo>
                    <a:lnTo>
                      <a:pt x="1654" y="800"/>
                    </a:lnTo>
                    <a:lnTo>
                      <a:pt x="1658" y="800"/>
                    </a:lnTo>
                    <a:lnTo>
                      <a:pt x="1662" y="800"/>
                    </a:lnTo>
                    <a:lnTo>
                      <a:pt x="1668" y="800"/>
                    </a:lnTo>
                    <a:lnTo>
                      <a:pt x="1672" y="798"/>
                    </a:lnTo>
                    <a:lnTo>
                      <a:pt x="1674" y="796"/>
                    </a:lnTo>
                    <a:lnTo>
                      <a:pt x="1676" y="794"/>
                    </a:lnTo>
                    <a:lnTo>
                      <a:pt x="1676" y="790"/>
                    </a:lnTo>
                    <a:lnTo>
                      <a:pt x="1674" y="788"/>
                    </a:lnTo>
                    <a:lnTo>
                      <a:pt x="1672" y="786"/>
                    </a:lnTo>
                    <a:lnTo>
                      <a:pt x="1668" y="786"/>
                    </a:lnTo>
                    <a:lnTo>
                      <a:pt x="1660" y="786"/>
                    </a:lnTo>
                    <a:lnTo>
                      <a:pt x="1658" y="782"/>
                    </a:lnTo>
                    <a:lnTo>
                      <a:pt x="1656" y="780"/>
                    </a:lnTo>
                    <a:lnTo>
                      <a:pt x="1650" y="778"/>
                    </a:lnTo>
                    <a:lnTo>
                      <a:pt x="1648" y="776"/>
                    </a:lnTo>
                    <a:lnTo>
                      <a:pt x="1644" y="774"/>
                    </a:lnTo>
                    <a:lnTo>
                      <a:pt x="1640" y="770"/>
                    </a:lnTo>
                    <a:lnTo>
                      <a:pt x="1636" y="766"/>
                    </a:lnTo>
                    <a:lnTo>
                      <a:pt x="1634" y="766"/>
                    </a:lnTo>
                    <a:lnTo>
                      <a:pt x="1630" y="768"/>
                    </a:lnTo>
                    <a:lnTo>
                      <a:pt x="1624" y="768"/>
                    </a:lnTo>
                    <a:lnTo>
                      <a:pt x="1624" y="766"/>
                    </a:lnTo>
                    <a:lnTo>
                      <a:pt x="1620" y="764"/>
                    </a:lnTo>
                    <a:lnTo>
                      <a:pt x="1614" y="766"/>
                    </a:lnTo>
                    <a:lnTo>
                      <a:pt x="1606" y="768"/>
                    </a:lnTo>
                    <a:lnTo>
                      <a:pt x="1606" y="764"/>
                    </a:lnTo>
                    <a:lnTo>
                      <a:pt x="1606" y="762"/>
                    </a:lnTo>
                    <a:lnTo>
                      <a:pt x="1606" y="760"/>
                    </a:lnTo>
                    <a:lnTo>
                      <a:pt x="1602" y="758"/>
                    </a:lnTo>
                    <a:lnTo>
                      <a:pt x="1596" y="756"/>
                    </a:lnTo>
                    <a:lnTo>
                      <a:pt x="1588" y="754"/>
                    </a:lnTo>
                    <a:lnTo>
                      <a:pt x="1582" y="754"/>
                    </a:lnTo>
                    <a:lnTo>
                      <a:pt x="1578" y="758"/>
                    </a:lnTo>
                    <a:lnTo>
                      <a:pt x="1574" y="760"/>
                    </a:lnTo>
                    <a:lnTo>
                      <a:pt x="1572" y="766"/>
                    </a:lnTo>
                    <a:lnTo>
                      <a:pt x="1570" y="770"/>
                    </a:lnTo>
                    <a:lnTo>
                      <a:pt x="1570" y="780"/>
                    </a:lnTo>
                    <a:lnTo>
                      <a:pt x="1572" y="786"/>
                    </a:lnTo>
                    <a:lnTo>
                      <a:pt x="1568" y="786"/>
                    </a:lnTo>
                    <a:lnTo>
                      <a:pt x="1564" y="782"/>
                    </a:lnTo>
                    <a:lnTo>
                      <a:pt x="1560" y="782"/>
                    </a:lnTo>
                    <a:lnTo>
                      <a:pt x="1558" y="782"/>
                    </a:lnTo>
                    <a:lnTo>
                      <a:pt x="1550" y="784"/>
                    </a:lnTo>
                    <a:lnTo>
                      <a:pt x="1548" y="784"/>
                    </a:lnTo>
                    <a:lnTo>
                      <a:pt x="1548" y="782"/>
                    </a:lnTo>
                    <a:lnTo>
                      <a:pt x="1554" y="778"/>
                    </a:lnTo>
                    <a:lnTo>
                      <a:pt x="1560" y="772"/>
                    </a:lnTo>
                    <a:lnTo>
                      <a:pt x="1564" y="768"/>
                    </a:lnTo>
                    <a:lnTo>
                      <a:pt x="1564" y="766"/>
                    </a:lnTo>
                    <a:lnTo>
                      <a:pt x="1562" y="766"/>
                    </a:lnTo>
                    <a:lnTo>
                      <a:pt x="1556" y="766"/>
                    </a:lnTo>
                    <a:lnTo>
                      <a:pt x="1554" y="766"/>
                    </a:lnTo>
                    <a:lnTo>
                      <a:pt x="1554" y="762"/>
                    </a:lnTo>
                    <a:lnTo>
                      <a:pt x="1558" y="758"/>
                    </a:lnTo>
                    <a:lnTo>
                      <a:pt x="1564" y="756"/>
                    </a:lnTo>
                    <a:lnTo>
                      <a:pt x="1572" y="752"/>
                    </a:lnTo>
                    <a:lnTo>
                      <a:pt x="1574" y="750"/>
                    </a:lnTo>
                    <a:lnTo>
                      <a:pt x="1574" y="748"/>
                    </a:lnTo>
                    <a:lnTo>
                      <a:pt x="1572" y="746"/>
                    </a:lnTo>
                    <a:lnTo>
                      <a:pt x="1570" y="746"/>
                    </a:lnTo>
                    <a:lnTo>
                      <a:pt x="1566" y="746"/>
                    </a:lnTo>
                    <a:lnTo>
                      <a:pt x="1562" y="746"/>
                    </a:lnTo>
                    <a:lnTo>
                      <a:pt x="1560" y="746"/>
                    </a:lnTo>
                    <a:lnTo>
                      <a:pt x="1560" y="742"/>
                    </a:lnTo>
                    <a:lnTo>
                      <a:pt x="1560" y="740"/>
                    </a:lnTo>
                    <a:lnTo>
                      <a:pt x="1558" y="740"/>
                    </a:lnTo>
                    <a:lnTo>
                      <a:pt x="1554" y="740"/>
                    </a:lnTo>
                    <a:lnTo>
                      <a:pt x="1548" y="742"/>
                    </a:lnTo>
                    <a:lnTo>
                      <a:pt x="1544" y="742"/>
                    </a:lnTo>
                    <a:lnTo>
                      <a:pt x="1540" y="740"/>
                    </a:lnTo>
                    <a:lnTo>
                      <a:pt x="1538" y="738"/>
                    </a:lnTo>
                    <a:lnTo>
                      <a:pt x="1536" y="738"/>
                    </a:lnTo>
                    <a:lnTo>
                      <a:pt x="1534" y="740"/>
                    </a:lnTo>
                    <a:lnTo>
                      <a:pt x="1532" y="744"/>
                    </a:lnTo>
                    <a:lnTo>
                      <a:pt x="1530" y="744"/>
                    </a:lnTo>
                    <a:lnTo>
                      <a:pt x="1528" y="744"/>
                    </a:lnTo>
                    <a:lnTo>
                      <a:pt x="1524" y="742"/>
                    </a:lnTo>
                    <a:lnTo>
                      <a:pt x="1522" y="744"/>
                    </a:lnTo>
                    <a:lnTo>
                      <a:pt x="1518" y="746"/>
                    </a:lnTo>
                    <a:lnTo>
                      <a:pt x="1518" y="750"/>
                    </a:lnTo>
                    <a:lnTo>
                      <a:pt x="1518" y="752"/>
                    </a:lnTo>
                    <a:lnTo>
                      <a:pt x="1520" y="752"/>
                    </a:lnTo>
                    <a:lnTo>
                      <a:pt x="1524" y="754"/>
                    </a:lnTo>
                    <a:lnTo>
                      <a:pt x="1530" y="754"/>
                    </a:lnTo>
                    <a:lnTo>
                      <a:pt x="1528" y="756"/>
                    </a:lnTo>
                    <a:lnTo>
                      <a:pt x="1522" y="760"/>
                    </a:lnTo>
                    <a:lnTo>
                      <a:pt x="1522" y="762"/>
                    </a:lnTo>
                    <a:lnTo>
                      <a:pt x="1520" y="764"/>
                    </a:lnTo>
                    <a:lnTo>
                      <a:pt x="1516" y="766"/>
                    </a:lnTo>
                    <a:lnTo>
                      <a:pt x="1516" y="768"/>
                    </a:lnTo>
                    <a:lnTo>
                      <a:pt x="1514" y="772"/>
                    </a:lnTo>
                    <a:lnTo>
                      <a:pt x="1512" y="772"/>
                    </a:lnTo>
                    <a:lnTo>
                      <a:pt x="1510" y="774"/>
                    </a:lnTo>
                    <a:lnTo>
                      <a:pt x="1510" y="780"/>
                    </a:lnTo>
                    <a:lnTo>
                      <a:pt x="1510" y="782"/>
                    </a:lnTo>
                    <a:lnTo>
                      <a:pt x="1510" y="784"/>
                    </a:lnTo>
                    <a:lnTo>
                      <a:pt x="1504" y="786"/>
                    </a:lnTo>
                    <a:lnTo>
                      <a:pt x="1496" y="790"/>
                    </a:lnTo>
                    <a:lnTo>
                      <a:pt x="1492" y="792"/>
                    </a:lnTo>
                    <a:lnTo>
                      <a:pt x="1490" y="790"/>
                    </a:lnTo>
                    <a:lnTo>
                      <a:pt x="1492" y="784"/>
                    </a:lnTo>
                    <a:lnTo>
                      <a:pt x="1494" y="776"/>
                    </a:lnTo>
                    <a:lnTo>
                      <a:pt x="1496" y="770"/>
                    </a:lnTo>
                    <a:lnTo>
                      <a:pt x="1496" y="766"/>
                    </a:lnTo>
                    <a:lnTo>
                      <a:pt x="1498" y="760"/>
                    </a:lnTo>
                    <a:lnTo>
                      <a:pt x="1500" y="754"/>
                    </a:lnTo>
                    <a:lnTo>
                      <a:pt x="1498" y="750"/>
                    </a:lnTo>
                    <a:lnTo>
                      <a:pt x="1494" y="750"/>
                    </a:lnTo>
                    <a:lnTo>
                      <a:pt x="1490" y="752"/>
                    </a:lnTo>
                    <a:lnTo>
                      <a:pt x="1480" y="762"/>
                    </a:lnTo>
                    <a:lnTo>
                      <a:pt x="1456" y="784"/>
                    </a:lnTo>
                    <a:lnTo>
                      <a:pt x="1450" y="790"/>
                    </a:lnTo>
                    <a:lnTo>
                      <a:pt x="1450" y="794"/>
                    </a:lnTo>
                    <a:lnTo>
                      <a:pt x="1450" y="798"/>
                    </a:lnTo>
                    <a:lnTo>
                      <a:pt x="1446" y="804"/>
                    </a:lnTo>
                    <a:lnTo>
                      <a:pt x="1440" y="810"/>
                    </a:lnTo>
                    <a:lnTo>
                      <a:pt x="1436" y="810"/>
                    </a:lnTo>
                    <a:lnTo>
                      <a:pt x="1434" y="810"/>
                    </a:lnTo>
                    <a:lnTo>
                      <a:pt x="1432" y="810"/>
                    </a:lnTo>
                    <a:lnTo>
                      <a:pt x="1428" y="812"/>
                    </a:lnTo>
                    <a:lnTo>
                      <a:pt x="1426" y="812"/>
                    </a:lnTo>
                    <a:lnTo>
                      <a:pt x="1428" y="808"/>
                    </a:lnTo>
                    <a:lnTo>
                      <a:pt x="1432" y="802"/>
                    </a:lnTo>
                    <a:lnTo>
                      <a:pt x="1436" y="798"/>
                    </a:lnTo>
                    <a:lnTo>
                      <a:pt x="1436" y="794"/>
                    </a:lnTo>
                    <a:lnTo>
                      <a:pt x="1436" y="792"/>
                    </a:lnTo>
                    <a:lnTo>
                      <a:pt x="1438" y="790"/>
                    </a:lnTo>
                    <a:lnTo>
                      <a:pt x="1442" y="784"/>
                    </a:lnTo>
                    <a:lnTo>
                      <a:pt x="1440" y="782"/>
                    </a:lnTo>
                    <a:lnTo>
                      <a:pt x="1440" y="778"/>
                    </a:lnTo>
                    <a:lnTo>
                      <a:pt x="1448" y="770"/>
                    </a:lnTo>
                    <a:lnTo>
                      <a:pt x="1466" y="756"/>
                    </a:lnTo>
                    <a:lnTo>
                      <a:pt x="1466" y="754"/>
                    </a:lnTo>
                    <a:lnTo>
                      <a:pt x="1458" y="754"/>
                    </a:lnTo>
                    <a:lnTo>
                      <a:pt x="1454" y="752"/>
                    </a:lnTo>
                    <a:lnTo>
                      <a:pt x="1450" y="752"/>
                    </a:lnTo>
                    <a:lnTo>
                      <a:pt x="1446" y="748"/>
                    </a:lnTo>
                    <a:lnTo>
                      <a:pt x="1446" y="746"/>
                    </a:lnTo>
                    <a:lnTo>
                      <a:pt x="1444" y="752"/>
                    </a:lnTo>
                    <a:lnTo>
                      <a:pt x="1442" y="758"/>
                    </a:lnTo>
                    <a:lnTo>
                      <a:pt x="1442" y="760"/>
                    </a:lnTo>
                    <a:lnTo>
                      <a:pt x="1440" y="758"/>
                    </a:lnTo>
                    <a:lnTo>
                      <a:pt x="1438" y="754"/>
                    </a:lnTo>
                    <a:lnTo>
                      <a:pt x="1434" y="750"/>
                    </a:lnTo>
                    <a:lnTo>
                      <a:pt x="1430" y="748"/>
                    </a:lnTo>
                    <a:lnTo>
                      <a:pt x="1426" y="750"/>
                    </a:lnTo>
                    <a:lnTo>
                      <a:pt x="1424" y="750"/>
                    </a:lnTo>
                    <a:lnTo>
                      <a:pt x="1420" y="748"/>
                    </a:lnTo>
                    <a:lnTo>
                      <a:pt x="1418" y="746"/>
                    </a:lnTo>
                    <a:lnTo>
                      <a:pt x="1414" y="746"/>
                    </a:lnTo>
                    <a:lnTo>
                      <a:pt x="1412" y="748"/>
                    </a:lnTo>
                    <a:lnTo>
                      <a:pt x="1414" y="752"/>
                    </a:lnTo>
                    <a:lnTo>
                      <a:pt x="1416" y="754"/>
                    </a:lnTo>
                    <a:lnTo>
                      <a:pt x="1416" y="758"/>
                    </a:lnTo>
                    <a:lnTo>
                      <a:pt x="1414" y="760"/>
                    </a:lnTo>
                    <a:lnTo>
                      <a:pt x="1408" y="758"/>
                    </a:lnTo>
                    <a:lnTo>
                      <a:pt x="1402" y="754"/>
                    </a:lnTo>
                    <a:lnTo>
                      <a:pt x="1400" y="756"/>
                    </a:lnTo>
                    <a:lnTo>
                      <a:pt x="1402" y="760"/>
                    </a:lnTo>
                    <a:lnTo>
                      <a:pt x="1410" y="764"/>
                    </a:lnTo>
                    <a:lnTo>
                      <a:pt x="1418" y="768"/>
                    </a:lnTo>
                    <a:lnTo>
                      <a:pt x="1422" y="770"/>
                    </a:lnTo>
                    <a:lnTo>
                      <a:pt x="1418" y="772"/>
                    </a:lnTo>
                    <a:lnTo>
                      <a:pt x="1410" y="770"/>
                    </a:lnTo>
                    <a:lnTo>
                      <a:pt x="1404" y="768"/>
                    </a:lnTo>
                    <a:lnTo>
                      <a:pt x="1402" y="768"/>
                    </a:lnTo>
                    <a:lnTo>
                      <a:pt x="1402" y="770"/>
                    </a:lnTo>
                    <a:lnTo>
                      <a:pt x="1400" y="774"/>
                    </a:lnTo>
                    <a:lnTo>
                      <a:pt x="1396" y="778"/>
                    </a:lnTo>
                    <a:lnTo>
                      <a:pt x="1388" y="782"/>
                    </a:lnTo>
                    <a:lnTo>
                      <a:pt x="1376" y="790"/>
                    </a:lnTo>
                    <a:lnTo>
                      <a:pt x="1372" y="792"/>
                    </a:lnTo>
                    <a:lnTo>
                      <a:pt x="1372" y="794"/>
                    </a:lnTo>
                    <a:lnTo>
                      <a:pt x="1366" y="798"/>
                    </a:lnTo>
                    <a:lnTo>
                      <a:pt x="1362" y="800"/>
                    </a:lnTo>
                    <a:lnTo>
                      <a:pt x="1360" y="802"/>
                    </a:lnTo>
                    <a:lnTo>
                      <a:pt x="1360" y="804"/>
                    </a:lnTo>
                    <a:lnTo>
                      <a:pt x="1362" y="808"/>
                    </a:lnTo>
                    <a:lnTo>
                      <a:pt x="1360" y="810"/>
                    </a:lnTo>
                    <a:lnTo>
                      <a:pt x="1358" y="810"/>
                    </a:lnTo>
                    <a:lnTo>
                      <a:pt x="1358" y="812"/>
                    </a:lnTo>
                    <a:lnTo>
                      <a:pt x="1362" y="816"/>
                    </a:lnTo>
                    <a:lnTo>
                      <a:pt x="1368" y="818"/>
                    </a:lnTo>
                    <a:lnTo>
                      <a:pt x="1370" y="818"/>
                    </a:lnTo>
                    <a:lnTo>
                      <a:pt x="1368" y="818"/>
                    </a:lnTo>
                    <a:lnTo>
                      <a:pt x="1362" y="818"/>
                    </a:lnTo>
                    <a:lnTo>
                      <a:pt x="1356" y="818"/>
                    </a:lnTo>
                    <a:lnTo>
                      <a:pt x="1350" y="816"/>
                    </a:lnTo>
                    <a:lnTo>
                      <a:pt x="1350" y="814"/>
                    </a:lnTo>
                    <a:lnTo>
                      <a:pt x="1350" y="810"/>
                    </a:lnTo>
                    <a:lnTo>
                      <a:pt x="1350" y="806"/>
                    </a:lnTo>
                    <a:lnTo>
                      <a:pt x="1350" y="804"/>
                    </a:lnTo>
                    <a:lnTo>
                      <a:pt x="1342" y="802"/>
                    </a:lnTo>
                    <a:lnTo>
                      <a:pt x="1334" y="800"/>
                    </a:lnTo>
                    <a:lnTo>
                      <a:pt x="1326" y="800"/>
                    </a:lnTo>
                    <a:lnTo>
                      <a:pt x="1324" y="798"/>
                    </a:lnTo>
                    <a:lnTo>
                      <a:pt x="1322" y="798"/>
                    </a:lnTo>
                    <a:lnTo>
                      <a:pt x="1320" y="796"/>
                    </a:lnTo>
                    <a:lnTo>
                      <a:pt x="1318" y="798"/>
                    </a:lnTo>
                    <a:lnTo>
                      <a:pt x="1312" y="796"/>
                    </a:lnTo>
                    <a:lnTo>
                      <a:pt x="1308" y="794"/>
                    </a:lnTo>
                    <a:lnTo>
                      <a:pt x="1306" y="794"/>
                    </a:lnTo>
                    <a:lnTo>
                      <a:pt x="1306" y="796"/>
                    </a:lnTo>
                    <a:lnTo>
                      <a:pt x="1304" y="802"/>
                    </a:lnTo>
                    <a:lnTo>
                      <a:pt x="1302" y="808"/>
                    </a:lnTo>
                    <a:lnTo>
                      <a:pt x="1300" y="802"/>
                    </a:lnTo>
                    <a:lnTo>
                      <a:pt x="1298" y="800"/>
                    </a:lnTo>
                    <a:lnTo>
                      <a:pt x="1294" y="796"/>
                    </a:lnTo>
                    <a:lnTo>
                      <a:pt x="1290" y="796"/>
                    </a:lnTo>
                    <a:lnTo>
                      <a:pt x="1284" y="798"/>
                    </a:lnTo>
                    <a:lnTo>
                      <a:pt x="1278" y="802"/>
                    </a:lnTo>
                    <a:lnTo>
                      <a:pt x="1280" y="804"/>
                    </a:lnTo>
                    <a:lnTo>
                      <a:pt x="1286" y="806"/>
                    </a:lnTo>
                    <a:lnTo>
                      <a:pt x="1288" y="808"/>
                    </a:lnTo>
                    <a:lnTo>
                      <a:pt x="1290" y="810"/>
                    </a:lnTo>
                    <a:lnTo>
                      <a:pt x="1294" y="812"/>
                    </a:lnTo>
                    <a:lnTo>
                      <a:pt x="1298" y="812"/>
                    </a:lnTo>
                    <a:lnTo>
                      <a:pt x="1302" y="814"/>
                    </a:lnTo>
                    <a:lnTo>
                      <a:pt x="1304" y="816"/>
                    </a:lnTo>
                    <a:lnTo>
                      <a:pt x="1308" y="816"/>
                    </a:lnTo>
                    <a:lnTo>
                      <a:pt x="1310" y="818"/>
                    </a:lnTo>
                    <a:lnTo>
                      <a:pt x="1308" y="820"/>
                    </a:lnTo>
                    <a:lnTo>
                      <a:pt x="1306" y="822"/>
                    </a:lnTo>
                    <a:lnTo>
                      <a:pt x="1306" y="824"/>
                    </a:lnTo>
                    <a:lnTo>
                      <a:pt x="1312" y="832"/>
                    </a:lnTo>
                    <a:lnTo>
                      <a:pt x="1314" y="836"/>
                    </a:lnTo>
                    <a:lnTo>
                      <a:pt x="1312" y="836"/>
                    </a:lnTo>
                    <a:lnTo>
                      <a:pt x="1296" y="824"/>
                    </a:lnTo>
                    <a:lnTo>
                      <a:pt x="1286" y="818"/>
                    </a:lnTo>
                    <a:lnTo>
                      <a:pt x="1280" y="816"/>
                    </a:lnTo>
                    <a:lnTo>
                      <a:pt x="1278" y="818"/>
                    </a:lnTo>
                    <a:lnTo>
                      <a:pt x="1278" y="822"/>
                    </a:lnTo>
                    <a:lnTo>
                      <a:pt x="1280" y="822"/>
                    </a:lnTo>
                    <a:lnTo>
                      <a:pt x="1280" y="824"/>
                    </a:lnTo>
                    <a:lnTo>
                      <a:pt x="1276" y="826"/>
                    </a:lnTo>
                    <a:lnTo>
                      <a:pt x="1274" y="826"/>
                    </a:lnTo>
                    <a:lnTo>
                      <a:pt x="1272" y="826"/>
                    </a:lnTo>
                    <a:lnTo>
                      <a:pt x="1272" y="824"/>
                    </a:lnTo>
                    <a:lnTo>
                      <a:pt x="1274" y="822"/>
                    </a:lnTo>
                    <a:lnTo>
                      <a:pt x="1272" y="822"/>
                    </a:lnTo>
                    <a:lnTo>
                      <a:pt x="1266" y="824"/>
                    </a:lnTo>
                    <a:lnTo>
                      <a:pt x="1252" y="834"/>
                    </a:lnTo>
                    <a:lnTo>
                      <a:pt x="1252" y="836"/>
                    </a:lnTo>
                    <a:lnTo>
                      <a:pt x="1250" y="838"/>
                    </a:lnTo>
                    <a:lnTo>
                      <a:pt x="1248" y="846"/>
                    </a:lnTo>
                    <a:lnTo>
                      <a:pt x="1246" y="850"/>
                    </a:lnTo>
                    <a:lnTo>
                      <a:pt x="1244" y="856"/>
                    </a:lnTo>
                    <a:lnTo>
                      <a:pt x="1238" y="862"/>
                    </a:lnTo>
                    <a:lnTo>
                      <a:pt x="1228" y="868"/>
                    </a:lnTo>
                    <a:lnTo>
                      <a:pt x="1238" y="856"/>
                    </a:lnTo>
                    <a:lnTo>
                      <a:pt x="1242" y="844"/>
                    </a:lnTo>
                    <a:lnTo>
                      <a:pt x="1244" y="832"/>
                    </a:lnTo>
                    <a:lnTo>
                      <a:pt x="1244" y="824"/>
                    </a:lnTo>
                    <a:lnTo>
                      <a:pt x="1242" y="820"/>
                    </a:lnTo>
                    <a:lnTo>
                      <a:pt x="1240" y="822"/>
                    </a:lnTo>
                    <a:lnTo>
                      <a:pt x="1238" y="824"/>
                    </a:lnTo>
                    <a:lnTo>
                      <a:pt x="1236" y="826"/>
                    </a:lnTo>
                    <a:lnTo>
                      <a:pt x="1236" y="824"/>
                    </a:lnTo>
                    <a:lnTo>
                      <a:pt x="1232" y="822"/>
                    </a:lnTo>
                    <a:lnTo>
                      <a:pt x="1230" y="822"/>
                    </a:lnTo>
                    <a:lnTo>
                      <a:pt x="1224" y="834"/>
                    </a:lnTo>
                    <a:lnTo>
                      <a:pt x="1222" y="840"/>
                    </a:lnTo>
                    <a:lnTo>
                      <a:pt x="1222" y="842"/>
                    </a:lnTo>
                    <a:lnTo>
                      <a:pt x="1222" y="844"/>
                    </a:lnTo>
                    <a:lnTo>
                      <a:pt x="1220" y="846"/>
                    </a:lnTo>
                    <a:lnTo>
                      <a:pt x="1216" y="848"/>
                    </a:lnTo>
                    <a:lnTo>
                      <a:pt x="1214" y="848"/>
                    </a:lnTo>
                    <a:lnTo>
                      <a:pt x="1214" y="846"/>
                    </a:lnTo>
                    <a:lnTo>
                      <a:pt x="1216" y="840"/>
                    </a:lnTo>
                    <a:lnTo>
                      <a:pt x="1218" y="836"/>
                    </a:lnTo>
                    <a:lnTo>
                      <a:pt x="1216" y="832"/>
                    </a:lnTo>
                    <a:lnTo>
                      <a:pt x="1214" y="830"/>
                    </a:lnTo>
                    <a:lnTo>
                      <a:pt x="1212" y="830"/>
                    </a:lnTo>
                    <a:lnTo>
                      <a:pt x="1204" y="832"/>
                    </a:lnTo>
                    <a:lnTo>
                      <a:pt x="1198" y="836"/>
                    </a:lnTo>
                    <a:lnTo>
                      <a:pt x="1186" y="844"/>
                    </a:lnTo>
                    <a:lnTo>
                      <a:pt x="1184" y="846"/>
                    </a:lnTo>
                    <a:lnTo>
                      <a:pt x="1188" y="848"/>
                    </a:lnTo>
                    <a:lnTo>
                      <a:pt x="1188" y="850"/>
                    </a:lnTo>
                    <a:lnTo>
                      <a:pt x="1188" y="854"/>
                    </a:lnTo>
                    <a:lnTo>
                      <a:pt x="1188" y="856"/>
                    </a:lnTo>
                    <a:lnTo>
                      <a:pt x="1190" y="858"/>
                    </a:lnTo>
                    <a:lnTo>
                      <a:pt x="1196" y="860"/>
                    </a:lnTo>
                    <a:lnTo>
                      <a:pt x="1200" y="862"/>
                    </a:lnTo>
                    <a:lnTo>
                      <a:pt x="1204" y="864"/>
                    </a:lnTo>
                    <a:lnTo>
                      <a:pt x="1208" y="868"/>
                    </a:lnTo>
                    <a:lnTo>
                      <a:pt x="1210" y="876"/>
                    </a:lnTo>
                    <a:lnTo>
                      <a:pt x="1200" y="872"/>
                    </a:lnTo>
                    <a:lnTo>
                      <a:pt x="1198" y="870"/>
                    </a:lnTo>
                    <a:lnTo>
                      <a:pt x="1200" y="868"/>
                    </a:lnTo>
                    <a:lnTo>
                      <a:pt x="1202" y="868"/>
                    </a:lnTo>
                    <a:lnTo>
                      <a:pt x="1196" y="864"/>
                    </a:lnTo>
                    <a:lnTo>
                      <a:pt x="1190" y="862"/>
                    </a:lnTo>
                    <a:lnTo>
                      <a:pt x="1186" y="860"/>
                    </a:lnTo>
                    <a:lnTo>
                      <a:pt x="1182" y="854"/>
                    </a:lnTo>
                    <a:lnTo>
                      <a:pt x="1180" y="852"/>
                    </a:lnTo>
                    <a:lnTo>
                      <a:pt x="1174" y="852"/>
                    </a:lnTo>
                    <a:lnTo>
                      <a:pt x="1166" y="854"/>
                    </a:lnTo>
                    <a:lnTo>
                      <a:pt x="1166" y="856"/>
                    </a:lnTo>
                    <a:lnTo>
                      <a:pt x="1174" y="862"/>
                    </a:lnTo>
                    <a:lnTo>
                      <a:pt x="1178" y="866"/>
                    </a:lnTo>
                    <a:lnTo>
                      <a:pt x="1176" y="868"/>
                    </a:lnTo>
                    <a:lnTo>
                      <a:pt x="1172" y="868"/>
                    </a:lnTo>
                    <a:lnTo>
                      <a:pt x="1168" y="862"/>
                    </a:lnTo>
                    <a:lnTo>
                      <a:pt x="1158" y="854"/>
                    </a:lnTo>
                    <a:lnTo>
                      <a:pt x="1154" y="854"/>
                    </a:lnTo>
                    <a:lnTo>
                      <a:pt x="1154" y="858"/>
                    </a:lnTo>
                    <a:lnTo>
                      <a:pt x="1154" y="860"/>
                    </a:lnTo>
                    <a:lnTo>
                      <a:pt x="1154" y="862"/>
                    </a:lnTo>
                    <a:lnTo>
                      <a:pt x="1152" y="864"/>
                    </a:lnTo>
                    <a:lnTo>
                      <a:pt x="1150" y="868"/>
                    </a:lnTo>
                    <a:lnTo>
                      <a:pt x="1150" y="872"/>
                    </a:lnTo>
                    <a:lnTo>
                      <a:pt x="1152" y="876"/>
                    </a:lnTo>
                    <a:lnTo>
                      <a:pt x="1152" y="878"/>
                    </a:lnTo>
                    <a:lnTo>
                      <a:pt x="1146" y="880"/>
                    </a:lnTo>
                    <a:lnTo>
                      <a:pt x="1138" y="884"/>
                    </a:lnTo>
                    <a:lnTo>
                      <a:pt x="1134" y="886"/>
                    </a:lnTo>
                    <a:lnTo>
                      <a:pt x="1130" y="888"/>
                    </a:lnTo>
                    <a:lnTo>
                      <a:pt x="1128" y="892"/>
                    </a:lnTo>
                    <a:lnTo>
                      <a:pt x="1128" y="894"/>
                    </a:lnTo>
                    <a:lnTo>
                      <a:pt x="1134" y="896"/>
                    </a:lnTo>
                    <a:lnTo>
                      <a:pt x="1138" y="898"/>
                    </a:lnTo>
                    <a:lnTo>
                      <a:pt x="1132" y="900"/>
                    </a:lnTo>
                    <a:lnTo>
                      <a:pt x="1122" y="902"/>
                    </a:lnTo>
                    <a:lnTo>
                      <a:pt x="1120" y="906"/>
                    </a:lnTo>
                    <a:lnTo>
                      <a:pt x="1118" y="908"/>
                    </a:lnTo>
                    <a:lnTo>
                      <a:pt x="1114" y="912"/>
                    </a:lnTo>
                    <a:lnTo>
                      <a:pt x="1108" y="912"/>
                    </a:lnTo>
                    <a:lnTo>
                      <a:pt x="1102" y="912"/>
                    </a:lnTo>
                    <a:lnTo>
                      <a:pt x="1096" y="916"/>
                    </a:lnTo>
                    <a:lnTo>
                      <a:pt x="1090" y="924"/>
                    </a:lnTo>
                    <a:lnTo>
                      <a:pt x="1088" y="928"/>
                    </a:lnTo>
                    <a:lnTo>
                      <a:pt x="1088" y="930"/>
                    </a:lnTo>
                    <a:lnTo>
                      <a:pt x="1092" y="930"/>
                    </a:lnTo>
                    <a:lnTo>
                      <a:pt x="1096" y="928"/>
                    </a:lnTo>
                    <a:lnTo>
                      <a:pt x="1106" y="926"/>
                    </a:lnTo>
                    <a:lnTo>
                      <a:pt x="1108" y="926"/>
                    </a:lnTo>
                    <a:lnTo>
                      <a:pt x="1108" y="930"/>
                    </a:lnTo>
                    <a:lnTo>
                      <a:pt x="1112" y="930"/>
                    </a:lnTo>
                    <a:lnTo>
                      <a:pt x="1124" y="924"/>
                    </a:lnTo>
                    <a:lnTo>
                      <a:pt x="1128" y="924"/>
                    </a:lnTo>
                    <a:lnTo>
                      <a:pt x="1130" y="924"/>
                    </a:lnTo>
                    <a:lnTo>
                      <a:pt x="1128" y="928"/>
                    </a:lnTo>
                    <a:lnTo>
                      <a:pt x="1120" y="932"/>
                    </a:lnTo>
                    <a:lnTo>
                      <a:pt x="1110" y="936"/>
                    </a:lnTo>
                    <a:lnTo>
                      <a:pt x="1102" y="936"/>
                    </a:lnTo>
                    <a:lnTo>
                      <a:pt x="1100" y="936"/>
                    </a:lnTo>
                    <a:lnTo>
                      <a:pt x="1096" y="934"/>
                    </a:lnTo>
                    <a:lnTo>
                      <a:pt x="1088" y="934"/>
                    </a:lnTo>
                    <a:lnTo>
                      <a:pt x="1078" y="936"/>
                    </a:lnTo>
                    <a:lnTo>
                      <a:pt x="1072" y="938"/>
                    </a:lnTo>
                    <a:lnTo>
                      <a:pt x="1070" y="940"/>
                    </a:lnTo>
                    <a:lnTo>
                      <a:pt x="1074" y="942"/>
                    </a:lnTo>
                    <a:lnTo>
                      <a:pt x="1076" y="944"/>
                    </a:lnTo>
                    <a:lnTo>
                      <a:pt x="1076" y="946"/>
                    </a:lnTo>
                    <a:lnTo>
                      <a:pt x="1080" y="948"/>
                    </a:lnTo>
                    <a:lnTo>
                      <a:pt x="1086" y="948"/>
                    </a:lnTo>
                    <a:lnTo>
                      <a:pt x="1084" y="952"/>
                    </a:lnTo>
                    <a:lnTo>
                      <a:pt x="1080" y="958"/>
                    </a:lnTo>
                    <a:lnTo>
                      <a:pt x="1078" y="960"/>
                    </a:lnTo>
                    <a:lnTo>
                      <a:pt x="1076" y="964"/>
                    </a:lnTo>
                    <a:lnTo>
                      <a:pt x="1076" y="968"/>
                    </a:lnTo>
                    <a:lnTo>
                      <a:pt x="1074" y="966"/>
                    </a:lnTo>
                    <a:lnTo>
                      <a:pt x="1070" y="960"/>
                    </a:lnTo>
                    <a:lnTo>
                      <a:pt x="1070" y="954"/>
                    </a:lnTo>
                    <a:lnTo>
                      <a:pt x="1070" y="948"/>
                    </a:lnTo>
                    <a:lnTo>
                      <a:pt x="1068" y="944"/>
                    </a:lnTo>
                    <a:lnTo>
                      <a:pt x="1066" y="944"/>
                    </a:lnTo>
                    <a:lnTo>
                      <a:pt x="1064" y="948"/>
                    </a:lnTo>
                    <a:lnTo>
                      <a:pt x="1060" y="954"/>
                    </a:lnTo>
                    <a:lnTo>
                      <a:pt x="1058" y="954"/>
                    </a:lnTo>
                    <a:lnTo>
                      <a:pt x="1056" y="954"/>
                    </a:lnTo>
                    <a:lnTo>
                      <a:pt x="1056" y="952"/>
                    </a:lnTo>
                    <a:lnTo>
                      <a:pt x="1052" y="950"/>
                    </a:lnTo>
                    <a:lnTo>
                      <a:pt x="1046" y="952"/>
                    </a:lnTo>
                    <a:lnTo>
                      <a:pt x="1042" y="956"/>
                    </a:lnTo>
                    <a:lnTo>
                      <a:pt x="1040" y="956"/>
                    </a:lnTo>
                    <a:lnTo>
                      <a:pt x="1040" y="958"/>
                    </a:lnTo>
                    <a:lnTo>
                      <a:pt x="1042" y="960"/>
                    </a:lnTo>
                    <a:lnTo>
                      <a:pt x="1044" y="960"/>
                    </a:lnTo>
                    <a:lnTo>
                      <a:pt x="1048" y="958"/>
                    </a:lnTo>
                    <a:lnTo>
                      <a:pt x="1054" y="958"/>
                    </a:lnTo>
                    <a:lnTo>
                      <a:pt x="1062" y="960"/>
                    </a:lnTo>
                    <a:lnTo>
                      <a:pt x="1064" y="962"/>
                    </a:lnTo>
                    <a:lnTo>
                      <a:pt x="1064" y="964"/>
                    </a:lnTo>
                    <a:lnTo>
                      <a:pt x="1060" y="966"/>
                    </a:lnTo>
                    <a:lnTo>
                      <a:pt x="1050" y="966"/>
                    </a:lnTo>
                    <a:lnTo>
                      <a:pt x="1032" y="970"/>
                    </a:lnTo>
                    <a:lnTo>
                      <a:pt x="1020" y="974"/>
                    </a:lnTo>
                    <a:lnTo>
                      <a:pt x="1018" y="976"/>
                    </a:lnTo>
                    <a:lnTo>
                      <a:pt x="1020" y="978"/>
                    </a:lnTo>
                    <a:lnTo>
                      <a:pt x="1022" y="980"/>
                    </a:lnTo>
                    <a:lnTo>
                      <a:pt x="1018" y="984"/>
                    </a:lnTo>
                    <a:lnTo>
                      <a:pt x="1016" y="986"/>
                    </a:lnTo>
                    <a:lnTo>
                      <a:pt x="1020" y="988"/>
                    </a:lnTo>
                    <a:lnTo>
                      <a:pt x="1026" y="988"/>
                    </a:lnTo>
                    <a:lnTo>
                      <a:pt x="1030" y="986"/>
                    </a:lnTo>
                    <a:lnTo>
                      <a:pt x="1036" y="980"/>
                    </a:lnTo>
                    <a:lnTo>
                      <a:pt x="1042" y="976"/>
                    </a:lnTo>
                    <a:lnTo>
                      <a:pt x="1046" y="976"/>
                    </a:lnTo>
                    <a:lnTo>
                      <a:pt x="1052" y="976"/>
                    </a:lnTo>
                    <a:lnTo>
                      <a:pt x="1060" y="980"/>
                    </a:lnTo>
                    <a:lnTo>
                      <a:pt x="1058" y="980"/>
                    </a:lnTo>
                    <a:lnTo>
                      <a:pt x="1050" y="980"/>
                    </a:lnTo>
                    <a:lnTo>
                      <a:pt x="1040" y="982"/>
                    </a:lnTo>
                    <a:lnTo>
                      <a:pt x="1034" y="986"/>
                    </a:lnTo>
                    <a:lnTo>
                      <a:pt x="1034" y="988"/>
                    </a:lnTo>
                    <a:lnTo>
                      <a:pt x="1036" y="990"/>
                    </a:lnTo>
                    <a:lnTo>
                      <a:pt x="1034" y="990"/>
                    </a:lnTo>
                    <a:lnTo>
                      <a:pt x="1026" y="992"/>
                    </a:lnTo>
                    <a:lnTo>
                      <a:pt x="1016" y="996"/>
                    </a:lnTo>
                    <a:lnTo>
                      <a:pt x="1016" y="998"/>
                    </a:lnTo>
                    <a:lnTo>
                      <a:pt x="1020" y="1002"/>
                    </a:lnTo>
                    <a:lnTo>
                      <a:pt x="1022" y="1002"/>
                    </a:lnTo>
                    <a:lnTo>
                      <a:pt x="1022" y="1004"/>
                    </a:lnTo>
                    <a:lnTo>
                      <a:pt x="1020" y="1006"/>
                    </a:lnTo>
                    <a:lnTo>
                      <a:pt x="1016" y="1004"/>
                    </a:lnTo>
                    <a:lnTo>
                      <a:pt x="1014" y="1002"/>
                    </a:lnTo>
                    <a:lnTo>
                      <a:pt x="1010" y="1004"/>
                    </a:lnTo>
                    <a:lnTo>
                      <a:pt x="1004" y="1012"/>
                    </a:lnTo>
                    <a:lnTo>
                      <a:pt x="1008" y="1014"/>
                    </a:lnTo>
                    <a:lnTo>
                      <a:pt x="1012" y="1014"/>
                    </a:lnTo>
                    <a:lnTo>
                      <a:pt x="1016" y="1012"/>
                    </a:lnTo>
                    <a:lnTo>
                      <a:pt x="1024" y="1012"/>
                    </a:lnTo>
                    <a:lnTo>
                      <a:pt x="1036" y="1012"/>
                    </a:lnTo>
                    <a:lnTo>
                      <a:pt x="1050" y="1016"/>
                    </a:lnTo>
                    <a:lnTo>
                      <a:pt x="1048" y="1016"/>
                    </a:lnTo>
                    <a:lnTo>
                      <a:pt x="1046" y="1018"/>
                    </a:lnTo>
                    <a:lnTo>
                      <a:pt x="1046" y="1022"/>
                    </a:lnTo>
                    <a:lnTo>
                      <a:pt x="1046" y="1024"/>
                    </a:lnTo>
                    <a:lnTo>
                      <a:pt x="1044" y="1022"/>
                    </a:lnTo>
                    <a:lnTo>
                      <a:pt x="1038" y="1018"/>
                    </a:lnTo>
                    <a:lnTo>
                      <a:pt x="1034" y="1016"/>
                    </a:lnTo>
                    <a:lnTo>
                      <a:pt x="1028" y="1016"/>
                    </a:lnTo>
                    <a:lnTo>
                      <a:pt x="1020" y="1016"/>
                    </a:lnTo>
                    <a:lnTo>
                      <a:pt x="1014" y="1018"/>
                    </a:lnTo>
                    <a:lnTo>
                      <a:pt x="1008" y="1020"/>
                    </a:lnTo>
                    <a:lnTo>
                      <a:pt x="1002" y="1020"/>
                    </a:lnTo>
                    <a:lnTo>
                      <a:pt x="998" y="1020"/>
                    </a:lnTo>
                    <a:lnTo>
                      <a:pt x="996" y="1020"/>
                    </a:lnTo>
                    <a:lnTo>
                      <a:pt x="994" y="1022"/>
                    </a:lnTo>
                    <a:lnTo>
                      <a:pt x="990" y="1022"/>
                    </a:lnTo>
                    <a:lnTo>
                      <a:pt x="988" y="1024"/>
                    </a:lnTo>
                    <a:lnTo>
                      <a:pt x="988" y="1026"/>
                    </a:lnTo>
                    <a:lnTo>
                      <a:pt x="988" y="1028"/>
                    </a:lnTo>
                    <a:lnTo>
                      <a:pt x="988" y="1030"/>
                    </a:lnTo>
                    <a:lnTo>
                      <a:pt x="986" y="1032"/>
                    </a:lnTo>
                    <a:lnTo>
                      <a:pt x="982" y="1034"/>
                    </a:lnTo>
                    <a:lnTo>
                      <a:pt x="976" y="1034"/>
                    </a:lnTo>
                    <a:lnTo>
                      <a:pt x="968" y="1036"/>
                    </a:lnTo>
                    <a:lnTo>
                      <a:pt x="970" y="1038"/>
                    </a:lnTo>
                    <a:lnTo>
                      <a:pt x="974" y="1042"/>
                    </a:lnTo>
                    <a:lnTo>
                      <a:pt x="974" y="1044"/>
                    </a:lnTo>
                    <a:lnTo>
                      <a:pt x="972" y="1046"/>
                    </a:lnTo>
                    <a:lnTo>
                      <a:pt x="966" y="1050"/>
                    </a:lnTo>
                    <a:lnTo>
                      <a:pt x="964" y="1050"/>
                    </a:lnTo>
                    <a:lnTo>
                      <a:pt x="962" y="1050"/>
                    </a:lnTo>
                    <a:lnTo>
                      <a:pt x="956" y="1052"/>
                    </a:lnTo>
                    <a:lnTo>
                      <a:pt x="954" y="1056"/>
                    </a:lnTo>
                    <a:lnTo>
                      <a:pt x="956" y="1058"/>
                    </a:lnTo>
                    <a:lnTo>
                      <a:pt x="958" y="1058"/>
                    </a:lnTo>
                    <a:lnTo>
                      <a:pt x="958" y="1060"/>
                    </a:lnTo>
                    <a:lnTo>
                      <a:pt x="954" y="1062"/>
                    </a:lnTo>
                    <a:lnTo>
                      <a:pt x="954" y="1064"/>
                    </a:lnTo>
                    <a:lnTo>
                      <a:pt x="956" y="1066"/>
                    </a:lnTo>
                    <a:lnTo>
                      <a:pt x="954" y="1064"/>
                    </a:lnTo>
                    <a:lnTo>
                      <a:pt x="950" y="1064"/>
                    </a:lnTo>
                    <a:lnTo>
                      <a:pt x="946" y="1064"/>
                    </a:lnTo>
                    <a:lnTo>
                      <a:pt x="946" y="1066"/>
                    </a:lnTo>
                    <a:lnTo>
                      <a:pt x="948" y="1068"/>
                    </a:lnTo>
                    <a:lnTo>
                      <a:pt x="950" y="1070"/>
                    </a:lnTo>
                    <a:lnTo>
                      <a:pt x="950" y="1072"/>
                    </a:lnTo>
                    <a:lnTo>
                      <a:pt x="948" y="1076"/>
                    </a:lnTo>
                    <a:lnTo>
                      <a:pt x="948" y="1080"/>
                    </a:lnTo>
                    <a:lnTo>
                      <a:pt x="954" y="1080"/>
                    </a:lnTo>
                    <a:lnTo>
                      <a:pt x="958" y="1080"/>
                    </a:lnTo>
                    <a:lnTo>
                      <a:pt x="954" y="1082"/>
                    </a:lnTo>
                    <a:lnTo>
                      <a:pt x="948" y="1084"/>
                    </a:lnTo>
                    <a:lnTo>
                      <a:pt x="946" y="1086"/>
                    </a:lnTo>
                    <a:lnTo>
                      <a:pt x="954" y="1086"/>
                    </a:lnTo>
                    <a:lnTo>
                      <a:pt x="964" y="1084"/>
                    </a:lnTo>
                    <a:lnTo>
                      <a:pt x="988" y="1078"/>
                    </a:lnTo>
                    <a:lnTo>
                      <a:pt x="994" y="1078"/>
                    </a:lnTo>
                    <a:lnTo>
                      <a:pt x="990" y="1080"/>
                    </a:lnTo>
                    <a:lnTo>
                      <a:pt x="982" y="1084"/>
                    </a:lnTo>
                    <a:lnTo>
                      <a:pt x="972" y="1086"/>
                    </a:lnTo>
                    <a:lnTo>
                      <a:pt x="954" y="1090"/>
                    </a:lnTo>
                    <a:lnTo>
                      <a:pt x="946" y="1092"/>
                    </a:lnTo>
                    <a:lnTo>
                      <a:pt x="936" y="1094"/>
                    </a:lnTo>
                    <a:lnTo>
                      <a:pt x="932" y="1096"/>
                    </a:lnTo>
                    <a:lnTo>
                      <a:pt x="936" y="1096"/>
                    </a:lnTo>
                    <a:lnTo>
                      <a:pt x="942" y="1098"/>
                    </a:lnTo>
                    <a:lnTo>
                      <a:pt x="944" y="1098"/>
                    </a:lnTo>
                    <a:lnTo>
                      <a:pt x="946" y="1100"/>
                    </a:lnTo>
                    <a:lnTo>
                      <a:pt x="944" y="1104"/>
                    </a:lnTo>
                    <a:lnTo>
                      <a:pt x="940" y="1106"/>
                    </a:lnTo>
                    <a:lnTo>
                      <a:pt x="934" y="1108"/>
                    </a:lnTo>
                    <a:lnTo>
                      <a:pt x="932" y="1114"/>
                    </a:lnTo>
                    <a:lnTo>
                      <a:pt x="930" y="1118"/>
                    </a:lnTo>
                    <a:lnTo>
                      <a:pt x="928" y="1120"/>
                    </a:lnTo>
                    <a:lnTo>
                      <a:pt x="924" y="1122"/>
                    </a:lnTo>
                    <a:lnTo>
                      <a:pt x="920" y="1122"/>
                    </a:lnTo>
                    <a:lnTo>
                      <a:pt x="920" y="1128"/>
                    </a:lnTo>
                    <a:lnTo>
                      <a:pt x="922" y="1132"/>
                    </a:lnTo>
                    <a:lnTo>
                      <a:pt x="924" y="1134"/>
                    </a:lnTo>
                    <a:lnTo>
                      <a:pt x="926" y="1134"/>
                    </a:lnTo>
                    <a:lnTo>
                      <a:pt x="928" y="1138"/>
                    </a:lnTo>
                    <a:lnTo>
                      <a:pt x="928" y="1140"/>
                    </a:lnTo>
                    <a:lnTo>
                      <a:pt x="928" y="1142"/>
                    </a:lnTo>
                    <a:lnTo>
                      <a:pt x="922" y="1146"/>
                    </a:lnTo>
                    <a:lnTo>
                      <a:pt x="918" y="1150"/>
                    </a:lnTo>
                    <a:lnTo>
                      <a:pt x="918" y="1152"/>
                    </a:lnTo>
                    <a:lnTo>
                      <a:pt x="920" y="1152"/>
                    </a:lnTo>
                    <a:lnTo>
                      <a:pt x="922" y="1156"/>
                    </a:lnTo>
                    <a:lnTo>
                      <a:pt x="922" y="1160"/>
                    </a:lnTo>
                    <a:lnTo>
                      <a:pt x="918" y="1164"/>
                    </a:lnTo>
                    <a:lnTo>
                      <a:pt x="910" y="1166"/>
                    </a:lnTo>
                    <a:lnTo>
                      <a:pt x="904" y="1168"/>
                    </a:lnTo>
                    <a:lnTo>
                      <a:pt x="900" y="1168"/>
                    </a:lnTo>
                    <a:lnTo>
                      <a:pt x="898" y="1170"/>
                    </a:lnTo>
                    <a:lnTo>
                      <a:pt x="892" y="1172"/>
                    </a:lnTo>
                    <a:lnTo>
                      <a:pt x="888" y="1174"/>
                    </a:lnTo>
                    <a:lnTo>
                      <a:pt x="884" y="1174"/>
                    </a:lnTo>
                    <a:lnTo>
                      <a:pt x="880" y="1176"/>
                    </a:lnTo>
                    <a:lnTo>
                      <a:pt x="876" y="1176"/>
                    </a:lnTo>
                    <a:lnTo>
                      <a:pt x="866" y="1176"/>
                    </a:lnTo>
                    <a:lnTo>
                      <a:pt x="862" y="1176"/>
                    </a:lnTo>
                    <a:lnTo>
                      <a:pt x="860" y="1178"/>
                    </a:lnTo>
                    <a:lnTo>
                      <a:pt x="860" y="1180"/>
                    </a:lnTo>
                    <a:lnTo>
                      <a:pt x="864" y="1180"/>
                    </a:lnTo>
                    <a:lnTo>
                      <a:pt x="868" y="1180"/>
                    </a:lnTo>
                    <a:lnTo>
                      <a:pt x="876" y="1180"/>
                    </a:lnTo>
                    <a:lnTo>
                      <a:pt x="878" y="1182"/>
                    </a:lnTo>
                    <a:lnTo>
                      <a:pt x="880" y="1184"/>
                    </a:lnTo>
                    <a:lnTo>
                      <a:pt x="878" y="1186"/>
                    </a:lnTo>
                    <a:lnTo>
                      <a:pt x="878" y="1188"/>
                    </a:lnTo>
                    <a:lnTo>
                      <a:pt x="886" y="1184"/>
                    </a:lnTo>
                    <a:lnTo>
                      <a:pt x="892" y="1182"/>
                    </a:lnTo>
                    <a:lnTo>
                      <a:pt x="892" y="1184"/>
                    </a:lnTo>
                    <a:lnTo>
                      <a:pt x="890" y="1186"/>
                    </a:lnTo>
                    <a:lnTo>
                      <a:pt x="886" y="1190"/>
                    </a:lnTo>
                    <a:lnTo>
                      <a:pt x="884" y="1190"/>
                    </a:lnTo>
                    <a:lnTo>
                      <a:pt x="882" y="1192"/>
                    </a:lnTo>
                    <a:lnTo>
                      <a:pt x="886" y="1194"/>
                    </a:lnTo>
                    <a:lnTo>
                      <a:pt x="890" y="1196"/>
                    </a:lnTo>
                    <a:lnTo>
                      <a:pt x="890" y="1198"/>
                    </a:lnTo>
                    <a:lnTo>
                      <a:pt x="890" y="1200"/>
                    </a:lnTo>
                    <a:lnTo>
                      <a:pt x="886" y="1204"/>
                    </a:lnTo>
                    <a:lnTo>
                      <a:pt x="886" y="1206"/>
                    </a:lnTo>
                    <a:lnTo>
                      <a:pt x="884" y="1208"/>
                    </a:lnTo>
                    <a:lnTo>
                      <a:pt x="878" y="1208"/>
                    </a:lnTo>
                    <a:lnTo>
                      <a:pt x="874" y="1208"/>
                    </a:lnTo>
                    <a:lnTo>
                      <a:pt x="872" y="1208"/>
                    </a:lnTo>
                    <a:lnTo>
                      <a:pt x="870" y="1204"/>
                    </a:lnTo>
                    <a:lnTo>
                      <a:pt x="868" y="1198"/>
                    </a:lnTo>
                    <a:lnTo>
                      <a:pt x="866" y="1198"/>
                    </a:lnTo>
                    <a:lnTo>
                      <a:pt x="864" y="1198"/>
                    </a:lnTo>
                    <a:lnTo>
                      <a:pt x="862" y="1198"/>
                    </a:lnTo>
                    <a:lnTo>
                      <a:pt x="862" y="1200"/>
                    </a:lnTo>
                    <a:lnTo>
                      <a:pt x="862" y="1202"/>
                    </a:lnTo>
                    <a:lnTo>
                      <a:pt x="860" y="1204"/>
                    </a:lnTo>
                    <a:lnTo>
                      <a:pt x="852" y="1204"/>
                    </a:lnTo>
                    <a:lnTo>
                      <a:pt x="848" y="1208"/>
                    </a:lnTo>
                    <a:lnTo>
                      <a:pt x="846" y="1210"/>
                    </a:lnTo>
                    <a:lnTo>
                      <a:pt x="846" y="1214"/>
                    </a:lnTo>
                    <a:lnTo>
                      <a:pt x="846" y="1216"/>
                    </a:lnTo>
                    <a:lnTo>
                      <a:pt x="844" y="1218"/>
                    </a:lnTo>
                    <a:lnTo>
                      <a:pt x="840" y="1220"/>
                    </a:lnTo>
                    <a:lnTo>
                      <a:pt x="834" y="1222"/>
                    </a:lnTo>
                    <a:lnTo>
                      <a:pt x="832" y="1224"/>
                    </a:lnTo>
                    <a:lnTo>
                      <a:pt x="830" y="1228"/>
                    </a:lnTo>
                    <a:lnTo>
                      <a:pt x="828" y="1234"/>
                    </a:lnTo>
                    <a:lnTo>
                      <a:pt x="824" y="1240"/>
                    </a:lnTo>
                    <a:lnTo>
                      <a:pt x="818" y="1246"/>
                    </a:lnTo>
                    <a:lnTo>
                      <a:pt x="812" y="1250"/>
                    </a:lnTo>
                    <a:lnTo>
                      <a:pt x="808" y="1252"/>
                    </a:lnTo>
                    <a:lnTo>
                      <a:pt x="806" y="1256"/>
                    </a:lnTo>
                    <a:lnTo>
                      <a:pt x="806" y="1258"/>
                    </a:lnTo>
                    <a:lnTo>
                      <a:pt x="806" y="1260"/>
                    </a:lnTo>
                    <a:lnTo>
                      <a:pt x="810" y="1260"/>
                    </a:lnTo>
                    <a:lnTo>
                      <a:pt x="816" y="1258"/>
                    </a:lnTo>
                    <a:lnTo>
                      <a:pt x="818" y="1258"/>
                    </a:lnTo>
                    <a:lnTo>
                      <a:pt x="818" y="1262"/>
                    </a:lnTo>
                    <a:lnTo>
                      <a:pt x="820" y="1262"/>
                    </a:lnTo>
                    <a:lnTo>
                      <a:pt x="822" y="1264"/>
                    </a:lnTo>
                    <a:lnTo>
                      <a:pt x="822" y="1268"/>
                    </a:lnTo>
                    <a:lnTo>
                      <a:pt x="824" y="1270"/>
                    </a:lnTo>
                    <a:lnTo>
                      <a:pt x="826" y="1270"/>
                    </a:lnTo>
                    <a:lnTo>
                      <a:pt x="834" y="1270"/>
                    </a:lnTo>
                    <a:lnTo>
                      <a:pt x="848" y="1264"/>
                    </a:lnTo>
                    <a:lnTo>
                      <a:pt x="862" y="1254"/>
                    </a:lnTo>
                    <a:lnTo>
                      <a:pt x="868" y="1250"/>
                    </a:lnTo>
                    <a:lnTo>
                      <a:pt x="868" y="1246"/>
                    </a:lnTo>
                    <a:lnTo>
                      <a:pt x="864" y="1244"/>
                    </a:lnTo>
                    <a:lnTo>
                      <a:pt x="858" y="1244"/>
                    </a:lnTo>
                    <a:lnTo>
                      <a:pt x="862" y="1242"/>
                    </a:lnTo>
                    <a:lnTo>
                      <a:pt x="870" y="1238"/>
                    </a:lnTo>
                    <a:lnTo>
                      <a:pt x="874" y="1236"/>
                    </a:lnTo>
                    <a:lnTo>
                      <a:pt x="876" y="1234"/>
                    </a:lnTo>
                    <a:lnTo>
                      <a:pt x="880" y="1236"/>
                    </a:lnTo>
                    <a:lnTo>
                      <a:pt x="884" y="1236"/>
                    </a:lnTo>
                    <a:lnTo>
                      <a:pt x="884" y="1238"/>
                    </a:lnTo>
                    <a:lnTo>
                      <a:pt x="878" y="1240"/>
                    </a:lnTo>
                    <a:lnTo>
                      <a:pt x="874" y="1242"/>
                    </a:lnTo>
                    <a:lnTo>
                      <a:pt x="872" y="1244"/>
                    </a:lnTo>
                    <a:lnTo>
                      <a:pt x="874" y="1246"/>
                    </a:lnTo>
                    <a:lnTo>
                      <a:pt x="880" y="1248"/>
                    </a:lnTo>
                    <a:lnTo>
                      <a:pt x="884" y="1250"/>
                    </a:lnTo>
                    <a:lnTo>
                      <a:pt x="880" y="1254"/>
                    </a:lnTo>
                    <a:lnTo>
                      <a:pt x="860" y="1262"/>
                    </a:lnTo>
                    <a:lnTo>
                      <a:pt x="854" y="1266"/>
                    </a:lnTo>
                    <a:lnTo>
                      <a:pt x="858" y="1268"/>
                    </a:lnTo>
                    <a:lnTo>
                      <a:pt x="856" y="1268"/>
                    </a:lnTo>
                    <a:lnTo>
                      <a:pt x="856" y="1270"/>
                    </a:lnTo>
                    <a:lnTo>
                      <a:pt x="856" y="1272"/>
                    </a:lnTo>
                    <a:lnTo>
                      <a:pt x="858" y="1272"/>
                    </a:lnTo>
                    <a:lnTo>
                      <a:pt x="862" y="1274"/>
                    </a:lnTo>
                    <a:lnTo>
                      <a:pt x="860" y="1276"/>
                    </a:lnTo>
                    <a:lnTo>
                      <a:pt x="856" y="1276"/>
                    </a:lnTo>
                    <a:lnTo>
                      <a:pt x="852" y="1276"/>
                    </a:lnTo>
                    <a:lnTo>
                      <a:pt x="844" y="1276"/>
                    </a:lnTo>
                    <a:lnTo>
                      <a:pt x="836" y="1276"/>
                    </a:lnTo>
                    <a:lnTo>
                      <a:pt x="830" y="1276"/>
                    </a:lnTo>
                    <a:lnTo>
                      <a:pt x="826" y="1280"/>
                    </a:lnTo>
                    <a:lnTo>
                      <a:pt x="822" y="1282"/>
                    </a:lnTo>
                    <a:lnTo>
                      <a:pt x="822" y="1276"/>
                    </a:lnTo>
                    <a:lnTo>
                      <a:pt x="818" y="1268"/>
                    </a:lnTo>
                    <a:lnTo>
                      <a:pt x="814" y="1262"/>
                    </a:lnTo>
                    <a:lnTo>
                      <a:pt x="810" y="1262"/>
                    </a:lnTo>
                    <a:lnTo>
                      <a:pt x="806" y="1266"/>
                    </a:lnTo>
                    <a:lnTo>
                      <a:pt x="798" y="1268"/>
                    </a:lnTo>
                    <a:lnTo>
                      <a:pt x="796" y="1268"/>
                    </a:lnTo>
                    <a:lnTo>
                      <a:pt x="794" y="1270"/>
                    </a:lnTo>
                    <a:lnTo>
                      <a:pt x="792" y="1274"/>
                    </a:lnTo>
                    <a:lnTo>
                      <a:pt x="792" y="1276"/>
                    </a:lnTo>
                    <a:lnTo>
                      <a:pt x="790" y="1274"/>
                    </a:lnTo>
                    <a:lnTo>
                      <a:pt x="784" y="1274"/>
                    </a:lnTo>
                    <a:lnTo>
                      <a:pt x="778" y="1274"/>
                    </a:lnTo>
                    <a:lnTo>
                      <a:pt x="762" y="1280"/>
                    </a:lnTo>
                    <a:lnTo>
                      <a:pt x="760" y="1282"/>
                    </a:lnTo>
                    <a:lnTo>
                      <a:pt x="760" y="1284"/>
                    </a:lnTo>
                    <a:lnTo>
                      <a:pt x="766" y="1288"/>
                    </a:lnTo>
                    <a:lnTo>
                      <a:pt x="768" y="1290"/>
                    </a:lnTo>
                    <a:lnTo>
                      <a:pt x="768" y="1292"/>
                    </a:lnTo>
                    <a:lnTo>
                      <a:pt x="766" y="1294"/>
                    </a:lnTo>
                    <a:lnTo>
                      <a:pt x="760" y="1294"/>
                    </a:lnTo>
                    <a:lnTo>
                      <a:pt x="754" y="1296"/>
                    </a:lnTo>
                    <a:lnTo>
                      <a:pt x="752" y="1298"/>
                    </a:lnTo>
                    <a:lnTo>
                      <a:pt x="752" y="1300"/>
                    </a:lnTo>
                    <a:lnTo>
                      <a:pt x="756" y="1302"/>
                    </a:lnTo>
                    <a:lnTo>
                      <a:pt x="746" y="1300"/>
                    </a:lnTo>
                    <a:lnTo>
                      <a:pt x="738" y="1298"/>
                    </a:lnTo>
                    <a:lnTo>
                      <a:pt x="742" y="1300"/>
                    </a:lnTo>
                    <a:lnTo>
                      <a:pt x="744" y="1304"/>
                    </a:lnTo>
                    <a:lnTo>
                      <a:pt x="744" y="1306"/>
                    </a:lnTo>
                    <a:lnTo>
                      <a:pt x="740" y="1308"/>
                    </a:lnTo>
                    <a:lnTo>
                      <a:pt x="728" y="1308"/>
                    </a:lnTo>
                    <a:lnTo>
                      <a:pt x="716" y="1308"/>
                    </a:lnTo>
                    <a:lnTo>
                      <a:pt x="708" y="1306"/>
                    </a:lnTo>
                    <a:lnTo>
                      <a:pt x="704" y="1308"/>
                    </a:lnTo>
                    <a:lnTo>
                      <a:pt x="702" y="1310"/>
                    </a:lnTo>
                    <a:lnTo>
                      <a:pt x="702" y="1316"/>
                    </a:lnTo>
                    <a:lnTo>
                      <a:pt x="704" y="1318"/>
                    </a:lnTo>
                    <a:lnTo>
                      <a:pt x="708" y="1320"/>
                    </a:lnTo>
                    <a:lnTo>
                      <a:pt x="712" y="1320"/>
                    </a:lnTo>
                    <a:lnTo>
                      <a:pt x="718" y="1320"/>
                    </a:lnTo>
                    <a:lnTo>
                      <a:pt x="726" y="1318"/>
                    </a:lnTo>
                    <a:lnTo>
                      <a:pt x="724" y="1320"/>
                    </a:lnTo>
                    <a:lnTo>
                      <a:pt x="720" y="1324"/>
                    </a:lnTo>
                    <a:lnTo>
                      <a:pt x="720" y="1328"/>
                    </a:lnTo>
                    <a:lnTo>
                      <a:pt x="722" y="1332"/>
                    </a:lnTo>
                    <a:lnTo>
                      <a:pt x="724" y="1334"/>
                    </a:lnTo>
                    <a:lnTo>
                      <a:pt x="718" y="1332"/>
                    </a:lnTo>
                    <a:lnTo>
                      <a:pt x="704" y="1328"/>
                    </a:lnTo>
                    <a:lnTo>
                      <a:pt x="696" y="1328"/>
                    </a:lnTo>
                    <a:lnTo>
                      <a:pt x="686" y="1330"/>
                    </a:lnTo>
                    <a:lnTo>
                      <a:pt x="678" y="1334"/>
                    </a:lnTo>
                    <a:lnTo>
                      <a:pt x="676" y="1336"/>
                    </a:lnTo>
                    <a:lnTo>
                      <a:pt x="678" y="1336"/>
                    </a:lnTo>
                    <a:lnTo>
                      <a:pt x="682" y="1338"/>
                    </a:lnTo>
                    <a:lnTo>
                      <a:pt x="694" y="1340"/>
                    </a:lnTo>
                    <a:lnTo>
                      <a:pt x="698" y="1342"/>
                    </a:lnTo>
                    <a:lnTo>
                      <a:pt x="702" y="1344"/>
                    </a:lnTo>
                    <a:lnTo>
                      <a:pt x="704" y="1348"/>
                    </a:lnTo>
                    <a:lnTo>
                      <a:pt x="700" y="1346"/>
                    </a:lnTo>
                    <a:lnTo>
                      <a:pt x="696" y="1344"/>
                    </a:lnTo>
                    <a:lnTo>
                      <a:pt x="692" y="1344"/>
                    </a:lnTo>
                    <a:lnTo>
                      <a:pt x="684" y="1344"/>
                    </a:lnTo>
                    <a:lnTo>
                      <a:pt x="676" y="1346"/>
                    </a:lnTo>
                    <a:lnTo>
                      <a:pt x="668" y="1350"/>
                    </a:lnTo>
                    <a:lnTo>
                      <a:pt x="664" y="1354"/>
                    </a:lnTo>
                    <a:lnTo>
                      <a:pt x="662" y="1356"/>
                    </a:lnTo>
                    <a:lnTo>
                      <a:pt x="662" y="1358"/>
                    </a:lnTo>
                    <a:lnTo>
                      <a:pt x="664" y="1358"/>
                    </a:lnTo>
                    <a:lnTo>
                      <a:pt x="658" y="1358"/>
                    </a:lnTo>
                    <a:lnTo>
                      <a:pt x="654" y="1358"/>
                    </a:lnTo>
                    <a:lnTo>
                      <a:pt x="652" y="1358"/>
                    </a:lnTo>
                    <a:lnTo>
                      <a:pt x="652" y="1360"/>
                    </a:lnTo>
                    <a:lnTo>
                      <a:pt x="654" y="1362"/>
                    </a:lnTo>
                    <a:lnTo>
                      <a:pt x="652" y="1364"/>
                    </a:lnTo>
                    <a:lnTo>
                      <a:pt x="646" y="1362"/>
                    </a:lnTo>
                    <a:lnTo>
                      <a:pt x="628" y="1360"/>
                    </a:lnTo>
                    <a:lnTo>
                      <a:pt x="628" y="1362"/>
                    </a:lnTo>
                    <a:lnTo>
                      <a:pt x="632" y="1366"/>
                    </a:lnTo>
                    <a:lnTo>
                      <a:pt x="632" y="1368"/>
                    </a:lnTo>
                    <a:lnTo>
                      <a:pt x="626" y="1370"/>
                    </a:lnTo>
                    <a:lnTo>
                      <a:pt x="622" y="1370"/>
                    </a:lnTo>
                    <a:lnTo>
                      <a:pt x="624" y="1372"/>
                    </a:lnTo>
                    <a:lnTo>
                      <a:pt x="628" y="1374"/>
                    </a:lnTo>
                    <a:lnTo>
                      <a:pt x="632" y="1376"/>
                    </a:lnTo>
                    <a:lnTo>
                      <a:pt x="644" y="1376"/>
                    </a:lnTo>
                    <a:lnTo>
                      <a:pt x="660" y="1378"/>
                    </a:lnTo>
                    <a:lnTo>
                      <a:pt x="666" y="1378"/>
                    </a:lnTo>
                    <a:lnTo>
                      <a:pt x="674" y="1382"/>
                    </a:lnTo>
                    <a:lnTo>
                      <a:pt x="682" y="1386"/>
                    </a:lnTo>
                    <a:lnTo>
                      <a:pt x="680" y="1386"/>
                    </a:lnTo>
                    <a:lnTo>
                      <a:pt x="672" y="1384"/>
                    </a:lnTo>
                    <a:lnTo>
                      <a:pt x="668" y="1384"/>
                    </a:lnTo>
                    <a:lnTo>
                      <a:pt x="664" y="1386"/>
                    </a:lnTo>
                    <a:lnTo>
                      <a:pt x="662" y="1386"/>
                    </a:lnTo>
                    <a:lnTo>
                      <a:pt x="660" y="1386"/>
                    </a:lnTo>
                    <a:lnTo>
                      <a:pt x="654" y="1382"/>
                    </a:lnTo>
                    <a:lnTo>
                      <a:pt x="648" y="1380"/>
                    </a:lnTo>
                    <a:lnTo>
                      <a:pt x="644" y="1378"/>
                    </a:lnTo>
                    <a:lnTo>
                      <a:pt x="638" y="1380"/>
                    </a:lnTo>
                    <a:lnTo>
                      <a:pt x="630" y="1384"/>
                    </a:lnTo>
                    <a:lnTo>
                      <a:pt x="624" y="1390"/>
                    </a:lnTo>
                    <a:lnTo>
                      <a:pt x="622" y="1394"/>
                    </a:lnTo>
                    <a:lnTo>
                      <a:pt x="624" y="1396"/>
                    </a:lnTo>
                    <a:lnTo>
                      <a:pt x="626" y="1398"/>
                    </a:lnTo>
                    <a:lnTo>
                      <a:pt x="632" y="1404"/>
                    </a:lnTo>
                    <a:lnTo>
                      <a:pt x="628" y="1406"/>
                    </a:lnTo>
                    <a:lnTo>
                      <a:pt x="622" y="1410"/>
                    </a:lnTo>
                    <a:lnTo>
                      <a:pt x="622" y="1412"/>
                    </a:lnTo>
                    <a:lnTo>
                      <a:pt x="624" y="1412"/>
                    </a:lnTo>
                    <a:lnTo>
                      <a:pt x="628" y="1416"/>
                    </a:lnTo>
                    <a:lnTo>
                      <a:pt x="626" y="1418"/>
                    </a:lnTo>
                    <a:lnTo>
                      <a:pt x="626" y="1420"/>
                    </a:lnTo>
                    <a:lnTo>
                      <a:pt x="624" y="1424"/>
                    </a:lnTo>
                    <a:lnTo>
                      <a:pt x="626" y="1426"/>
                    </a:lnTo>
                    <a:lnTo>
                      <a:pt x="628" y="1428"/>
                    </a:lnTo>
                    <a:lnTo>
                      <a:pt x="632" y="1430"/>
                    </a:lnTo>
                    <a:lnTo>
                      <a:pt x="636" y="1430"/>
                    </a:lnTo>
                    <a:lnTo>
                      <a:pt x="642" y="1430"/>
                    </a:lnTo>
                    <a:lnTo>
                      <a:pt x="648" y="1428"/>
                    </a:lnTo>
                    <a:lnTo>
                      <a:pt x="654" y="1424"/>
                    </a:lnTo>
                    <a:lnTo>
                      <a:pt x="660" y="1424"/>
                    </a:lnTo>
                    <a:lnTo>
                      <a:pt x="670" y="1426"/>
                    </a:lnTo>
                    <a:lnTo>
                      <a:pt x="678" y="1428"/>
                    </a:lnTo>
                    <a:lnTo>
                      <a:pt x="680" y="1426"/>
                    </a:lnTo>
                    <a:lnTo>
                      <a:pt x="684" y="1422"/>
                    </a:lnTo>
                    <a:lnTo>
                      <a:pt x="686" y="1420"/>
                    </a:lnTo>
                    <a:lnTo>
                      <a:pt x="688" y="1418"/>
                    </a:lnTo>
                    <a:lnTo>
                      <a:pt x="692" y="1420"/>
                    </a:lnTo>
                    <a:lnTo>
                      <a:pt x="700" y="1424"/>
                    </a:lnTo>
                    <a:lnTo>
                      <a:pt x="704" y="1426"/>
                    </a:lnTo>
                    <a:lnTo>
                      <a:pt x="710" y="1426"/>
                    </a:lnTo>
                    <a:lnTo>
                      <a:pt x="720" y="1424"/>
                    </a:lnTo>
                    <a:lnTo>
                      <a:pt x="726" y="1424"/>
                    </a:lnTo>
                    <a:lnTo>
                      <a:pt x="726" y="1426"/>
                    </a:lnTo>
                    <a:lnTo>
                      <a:pt x="724" y="1426"/>
                    </a:lnTo>
                    <a:lnTo>
                      <a:pt x="716" y="1430"/>
                    </a:lnTo>
                    <a:lnTo>
                      <a:pt x="710" y="1432"/>
                    </a:lnTo>
                    <a:lnTo>
                      <a:pt x="708" y="1434"/>
                    </a:lnTo>
                    <a:lnTo>
                      <a:pt x="708" y="1436"/>
                    </a:lnTo>
                    <a:lnTo>
                      <a:pt x="708" y="1438"/>
                    </a:lnTo>
                    <a:lnTo>
                      <a:pt x="708" y="1440"/>
                    </a:lnTo>
                    <a:lnTo>
                      <a:pt x="700" y="1434"/>
                    </a:lnTo>
                    <a:lnTo>
                      <a:pt x="694" y="1428"/>
                    </a:lnTo>
                    <a:lnTo>
                      <a:pt x="690" y="1428"/>
                    </a:lnTo>
                    <a:lnTo>
                      <a:pt x="688" y="1428"/>
                    </a:lnTo>
                    <a:lnTo>
                      <a:pt x="686" y="1430"/>
                    </a:lnTo>
                    <a:lnTo>
                      <a:pt x="682" y="1434"/>
                    </a:lnTo>
                    <a:lnTo>
                      <a:pt x="680" y="1434"/>
                    </a:lnTo>
                    <a:lnTo>
                      <a:pt x="676" y="1432"/>
                    </a:lnTo>
                    <a:lnTo>
                      <a:pt x="672" y="1430"/>
                    </a:lnTo>
                    <a:lnTo>
                      <a:pt x="666" y="1430"/>
                    </a:lnTo>
                    <a:lnTo>
                      <a:pt x="656" y="1432"/>
                    </a:lnTo>
                    <a:lnTo>
                      <a:pt x="646" y="1436"/>
                    </a:lnTo>
                    <a:lnTo>
                      <a:pt x="640" y="1436"/>
                    </a:lnTo>
                    <a:lnTo>
                      <a:pt x="636" y="1436"/>
                    </a:lnTo>
                    <a:lnTo>
                      <a:pt x="626" y="1434"/>
                    </a:lnTo>
                    <a:lnTo>
                      <a:pt x="624" y="1436"/>
                    </a:lnTo>
                    <a:lnTo>
                      <a:pt x="626" y="1442"/>
                    </a:lnTo>
                    <a:lnTo>
                      <a:pt x="626" y="1446"/>
                    </a:lnTo>
                    <a:lnTo>
                      <a:pt x="626" y="1448"/>
                    </a:lnTo>
                    <a:lnTo>
                      <a:pt x="632" y="1448"/>
                    </a:lnTo>
                    <a:lnTo>
                      <a:pt x="636" y="1448"/>
                    </a:lnTo>
                    <a:lnTo>
                      <a:pt x="636" y="1450"/>
                    </a:lnTo>
                    <a:lnTo>
                      <a:pt x="638" y="1454"/>
                    </a:lnTo>
                    <a:lnTo>
                      <a:pt x="636" y="1456"/>
                    </a:lnTo>
                    <a:lnTo>
                      <a:pt x="630" y="1454"/>
                    </a:lnTo>
                    <a:lnTo>
                      <a:pt x="626" y="1454"/>
                    </a:lnTo>
                    <a:lnTo>
                      <a:pt x="624" y="1454"/>
                    </a:lnTo>
                    <a:lnTo>
                      <a:pt x="626" y="1458"/>
                    </a:lnTo>
                    <a:lnTo>
                      <a:pt x="628" y="1460"/>
                    </a:lnTo>
                    <a:lnTo>
                      <a:pt x="630" y="1462"/>
                    </a:lnTo>
                    <a:lnTo>
                      <a:pt x="634" y="1462"/>
                    </a:lnTo>
                    <a:lnTo>
                      <a:pt x="638" y="1462"/>
                    </a:lnTo>
                    <a:lnTo>
                      <a:pt x="640" y="1464"/>
                    </a:lnTo>
                    <a:lnTo>
                      <a:pt x="638" y="1468"/>
                    </a:lnTo>
                    <a:lnTo>
                      <a:pt x="638" y="1472"/>
                    </a:lnTo>
                    <a:lnTo>
                      <a:pt x="636" y="1476"/>
                    </a:lnTo>
                    <a:lnTo>
                      <a:pt x="630" y="1478"/>
                    </a:lnTo>
                    <a:lnTo>
                      <a:pt x="626" y="1480"/>
                    </a:lnTo>
                    <a:lnTo>
                      <a:pt x="626" y="1482"/>
                    </a:lnTo>
                    <a:lnTo>
                      <a:pt x="636" y="1490"/>
                    </a:lnTo>
                    <a:lnTo>
                      <a:pt x="638" y="1492"/>
                    </a:lnTo>
                    <a:lnTo>
                      <a:pt x="642" y="1490"/>
                    </a:lnTo>
                    <a:lnTo>
                      <a:pt x="646" y="1488"/>
                    </a:lnTo>
                    <a:lnTo>
                      <a:pt x="648" y="1490"/>
                    </a:lnTo>
                    <a:lnTo>
                      <a:pt x="650" y="1494"/>
                    </a:lnTo>
                    <a:lnTo>
                      <a:pt x="652" y="1492"/>
                    </a:lnTo>
                    <a:lnTo>
                      <a:pt x="654" y="1492"/>
                    </a:lnTo>
                    <a:lnTo>
                      <a:pt x="654" y="1496"/>
                    </a:lnTo>
                    <a:lnTo>
                      <a:pt x="654" y="1500"/>
                    </a:lnTo>
                    <a:lnTo>
                      <a:pt x="654" y="1502"/>
                    </a:lnTo>
                    <a:lnTo>
                      <a:pt x="656" y="1502"/>
                    </a:lnTo>
                    <a:lnTo>
                      <a:pt x="658" y="1502"/>
                    </a:lnTo>
                    <a:lnTo>
                      <a:pt x="658" y="1500"/>
                    </a:lnTo>
                    <a:lnTo>
                      <a:pt x="660" y="1494"/>
                    </a:lnTo>
                    <a:lnTo>
                      <a:pt x="662" y="1488"/>
                    </a:lnTo>
                    <a:lnTo>
                      <a:pt x="662" y="1486"/>
                    </a:lnTo>
                    <a:lnTo>
                      <a:pt x="666" y="1486"/>
                    </a:lnTo>
                    <a:lnTo>
                      <a:pt x="668" y="1486"/>
                    </a:lnTo>
                    <a:lnTo>
                      <a:pt x="670" y="1488"/>
                    </a:lnTo>
                    <a:lnTo>
                      <a:pt x="666" y="1496"/>
                    </a:lnTo>
                    <a:lnTo>
                      <a:pt x="660" y="1504"/>
                    </a:lnTo>
                    <a:lnTo>
                      <a:pt x="654" y="1508"/>
                    </a:lnTo>
                    <a:lnTo>
                      <a:pt x="652" y="1510"/>
                    </a:lnTo>
                    <a:lnTo>
                      <a:pt x="650" y="1512"/>
                    </a:lnTo>
                    <a:lnTo>
                      <a:pt x="654" y="1514"/>
                    </a:lnTo>
                    <a:lnTo>
                      <a:pt x="658" y="1518"/>
                    </a:lnTo>
                    <a:lnTo>
                      <a:pt x="658" y="1520"/>
                    </a:lnTo>
                    <a:lnTo>
                      <a:pt x="656" y="1522"/>
                    </a:lnTo>
                    <a:lnTo>
                      <a:pt x="650" y="1524"/>
                    </a:lnTo>
                    <a:lnTo>
                      <a:pt x="648" y="1522"/>
                    </a:lnTo>
                    <a:lnTo>
                      <a:pt x="644" y="1522"/>
                    </a:lnTo>
                    <a:lnTo>
                      <a:pt x="636" y="1526"/>
                    </a:lnTo>
                    <a:lnTo>
                      <a:pt x="632" y="1530"/>
                    </a:lnTo>
                    <a:lnTo>
                      <a:pt x="632" y="1536"/>
                    </a:lnTo>
                    <a:lnTo>
                      <a:pt x="632" y="1540"/>
                    </a:lnTo>
                    <a:lnTo>
                      <a:pt x="634" y="1544"/>
                    </a:lnTo>
                    <a:lnTo>
                      <a:pt x="640" y="1548"/>
                    </a:lnTo>
                    <a:lnTo>
                      <a:pt x="644" y="1548"/>
                    </a:lnTo>
                    <a:lnTo>
                      <a:pt x="646" y="1548"/>
                    </a:lnTo>
                    <a:lnTo>
                      <a:pt x="646" y="1546"/>
                    </a:lnTo>
                    <a:lnTo>
                      <a:pt x="648" y="1546"/>
                    </a:lnTo>
                    <a:lnTo>
                      <a:pt x="650" y="1546"/>
                    </a:lnTo>
                    <a:lnTo>
                      <a:pt x="654" y="1548"/>
                    </a:lnTo>
                    <a:lnTo>
                      <a:pt x="656" y="1544"/>
                    </a:lnTo>
                    <a:lnTo>
                      <a:pt x="658" y="1542"/>
                    </a:lnTo>
                    <a:lnTo>
                      <a:pt x="660" y="1540"/>
                    </a:lnTo>
                    <a:lnTo>
                      <a:pt x="664" y="1542"/>
                    </a:lnTo>
                    <a:lnTo>
                      <a:pt x="666" y="1544"/>
                    </a:lnTo>
                    <a:lnTo>
                      <a:pt x="664" y="1548"/>
                    </a:lnTo>
                    <a:lnTo>
                      <a:pt x="662" y="1548"/>
                    </a:lnTo>
                    <a:lnTo>
                      <a:pt x="660" y="1550"/>
                    </a:lnTo>
                    <a:lnTo>
                      <a:pt x="660" y="1552"/>
                    </a:lnTo>
                    <a:lnTo>
                      <a:pt x="662" y="1554"/>
                    </a:lnTo>
                    <a:lnTo>
                      <a:pt x="664" y="1556"/>
                    </a:lnTo>
                    <a:lnTo>
                      <a:pt x="662" y="1558"/>
                    </a:lnTo>
                    <a:lnTo>
                      <a:pt x="660" y="1560"/>
                    </a:lnTo>
                    <a:lnTo>
                      <a:pt x="660" y="1562"/>
                    </a:lnTo>
                    <a:lnTo>
                      <a:pt x="662" y="1564"/>
                    </a:lnTo>
                    <a:lnTo>
                      <a:pt x="662" y="1568"/>
                    </a:lnTo>
                    <a:lnTo>
                      <a:pt x="658" y="1570"/>
                    </a:lnTo>
                    <a:lnTo>
                      <a:pt x="654" y="1572"/>
                    </a:lnTo>
                    <a:lnTo>
                      <a:pt x="652" y="1570"/>
                    </a:lnTo>
                    <a:lnTo>
                      <a:pt x="648" y="1568"/>
                    </a:lnTo>
                    <a:lnTo>
                      <a:pt x="646" y="1566"/>
                    </a:lnTo>
                    <a:lnTo>
                      <a:pt x="644" y="1576"/>
                    </a:lnTo>
                    <a:lnTo>
                      <a:pt x="642" y="1586"/>
                    </a:lnTo>
                    <a:lnTo>
                      <a:pt x="646" y="1592"/>
                    </a:lnTo>
                    <a:lnTo>
                      <a:pt x="652" y="1598"/>
                    </a:lnTo>
                    <a:lnTo>
                      <a:pt x="658" y="1600"/>
                    </a:lnTo>
                    <a:lnTo>
                      <a:pt x="662" y="1600"/>
                    </a:lnTo>
                    <a:lnTo>
                      <a:pt x="664" y="1604"/>
                    </a:lnTo>
                    <a:lnTo>
                      <a:pt x="668" y="1608"/>
                    </a:lnTo>
                    <a:lnTo>
                      <a:pt x="674" y="1612"/>
                    </a:lnTo>
                    <a:lnTo>
                      <a:pt x="688" y="1616"/>
                    </a:lnTo>
                    <a:lnTo>
                      <a:pt x="690" y="1618"/>
                    </a:lnTo>
                    <a:lnTo>
                      <a:pt x="688" y="1620"/>
                    </a:lnTo>
                    <a:lnTo>
                      <a:pt x="688" y="1624"/>
                    </a:lnTo>
                    <a:lnTo>
                      <a:pt x="690" y="1626"/>
                    </a:lnTo>
                    <a:lnTo>
                      <a:pt x="692" y="1628"/>
                    </a:lnTo>
                    <a:lnTo>
                      <a:pt x="694" y="1628"/>
                    </a:lnTo>
                    <a:lnTo>
                      <a:pt x="696" y="1626"/>
                    </a:lnTo>
                    <a:lnTo>
                      <a:pt x="700" y="1626"/>
                    </a:lnTo>
                    <a:lnTo>
                      <a:pt x="704" y="1630"/>
                    </a:lnTo>
                    <a:lnTo>
                      <a:pt x="706" y="1632"/>
                    </a:lnTo>
                    <a:lnTo>
                      <a:pt x="710" y="1630"/>
                    </a:lnTo>
                    <a:lnTo>
                      <a:pt x="720" y="1628"/>
                    </a:lnTo>
                    <a:lnTo>
                      <a:pt x="734" y="1628"/>
                    </a:lnTo>
                    <a:lnTo>
                      <a:pt x="746" y="1626"/>
                    </a:lnTo>
                    <a:lnTo>
                      <a:pt x="752" y="1624"/>
                    </a:lnTo>
                    <a:lnTo>
                      <a:pt x="756" y="1620"/>
                    </a:lnTo>
                    <a:lnTo>
                      <a:pt x="760" y="1618"/>
                    </a:lnTo>
                    <a:lnTo>
                      <a:pt x="766" y="1614"/>
                    </a:lnTo>
                    <a:lnTo>
                      <a:pt x="774" y="1608"/>
                    </a:lnTo>
                    <a:lnTo>
                      <a:pt x="780" y="1600"/>
                    </a:lnTo>
                    <a:lnTo>
                      <a:pt x="782" y="1596"/>
                    </a:lnTo>
                    <a:lnTo>
                      <a:pt x="784" y="1594"/>
                    </a:lnTo>
                    <a:lnTo>
                      <a:pt x="790" y="1592"/>
                    </a:lnTo>
                    <a:lnTo>
                      <a:pt x="792" y="1592"/>
                    </a:lnTo>
                    <a:lnTo>
                      <a:pt x="794" y="1588"/>
                    </a:lnTo>
                    <a:lnTo>
                      <a:pt x="794" y="1586"/>
                    </a:lnTo>
                    <a:lnTo>
                      <a:pt x="796" y="1586"/>
                    </a:lnTo>
                    <a:lnTo>
                      <a:pt x="800" y="1584"/>
                    </a:lnTo>
                    <a:lnTo>
                      <a:pt x="804" y="1582"/>
                    </a:lnTo>
                    <a:lnTo>
                      <a:pt x="800" y="1578"/>
                    </a:lnTo>
                    <a:lnTo>
                      <a:pt x="798" y="1576"/>
                    </a:lnTo>
                    <a:lnTo>
                      <a:pt x="802" y="1574"/>
                    </a:lnTo>
                    <a:lnTo>
                      <a:pt x="810" y="1572"/>
                    </a:lnTo>
                    <a:lnTo>
                      <a:pt x="812" y="1570"/>
                    </a:lnTo>
                    <a:lnTo>
                      <a:pt x="812" y="1566"/>
                    </a:lnTo>
                    <a:lnTo>
                      <a:pt x="812" y="1562"/>
                    </a:lnTo>
                    <a:lnTo>
                      <a:pt x="816" y="1564"/>
                    </a:lnTo>
                    <a:lnTo>
                      <a:pt x="820" y="1568"/>
                    </a:lnTo>
                    <a:lnTo>
                      <a:pt x="822" y="1570"/>
                    </a:lnTo>
                    <a:lnTo>
                      <a:pt x="824" y="1568"/>
                    </a:lnTo>
                    <a:lnTo>
                      <a:pt x="828" y="1566"/>
                    </a:lnTo>
                    <a:lnTo>
                      <a:pt x="834" y="1566"/>
                    </a:lnTo>
                    <a:lnTo>
                      <a:pt x="838" y="1564"/>
                    </a:lnTo>
                    <a:lnTo>
                      <a:pt x="838" y="1558"/>
                    </a:lnTo>
                    <a:lnTo>
                      <a:pt x="838" y="1554"/>
                    </a:lnTo>
                    <a:lnTo>
                      <a:pt x="840" y="1552"/>
                    </a:lnTo>
                    <a:lnTo>
                      <a:pt x="844" y="1550"/>
                    </a:lnTo>
                    <a:lnTo>
                      <a:pt x="846" y="1548"/>
                    </a:lnTo>
                    <a:lnTo>
                      <a:pt x="842" y="1540"/>
                    </a:lnTo>
                    <a:lnTo>
                      <a:pt x="840" y="1536"/>
                    </a:lnTo>
                    <a:lnTo>
                      <a:pt x="838" y="1532"/>
                    </a:lnTo>
                    <a:lnTo>
                      <a:pt x="840" y="1528"/>
                    </a:lnTo>
                    <a:lnTo>
                      <a:pt x="844" y="1532"/>
                    </a:lnTo>
                    <a:lnTo>
                      <a:pt x="846" y="1534"/>
                    </a:lnTo>
                    <a:lnTo>
                      <a:pt x="848" y="1534"/>
                    </a:lnTo>
                    <a:lnTo>
                      <a:pt x="850" y="1530"/>
                    </a:lnTo>
                    <a:lnTo>
                      <a:pt x="850" y="1528"/>
                    </a:lnTo>
                    <a:lnTo>
                      <a:pt x="852" y="1530"/>
                    </a:lnTo>
                    <a:lnTo>
                      <a:pt x="852" y="1536"/>
                    </a:lnTo>
                    <a:lnTo>
                      <a:pt x="850" y="1538"/>
                    </a:lnTo>
                    <a:lnTo>
                      <a:pt x="850" y="1540"/>
                    </a:lnTo>
                    <a:lnTo>
                      <a:pt x="852" y="1542"/>
                    </a:lnTo>
                    <a:lnTo>
                      <a:pt x="854" y="1548"/>
                    </a:lnTo>
                    <a:lnTo>
                      <a:pt x="854" y="1552"/>
                    </a:lnTo>
                    <a:lnTo>
                      <a:pt x="856" y="1554"/>
                    </a:lnTo>
                    <a:lnTo>
                      <a:pt x="862" y="1556"/>
                    </a:lnTo>
                    <a:lnTo>
                      <a:pt x="866" y="1556"/>
                    </a:lnTo>
                    <a:lnTo>
                      <a:pt x="866" y="1558"/>
                    </a:lnTo>
                    <a:lnTo>
                      <a:pt x="868" y="1558"/>
                    </a:lnTo>
                    <a:lnTo>
                      <a:pt x="876" y="1560"/>
                    </a:lnTo>
                    <a:lnTo>
                      <a:pt x="874" y="1564"/>
                    </a:lnTo>
                    <a:lnTo>
                      <a:pt x="872" y="1566"/>
                    </a:lnTo>
                    <a:lnTo>
                      <a:pt x="872" y="1570"/>
                    </a:lnTo>
                    <a:lnTo>
                      <a:pt x="874" y="1576"/>
                    </a:lnTo>
                    <a:lnTo>
                      <a:pt x="876" y="1584"/>
                    </a:lnTo>
                    <a:lnTo>
                      <a:pt x="876" y="1594"/>
                    </a:lnTo>
                    <a:lnTo>
                      <a:pt x="876" y="1602"/>
                    </a:lnTo>
                    <a:lnTo>
                      <a:pt x="876" y="1608"/>
                    </a:lnTo>
                    <a:lnTo>
                      <a:pt x="878" y="1612"/>
                    </a:lnTo>
                    <a:lnTo>
                      <a:pt x="882" y="1616"/>
                    </a:lnTo>
                    <a:lnTo>
                      <a:pt x="886" y="1616"/>
                    </a:lnTo>
                    <a:lnTo>
                      <a:pt x="890" y="1614"/>
                    </a:lnTo>
                    <a:lnTo>
                      <a:pt x="896" y="1610"/>
                    </a:lnTo>
                    <a:lnTo>
                      <a:pt x="898" y="1612"/>
                    </a:lnTo>
                    <a:lnTo>
                      <a:pt x="900" y="1614"/>
                    </a:lnTo>
                    <a:lnTo>
                      <a:pt x="902" y="1618"/>
                    </a:lnTo>
                    <a:lnTo>
                      <a:pt x="902" y="1622"/>
                    </a:lnTo>
                    <a:lnTo>
                      <a:pt x="900" y="1628"/>
                    </a:lnTo>
                    <a:lnTo>
                      <a:pt x="896" y="1638"/>
                    </a:lnTo>
                    <a:lnTo>
                      <a:pt x="898" y="1644"/>
                    </a:lnTo>
                    <a:lnTo>
                      <a:pt x="900" y="1652"/>
                    </a:lnTo>
                    <a:lnTo>
                      <a:pt x="906" y="1672"/>
                    </a:lnTo>
                    <a:lnTo>
                      <a:pt x="916" y="1694"/>
                    </a:lnTo>
                    <a:lnTo>
                      <a:pt x="928" y="1710"/>
                    </a:lnTo>
                    <a:lnTo>
                      <a:pt x="932" y="1716"/>
                    </a:lnTo>
                    <a:lnTo>
                      <a:pt x="936" y="1716"/>
                    </a:lnTo>
                    <a:lnTo>
                      <a:pt x="942" y="1716"/>
                    </a:lnTo>
                    <a:lnTo>
                      <a:pt x="944" y="1718"/>
                    </a:lnTo>
                    <a:lnTo>
                      <a:pt x="944" y="1720"/>
                    </a:lnTo>
                    <a:lnTo>
                      <a:pt x="942" y="1726"/>
                    </a:lnTo>
                    <a:lnTo>
                      <a:pt x="934" y="1728"/>
                    </a:lnTo>
                    <a:lnTo>
                      <a:pt x="932" y="1730"/>
                    </a:lnTo>
                    <a:lnTo>
                      <a:pt x="934" y="1732"/>
                    </a:lnTo>
                    <a:lnTo>
                      <a:pt x="936" y="1738"/>
                    </a:lnTo>
                    <a:lnTo>
                      <a:pt x="938" y="1742"/>
                    </a:lnTo>
                    <a:lnTo>
                      <a:pt x="932" y="1740"/>
                    </a:lnTo>
                    <a:lnTo>
                      <a:pt x="926" y="1740"/>
                    </a:lnTo>
                    <a:lnTo>
                      <a:pt x="934" y="1752"/>
                    </a:lnTo>
                    <a:lnTo>
                      <a:pt x="940" y="1760"/>
                    </a:lnTo>
                    <a:lnTo>
                      <a:pt x="944" y="1768"/>
                    </a:lnTo>
                    <a:lnTo>
                      <a:pt x="946" y="1778"/>
                    </a:lnTo>
                    <a:lnTo>
                      <a:pt x="946" y="1782"/>
                    </a:lnTo>
                    <a:lnTo>
                      <a:pt x="944" y="1786"/>
                    </a:lnTo>
                    <a:lnTo>
                      <a:pt x="940" y="1792"/>
                    </a:lnTo>
                    <a:lnTo>
                      <a:pt x="942" y="1796"/>
                    </a:lnTo>
                    <a:lnTo>
                      <a:pt x="946" y="1798"/>
                    </a:lnTo>
                    <a:lnTo>
                      <a:pt x="954" y="1798"/>
                    </a:lnTo>
                    <a:lnTo>
                      <a:pt x="972" y="1796"/>
                    </a:lnTo>
                    <a:lnTo>
                      <a:pt x="982" y="1794"/>
                    </a:lnTo>
                    <a:lnTo>
                      <a:pt x="990" y="1794"/>
                    </a:lnTo>
                    <a:lnTo>
                      <a:pt x="996" y="1794"/>
                    </a:lnTo>
                    <a:lnTo>
                      <a:pt x="998" y="1788"/>
                    </a:lnTo>
                    <a:lnTo>
                      <a:pt x="1000" y="1774"/>
                    </a:lnTo>
                    <a:lnTo>
                      <a:pt x="1000" y="1768"/>
                    </a:lnTo>
                    <a:lnTo>
                      <a:pt x="1002" y="1760"/>
                    </a:lnTo>
                    <a:lnTo>
                      <a:pt x="1004" y="1756"/>
                    </a:lnTo>
                    <a:lnTo>
                      <a:pt x="1010" y="1756"/>
                    </a:lnTo>
                    <a:lnTo>
                      <a:pt x="1018" y="1756"/>
                    </a:lnTo>
                    <a:lnTo>
                      <a:pt x="1018" y="1754"/>
                    </a:lnTo>
                    <a:lnTo>
                      <a:pt x="1018" y="1752"/>
                    </a:lnTo>
                    <a:lnTo>
                      <a:pt x="1020" y="1750"/>
                    </a:lnTo>
                    <a:lnTo>
                      <a:pt x="1024" y="1748"/>
                    </a:lnTo>
                    <a:lnTo>
                      <a:pt x="1034" y="1746"/>
                    </a:lnTo>
                    <a:lnTo>
                      <a:pt x="1042" y="1746"/>
                    </a:lnTo>
                    <a:lnTo>
                      <a:pt x="1050" y="1746"/>
                    </a:lnTo>
                    <a:lnTo>
                      <a:pt x="1058" y="1750"/>
                    </a:lnTo>
                    <a:lnTo>
                      <a:pt x="1062" y="1750"/>
                    </a:lnTo>
                    <a:lnTo>
                      <a:pt x="1064" y="1750"/>
                    </a:lnTo>
                    <a:lnTo>
                      <a:pt x="1070" y="1736"/>
                    </a:lnTo>
                    <a:lnTo>
                      <a:pt x="1076" y="1720"/>
                    </a:lnTo>
                    <a:lnTo>
                      <a:pt x="1082" y="1708"/>
                    </a:lnTo>
                    <a:lnTo>
                      <a:pt x="1086" y="1700"/>
                    </a:lnTo>
                    <a:lnTo>
                      <a:pt x="1088" y="1692"/>
                    </a:lnTo>
                    <a:lnTo>
                      <a:pt x="1088" y="1684"/>
                    </a:lnTo>
                    <a:lnTo>
                      <a:pt x="1090" y="1676"/>
                    </a:lnTo>
                    <a:lnTo>
                      <a:pt x="1092" y="1666"/>
                    </a:lnTo>
                    <a:lnTo>
                      <a:pt x="1092" y="1658"/>
                    </a:lnTo>
                    <a:lnTo>
                      <a:pt x="1090" y="1654"/>
                    </a:lnTo>
                    <a:lnTo>
                      <a:pt x="1092" y="1650"/>
                    </a:lnTo>
                    <a:lnTo>
                      <a:pt x="1094" y="1644"/>
                    </a:lnTo>
                    <a:lnTo>
                      <a:pt x="1098" y="1638"/>
                    </a:lnTo>
                    <a:lnTo>
                      <a:pt x="1098" y="1634"/>
                    </a:lnTo>
                    <a:lnTo>
                      <a:pt x="1098" y="1632"/>
                    </a:lnTo>
                    <a:lnTo>
                      <a:pt x="1096" y="1626"/>
                    </a:lnTo>
                    <a:lnTo>
                      <a:pt x="1098" y="1622"/>
                    </a:lnTo>
                    <a:lnTo>
                      <a:pt x="1100" y="1618"/>
                    </a:lnTo>
                    <a:lnTo>
                      <a:pt x="1098" y="1610"/>
                    </a:lnTo>
                    <a:lnTo>
                      <a:pt x="1096" y="1606"/>
                    </a:lnTo>
                    <a:lnTo>
                      <a:pt x="1096" y="1604"/>
                    </a:lnTo>
                    <a:lnTo>
                      <a:pt x="1098" y="1604"/>
                    </a:lnTo>
                    <a:lnTo>
                      <a:pt x="1100" y="1602"/>
                    </a:lnTo>
                    <a:lnTo>
                      <a:pt x="1102" y="1600"/>
                    </a:lnTo>
                    <a:lnTo>
                      <a:pt x="1100" y="1598"/>
                    </a:lnTo>
                    <a:lnTo>
                      <a:pt x="1100" y="1596"/>
                    </a:lnTo>
                    <a:lnTo>
                      <a:pt x="1102" y="1592"/>
                    </a:lnTo>
                    <a:lnTo>
                      <a:pt x="1112" y="1588"/>
                    </a:lnTo>
                    <a:lnTo>
                      <a:pt x="1124" y="1582"/>
                    </a:lnTo>
                    <a:lnTo>
                      <a:pt x="1130" y="1578"/>
                    </a:lnTo>
                    <a:lnTo>
                      <a:pt x="1132" y="1574"/>
                    </a:lnTo>
                    <a:lnTo>
                      <a:pt x="1134" y="1570"/>
                    </a:lnTo>
                    <a:lnTo>
                      <a:pt x="1134" y="1568"/>
                    </a:lnTo>
                    <a:lnTo>
                      <a:pt x="1138" y="1572"/>
                    </a:lnTo>
                    <a:lnTo>
                      <a:pt x="1142" y="1576"/>
                    </a:lnTo>
                    <a:lnTo>
                      <a:pt x="1144" y="1574"/>
                    </a:lnTo>
                    <a:lnTo>
                      <a:pt x="1146" y="1572"/>
                    </a:lnTo>
                    <a:lnTo>
                      <a:pt x="1152" y="1566"/>
                    </a:lnTo>
                    <a:lnTo>
                      <a:pt x="1158" y="1562"/>
                    </a:lnTo>
                    <a:lnTo>
                      <a:pt x="1164" y="1560"/>
                    </a:lnTo>
                    <a:lnTo>
                      <a:pt x="1164" y="1558"/>
                    </a:lnTo>
                    <a:lnTo>
                      <a:pt x="1164" y="1556"/>
                    </a:lnTo>
                    <a:lnTo>
                      <a:pt x="1166" y="1554"/>
                    </a:lnTo>
                    <a:lnTo>
                      <a:pt x="1170" y="1552"/>
                    </a:lnTo>
                    <a:lnTo>
                      <a:pt x="1172" y="1550"/>
                    </a:lnTo>
                    <a:lnTo>
                      <a:pt x="1172" y="1548"/>
                    </a:lnTo>
                    <a:lnTo>
                      <a:pt x="1172" y="1546"/>
                    </a:lnTo>
                    <a:lnTo>
                      <a:pt x="1170" y="1542"/>
                    </a:lnTo>
                    <a:lnTo>
                      <a:pt x="1168" y="1540"/>
                    </a:lnTo>
                    <a:lnTo>
                      <a:pt x="1164" y="1540"/>
                    </a:lnTo>
                    <a:lnTo>
                      <a:pt x="1152" y="1546"/>
                    </a:lnTo>
                    <a:lnTo>
                      <a:pt x="1144" y="1550"/>
                    </a:lnTo>
                    <a:lnTo>
                      <a:pt x="1136" y="1550"/>
                    </a:lnTo>
                    <a:lnTo>
                      <a:pt x="1128" y="1550"/>
                    </a:lnTo>
                    <a:lnTo>
                      <a:pt x="1122" y="1546"/>
                    </a:lnTo>
                    <a:lnTo>
                      <a:pt x="1112" y="1540"/>
                    </a:lnTo>
                    <a:lnTo>
                      <a:pt x="1104" y="1538"/>
                    </a:lnTo>
                    <a:lnTo>
                      <a:pt x="1094" y="1538"/>
                    </a:lnTo>
                    <a:lnTo>
                      <a:pt x="1086" y="1538"/>
                    </a:lnTo>
                    <a:lnTo>
                      <a:pt x="1076" y="1538"/>
                    </a:lnTo>
                    <a:lnTo>
                      <a:pt x="1084" y="1534"/>
                    </a:lnTo>
                    <a:lnTo>
                      <a:pt x="1092" y="1530"/>
                    </a:lnTo>
                    <a:lnTo>
                      <a:pt x="1098" y="1530"/>
                    </a:lnTo>
                    <a:lnTo>
                      <a:pt x="1110" y="1530"/>
                    </a:lnTo>
                    <a:lnTo>
                      <a:pt x="1118" y="1534"/>
                    </a:lnTo>
                    <a:lnTo>
                      <a:pt x="1122" y="1534"/>
                    </a:lnTo>
                    <a:lnTo>
                      <a:pt x="1124" y="1532"/>
                    </a:lnTo>
                    <a:lnTo>
                      <a:pt x="1126" y="1532"/>
                    </a:lnTo>
                    <a:lnTo>
                      <a:pt x="1128" y="1532"/>
                    </a:lnTo>
                    <a:lnTo>
                      <a:pt x="1134" y="1538"/>
                    </a:lnTo>
                    <a:lnTo>
                      <a:pt x="1142" y="1544"/>
                    </a:lnTo>
                    <a:lnTo>
                      <a:pt x="1146" y="1544"/>
                    </a:lnTo>
                    <a:lnTo>
                      <a:pt x="1150" y="1542"/>
                    </a:lnTo>
                    <a:lnTo>
                      <a:pt x="1178" y="1528"/>
                    </a:lnTo>
                    <a:lnTo>
                      <a:pt x="1190" y="1518"/>
                    </a:lnTo>
                    <a:lnTo>
                      <a:pt x="1192" y="1516"/>
                    </a:lnTo>
                    <a:lnTo>
                      <a:pt x="1192" y="1512"/>
                    </a:lnTo>
                    <a:lnTo>
                      <a:pt x="1184" y="1500"/>
                    </a:lnTo>
                    <a:lnTo>
                      <a:pt x="1178" y="1496"/>
                    </a:lnTo>
                    <a:lnTo>
                      <a:pt x="1172" y="1496"/>
                    </a:lnTo>
                    <a:lnTo>
                      <a:pt x="1168" y="1496"/>
                    </a:lnTo>
                    <a:lnTo>
                      <a:pt x="1168" y="1494"/>
                    </a:lnTo>
                    <a:lnTo>
                      <a:pt x="1168" y="1490"/>
                    </a:lnTo>
                    <a:lnTo>
                      <a:pt x="1170" y="1484"/>
                    </a:lnTo>
                    <a:lnTo>
                      <a:pt x="1168" y="1482"/>
                    </a:lnTo>
                    <a:lnTo>
                      <a:pt x="1164" y="1480"/>
                    </a:lnTo>
                    <a:lnTo>
                      <a:pt x="1158" y="1476"/>
                    </a:lnTo>
                    <a:lnTo>
                      <a:pt x="1154" y="1472"/>
                    </a:lnTo>
                    <a:lnTo>
                      <a:pt x="1148" y="1468"/>
                    </a:lnTo>
                    <a:lnTo>
                      <a:pt x="1144" y="1466"/>
                    </a:lnTo>
                    <a:lnTo>
                      <a:pt x="1138" y="1468"/>
                    </a:lnTo>
                    <a:lnTo>
                      <a:pt x="1132" y="1468"/>
                    </a:lnTo>
                    <a:lnTo>
                      <a:pt x="1132" y="1466"/>
                    </a:lnTo>
                    <a:lnTo>
                      <a:pt x="1132" y="1462"/>
                    </a:lnTo>
                    <a:lnTo>
                      <a:pt x="1130" y="1462"/>
                    </a:lnTo>
                    <a:lnTo>
                      <a:pt x="1126" y="1460"/>
                    </a:lnTo>
                    <a:lnTo>
                      <a:pt x="1124" y="1460"/>
                    </a:lnTo>
                    <a:lnTo>
                      <a:pt x="1122" y="1458"/>
                    </a:lnTo>
                    <a:lnTo>
                      <a:pt x="1118" y="1450"/>
                    </a:lnTo>
                    <a:lnTo>
                      <a:pt x="1116" y="1440"/>
                    </a:lnTo>
                    <a:lnTo>
                      <a:pt x="1116" y="1428"/>
                    </a:lnTo>
                    <a:lnTo>
                      <a:pt x="1116" y="1416"/>
                    </a:lnTo>
                    <a:lnTo>
                      <a:pt x="1116" y="1406"/>
                    </a:lnTo>
                    <a:lnTo>
                      <a:pt x="1120" y="1398"/>
                    </a:lnTo>
                    <a:lnTo>
                      <a:pt x="1120" y="1396"/>
                    </a:lnTo>
                    <a:lnTo>
                      <a:pt x="1124" y="1396"/>
                    </a:lnTo>
                    <a:lnTo>
                      <a:pt x="1126" y="1394"/>
                    </a:lnTo>
                    <a:lnTo>
                      <a:pt x="1128" y="1392"/>
                    </a:lnTo>
                    <a:lnTo>
                      <a:pt x="1126" y="1386"/>
                    </a:lnTo>
                    <a:lnTo>
                      <a:pt x="1126" y="1374"/>
                    </a:lnTo>
                    <a:lnTo>
                      <a:pt x="1126" y="1368"/>
                    </a:lnTo>
                    <a:lnTo>
                      <a:pt x="1128" y="1360"/>
                    </a:lnTo>
                    <a:lnTo>
                      <a:pt x="1132" y="1356"/>
                    </a:lnTo>
                    <a:lnTo>
                      <a:pt x="1132" y="1352"/>
                    </a:lnTo>
                    <a:lnTo>
                      <a:pt x="1130" y="1352"/>
                    </a:lnTo>
                    <a:lnTo>
                      <a:pt x="1128" y="1350"/>
                    </a:lnTo>
                    <a:lnTo>
                      <a:pt x="1124" y="1350"/>
                    </a:lnTo>
                    <a:lnTo>
                      <a:pt x="1122" y="1348"/>
                    </a:lnTo>
                    <a:lnTo>
                      <a:pt x="1122" y="1342"/>
                    </a:lnTo>
                    <a:lnTo>
                      <a:pt x="1122" y="1336"/>
                    </a:lnTo>
                    <a:lnTo>
                      <a:pt x="1124" y="1338"/>
                    </a:lnTo>
                    <a:lnTo>
                      <a:pt x="1130" y="1340"/>
                    </a:lnTo>
                    <a:lnTo>
                      <a:pt x="1136" y="1340"/>
                    </a:lnTo>
                    <a:lnTo>
                      <a:pt x="1142" y="1338"/>
                    </a:lnTo>
                    <a:lnTo>
                      <a:pt x="1148" y="1334"/>
                    </a:lnTo>
                    <a:lnTo>
                      <a:pt x="1148" y="1332"/>
                    </a:lnTo>
                    <a:lnTo>
                      <a:pt x="1148" y="1330"/>
                    </a:lnTo>
                    <a:lnTo>
                      <a:pt x="1146" y="1326"/>
                    </a:lnTo>
                    <a:lnTo>
                      <a:pt x="1144" y="1324"/>
                    </a:lnTo>
                    <a:lnTo>
                      <a:pt x="1142" y="1322"/>
                    </a:lnTo>
                    <a:lnTo>
                      <a:pt x="1144" y="1322"/>
                    </a:lnTo>
                    <a:lnTo>
                      <a:pt x="1152" y="1320"/>
                    </a:lnTo>
                    <a:lnTo>
                      <a:pt x="1160" y="1318"/>
                    </a:lnTo>
                    <a:lnTo>
                      <a:pt x="1166" y="1312"/>
                    </a:lnTo>
                    <a:lnTo>
                      <a:pt x="1170" y="1308"/>
                    </a:lnTo>
                    <a:lnTo>
                      <a:pt x="1172" y="1302"/>
                    </a:lnTo>
                    <a:lnTo>
                      <a:pt x="1178" y="1294"/>
                    </a:lnTo>
                    <a:lnTo>
                      <a:pt x="1180" y="1292"/>
                    </a:lnTo>
                    <a:lnTo>
                      <a:pt x="1186" y="1292"/>
                    </a:lnTo>
                    <a:lnTo>
                      <a:pt x="1190" y="1294"/>
                    </a:lnTo>
                    <a:lnTo>
                      <a:pt x="1194" y="1292"/>
                    </a:lnTo>
                    <a:lnTo>
                      <a:pt x="1196" y="1286"/>
                    </a:lnTo>
                    <a:lnTo>
                      <a:pt x="1200" y="1278"/>
                    </a:lnTo>
                    <a:lnTo>
                      <a:pt x="1204" y="1274"/>
                    </a:lnTo>
                    <a:lnTo>
                      <a:pt x="1208" y="1274"/>
                    </a:lnTo>
                    <a:lnTo>
                      <a:pt x="1214" y="1274"/>
                    </a:lnTo>
                    <a:lnTo>
                      <a:pt x="1218" y="1274"/>
                    </a:lnTo>
                    <a:lnTo>
                      <a:pt x="1222" y="1268"/>
                    </a:lnTo>
                    <a:lnTo>
                      <a:pt x="1226" y="1264"/>
                    </a:lnTo>
                    <a:lnTo>
                      <a:pt x="1228" y="1264"/>
                    </a:lnTo>
                    <a:lnTo>
                      <a:pt x="1232" y="1264"/>
                    </a:lnTo>
                    <a:lnTo>
                      <a:pt x="1236" y="1264"/>
                    </a:lnTo>
                    <a:lnTo>
                      <a:pt x="1238" y="1264"/>
                    </a:lnTo>
                    <a:lnTo>
                      <a:pt x="1240" y="1260"/>
                    </a:lnTo>
                    <a:lnTo>
                      <a:pt x="1244" y="1254"/>
                    </a:lnTo>
                    <a:lnTo>
                      <a:pt x="1246" y="1254"/>
                    </a:lnTo>
                    <a:lnTo>
                      <a:pt x="1250" y="1254"/>
                    </a:lnTo>
                    <a:lnTo>
                      <a:pt x="1254" y="1252"/>
                    </a:lnTo>
                    <a:lnTo>
                      <a:pt x="1258" y="1250"/>
                    </a:lnTo>
                    <a:lnTo>
                      <a:pt x="1262" y="1240"/>
                    </a:lnTo>
                    <a:lnTo>
                      <a:pt x="1268" y="1226"/>
                    </a:lnTo>
                    <a:lnTo>
                      <a:pt x="1274" y="1220"/>
                    </a:lnTo>
                    <a:lnTo>
                      <a:pt x="1284" y="1214"/>
                    </a:lnTo>
                    <a:lnTo>
                      <a:pt x="1290" y="1208"/>
                    </a:lnTo>
                    <a:lnTo>
                      <a:pt x="1292" y="1206"/>
                    </a:lnTo>
                    <a:lnTo>
                      <a:pt x="1292" y="1204"/>
                    </a:lnTo>
                    <a:lnTo>
                      <a:pt x="1290" y="1202"/>
                    </a:lnTo>
                    <a:lnTo>
                      <a:pt x="1284" y="1198"/>
                    </a:lnTo>
                    <a:lnTo>
                      <a:pt x="1280" y="1194"/>
                    </a:lnTo>
                    <a:lnTo>
                      <a:pt x="1276" y="1190"/>
                    </a:lnTo>
                    <a:lnTo>
                      <a:pt x="1276" y="1184"/>
                    </a:lnTo>
                    <a:lnTo>
                      <a:pt x="1276" y="1180"/>
                    </a:lnTo>
                    <a:lnTo>
                      <a:pt x="1282" y="1174"/>
                    </a:lnTo>
                    <a:lnTo>
                      <a:pt x="1288" y="1168"/>
                    </a:lnTo>
                    <a:lnTo>
                      <a:pt x="1290" y="1164"/>
                    </a:lnTo>
                    <a:lnTo>
                      <a:pt x="1292" y="1156"/>
                    </a:lnTo>
                    <a:lnTo>
                      <a:pt x="1292" y="1150"/>
                    </a:lnTo>
                    <a:lnTo>
                      <a:pt x="1294" y="1146"/>
                    </a:lnTo>
                    <a:lnTo>
                      <a:pt x="1298" y="1144"/>
                    </a:lnTo>
                    <a:lnTo>
                      <a:pt x="1300" y="1144"/>
                    </a:lnTo>
                    <a:lnTo>
                      <a:pt x="1306" y="1142"/>
                    </a:lnTo>
                    <a:lnTo>
                      <a:pt x="1310" y="1140"/>
                    </a:lnTo>
                    <a:lnTo>
                      <a:pt x="1310" y="1138"/>
                    </a:lnTo>
                    <a:lnTo>
                      <a:pt x="1314" y="1132"/>
                    </a:lnTo>
                    <a:lnTo>
                      <a:pt x="1320" y="1126"/>
                    </a:lnTo>
                    <a:lnTo>
                      <a:pt x="1338" y="1114"/>
                    </a:lnTo>
                    <a:lnTo>
                      <a:pt x="1340" y="1112"/>
                    </a:lnTo>
                    <a:lnTo>
                      <a:pt x="1344" y="1112"/>
                    </a:lnTo>
                    <a:lnTo>
                      <a:pt x="1346" y="1116"/>
                    </a:lnTo>
                    <a:lnTo>
                      <a:pt x="1348" y="1118"/>
                    </a:lnTo>
                    <a:lnTo>
                      <a:pt x="1350" y="1120"/>
                    </a:lnTo>
                    <a:lnTo>
                      <a:pt x="1354" y="1120"/>
                    </a:lnTo>
                    <a:lnTo>
                      <a:pt x="1358" y="1118"/>
                    </a:lnTo>
                    <a:lnTo>
                      <a:pt x="1364" y="1116"/>
                    </a:lnTo>
                    <a:lnTo>
                      <a:pt x="1368" y="1116"/>
                    </a:lnTo>
                    <a:lnTo>
                      <a:pt x="1378" y="1116"/>
                    </a:lnTo>
                    <a:lnTo>
                      <a:pt x="1386" y="1116"/>
                    </a:lnTo>
                    <a:lnTo>
                      <a:pt x="1392" y="1116"/>
                    </a:lnTo>
                    <a:lnTo>
                      <a:pt x="1396" y="1114"/>
                    </a:lnTo>
                    <a:lnTo>
                      <a:pt x="1408" y="1116"/>
                    </a:lnTo>
                    <a:lnTo>
                      <a:pt x="1414" y="1120"/>
                    </a:lnTo>
                    <a:lnTo>
                      <a:pt x="1418" y="1124"/>
                    </a:lnTo>
                    <a:lnTo>
                      <a:pt x="1428" y="1126"/>
                    </a:lnTo>
                    <a:lnTo>
                      <a:pt x="1438" y="1130"/>
                    </a:lnTo>
                    <a:lnTo>
                      <a:pt x="1440" y="1134"/>
                    </a:lnTo>
                    <a:lnTo>
                      <a:pt x="1442" y="1136"/>
                    </a:lnTo>
                    <a:lnTo>
                      <a:pt x="1442" y="1144"/>
                    </a:lnTo>
                    <a:lnTo>
                      <a:pt x="1440" y="1154"/>
                    </a:lnTo>
                    <a:lnTo>
                      <a:pt x="1440" y="1162"/>
                    </a:lnTo>
                    <a:lnTo>
                      <a:pt x="1442" y="1166"/>
                    </a:lnTo>
                    <a:lnTo>
                      <a:pt x="1446" y="1168"/>
                    </a:lnTo>
                    <a:lnTo>
                      <a:pt x="1444" y="1174"/>
                    </a:lnTo>
                    <a:lnTo>
                      <a:pt x="1442" y="1176"/>
                    </a:lnTo>
                    <a:lnTo>
                      <a:pt x="1440" y="1176"/>
                    </a:lnTo>
                    <a:lnTo>
                      <a:pt x="1434" y="1176"/>
                    </a:lnTo>
                    <a:lnTo>
                      <a:pt x="1422" y="1178"/>
                    </a:lnTo>
                    <a:lnTo>
                      <a:pt x="1416" y="1180"/>
                    </a:lnTo>
                    <a:lnTo>
                      <a:pt x="1412" y="1184"/>
                    </a:lnTo>
                    <a:lnTo>
                      <a:pt x="1406" y="1196"/>
                    </a:lnTo>
                    <a:lnTo>
                      <a:pt x="1398" y="1208"/>
                    </a:lnTo>
                    <a:lnTo>
                      <a:pt x="1390" y="1216"/>
                    </a:lnTo>
                    <a:lnTo>
                      <a:pt x="1382" y="1222"/>
                    </a:lnTo>
                    <a:lnTo>
                      <a:pt x="1372" y="1228"/>
                    </a:lnTo>
                    <a:lnTo>
                      <a:pt x="1368" y="1232"/>
                    </a:lnTo>
                    <a:lnTo>
                      <a:pt x="1366" y="1236"/>
                    </a:lnTo>
                    <a:lnTo>
                      <a:pt x="1366" y="1238"/>
                    </a:lnTo>
                    <a:lnTo>
                      <a:pt x="1366" y="1242"/>
                    </a:lnTo>
                    <a:lnTo>
                      <a:pt x="1358" y="1244"/>
                    </a:lnTo>
                    <a:lnTo>
                      <a:pt x="1354" y="1246"/>
                    </a:lnTo>
                    <a:lnTo>
                      <a:pt x="1350" y="1248"/>
                    </a:lnTo>
                    <a:lnTo>
                      <a:pt x="1346" y="1254"/>
                    </a:lnTo>
                    <a:lnTo>
                      <a:pt x="1344" y="1258"/>
                    </a:lnTo>
                    <a:lnTo>
                      <a:pt x="1342" y="1260"/>
                    </a:lnTo>
                    <a:lnTo>
                      <a:pt x="1338" y="1260"/>
                    </a:lnTo>
                    <a:lnTo>
                      <a:pt x="1334" y="1260"/>
                    </a:lnTo>
                    <a:lnTo>
                      <a:pt x="1332" y="1260"/>
                    </a:lnTo>
                    <a:lnTo>
                      <a:pt x="1328" y="1264"/>
                    </a:lnTo>
                    <a:lnTo>
                      <a:pt x="1326" y="1268"/>
                    </a:lnTo>
                    <a:lnTo>
                      <a:pt x="1324" y="1270"/>
                    </a:lnTo>
                    <a:lnTo>
                      <a:pt x="1322" y="1270"/>
                    </a:lnTo>
                    <a:lnTo>
                      <a:pt x="1320" y="1272"/>
                    </a:lnTo>
                    <a:lnTo>
                      <a:pt x="1318" y="1272"/>
                    </a:lnTo>
                    <a:lnTo>
                      <a:pt x="1318" y="1278"/>
                    </a:lnTo>
                    <a:lnTo>
                      <a:pt x="1318" y="1286"/>
                    </a:lnTo>
                    <a:lnTo>
                      <a:pt x="1318" y="1288"/>
                    </a:lnTo>
                    <a:lnTo>
                      <a:pt x="1314" y="1292"/>
                    </a:lnTo>
                    <a:lnTo>
                      <a:pt x="1310" y="1294"/>
                    </a:lnTo>
                    <a:lnTo>
                      <a:pt x="1308" y="1294"/>
                    </a:lnTo>
                    <a:lnTo>
                      <a:pt x="1300" y="1292"/>
                    </a:lnTo>
                    <a:lnTo>
                      <a:pt x="1294" y="1290"/>
                    </a:lnTo>
                    <a:lnTo>
                      <a:pt x="1292" y="1292"/>
                    </a:lnTo>
                    <a:lnTo>
                      <a:pt x="1290" y="1296"/>
                    </a:lnTo>
                    <a:lnTo>
                      <a:pt x="1290" y="1300"/>
                    </a:lnTo>
                    <a:lnTo>
                      <a:pt x="1286" y="1304"/>
                    </a:lnTo>
                    <a:lnTo>
                      <a:pt x="1278" y="1314"/>
                    </a:lnTo>
                    <a:lnTo>
                      <a:pt x="1276" y="1322"/>
                    </a:lnTo>
                    <a:lnTo>
                      <a:pt x="1274" y="1328"/>
                    </a:lnTo>
                    <a:lnTo>
                      <a:pt x="1274" y="1338"/>
                    </a:lnTo>
                    <a:lnTo>
                      <a:pt x="1278" y="1346"/>
                    </a:lnTo>
                    <a:lnTo>
                      <a:pt x="1282" y="1354"/>
                    </a:lnTo>
                    <a:lnTo>
                      <a:pt x="1282" y="1360"/>
                    </a:lnTo>
                    <a:lnTo>
                      <a:pt x="1282" y="1364"/>
                    </a:lnTo>
                    <a:lnTo>
                      <a:pt x="1280" y="1366"/>
                    </a:lnTo>
                    <a:lnTo>
                      <a:pt x="1278" y="1368"/>
                    </a:lnTo>
                    <a:lnTo>
                      <a:pt x="1278" y="1372"/>
                    </a:lnTo>
                    <a:lnTo>
                      <a:pt x="1280" y="1378"/>
                    </a:lnTo>
                    <a:lnTo>
                      <a:pt x="1288" y="1388"/>
                    </a:lnTo>
                    <a:lnTo>
                      <a:pt x="1292" y="1394"/>
                    </a:lnTo>
                    <a:lnTo>
                      <a:pt x="1294" y="1396"/>
                    </a:lnTo>
                    <a:lnTo>
                      <a:pt x="1294" y="1398"/>
                    </a:lnTo>
                    <a:lnTo>
                      <a:pt x="1292" y="1400"/>
                    </a:lnTo>
                    <a:lnTo>
                      <a:pt x="1288" y="1402"/>
                    </a:lnTo>
                    <a:lnTo>
                      <a:pt x="1286" y="1404"/>
                    </a:lnTo>
                    <a:lnTo>
                      <a:pt x="1286" y="1406"/>
                    </a:lnTo>
                    <a:lnTo>
                      <a:pt x="1288" y="1416"/>
                    </a:lnTo>
                    <a:lnTo>
                      <a:pt x="1288" y="1424"/>
                    </a:lnTo>
                    <a:lnTo>
                      <a:pt x="1282" y="1444"/>
                    </a:lnTo>
                    <a:lnTo>
                      <a:pt x="1280" y="1456"/>
                    </a:lnTo>
                    <a:lnTo>
                      <a:pt x="1280" y="1462"/>
                    </a:lnTo>
                    <a:lnTo>
                      <a:pt x="1282" y="1464"/>
                    </a:lnTo>
                    <a:lnTo>
                      <a:pt x="1286" y="1466"/>
                    </a:lnTo>
                    <a:lnTo>
                      <a:pt x="1298" y="1470"/>
                    </a:lnTo>
                    <a:lnTo>
                      <a:pt x="1322" y="1476"/>
                    </a:lnTo>
                    <a:lnTo>
                      <a:pt x="1328" y="1478"/>
                    </a:lnTo>
                    <a:lnTo>
                      <a:pt x="1330" y="1480"/>
                    </a:lnTo>
                    <a:lnTo>
                      <a:pt x="1328" y="1484"/>
                    </a:lnTo>
                    <a:lnTo>
                      <a:pt x="1328" y="1492"/>
                    </a:lnTo>
                    <a:lnTo>
                      <a:pt x="1328" y="1500"/>
                    </a:lnTo>
                    <a:lnTo>
                      <a:pt x="1330" y="1504"/>
                    </a:lnTo>
                    <a:lnTo>
                      <a:pt x="1334" y="1504"/>
                    </a:lnTo>
                    <a:lnTo>
                      <a:pt x="1336" y="1504"/>
                    </a:lnTo>
                    <a:lnTo>
                      <a:pt x="1340" y="1500"/>
                    </a:lnTo>
                    <a:lnTo>
                      <a:pt x="1346" y="1494"/>
                    </a:lnTo>
                    <a:lnTo>
                      <a:pt x="1352" y="1494"/>
                    </a:lnTo>
                    <a:lnTo>
                      <a:pt x="1354" y="1496"/>
                    </a:lnTo>
                    <a:lnTo>
                      <a:pt x="1354" y="1498"/>
                    </a:lnTo>
                    <a:lnTo>
                      <a:pt x="1354" y="1500"/>
                    </a:lnTo>
                    <a:lnTo>
                      <a:pt x="1352" y="1506"/>
                    </a:lnTo>
                    <a:lnTo>
                      <a:pt x="1346" y="1512"/>
                    </a:lnTo>
                    <a:lnTo>
                      <a:pt x="1346" y="1516"/>
                    </a:lnTo>
                    <a:lnTo>
                      <a:pt x="1352" y="1514"/>
                    </a:lnTo>
                    <a:lnTo>
                      <a:pt x="1366" y="1508"/>
                    </a:lnTo>
                    <a:lnTo>
                      <a:pt x="1376" y="1504"/>
                    </a:lnTo>
                    <a:lnTo>
                      <a:pt x="1390" y="1504"/>
                    </a:lnTo>
                    <a:lnTo>
                      <a:pt x="1408" y="1500"/>
                    </a:lnTo>
                    <a:lnTo>
                      <a:pt x="1436" y="1488"/>
                    </a:lnTo>
                    <a:lnTo>
                      <a:pt x="1448" y="1484"/>
                    </a:lnTo>
                    <a:lnTo>
                      <a:pt x="1454" y="1484"/>
                    </a:lnTo>
                    <a:lnTo>
                      <a:pt x="1458" y="1484"/>
                    </a:lnTo>
                    <a:lnTo>
                      <a:pt x="1462" y="1484"/>
                    </a:lnTo>
                    <a:lnTo>
                      <a:pt x="1466" y="1486"/>
                    </a:lnTo>
                    <a:lnTo>
                      <a:pt x="1470" y="1482"/>
                    </a:lnTo>
                    <a:lnTo>
                      <a:pt x="1476" y="1476"/>
                    </a:lnTo>
                    <a:lnTo>
                      <a:pt x="1478" y="1476"/>
                    </a:lnTo>
                    <a:lnTo>
                      <a:pt x="1484" y="1478"/>
                    </a:lnTo>
                    <a:lnTo>
                      <a:pt x="1490" y="1476"/>
                    </a:lnTo>
                    <a:lnTo>
                      <a:pt x="1498" y="1474"/>
                    </a:lnTo>
                    <a:lnTo>
                      <a:pt x="1506" y="1472"/>
                    </a:lnTo>
                    <a:lnTo>
                      <a:pt x="1512" y="1470"/>
                    </a:lnTo>
                    <a:lnTo>
                      <a:pt x="1522" y="1470"/>
                    </a:lnTo>
                    <a:lnTo>
                      <a:pt x="1532" y="1470"/>
                    </a:lnTo>
                    <a:lnTo>
                      <a:pt x="1538" y="1470"/>
                    </a:lnTo>
                    <a:lnTo>
                      <a:pt x="1546" y="1466"/>
                    </a:lnTo>
                    <a:lnTo>
                      <a:pt x="1550" y="1468"/>
                    </a:lnTo>
                    <a:lnTo>
                      <a:pt x="1556" y="1468"/>
                    </a:lnTo>
                    <a:lnTo>
                      <a:pt x="1566" y="1462"/>
                    </a:lnTo>
                    <a:lnTo>
                      <a:pt x="1574" y="1456"/>
                    </a:lnTo>
                    <a:lnTo>
                      <a:pt x="1578" y="1454"/>
                    </a:lnTo>
                    <a:lnTo>
                      <a:pt x="1580" y="1456"/>
                    </a:lnTo>
                    <a:lnTo>
                      <a:pt x="1582" y="1458"/>
                    </a:lnTo>
                    <a:lnTo>
                      <a:pt x="1578" y="1458"/>
                    </a:lnTo>
                    <a:lnTo>
                      <a:pt x="1576" y="1462"/>
                    </a:lnTo>
                    <a:lnTo>
                      <a:pt x="1578" y="1466"/>
                    </a:lnTo>
                    <a:lnTo>
                      <a:pt x="1580" y="1470"/>
                    </a:lnTo>
                    <a:lnTo>
                      <a:pt x="1578" y="1472"/>
                    </a:lnTo>
                    <a:lnTo>
                      <a:pt x="1572" y="1470"/>
                    </a:lnTo>
                    <a:lnTo>
                      <a:pt x="1568" y="1468"/>
                    </a:lnTo>
                    <a:lnTo>
                      <a:pt x="1572" y="1474"/>
                    </a:lnTo>
                    <a:lnTo>
                      <a:pt x="1578" y="1480"/>
                    </a:lnTo>
                    <a:lnTo>
                      <a:pt x="1582" y="1480"/>
                    </a:lnTo>
                    <a:lnTo>
                      <a:pt x="1584" y="1482"/>
                    </a:lnTo>
                    <a:lnTo>
                      <a:pt x="1588" y="1486"/>
                    </a:lnTo>
                    <a:lnTo>
                      <a:pt x="1592" y="1490"/>
                    </a:lnTo>
                    <a:lnTo>
                      <a:pt x="1596" y="1490"/>
                    </a:lnTo>
                    <a:lnTo>
                      <a:pt x="1608" y="1490"/>
                    </a:lnTo>
                    <a:lnTo>
                      <a:pt x="1618" y="1490"/>
                    </a:lnTo>
                    <a:lnTo>
                      <a:pt x="1622" y="1492"/>
                    </a:lnTo>
                    <a:lnTo>
                      <a:pt x="1626" y="1494"/>
                    </a:lnTo>
                    <a:lnTo>
                      <a:pt x="1628" y="1498"/>
                    </a:lnTo>
                    <a:lnTo>
                      <a:pt x="1632" y="1500"/>
                    </a:lnTo>
                    <a:lnTo>
                      <a:pt x="1638" y="1502"/>
                    </a:lnTo>
                    <a:lnTo>
                      <a:pt x="1642" y="1504"/>
                    </a:lnTo>
                    <a:lnTo>
                      <a:pt x="1642" y="1508"/>
                    </a:lnTo>
                    <a:lnTo>
                      <a:pt x="1638" y="1510"/>
                    </a:lnTo>
                    <a:lnTo>
                      <a:pt x="1634" y="1510"/>
                    </a:lnTo>
                    <a:lnTo>
                      <a:pt x="1610" y="1504"/>
                    </a:lnTo>
                    <a:lnTo>
                      <a:pt x="1602" y="1502"/>
                    </a:lnTo>
                    <a:lnTo>
                      <a:pt x="1596" y="1504"/>
                    </a:lnTo>
                    <a:lnTo>
                      <a:pt x="1594" y="1506"/>
                    </a:lnTo>
                    <a:lnTo>
                      <a:pt x="1592" y="1510"/>
                    </a:lnTo>
                    <a:lnTo>
                      <a:pt x="1590" y="1512"/>
                    </a:lnTo>
                    <a:lnTo>
                      <a:pt x="1588" y="1516"/>
                    </a:lnTo>
                    <a:lnTo>
                      <a:pt x="1584" y="1516"/>
                    </a:lnTo>
                    <a:lnTo>
                      <a:pt x="1578" y="1514"/>
                    </a:lnTo>
                    <a:lnTo>
                      <a:pt x="1574" y="1512"/>
                    </a:lnTo>
                    <a:lnTo>
                      <a:pt x="1570" y="1514"/>
                    </a:lnTo>
                    <a:lnTo>
                      <a:pt x="1568" y="1516"/>
                    </a:lnTo>
                    <a:lnTo>
                      <a:pt x="1568" y="1518"/>
                    </a:lnTo>
                    <a:lnTo>
                      <a:pt x="1568" y="1522"/>
                    </a:lnTo>
                    <a:lnTo>
                      <a:pt x="1568" y="1524"/>
                    </a:lnTo>
                    <a:lnTo>
                      <a:pt x="1564" y="1524"/>
                    </a:lnTo>
                    <a:lnTo>
                      <a:pt x="1560" y="1520"/>
                    </a:lnTo>
                    <a:lnTo>
                      <a:pt x="1556" y="1518"/>
                    </a:lnTo>
                    <a:lnTo>
                      <a:pt x="1552" y="1516"/>
                    </a:lnTo>
                    <a:lnTo>
                      <a:pt x="1552" y="1518"/>
                    </a:lnTo>
                    <a:lnTo>
                      <a:pt x="1552" y="1520"/>
                    </a:lnTo>
                    <a:lnTo>
                      <a:pt x="1554" y="1530"/>
                    </a:lnTo>
                    <a:lnTo>
                      <a:pt x="1554" y="1534"/>
                    </a:lnTo>
                    <a:lnTo>
                      <a:pt x="1552" y="1536"/>
                    </a:lnTo>
                    <a:lnTo>
                      <a:pt x="1540" y="1540"/>
                    </a:lnTo>
                    <a:lnTo>
                      <a:pt x="1530" y="1542"/>
                    </a:lnTo>
                    <a:lnTo>
                      <a:pt x="1518" y="1540"/>
                    </a:lnTo>
                    <a:lnTo>
                      <a:pt x="1508" y="1536"/>
                    </a:lnTo>
                    <a:lnTo>
                      <a:pt x="1498" y="1532"/>
                    </a:lnTo>
                    <a:lnTo>
                      <a:pt x="1488" y="1530"/>
                    </a:lnTo>
                    <a:lnTo>
                      <a:pt x="1476" y="1528"/>
                    </a:lnTo>
                    <a:lnTo>
                      <a:pt x="1460" y="1526"/>
                    </a:lnTo>
                    <a:lnTo>
                      <a:pt x="1454" y="1524"/>
                    </a:lnTo>
                    <a:lnTo>
                      <a:pt x="1450" y="1524"/>
                    </a:lnTo>
                    <a:lnTo>
                      <a:pt x="1448" y="1526"/>
                    </a:lnTo>
                    <a:lnTo>
                      <a:pt x="1448" y="1528"/>
                    </a:lnTo>
                    <a:lnTo>
                      <a:pt x="1446" y="1532"/>
                    </a:lnTo>
                    <a:lnTo>
                      <a:pt x="1442" y="1534"/>
                    </a:lnTo>
                    <a:lnTo>
                      <a:pt x="1436" y="1534"/>
                    </a:lnTo>
                    <a:lnTo>
                      <a:pt x="1422" y="1534"/>
                    </a:lnTo>
                    <a:lnTo>
                      <a:pt x="1408" y="1534"/>
                    </a:lnTo>
                    <a:lnTo>
                      <a:pt x="1398" y="1538"/>
                    </a:lnTo>
                    <a:lnTo>
                      <a:pt x="1394" y="1542"/>
                    </a:lnTo>
                    <a:lnTo>
                      <a:pt x="1392" y="1544"/>
                    </a:lnTo>
                    <a:lnTo>
                      <a:pt x="1390" y="1548"/>
                    </a:lnTo>
                    <a:lnTo>
                      <a:pt x="1388" y="1550"/>
                    </a:lnTo>
                    <a:lnTo>
                      <a:pt x="1380" y="1552"/>
                    </a:lnTo>
                    <a:lnTo>
                      <a:pt x="1374" y="1554"/>
                    </a:lnTo>
                    <a:lnTo>
                      <a:pt x="1372" y="1558"/>
                    </a:lnTo>
                    <a:lnTo>
                      <a:pt x="1370" y="1562"/>
                    </a:lnTo>
                    <a:lnTo>
                      <a:pt x="1368" y="1572"/>
                    </a:lnTo>
                    <a:lnTo>
                      <a:pt x="1368" y="1580"/>
                    </a:lnTo>
                    <a:lnTo>
                      <a:pt x="1370" y="1588"/>
                    </a:lnTo>
                    <a:lnTo>
                      <a:pt x="1372" y="1594"/>
                    </a:lnTo>
                    <a:lnTo>
                      <a:pt x="1378" y="1604"/>
                    </a:lnTo>
                    <a:lnTo>
                      <a:pt x="1382" y="1610"/>
                    </a:lnTo>
                    <a:lnTo>
                      <a:pt x="1386" y="1614"/>
                    </a:lnTo>
                    <a:lnTo>
                      <a:pt x="1390" y="1614"/>
                    </a:lnTo>
                    <a:lnTo>
                      <a:pt x="1396" y="1614"/>
                    </a:lnTo>
                    <a:lnTo>
                      <a:pt x="1402" y="1610"/>
                    </a:lnTo>
                    <a:lnTo>
                      <a:pt x="1410" y="1606"/>
                    </a:lnTo>
                    <a:lnTo>
                      <a:pt x="1410" y="1608"/>
                    </a:lnTo>
                    <a:lnTo>
                      <a:pt x="1410" y="1610"/>
                    </a:lnTo>
                    <a:lnTo>
                      <a:pt x="1402" y="1640"/>
                    </a:lnTo>
                    <a:lnTo>
                      <a:pt x="1402" y="1646"/>
                    </a:lnTo>
                    <a:lnTo>
                      <a:pt x="1404" y="1654"/>
                    </a:lnTo>
                    <a:lnTo>
                      <a:pt x="1406" y="1668"/>
                    </a:lnTo>
                    <a:lnTo>
                      <a:pt x="1408" y="1676"/>
                    </a:lnTo>
                    <a:lnTo>
                      <a:pt x="1406" y="1682"/>
                    </a:lnTo>
                    <a:lnTo>
                      <a:pt x="1402" y="1686"/>
                    </a:lnTo>
                    <a:lnTo>
                      <a:pt x="1392" y="1692"/>
                    </a:lnTo>
                    <a:lnTo>
                      <a:pt x="1380" y="1694"/>
                    </a:lnTo>
                    <a:lnTo>
                      <a:pt x="1370" y="1694"/>
                    </a:lnTo>
                    <a:lnTo>
                      <a:pt x="1364" y="1690"/>
                    </a:lnTo>
                    <a:lnTo>
                      <a:pt x="1360" y="1684"/>
                    </a:lnTo>
                    <a:lnTo>
                      <a:pt x="1354" y="1672"/>
                    </a:lnTo>
                    <a:lnTo>
                      <a:pt x="1348" y="1666"/>
                    </a:lnTo>
                    <a:lnTo>
                      <a:pt x="1342" y="1662"/>
                    </a:lnTo>
                    <a:lnTo>
                      <a:pt x="1336" y="1660"/>
                    </a:lnTo>
                    <a:lnTo>
                      <a:pt x="1334" y="1656"/>
                    </a:lnTo>
                    <a:lnTo>
                      <a:pt x="1332" y="1652"/>
                    </a:lnTo>
                    <a:lnTo>
                      <a:pt x="1332" y="1650"/>
                    </a:lnTo>
                    <a:lnTo>
                      <a:pt x="1332" y="1648"/>
                    </a:lnTo>
                    <a:lnTo>
                      <a:pt x="1324" y="1648"/>
                    </a:lnTo>
                    <a:lnTo>
                      <a:pt x="1302" y="1656"/>
                    </a:lnTo>
                    <a:lnTo>
                      <a:pt x="1294" y="1660"/>
                    </a:lnTo>
                    <a:lnTo>
                      <a:pt x="1292" y="1664"/>
                    </a:lnTo>
                    <a:lnTo>
                      <a:pt x="1286" y="1674"/>
                    </a:lnTo>
                    <a:lnTo>
                      <a:pt x="1284" y="1678"/>
                    </a:lnTo>
                    <a:lnTo>
                      <a:pt x="1286" y="1684"/>
                    </a:lnTo>
                    <a:lnTo>
                      <a:pt x="1286" y="1688"/>
                    </a:lnTo>
                    <a:lnTo>
                      <a:pt x="1286" y="1690"/>
                    </a:lnTo>
                    <a:lnTo>
                      <a:pt x="1280" y="1694"/>
                    </a:lnTo>
                    <a:lnTo>
                      <a:pt x="1274" y="1700"/>
                    </a:lnTo>
                    <a:lnTo>
                      <a:pt x="1272" y="1704"/>
                    </a:lnTo>
                    <a:lnTo>
                      <a:pt x="1270" y="1710"/>
                    </a:lnTo>
                    <a:lnTo>
                      <a:pt x="1266" y="1720"/>
                    </a:lnTo>
                    <a:lnTo>
                      <a:pt x="1266" y="1732"/>
                    </a:lnTo>
                    <a:lnTo>
                      <a:pt x="1268" y="1752"/>
                    </a:lnTo>
                    <a:lnTo>
                      <a:pt x="1268" y="1766"/>
                    </a:lnTo>
                    <a:lnTo>
                      <a:pt x="1270" y="1772"/>
                    </a:lnTo>
                    <a:lnTo>
                      <a:pt x="1274" y="1776"/>
                    </a:lnTo>
                    <a:lnTo>
                      <a:pt x="1278" y="1782"/>
                    </a:lnTo>
                    <a:lnTo>
                      <a:pt x="1280" y="1790"/>
                    </a:lnTo>
                    <a:lnTo>
                      <a:pt x="1280" y="1804"/>
                    </a:lnTo>
                    <a:lnTo>
                      <a:pt x="1278" y="1806"/>
                    </a:lnTo>
                    <a:lnTo>
                      <a:pt x="1276" y="1808"/>
                    </a:lnTo>
                    <a:lnTo>
                      <a:pt x="1276" y="1816"/>
                    </a:lnTo>
                    <a:lnTo>
                      <a:pt x="1278" y="1818"/>
                    </a:lnTo>
                    <a:lnTo>
                      <a:pt x="1276" y="1822"/>
                    </a:lnTo>
                    <a:lnTo>
                      <a:pt x="1270" y="1824"/>
                    </a:lnTo>
                    <a:lnTo>
                      <a:pt x="1264" y="1826"/>
                    </a:lnTo>
                    <a:lnTo>
                      <a:pt x="1258" y="1824"/>
                    </a:lnTo>
                    <a:lnTo>
                      <a:pt x="1256" y="1824"/>
                    </a:lnTo>
                    <a:lnTo>
                      <a:pt x="1256" y="1822"/>
                    </a:lnTo>
                    <a:lnTo>
                      <a:pt x="1258" y="1816"/>
                    </a:lnTo>
                    <a:lnTo>
                      <a:pt x="1268" y="1804"/>
                    </a:lnTo>
                    <a:lnTo>
                      <a:pt x="1270" y="1800"/>
                    </a:lnTo>
                    <a:lnTo>
                      <a:pt x="1268" y="1800"/>
                    </a:lnTo>
                    <a:lnTo>
                      <a:pt x="1256" y="1814"/>
                    </a:lnTo>
                    <a:lnTo>
                      <a:pt x="1248" y="1820"/>
                    </a:lnTo>
                    <a:lnTo>
                      <a:pt x="1246" y="1822"/>
                    </a:lnTo>
                    <a:lnTo>
                      <a:pt x="1240" y="1820"/>
                    </a:lnTo>
                    <a:lnTo>
                      <a:pt x="1232" y="1820"/>
                    </a:lnTo>
                    <a:lnTo>
                      <a:pt x="1226" y="1822"/>
                    </a:lnTo>
                    <a:lnTo>
                      <a:pt x="1224" y="1824"/>
                    </a:lnTo>
                    <a:lnTo>
                      <a:pt x="1224" y="1830"/>
                    </a:lnTo>
                    <a:lnTo>
                      <a:pt x="1224" y="1836"/>
                    </a:lnTo>
                    <a:lnTo>
                      <a:pt x="1224" y="1840"/>
                    </a:lnTo>
                    <a:lnTo>
                      <a:pt x="1220" y="1846"/>
                    </a:lnTo>
                    <a:lnTo>
                      <a:pt x="1214" y="1852"/>
                    </a:lnTo>
                    <a:lnTo>
                      <a:pt x="1202" y="1858"/>
                    </a:lnTo>
                    <a:lnTo>
                      <a:pt x="1188" y="1860"/>
                    </a:lnTo>
                    <a:lnTo>
                      <a:pt x="1182" y="1858"/>
                    </a:lnTo>
                    <a:lnTo>
                      <a:pt x="1176" y="1856"/>
                    </a:lnTo>
                    <a:lnTo>
                      <a:pt x="1172" y="1854"/>
                    </a:lnTo>
                    <a:lnTo>
                      <a:pt x="1170" y="1848"/>
                    </a:lnTo>
                    <a:lnTo>
                      <a:pt x="1166" y="1836"/>
                    </a:lnTo>
                    <a:lnTo>
                      <a:pt x="1172" y="1840"/>
                    </a:lnTo>
                    <a:lnTo>
                      <a:pt x="1180" y="1844"/>
                    </a:lnTo>
                    <a:lnTo>
                      <a:pt x="1184" y="1844"/>
                    </a:lnTo>
                    <a:lnTo>
                      <a:pt x="1184" y="1842"/>
                    </a:lnTo>
                    <a:lnTo>
                      <a:pt x="1180" y="1840"/>
                    </a:lnTo>
                    <a:lnTo>
                      <a:pt x="1168" y="1832"/>
                    </a:lnTo>
                    <a:lnTo>
                      <a:pt x="1160" y="1828"/>
                    </a:lnTo>
                    <a:lnTo>
                      <a:pt x="1152" y="1828"/>
                    </a:lnTo>
                    <a:lnTo>
                      <a:pt x="1136" y="1832"/>
                    </a:lnTo>
                    <a:lnTo>
                      <a:pt x="1118" y="1836"/>
                    </a:lnTo>
                    <a:lnTo>
                      <a:pt x="1112" y="1838"/>
                    </a:lnTo>
                    <a:lnTo>
                      <a:pt x="1110" y="1840"/>
                    </a:lnTo>
                    <a:lnTo>
                      <a:pt x="1098" y="1844"/>
                    </a:lnTo>
                    <a:lnTo>
                      <a:pt x="1090" y="1848"/>
                    </a:lnTo>
                    <a:lnTo>
                      <a:pt x="1086" y="1850"/>
                    </a:lnTo>
                    <a:lnTo>
                      <a:pt x="1082" y="1856"/>
                    </a:lnTo>
                    <a:lnTo>
                      <a:pt x="1080" y="1858"/>
                    </a:lnTo>
                    <a:lnTo>
                      <a:pt x="1074" y="1862"/>
                    </a:lnTo>
                    <a:lnTo>
                      <a:pt x="1066" y="1864"/>
                    </a:lnTo>
                    <a:lnTo>
                      <a:pt x="1054" y="1868"/>
                    </a:lnTo>
                    <a:lnTo>
                      <a:pt x="1034" y="1874"/>
                    </a:lnTo>
                    <a:lnTo>
                      <a:pt x="1020" y="1880"/>
                    </a:lnTo>
                    <a:lnTo>
                      <a:pt x="1008" y="1884"/>
                    </a:lnTo>
                    <a:lnTo>
                      <a:pt x="1002" y="1884"/>
                    </a:lnTo>
                    <a:lnTo>
                      <a:pt x="996" y="1884"/>
                    </a:lnTo>
                    <a:lnTo>
                      <a:pt x="992" y="1882"/>
                    </a:lnTo>
                    <a:lnTo>
                      <a:pt x="986" y="1878"/>
                    </a:lnTo>
                    <a:lnTo>
                      <a:pt x="980" y="1870"/>
                    </a:lnTo>
                    <a:lnTo>
                      <a:pt x="978" y="1870"/>
                    </a:lnTo>
                    <a:lnTo>
                      <a:pt x="980" y="1874"/>
                    </a:lnTo>
                    <a:lnTo>
                      <a:pt x="984" y="1884"/>
                    </a:lnTo>
                    <a:lnTo>
                      <a:pt x="984" y="1886"/>
                    </a:lnTo>
                    <a:lnTo>
                      <a:pt x="984" y="1888"/>
                    </a:lnTo>
                    <a:lnTo>
                      <a:pt x="982" y="1888"/>
                    </a:lnTo>
                    <a:lnTo>
                      <a:pt x="982" y="1890"/>
                    </a:lnTo>
                    <a:lnTo>
                      <a:pt x="984" y="1890"/>
                    </a:lnTo>
                    <a:lnTo>
                      <a:pt x="988" y="1890"/>
                    </a:lnTo>
                    <a:lnTo>
                      <a:pt x="992" y="1888"/>
                    </a:lnTo>
                    <a:lnTo>
                      <a:pt x="996" y="1890"/>
                    </a:lnTo>
                    <a:lnTo>
                      <a:pt x="998" y="1892"/>
                    </a:lnTo>
                    <a:lnTo>
                      <a:pt x="1002" y="1892"/>
                    </a:lnTo>
                    <a:lnTo>
                      <a:pt x="1004" y="1890"/>
                    </a:lnTo>
                    <a:lnTo>
                      <a:pt x="1008" y="1890"/>
                    </a:lnTo>
                    <a:lnTo>
                      <a:pt x="1010" y="1894"/>
                    </a:lnTo>
                    <a:lnTo>
                      <a:pt x="1010" y="1900"/>
                    </a:lnTo>
                    <a:lnTo>
                      <a:pt x="1010" y="1902"/>
                    </a:lnTo>
                    <a:lnTo>
                      <a:pt x="1008" y="1902"/>
                    </a:lnTo>
                    <a:lnTo>
                      <a:pt x="1004" y="1900"/>
                    </a:lnTo>
                    <a:lnTo>
                      <a:pt x="998" y="1898"/>
                    </a:lnTo>
                    <a:lnTo>
                      <a:pt x="996" y="1898"/>
                    </a:lnTo>
                    <a:lnTo>
                      <a:pt x="986" y="1896"/>
                    </a:lnTo>
                    <a:lnTo>
                      <a:pt x="980" y="1892"/>
                    </a:lnTo>
                    <a:lnTo>
                      <a:pt x="980" y="1890"/>
                    </a:lnTo>
                    <a:lnTo>
                      <a:pt x="980" y="1886"/>
                    </a:lnTo>
                    <a:lnTo>
                      <a:pt x="980" y="1884"/>
                    </a:lnTo>
                    <a:lnTo>
                      <a:pt x="978" y="1882"/>
                    </a:lnTo>
                    <a:lnTo>
                      <a:pt x="976" y="1878"/>
                    </a:lnTo>
                    <a:lnTo>
                      <a:pt x="976" y="1872"/>
                    </a:lnTo>
                    <a:lnTo>
                      <a:pt x="976" y="1870"/>
                    </a:lnTo>
                    <a:lnTo>
                      <a:pt x="974" y="1870"/>
                    </a:lnTo>
                    <a:lnTo>
                      <a:pt x="970" y="1872"/>
                    </a:lnTo>
                    <a:lnTo>
                      <a:pt x="962" y="1872"/>
                    </a:lnTo>
                    <a:lnTo>
                      <a:pt x="958" y="1870"/>
                    </a:lnTo>
                    <a:lnTo>
                      <a:pt x="954" y="1868"/>
                    </a:lnTo>
                    <a:lnTo>
                      <a:pt x="950" y="1860"/>
                    </a:lnTo>
                    <a:lnTo>
                      <a:pt x="948" y="1856"/>
                    </a:lnTo>
                    <a:lnTo>
                      <a:pt x="946" y="1854"/>
                    </a:lnTo>
                    <a:lnTo>
                      <a:pt x="944" y="1854"/>
                    </a:lnTo>
                    <a:lnTo>
                      <a:pt x="938" y="1854"/>
                    </a:lnTo>
                    <a:lnTo>
                      <a:pt x="932" y="1852"/>
                    </a:lnTo>
                    <a:lnTo>
                      <a:pt x="930" y="1850"/>
                    </a:lnTo>
                    <a:lnTo>
                      <a:pt x="926" y="1850"/>
                    </a:lnTo>
                    <a:lnTo>
                      <a:pt x="924" y="1854"/>
                    </a:lnTo>
                    <a:lnTo>
                      <a:pt x="920" y="1862"/>
                    </a:lnTo>
                    <a:lnTo>
                      <a:pt x="912" y="1868"/>
                    </a:lnTo>
                    <a:lnTo>
                      <a:pt x="908" y="1870"/>
                    </a:lnTo>
                    <a:lnTo>
                      <a:pt x="900" y="1870"/>
                    </a:lnTo>
                    <a:lnTo>
                      <a:pt x="894" y="1872"/>
                    </a:lnTo>
                    <a:lnTo>
                      <a:pt x="890" y="1874"/>
                    </a:lnTo>
                    <a:lnTo>
                      <a:pt x="886" y="1880"/>
                    </a:lnTo>
                    <a:lnTo>
                      <a:pt x="884" y="1884"/>
                    </a:lnTo>
                    <a:lnTo>
                      <a:pt x="882" y="1884"/>
                    </a:lnTo>
                    <a:lnTo>
                      <a:pt x="878" y="1882"/>
                    </a:lnTo>
                    <a:lnTo>
                      <a:pt x="874" y="1880"/>
                    </a:lnTo>
                    <a:lnTo>
                      <a:pt x="870" y="1880"/>
                    </a:lnTo>
                    <a:lnTo>
                      <a:pt x="864" y="1882"/>
                    </a:lnTo>
                    <a:lnTo>
                      <a:pt x="860" y="1882"/>
                    </a:lnTo>
                    <a:lnTo>
                      <a:pt x="858" y="1882"/>
                    </a:lnTo>
                    <a:lnTo>
                      <a:pt x="856" y="1880"/>
                    </a:lnTo>
                    <a:lnTo>
                      <a:pt x="856" y="1878"/>
                    </a:lnTo>
                    <a:lnTo>
                      <a:pt x="858" y="1876"/>
                    </a:lnTo>
                    <a:lnTo>
                      <a:pt x="864" y="1872"/>
                    </a:lnTo>
                    <a:lnTo>
                      <a:pt x="870" y="1870"/>
                    </a:lnTo>
                    <a:lnTo>
                      <a:pt x="870" y="1868"/>
                    </a:lnTo>
                    <a:lnTo>
                      <a:pt x="870" y="1864"/>
                    </a:lnTo>
                    <a:lnTo>
                      <a:pt x="870" y="1862"/>
                    </a:lnTo>
                    <a:lnTo>
                      <a:pt x="870" y="1858"/>
                    </a:lnTo>
                    <a:lnTo>
                      <a:pt x="870" y="1856"/>
                    </a:lnTo>
                    <a:lnTo>
                      <a:pt x="862" y="1858"/>
                    </a:lnTo>
                    <a:lnTo>
                      <a:pt x="856" y="1860"/>
                    </a:lnTo>
                    <a:lnTo>
                      <a:pt x="852" y="1860"/>
                    </a:lnTo>
                    <a:lnTo>
                      <a:pt x="848" y="1860"/>
                    </a:lnTo>
                    <a:lnTo>
                      <a:pt x="846" y="1858"/>
                    </a:lnTo>
                    <a:lnTo>
                      <a:pt x="842" y="1854"/>
                    </a:lnTo>
                    <a:lnTo>
                      <a:pt x="840" y="1854"/>
                    </a:lnTo>
                    <a:lnTo>
                      <a:pt x="838" y="1854"/>
                    </a:lnTo>
                    <a:lnTo>
                      <a:pt x="834" y="1856"/>
                    </a:lnTo>
                    <a:lnTo>
                      <a:pt x="832" y="1854"/>
                    </a:lnTo>
                    <a:lnTo>
                      <a:pt x="830" y="1852"/>
                    </a:lnTo>
                    <a:lnTo>
                      <a:pt x="826" y="1850"/>
                    </a:lnTo>
                    <a:lnTo>
                      <a:pt x="822" y="1850"/>
                    </a:lnTo>
                    <a:lnTo>
                      <a:pt x="824" y="1848"/>
                    </a:lnTo>
                    <a:lnTo>
                      <a:pt x="826" y="1844"/>
                    </a:lnTo>
                    <a:lnTo>
                      <a:pt x="828" y="1842"/>
                    </a:lnTo>
                    <a:lnTo>
                      <a:pt x="826" y="1838"/>
                    </a:lnTo>
                    <a:lnTo>
                      <a:pt x="824" y="1834"/>
                    </a:lnTo>
                    <a:lnTo>
                      <a:pt x="822" y="1832"/>
                    </a:lnTo>
                    <a:lnTo>
                      <a:pt x="820" y="1834"/>
                    </a:lnTo>
                    <a:lnTo>
                      <a:pt x="816" y="1832"/>
                    </a:lnTo>
                    <a:lnTo>
                      <a:pt x="812" y="1830"/>
                    </a:lnTo>
                    <a:lnTo>
                      <a:pt x="808" y="1830"/>
                    </a:lnTo>
                    <a:lnTo>
                      <a:pt x="806" y="1832"/>
                    </a:lnTo>
                    <a:lnTo>
                      <a:pt x="802" y="1830"/>
                    </a:lnTo>
                    <a:lnTo>
                      <a:pt x="808" y="1826"/>
                    </a:lnTo>
                    <a:lnTo>
                      <a:pt x="810" y="1824"/>
                    </a:lnTo>
                    <a:lnTo>
                      <a:pt x="810" y="1826"/>
                    </a:lnTo>
                    <a:lnTo>
                      <a:pt x="812" y="1828"/>
                    </a:lnTo>
                    <a:lnTo>
                      <a:pt x="816" y="1828"/>
                    </a:lnTo>
                    <a:lnTo>
                      <a:pt x="818" y="1826"/>
                    </a:lnTo>
                    <a:lnTo>
                      <a:pt x="820" y="1826"/>
                    </a:lnTo>
                    <a:lnTo>
                      <a:pt x="824" y="1828"/>
                    </a:lnTo>
                    <a:lnTo>
                      <a:pt x="826" y="1826"/>
                    </a:lnTo>
                    <a:lnTo>
                      <a:pt x="828" y="1824"/>
                    </a:lnTo>
                    <a:lnTo>
                      <a:pt x="828" y="1822"/>
                    </a:lnTo>
                    <a:lnTo>
                      <a:pt x="822" y="1818"/>
                    </a:lnTo>
                    <a:lnTo>
                      <a:pt x="816" y="1814"/>
                    </a:lnTo>
                    <a:lnTo>
                      <a:pt x="812" y="1816"/>
                    </a:lnTo>
                    <a:lnTo>
                      <a:pt x="810" y="1818"/>
                    </a:lnTo>
                    <a:lnTo>
                      <a:pt x="806" y="1814"/>
                    </a:lnTo>
                    <a:lnTo>
                      <a:pt x="806" y="1812"/>
                    </a:lnTo>
                    <a:lnTo>
                      <a:pt x="806" y="1810"/>
                    </a:lnTo>
                    <a:lnTo>
                      <a:pt x="810" y="1808"/>
                    </a:lnTo>
                    <a:lnTo>
                      <a:pt x="812" y="1804"/>
                    </a:lnTo>
                    <a:lnTo>
                      <a:pt x="814" y="1804"/>
                    </a:lnTo>
                    <a:lnTo>
                      <a:pt x="812" y="1802"/>
                    </a:lnTo>
                    <a:lnTo>
                      <a:pt x="810" y="1798"/>
                    </a:lnTo>
                    <a:lnTo>
                      <a:pt x="810" y="1794"/>
                    </a:lnTo>
                    <a:lnTo>
                      <a:pt x="810" y="1792"/>
                    </a:lnTo>
                    <a:lnTo>
                      <a:pt x="808" y="1790"/>
                    </a:lnTo>
                    <a:lnTo>
                      <a:pt x="808" y="1788"/>
                    </a:lnTo>
                    <a:lnTo>
                      <a:pt x="808" y="1786"/>
                    </a:lnTo>
                    <a:lnTo>
                      <a:pt x="814" y="1784"/>
                    </a:lnTo>
                    <a:lnTo>
                      <a:pt x="818" y="1782"/>
                    </a:lnTo>
                    <a:lnTo>
                      <a:pt x="818" y="1780"/>
                    </a:lnTo>
                    <a:lnTo>
                      <a:pt x="818" y="1778"/>
                    </a:lnTo>
                    <a:lnTo>
                      <a:pt x="818" y="1776"/>
                    </a:lnTo>
                    <a:lnTo>
                      <a:pt x="822" y="1776"/>
                    </a:lnTo>
                    <a:lnTo>
                      <a:pt x="826" y="1774"/>
                    </a:lnTo>
                    <a:lnTo>
                      <a:pt x="826" y="1772"/>
                    </a:lnTo>
                    <a:lnTo>
                      <a:pt x="824" y="1768"/>
                    </a:lnTo>
                    <a:lnTo>
                      <a:pt x="820" y="1764"/>
                    </a:lnTo>
                    <a:lnTo>
                      <a:pt x="824" y="1766"/>
                    </a:lnTo>
                    <a:lnTo>
                      <a:pt x="828" y="1768"/>
                    </a:lnTo>
                    <a:lnTo>
                      <a:pt x="832" y="1768"/>
                    </a:lnTo>
                    <a:lnTo>
                      <a:pt x="834" y="1766"/>
                    </a:lnTo>
                    <a:lnTo>
                      <a:pt x="834" y="1764"/>
                    </a:lnTo>
                    <a:lnTo>
                      <a:pt x="834" y="1760"/>
                    </a:lnTo>
                    <a:lnTo>
                      <a:pt x="834" y="1750"/>
                    </a:lnTo>
                    <a:lnTo>
                      <a:pt x="836" y="1742"/>
                    </a:lnTo>
                    <a:lnTo>
                      <a:pt x="836" y="1740"/>
                    </a:lnTo>
                    <a:lnTo>
                      <a:pt x="840" y="1738"/>
                    </a:lnTo>
                    <a:lnTo>
                      <a:pt x="844" y="1738"/>
                    </a:lnTo>
                    <a:lnTo>
                      <a:pt x="844" y="1742"/>
                    </a:lnTo>
                    <a:lnTo>
                      <a:pt x="842" y="1744"/>
                    </a:lnTo>
                    <a:lnTo>
                      <a:pt x="842" y="1746"/>
                    </a:lnTo>
                    <a:lnTo>
                      <a:pt x="844" y="1748"/>
                    </a:lnTo>
                    <a:lnTo>
                      <a:pt x="848" y="1750"/>
                    </a:lnTo>
                    <a:lnTo>
                      <a:pt x="848" y="1748"/>
                    </a:lnTo>
                    <a:lnTo>
                      <a:pt x="850" y="1746"/>
                    </a:lnTo>
                    <a:lnTo>
                      <a:pt x="852" y="1746"/>
                    </a:lnTo>
                    <a:lnTo>
                      <a:pt x="854" y="1748"/>
                    </a:lnTo>
                    <a:lnTo>
                      <a:pt x="856" y="1746"/>
                    </a:lnTo>
                    <a:lnTo>
                      <a:pt x="858" y="1744"/>
                    </a:lnTo>
                    <a:lnTo>
                      <a:pt x="864" y="1732"/>
                    </a:lnTo>
                    <a:lnTo>
                      <a:pt x="864" y="1730"/>
                    </a:lnTo>
                    <a:lnTo>
                      <a:pt x="864" y="1728"/>
                    </a:lnTo>
                    <a:lnTo>
                      <a:pt x="858" y="1726"/>
                    </a:lnTo>
                    <a:lnTo>
                      <a:pt x="844" y="1724"/>
                    </a:lnTo>
                    <a:lnTo>
                      <a:pt x="840" y="1722"/>
                    </a:lnTo>
                    <a:lnTo>
                      <a:pt x="838" y="1722"/>
                    </a:lnTo>
                    <a:lnTo>
                      <a:pt x="840" y="1718"/>
                    </a:lnTo>
                    <a:lnTo>
                      <a:pt x="842" y="1714"/>
                    </a:lnTo>
                    <a:lnTo>
                      <a:pt x="840" y="1710"/>
                    </a:lnTo>
                    <a:lnTo>
                      <a:pt x="838" y="1706"/>
                    </a:lnTo>
                    <a:lnTo>
                      <a:pt x="838" y="1700"/>
                    </a:lnTo>
                    <a:lnTo>
                      <a:pt x="840" y="1690"/>
                    </a:lnTo>
                    <a:lnTo>
                      <a:pt x="842" y="1686"/>
                    </a:lnTo>
                    <a:lnTo>
                      <a:pt x="844" y="1684"/>
                    </a:lnTo>
                    <a:lnTo>
                      <a:pt x="846" y="1680"/>
                    </a:lnTo>
                    <a:lnTo>
                      <a:pt x="848" y="1676"/>
                    </a:lnTo>
                    <a:lnTo>
                      <a:pt x="848" y="1670"/>
                    </a:lnTo>
                    <a:lnTo>
                      <a:pt x="846" y="1662"/>
                    </a:lnTo>
                    <a:lnTo>
                      <a:pt x="844" y="1658"/>
                    </a:lnTo>
                    <a:lnTo>
                      <a:pt x="844" y="1656"/>
                    </a:lnTo>
                    <a:lnTo>
                      <a:pt x="846" y="1652"/>
                    </a:lnTo>
                    <a:lnTo>
                      <a:pt x="850" y="1648"/>
                    </a:lnTo>
                    <a:lnTo>
                      <a:pt x="850" y="1646"/>
                    </a:lnTo>
                    <a:lnTo>
                      <a:pt x="846" y="1646"/>
                    </a:lnTo>
                    <a:lnTo>
                      <a:pt x="844" y="1650"/>
                    </a:lnTo>
                    <a:lnTo>
                      <a:pt x="838" y="1654"/>
                    </a:lnTo>
                    <a:lnTo>
                      <a:pt x="830" y="1656"/>
                    </a:lnTo>
                    <a:lnTo>
                      <a:pt x="824" y="1658"/>
                    </a:lnTo>
                    <a:lnTo>
                      <a:pt x="822" y="1660"/>
                    </a:lnTo>
                    <a:lnTo>
                      <a:pt x="814" y="1672"/>
                    </a:lnTo>
                    <a:lnTo>
                      <a:pt x="810" y="1676"/>
                    </a:lnTo>
                    <a:lnTo>
                      <a:pt x="804" y="1680"/>
                    </a:lnTo>
                    <a:lnTo>
                      <a:pt x="796" y="1684"/>
                    </a:lnTo>
                    <a:lnTo>
                      <a:pt x="786" y="1686"/>
                    </a:lnTo>
                    <a:lnTo>
                      <a:pt x="776" y="1686"/>
                    </a:lnTo>
                    <a:lnTo>
                      <a:pt x="768" y="1690"/>
                    </a:lnTo>
                    <a:lnTo>
                      <a:pt x="762" y="1694"/>
                    </a:lnTo>
                    <a:lnTo>
                      <a:pt x="758" y="1700"/>
                    </a:lnTo>
                    <a:lnTo>
                      <a:pt x="754" y="1708"/>
                    </a:lnTo>
                    <a:lnTo>
                      <a:pt x="752" y="1718"/>
                    </a:lnTo>
                    <a:lnTo>
                      <a:pt x="748" y="1736"/>
                    </a:lnTo>
                    <a:lnTo>
                      <a:pt x="748" y="1752"/>
                    </a:lnTo>
                    <a:lnTo>
                      <a:pt x="750" y="1762"/>
                    </a:lnTo>
                    <a:lnTo>
                      <a:pt x="752" y="1770"/>
                    </a:lnTo>
                    <a:lnTo>
                      <a:pt x="750" y="1778"/>
                    </a:lnTo>
                    <a:lnTo>
                      <a:pt x="746" y="1784"/>
                    </a:lnTo>
                    <a:lnTo>
                      <a:pt x="748" y="1786"/>
                    </a:lnTo>
                    <a:lnTo>
                      <a:pt x="750" y="1786"/>
                    </a:lnTo>
                    <a:lnTo>
                      <a:pt x="754" y="1790"/>
                    </a:lnTo>
                    <a:lnTo>
                      <a:pt x="758" y="1792"/>
                    </a:lnTo>
                    <a:lnTo>
                      <a:pt x="758" y="1790"/>
                    </a:lnTo>
                    <a:lnTo>
                      <a:pt x="758" y="1788"/>
                    </a:lnTo>
                    <a:lnTo>
                      <a:pt x="762" y="1790"/>
                    </a:lnTo>
                    <a:lnTo>
                      <a:pt x="764" y="1792"/>
                    </a:lnTo>
                    <a:lnTo>
                      <a:pt x="768" y="1792"/>
                    </a:lnTo>
                    <a:lnTo>
                      <a:pt x="772" y="1796"/>
                    </a:lnTo>
                    <a:lnTo>
                      <a:pt x="772" y="1804"/>
                    </a:lnTo>
                    <a:lnTo>
                      <a:pt x="770" y="1810"/>
                    </a:lnTo>
                    <a:lnTo>
                      <a:pt x="768" y="1808"/>
                    </a:lnTo>
                    <a:lnTo>
                      <a:pt x="766" y="1806"/>
                    </a:lnTo>
                    <a:lnTo>
                      <a:pt x="764" y="1806"/>
                    </a:lnTo>
                    <a:lnTo>
                      <a:pt x="764" y="1810"/>
                    </a:lnTo>
                    <a:lnTo>
                      <a:pt x="764" y="1814"/>
                    </a:lnTo>
                    <a:lnTo>
                      <a:pt x="768" y="1812"/>
                    </a:lnTo>
                    <a:lnTo>
                      <a:pt x="770" y="1812"/>
                    </a:lnTo>
                    <a:lnTo>
                      <a:pt x="770" y="1814"/>
                    </a:lnTo>
                    <a:lnTo>
                      <a:pt x="770" y="1826"/>
                    </a:lnTo>
                    <a:lnTo>
                      <a:pt x="770" y="1830"/>
                    </a:lnTo>
                    <a:lnTo>
                      <a:pt x="774" y="1836"/>
                    </a:lnTo>
                    <a:lnTo>
                      <a:pt x="784" y="1848"/>
                    </a:lnTo>
                    <a:lnTo>
                      <a:pt x="786" y="1850"/>
                    </a:lnTo>
                    <a:lnTo>
                      <a:pt x="786" y="1852"/>
                    </a:lnTo>
                    <a:lnTo>
                      <a:pt x="782" y="1854"/>
                    </a:lnTo>
                    <a:lnTo>
                      <a:pt x="774" y="1856"/>
                    </a:lnTo>
                    <a:lnTo>
                      <a:pt x="772" y="1858"/>
                    </a:lnTo>
                    <a:lnTo>
                      <a:pt x="770" y="1860"/>
                    </a:lnTo>
                    <a:lnTo>
                      <a:pt x="770" y="1864"/>
                    </a:lnTo>
                    <a:lnTo>
                      <a:pt x="776" y="1864"/>
                    </a:lnTo>
                    <a:lnTo>
                      <a:pt x="780" y="1862"/>
                    </a:lnTo>
                    <a:lnTo>
                      <a:pt x="780" y="1864"/>
                    </a:lnTo>
                    <a:lnTo>
                      <a:pt x="778" y="1866"/>
                    </a:lnTo>
                    <a:lnTo>
                      <a:pt x="778" y="1870"/>
                    </a:lnTo>
                    <a:lnTo>
                      <a:pt x="778" y="1872"/>
                    </a:lnTo>
                    <a:lnTo>
                      <a:pt x="782" y="1874"/>
                    </a:lnTo>
                    <a:lnTo>
                      <a:pt x="786" y="1876"/>
                    </a:lnTo>
                    <a:lnTo>
                      <a:pt x="784" y="1878"/>
                    </a:lnTo>
                    <a:lnTo>
                      <a:pt x="780" y="1880"/>
                    </a:lnTo>
                    <a:lnTo>
                      <a:pt x="780" y="1882"/>
                    </a:lnTo>
                    <a:lnTo>
                      <a:pt x="782" y="1886"/>
                    </a:lnTo>
                    <a:lnTo>
                      <a:pt x="790" y="1886"/>
                    </a:lnTo>
                    <a:lnTo>
                      <a:pt x="798" y="1890"/>
                    </a:lnTo>
                    <a:lnTo>
                      <a:pt x="804" y="1894"/>
                    </a:lnTo>
                    <a:lnTo>
                      <a:pt x="804" y="1898"/>
                    </a:lnTo>
                    <a:lnTo>
                      <a:pt x="800" y="1896"/>
                    </a:lnTo>
                    <a:lnTo>
                      <a:pt x="794" y="1892"/>
                    </a:lnTo>
                    <a:lnTo>
                      <a:pt x="786" y="1890"/>
                    </a:lnTo>
                    <a:lnTo>
                      <a:pt x="780" y="1890"/>
                    </a:lnTo>
                    <a:lnTo>
                      <a:pt x="772" y="1888"/>
                    </a:lnTo>
                    <a:lnTo>
                      <a:pt x="770" y="1888"/>
                    </a:lnTo>
                    <a:lnTo>
                      <a:pt x="768" y="1890"/>
                    </a:lnTo>
                    <a:lnTo>
                      <a:pt x="768" y="1900"/>
                    </a:lnTo>
                    <a:lnTo>
                      <a:pt x="770" y="1910"/>
                    </a:lnTo>
                    <a:lnTo>
                      <a:pt x="768" y="1916"/>
                    </a:lnTo>
                    <a:lnTo>
                      <a:pt x="766" y="1918"/>
                    </a:lnTo>
                    <a:lnTo>
                      <a:pt x="764" y="1920"/>
                    </a:lnTo>
                    <a:lnTo>
                      <a:pt x="764" y="1918"/>
                    </a:lnTo>
                    <a:lnTo>
                      <a:pt x="764" y="1914"/>
                    </a:lnTo>
                    <a:lnTo>
                      <a:pt x="764" y="1908"/>
                    </a:lnTo>
                    <a:lnTo>
                      <a:pt x="764" y="1906"/>
                    </a:lnTo>
                    <a:lnTo>
                      <a:pt x="762" y="1904"/>
                    </a:lnTo>
                    <a:lnTo>
                      <a:pt x="758" y="1904"/>
                    </a:lnTo>
                    <a:lnTo>
                      <a:pt x="756" y="1906"/>
                    </a:lnTo>
                    <a:lnTo>
                      <a:pt x="756" y="1912"/>
                    </a:lnTo>
                    <a:lnTo>
                      <a:pt x="754" y="1916"/>
                    </a:lnTo>
                    <a:lnTo>
                      <a:pt x="750" y="1914"/>
                    </a:lnTo>
                    <a:lnTo>
                      <a:pt x="748" y="1912"/>
                    </a:lnTo>
                    <a:lnTo>
                      <a:pt x="748" y="1910"/>
                    </a:lnTo>
                    <a:lnTo>
                      <a:pt x="750" y="1904"/>
                    </a:lnTo>
                    <a:lnTo>
                      <a:pt x="748" y="1902"/>
                    </a:lnTo>
                    <a:lnTo>
                      <a:pt x="746" y="1900"/>
                    </a:lnTo>
                    <a:lnTo>
                      <a:pt x="742" y="1898"/>
                    </a:lnTo>
                    <a:lnTo>
                      <a:pt x="734" y="1898"/>
                    </a:lnTo>
                    <a:lnTo>
                      <a:pt x="720" y="1898"/>
                    </a:lnTo>
                    <a:lnTo>
                      <a:pt x="714" y="1900"/>
                    </a:lnTo>
                    <a:lnTo>
                      <a:pt x="710" y="1906"/>
                    </a:lnTo>
                    <a:lnTo>
                      <a:pt x="708" y="1914"/>
                    </a:lnTo>
                    <a:lnTo>
                      <a:pt x="706" y="1916"/>
                    </a:lnTo>
                    <a:lnTo>
                      <a:pt x="706" y="1920"/>
                    </a:lnTo>
                    <a:lnTo>
                      <a:pt x="710" y="1922"/>
                    </a:lnTo>
                    <a:lnTo>
                      <a:pt x="714" y="1922"/>
                    </a:lnTo>
                    <a:lnTo>
                      <a:pt x="714" y="1924"/>
                    </a:lnTo>
                    <a:lnTo>
                      <a:pt x="712" y="1926"/>
                    </a:lnTo>
                    <a:lnTo>
                      <a:pt x="708" y="1926"/>
                    </a:lnTo>
                    <a:lnTo>
                      <a:pt x="706" y="1926"/>
                    </a:lnTo>
                    <a:lnTo>
                      <a:pt x="700" y="1918"/>
                    </a:lnTo>
                    <a:lnTo>
                      <a:pt x="696" y="1914"/>
                    </a:lnTo>
                    <a:lnTo>
                      <a:pt x="688" y="1914"/>
                    </a:lnTo>
                    <a:lnTo>
                      <a:pt x="664" y="1918"/>
                    </a:lnTo>
                    <a:lnTo>
                      <a:pt x="654" y="1920"/>
                    </a:lnTo>
                    <a:lnTo>
                      <a:pt x="646" y="1924"/>
                    </a:lnTo>
                    <a:lnTo>
                      <a:pt x="640" y="1926"/>
                    </a:lnTo>
                    <a:lnTo>
                      <a:pt x="636" y="1930"/>
                    </a:lnTo>
                    <a:lnTo>
                      <a:pt x="634" y="1934"/>
                    </a:lnTo>
                    <a:lnTo>
                      <a:pt x="634" y="1938"/>
                    </a:lnTo>
                    <a:lnTo>
                      <a:pt x="634" y="1940"/>
                    </a:lnTo>
                    <a:lnTo>
                      <a:pt x="636" y="1940"/>
                    </a:lnTo>
                    <a:lnTo>
                      <a:pt x="638" y="1940"/>
                    </a:lnTo>
                    <a:lnTo>
                      <a:pt x="640" y="1942"/>
                    </a:lnTo>
                    <a:lnTo>
                      <a:pt x="640" y="1946"/>
                    </a:lnTo>
                    <a:lnTo>
                      <a:pt x="640" y="1950"/>
                    </a:lnTo>
                    <a:lnTo>
                      <a:pt x="642" y="1950"/>
                    </a:lnTo>
                    <a:lnTo>
                      <a:pt x="644" y="1952"/>
                    </a:lnTo>
                    <a:lnTo>
                      <a:pt x="646" y="1952"/>
                    </a:lnTo>
                    <a:lnTo>
                      <a:pt x="646" y="1954"/>
                    </a:lnTo>
                    <a:lnTo>
                      <a:pt x="646" y="1958"/>
                    </a:lnTo>
                    <a:lnTo>
                      <a:pt x="646" y="1962"/>
                    </a:lnTo>
                    <a:lnTo>
                      <a:pt x="648" y="1964"/>
                    </a:lnTo>
                    <a:lnTo>
                      <a:pt x="650" y="1966"/>
                    </a:lnTo>
                    <a:lnTo>
                      <a:pt x="654" y="1968"/>
                    </a:lnTo>
                    <a:lnTo>
                      <a:pt x="656" y="1972"/>
                    </a:lnTo>
                    <a:lnTo>
                      <a:pt x="654" y="1976"/>
                    </a:lnTo>
                    <a:lnTo>
                      <a:pt x="652" y="1980"/>
                    </a:lnTo>
                    <a:lnTo>
                      <a:pt x="648" y="1984"/>
                    </a:lnTo>
                    <a:lnTo>
                      <a:pt x="644" y="1986"/>
                    </a:lnTo>
                    <a:lnTo>
                      <a:pt x="638" y="1988"/>
                    </a:lnTo>
                    <a:lnTo>
                      <a:pt x="634" y="1986"/>
                    </a:lnTo>
                    <a:lnTo>
                      <a:pt x="628" y="1980"/>
                    </a:lnTo>
                    <a:lnTo>
                      <a:pt x="624" y="1974"/>
                    </a:lnTo>
                    <a:lnTo>
                      <a:pt x="624" y="1970"/>
                    </a:lnTo>
                    <a:lnTo>
                      <a:pt x="624" y="1968"/>
                    </a:lnTo>
                    <a:lnTo>
                      <a:pt x="626" y="1966"/>
                    </a:lnTo>
                    <a:lnTo>
                      <a:pt x="630" y="1964"/>
                    </a:lnTo>
                    <a:lnTo>
                      <a:pt x="634" y="1960"/>
                    </a:lnTo>
                    <a:lnTo>
                      <a:pt x="632" y="1958"/>
                    </a:lnTo>
                    <a:lnTo>
                      <a:pt x="628" y="1956"/>
                    </a:lnTo>
                    <a:lnTo>
                      <a:pt x="626" y="1952"/>
                    </a:lnTo>
                    <a:lnTo>
                      <a:pt x="626" y="1946"/>
                    </a:lnTo>
                    <a:lnTo>
                      <a:pt x="630" y="1942"/>
                    </a:lnTo>
                    <a:lnTo>
                      <a:pt x="630" y="1940"/>
                    </a:lnTo>
                    <a:lnTo>
                      <a:pt x="628" y="1940"/>
                    </a:lnTo>
                    <a:lnTo>
                      <a:pt x="618" y="1946"/>
                    </a:lnTo>
                    <a:lnTo>
                      <a:pt x="614" y="1944"/>
                    </a:lnTo>
                    <a:lnTo>
                      <a:pt x="612" y="1946"/>
                    </a:lnTo>
                    <a:lnTo>
                      <a:pt x="610" y="1954"/>
                    </a:lnTo>
                    <a:lnTo>
                      <a:pt x="606" y="1968"/>
                    </a:lnTo>
                    <a:lnTo>
                      <a:pt x="604" y="1978"/>
                    </a:lnTo>
                    <a:lnTo>
                      <a:pt x="600" y="1986"/>
                    </a:lnTo>
                    <a:lnTo>
                      <a:pt x="592" y="2000"/>
                    </a:lnTo>
                    <a:lnTo>
                      <a:pt x="588" y="2004"/>
                    </a:lnTo>
                    <a:lnTo>
                      <a:pt x="586" y="2004"/>
                    </a:lnTo>
                    <a:lnTo>
                      <a:pt x="586" y="2008"/>
                    </a:lnTo>
                    <a:lnTo>
                      <a:pt x="586" y="2010"/>
                    </a:lnTo>
                    <a:lnTo>
                      <a:pt x="584" y="2012"/>
                    </a:lnTo>
                    <a:lnTo>
                      <a:pt x="578" y="2014"/>
                    </a:lnTo>
                    <a:lnTo>
                      <a:pt x="572" y="2016"/>
                    </a:lnTo>
                    <a:lnTo>
                      <a:pt x="570" y="2018"/>
                    </a:lnTo>
                    <a:lnTo>
                      <a:pt x="572" y="2020"/>
                    </a:lnTo>
                    <a:lnTo>
                      <a:pt x="578" y="2024"/>
                    </a:lnTo>
                    <a:lnTo>
                      <a:pt x="586" y="2024"/>
                    </a:lnTo>
                    <a:lnTo>
                      <a:pt x="590" y="2026"/>
                    </a:lnTo>
                    <a:lnTo>
                      <a:pt x="584" y="2030"/>
                    </a:lnTo>
                    <a:lnTo>
                      <a:pt x="570" y="2026"/>
                    </a:lnTo>
                    <a:lnTo>
                      <a:pt x="564" y="2026"/>
                    </a:lnTo>
                    <a:lnTo>
                      <a:pt x="562" y="2028"/>
                    </a:lnTo>
                    <a:lnTo>
                      <a:pt x="562" y="2030"/>
                    </a:lnTo>
                    <a:lnTo>
                      <a:pt x="562" y="2032"/>
                    </a:lnTo>
                    <a:lnTo>
                      <a:pt x="568" y="2034"/>
                    </a:lnTo>
                    <a:lnTo>
                      <a:pt x="574" y="2036"/>
                    </a:lnTo>
                    <a:lnTo>
                      <a:pt x="580" y="2036"/>
                    </a:lnTo>
                    <a:lnTo>
                      <a:pt x="586" y="2036"/>
                    </a:lnTo>
                    <a:lnTo>
                      <a:pt x="588" y="2036"/>
                    </a:lnTo>
                    <a:lnTo>
                      <a:pt x="588" y="2038"/>
                    </a:lnTo>
                    <a:lnTo>
                      <a:pt x="588" y="2040"/>
                    </a:lnTo>
                    <a:lnTo>
                      <a:pt x="580" y="2042"/>
                    </a:lnTo>
                    <a:lnTo>
                      <a:pt x="576" y="2042"/>
                    </a:lnTo>
                    <a:lnTo>
                      <a:pt x="572" y="2042"/>
                    </a:lnTo>
                    <a:lnTo>
                      <a:pt x="566" y="2038"/>
                    </a:lnTo>
                    <a:lnTo>
                      <a:pt x="564" y="2038"/>
                    </a:lnTo>
                    <a:lnTo>
                      <a:pt x="558" y="2040"/>
                    </a:lnTo>
                    <a:lnTo>
                      <a:pt x="550" y="2044"/>
                    </a:lnTo>
                    <a:lnTo>
                      <a:pt x="540" y="2048"/>
                    </a:lnTo>
                    <a:lnTo>
                      <a:pt x="532" y="2054"/>
                    </a:lnTo>
                    <a:lnTo>
                      <a:pt x="524" y="2058"/>
                    </a:lnTo>
                    <a:lnTo>
                      <a:pt x="504" y="2060"/>
                    </a:lnTo>
                    <a:lnTo>
                      <a:pt x="492" y="2064"/>
                    </a:lnTo>
                    <a:lnTo>
                      <a:pt x="488" y="2068"/>
                    </a:lnTo>
                    <a:lnTo>
                      <a:pt x="486" y="2070"/>
                    </a:lnTo>
                    <a:lnTo>
                      <a:pt x="484" y="2074"/>
                    </a:lnTo>
                    <a:lnTo>
                      <a:pt x="484" y="2078"/>
                    </a:lnTo>
                    <a:lnTo>
                      <a:pt x="486" y="2086"/>
                    </a:lnTo>
                    <a:lnTo>
                      <a:pt x="484" y="2090"/>
                    </a:lnTo>
                    <a:lnTo>
                      <a:pt x="484" y="2094"/>
                    </a:lnTo>
                    <a:lnTo>
                      <a:pt x="486" y="2098"/>
                    </a:lnTo>
                    <a:lnTo>
                      <a:pt x="486" y="2100"/>
                    </a:lnTo>
                    <a:lnTo>
                      <a:pt x="484" y="2100"/>
                    </a:lnTo>
                    <a:lnTo>
                      <a:pt x="484" y="2102"/>
                    </a:lnTo>
                    <a:lnTo>
                      <a:pt x="486" y="2106"/>
                    </a:lnTo>
                    <a:lnTo>
                      <a:pt x="488" y="2108"/>
                    </a:lnTo>
                    <a:lnTo>
                      <a:pt x="486" y="2110"/>
                    </a:lnTo>
                    <a:lnTo>
                      <a:pt x="482" y="2112"/>
                    </a:lnTo>
                    <a:lnTo>
                      <a:pt x="480" y="2114"/>
                    </a:lnTo>
                    <a:lnTo>
                      <a:pt x="478" y="2118"/>
                    </a:lnTo>
                    <a:lnTo>
                      <a:pt x="472" y="2120"/>
                    </a:lnTo>
                    <a:lnTo>
                      <a:pt x="444" y="2132"/>
                    </a:lnTo>
                    <a:lnTo>
                      <a:pt x="434" y="2136"/>
                    </a:lnTo>
                    <a:lnTo>
                      <a:pt x="428" y="2140"/>
                    </a:lnTo>
                    <a:lnTo>
                      <a:pt x="426" y="2144"/>
                    </a:lnTo>
                    <a:lnTo>
                      <a:pt x="426" y="2146"/>
                    </a:lnTo>
                    <a:lnTo>
                      <a:pt x="426" y="2150"/>
                    </a:lnTo>
                    <a:lnTo>
                      <a:pt x="428" y="2152"/>
                    </a:lnTo>
                    <a:lnTo>
                      <a:pt x="432" y="2154"/>
                    </a:lnTo>
                    <a:lnTo>
                      <a:pt x="434" y="2154"/>
                    </a:lnTo>
                    <a:lnTo>
                      <a:pt x="432" y="2156"/>
                    </a:lnTo>
                    <a:lnTo>
                      <a:pt x="420" y="2162"/>
                    </a:lnTo>
                    <a:lnTo>
                      <a:pt x="416" y="2164"/>
                    </a:lnTo>
                    <a:lnTo>
                      <a:pt x="412" y="2164"/>
                    </a:lnTo>
                    <a:lnTo>
                      <a:pt x="402" y="2162"/>
                    </a:lnTo>
                    <a:lnTo>
                      <a:pt x="392" y="2158"/>
                    </a:lnTo>
                    <a:lnTo>
                      <a:pt x="384" y="2158"/>
                    </a:lnTo>
                    <a:lnTo>
                      <a:pt x="376" y="2160"/>
                    </a:lnTo>
                    <a:lnTo>
                      <a:pt x="374" y="2160"/>
                    </a:lnTo>
                    <a:lnTo>
                      <a:pt x="372" y="2156"/>
                    </a:lnTo>
                    <a:lnTo>
                      <a:pt x="372" y="2148"/>
                    </a:lnTo>
                    <a:lnTo>
                      <a:pt x="370" y="2142"/>
                    </a:lnTo>
                    <a:lnTo>
                      <a:pt x="368" y="2140"/>
                    </a:lnTo>
                    <a:lnTo>
                      <a:pt x="364" y="2140"/>
                    </a:lnTo>
                    <a:lnTo>
                      <a:pt x="356" y="2140"/>
                    </a:lnTo>
                    <a:lnTo>
                      <a:pt x="348" y="2140"/>
                    </a:lnTo>
                    <a:lnTo>
                      <a:pt x="346" y="2138"/>
                    </a:lnTo>
                    <a:lnTo>
                      <a:pt x="346" y="2142"/>
                    </a:lnTo>
                    <a:lnTo>
                      <a:pt x="348" y="2148"/>
                    </a:lnTo>
                    <a:lnTo>
                      <a:pt x="348" y="2152"/>
                    </a:lnTo>
                    <a:lnTo>
                      <a:pt x="348" y="2156"/>
                    </a:lnTo>
                    <a:lnTo>
                      <a:pt x="352" y="2160"/>
                    </a:lnTo>
                    <a:lnTo>
                      <a:pt x="356" y="2164"/>
                    </a:lnTo>
                    <a:lnTo>
                      <a:pt x="358" y="2172"/>
                    </a:lnTo>
                    <a:lnTo>
                      <a:pt x="360" y="2180"/>
                    </a:lnTo>
                    <a:lnTo>
                      <a:pt x="360" y="2188"/>
                    </a:lnTo>
                    <a:lnTo>
                      <a:pt x="360" y="2192"/>
                    </a:lnTo>
                    <a:lnTo>
                      <a:pt x="360" y="2194"/>
                    </a:lnTo>
                    <a:lnTo>
                      <a:pt x="362" y="2200"/>
                    </a:lnTo>
                    <a:lnTo>
                      <a:pt x="364" y="2202"/>
                    </a:lnTo>
                    <a:lnTo>
                      <a:pt x="358" y="2204"/>
                    </a:lnTo>
                    <a:lnTo>
                      <a:pt x="352" y="2204"/>
                    </a:lnTo>
                    <a:lnTo>
                      <a:pt x="350" y="2202"/>
                    </a:lnTo>
                    <a:lnTo>
                      <a:pt x="348" y="2198"/>
                    </a:lnTo>
                    <a:lnTo>
                      <a:pt x="346" y="2198"/>
                    </a:lnTo>
                    <a:lnTo>
                      <a:pt x="344" y="2198"/>
                    </a:lnTo>
                    <a:lnTo>
                      <a:pt x="344" y="2200"/>
                    </a:lnTo>
                    <a:lnTo>
                      <a:pt x="342" y="2202"/>
                    </a:lnTo>
                    <a:lnTo>
                      <a:pt x="338" y="2202"/>
                    </a:lnTo>
                    <a:lnTo>
                      <a:pt x="334" y="2202"/>
                    </a:lnTo>
                    <a:lnTo>
                      <a:pt x="332" y="2200"/>
                    </a:lnTo>
                    <a:lnTo>
                      <a:pt x="330" y="2198"/>
                    </a:lnTo>
                    <a:lnTo>
                      <a:pt x="326" y="2200"/>
                    </a:lnTo>
                    <a:lnTo>
                      <a:pt x="318" y="2206"/>
                    </a:lnTo>
                    <a:lnTo>
                      <a:pt x="314" y="2208"/>
                    </a:lnTo>
                    <a:lnTo>
                      <a:pt x="310" y="2206"/>
                    </a:lnTo>
                    <a:lnTo>
                      <a:pt x="302" y="2192"/>
                    </a:lnTo>
                    <a:lnTo>
                      <a:pt x="298" y="2186"/>
                    </a:lnTo>
                    <a:lnTo>
                      <a:pt x="296" y="2186"/>
                    </a:lnTo>
                    <a:lnTo>
                      <a:pt x="292" y="2188"/>
                    </a:lnTo>
                    <a:lnTo>
                      <a:pt x="286" y="2190"/>
                    </a:lnTo>
                    <a:lnTo>
                      <a:pt x="282" y="2190"/>
                    </a:lnTo>
                    <a:lnTo>
                      <a:pt x="280" y="2190"/>
                    </a:lnTo>
                    <a:lnTo>
                      <a:pt x="278" y="2194"/>
                    </a:lnTo>
                    <a:lnTo>
                      <a:pt x="278" y="2198"/>
                    </a:lnTo>
                    <a:lnTo>
                      <a:pt x="276" y="2200"/>
                    </a:lnTo>
                    <a:lnTo>
                      <a:pt x="270" y="2200"/>
                    </a:lnTo>
                    <a:lnTo>
                      <a:pt x="264" y="2198"/>
                    </a:lnTo>
                    <a:lnTo>
                      <a:pt x="260" y="2196"/>
                    </a:lnTo>
                    <a:lnTo>
                      <a:pt x="258" y="2198"/>
                    </a:lnTo>
                    <a:lnTo>
                      <a:pt x="250" y="2200"/>
                    </a:lnTo>
                    <a:lnTo>
                      <a:pt x="240" y="2202"/>
                    </a:lnTo>
                    <a:lnTo>
                      <a:pt x="234" y="2206"/>
                    </a:lnTo>
                    <a:lnTo>
                      <a:pt x="230" y="2212"/>
                    </a:lnTo>
                    <a:lnTo>
                      <a:pt x="230" y="2216"/>
                    </a:lnTo>
                    <a:lnTo>
                      <a:pt x="232" y="2218"/>
                    </a:lnTo>
                    <a:lnTo>
                      <a:pt x="236" y="2218"/>
                    </a:lnTo>
                    <a:lnTo>
                      <a:pt x="240" y="2218"/>
                    </a:lnTo>
                    <a:lnTo>
                      <a:pt x="244" y="2218"/>
                    </a:lnTo>
                    <a:lnTo>
                      <a:pt x="246" y="2220"/>
                    </a:lnTo>
                    <a:lnTo>
                      <a:pt x="242" y="2220"/>
                    </a:lnTo>
                    <a:lnTo>
                      <a:pt x="238" y="2222"/>
                    </a:lnTo>
                    <a:lnTo>
                      <a:pt x="238" y="2224"/>
                    </a:lnTo>
                    <a:lnTo>
                      <a:pt x="236" y="2226"/>
                    </a:lnTo>
                    <a:lnTo>
                      <a:pt x="238" y="2228"/>
                    </a:lnTo>
                    <a:lnTo>
                      <a:pt x="242" y="2228"/>
                    </a:lnTo>
                    <a:lnTo>
                      <a:pt x="246" y="2228"/>
                    </a:lnTo>
                    <a:lnTo>
                      <a:pt x="250" y="2230"/>
                    </a:lnTo>
                    <a:lnTo>
                      <a:pt x="246" y="2232"/>
                    </a:lnTo>
                    <a:lnTo>
                      <a:pt x="240" y="2234"/>
                    </a:lnTo>
                    <a:lnTo>
                      <a:pt x="234" y="2234"/>
                    </a:lnTo>
                    <a:lnTo>
                      <a:pt x="234" y="2236"/>
                    </a:lnTo>
                    <a:lnTo>
                      <a:pt x="236" y="2238"/>
                    </a:lnTo>
                    <a:lnTo>
                      <a:pt x="242" y="2244"/>
                    </a:lnTo>
                    <a:lnTo>
                      <a:pt x="244" y="2248"/>
                    </a:lnTo>
                    <a:lnTo>
                      <a:pt x="248" y="2250"/>
                    </a:lnTo>
                    <a:lnTo>
                      <a:pt x="252" y="2250"/>
                    </a:lnTo>
                    <a:lnTo>
                      <a:pt x="258" y="2248"/>
                    </a:lnTo>
                    <a:lnTo>
                      <a:pt x="264" y="2248"/>
                    </a:lnTo>
                    <a:lnTo>
                      <a:pt x="280" y="2254"/>
                    </a:lnTo>
                    <a:lnTo>
                      <a:pt x="286" y="2258"/>
                    </a:lnTo>
                    <a:lnTo>
                      <a:pt x="292" y="2260"/>
                    </a:lnTo>
                    <a:lnTo>
                      <a:pt x="296" y="2262"/>
                    </a:lnTo>
                    <a:lnTo>
                      <a:pt x="302" y="2262"/>
                    </a:lnTo>
                    <a:lnTo>
                      <a:pt x="306" y="2262"/>
                    </a:lnTo>
                    <a:lnTo>
                      <a:pt x="306" y="2266"/>
                    </a:lnTo>
                    <a:lnTo>
                      <a:pt x="306" y="2268"/>
                    </a:lnTo>
                    <a:lnTo>
                      <a:pt x="314" y="2268"/>
                    </a:lnTo>
                    <a:lnTo>
                      <a:pt x="318" y="2268"/>
                    </a:lnTo>
                    <a:lnTo>
                      <a:pt x="322" y="2268"/>
                    </a:lnTo>
                    <a:lnTo>
                      <a:pt x="324" y="2270"/>
                    </a:lnTo>
                    <a:lnTo>
                      <a:pt x="322" y="2272"/>
                    </a:lnTo>
                    <a:lnTo>
                      <a:pt x="320" y="2276"/>
                    </a:lnTo>
                    <a:lnTo>
                      <a:pt x="320" y="2280"/>
                    </a:lnTo>
                    <a:lnTo>
                      <a:pt x="322" y="2282"/>
                    </a:lnTo>
                    <a:lnTo>
                      <a:pt x="330" y="2282"/>
                    </a:lnTo>
                    <a:lnTo>
                      <a:pt x="334" y="2282"/>
                    </a:lnTo>
                    <a:lnTo>
                      <a:pt x="334" y="2286"/>
                    </a:lnTo>
                    <a:lnTo>
                      <a:pt x="332" y="2290"/>
                    </a:lnTo>
                    <a:lnTo>
                      <a:pt x="334" y="2290"/>
                    </a:lnTo>
                    <a:lnTo>
                      <a:pt x="336" y="2292"/>
                    </a:lnTo>
                    <a:lnTo>
                      <a:pt x="340" y="2292"/>
                    </a:lnTo>
                    <a:lnTo>
                      <a:pt x="342" y="2294"/>
                    </a:lnTo>
                    <a:lnTo>
                      <a:pt x="342" y="2298"/>
                    </a:lnTo>
                    <a:lnTo>
                      <a:pt x="338" y="2300"/>
                    </a:lnTo>
                    <a:lnTo>
                      <a:pt x="336" y="2302"/>
                    </a:lnTo>
                    <a:lnTo>
                      <a:pt x="336" y="2306"/>
                    </a:lnTo>
                    <a:lnTo>
                      <a:pt x="340" y="2314"/>
                    </a:lnTo>
                    <a:lnTo>
                      <a:pt x="348" y="2324"/>
                    </a:lnTo>
                    <a:lnTo>
                      <a:pt x="358" y="2332"/>
                    </a:lnTo>
                    <a:lnTo>
                      <a:pt x="368" y="2336"/>
                    </a:lnTo>
                    <a:lnTo>
                      <a:pt x="374" y="2338"/>
                    </a:lnTo>
                    <a:lnTo>
                      <a:pt x="376" y="2338"/>
                    </a:lnTo>
                    <a:lnTo>
                      <a:pt x="374" y="2342"/>
                    </a:lnTo>
                    <a:lnTo>
                      <a:pt x="374" y="2346"/>
                    </a:lnTo>
                    <a:lnTo>
                      <a:pt x="376" y="2348"/>
                    </a:lnTo>
                    <a:lnTo>
                      <a:pt x="378" y="2352"/>
                    </a:lnTo>
                    <a:lnTo>
                      <a:pt x="378" y="2360"/>
                    </a:lnTo>
                    <a:lnTo>
                      <a:pt x="376" y="2364"/>
                    </a:lnTo>
                    <a:lnTo>
                      <a:pt x="374" y="2366"/>
                    </a:lnTo>
                    <a:lnTo>
                      <a:pt x="370" y="2368"/>
                    </a:lnTo>
                    <a:lnTo>
                      <a:pt x="370" y="2370"/>
                    </a:lnTo>
                    <a:lnTo>
                      <a:pt x="378" y="2376"/>
                    </a:lnTo>
                    <a:lnTo>
                      <a:pt x="388" y="2382"/>
                    </a:lnTo>
                    <a:lnTo>
                      <a:pt x="392" y="2388"/>
                    </a:lnTo>
                    <a:lnTo>
                      <a:pt x="394" y="2396"/>
                    </a:lnTo>
                    <a:lnTo>
                      <a:pt x="394" y="2402"/>
                    </a:lnTo>
                    <a:lnTo>
                      <a:pt x="394" y="2404"/>
                    </a:lnTo>
                    <a:lnTo>
                      <a:pt x="392" y="2398"/>
                    </a:lnTo>
                    <a:lnTo>
                      <a:pt x="388" y="2388"/>
                    </a:lnTo>
                    <a:lnTo>
                      <a:pt x="384" y="2384"/>
                    </a:lnTo>
                    <a:lnTo>
                      <a:pt x="380" y="2382"/>
                    </a:lnTo>
                    <a:lnTo>
                      <a:pt x="378" y="2390"/>
                    </a:lnTo>
                    <a:lnTo>
                      <a:pt x="372" y="2410"/>
                    </a:lnTo>
                    <a:lnTo>
                      <a:pt x="370" y="2426"/>
                    </a:lnTo>
                    <a:lnTo>
                      <a:pt x="372" y="2428"/>
                    </a:lnTo>
                    <a:lnTo>
                      <a:pt x="374" y="2426"/>
                    </a:lnTo>
                    <a:lnTo>
                      <a:pt x="376" y="2426"/>
                    </a:lnTo>
                    <a:lnTo>
                      <a:pt x="378" y="2426"/>
                    </a:lnTo>
                    <a:lnTo>
                      <a:pt x="378" y="2430"/>
                    </a:lnTo>
                    <a:lnTo>
                      <a:pt x="376" y="2432"/>
                    </a:lnTo>
                    <a:lnTo>
                      <a:pt x="374" y="2432"/>
                    </a:lnTo>
                    <a:lnTo>
                      <a:pt x="372" y="2436"/>
                    </a:lnTo>
                    <a:lnTo>
                      <a:pt x="370" y="2460"/>
                    </a:lnTo>
                    <a:lnTo>
                      <a:pt x="366" y="2480"/>
                    </a:lnTo>
                    <a:lnTo>
                      <a:pt x="362" y="2492"/>
                    </a:lnTo>
                    <a:lnTo>
                      <a:pt x="358" y="2500"/>
                    </a:lnTo>
                    <a:lnTo>
                      <a:pt x="352" y="2502"/>
                    </a:lnTo>
                    <a:lnTo>
                      <a:pt x="342" y="2506"/>
                    </a:lnTo>
                    <a:lnTo>
                      <a:pt x="334" y="2506"/>
                    </a:lnTo>
                    <a:lnTo>
                      <a:pt x="326" y="2504"/>
                    </a:lnTo>
                    <a:lnTo>
                      <a:pt x="314" y="2500"/>
                    </a:lnTo>
                    <a:lnTo>
                      <a:pt x="308" y="2500"/>
                    </a:lnTo>
                    <a:lnTo>
                      <a:pt x="300" y="2502"/>
                    </a:lnTo>
                    <a:lnTo>
                      <a:pt x="286" y="2498"/>
                    </a:lnTo>
                    <a:lnTo>
                      <a:pt x="278" y="2496"/>
                    </a:lnTo>
                    <a:lnTo>
                      <a:pt x="270" y="2496"/>
                    </a:lnTo>
                    <a:lnTo>
                      <a:pt x="252" y="2498"/>
                    </a:lnTo>
                    <a:lnTo>
                      <a:pt x="232" y="2498"/>
                    </a:lnTo>
                    <a:lnTo>
                      <a:pt x="220" y="2498"/>
                    </a:lnTo>
                    <a:lnTo>
                      <a:pt x="206" y="2494"/>
                    </a:lnTo>
                    <a:lnTo>
                      <a:pt x="192" y="2490"/>
                    </a:lnTo>
                    <a:lnTo>
                      <a:pt x="182" y="2490"/>
                    </a:lnTo>
                    <a:lnTo>
                      <a:pt x="172" y="2492"/>
                    </a:lnTo>
                    <a:lnTo>
                      <a:pt x="154" y="2492"/>
                    </a:lnTo>
                    <a:lnTo>
                      <a:pt x="142" y="2492"/>
                    </a:lnTo>
                    <a:lnTo>
                      <a:pt x="134" y="2490"/>
                    </a:lnTo>
                    <a:lnTo>
                      <a:pt x="120" y="2486"/>
                    </a:lnTo>
                    <a:lnTo>
                      <a:pt x="110" y="2482"/>
                    </a:lnTo>
                    <a:lnTo>
                      <a:pt x="104" y="2484"/>
                    </a:lnTo>
                    <a:lnTo>
                      <a:pt x="98" y="2486"/>
                    </a:lnTo>
                    <a:lnTo>
                      <a:pt x="92" y="2490"/>
                    </a:lnTo>
                    <a:lnTo>
                      <a:pt x="88" y="2492"/>
                    </a:lnTo>
                    <a:lnTo>
                      <a:pt x="86" y="2500"/>
                    </a:lnTo>
                    <a:lnTo>
                      <a:pt x="86" y="2504"/>
                    </a:lnTo>
                    <a:lnTo>
                      <a:pt x="82" y="2506"/>
                    </a:lnTo>
                    <a:lnTo>
                      <a:pt x="78" y="2506"/>
                    </a:lnTo>
                    <a:lnTo>
                      <a:pt x="72" y="2506"/>
                    </a:lnTo>
                    <a:lnTo>
                      <a:pt x="66" y="2508"/>
                    </a:lnTo>
                    <a:lnTo>
                      <a:pt x="54" y="2516"/>
                    </a:lnTo>
                    <a:lnTo>
                      <a:pt x="50" y="2520"/>
                    </a:lnTo>
                    <a:lnTo>
                      <a:pt x="48" y="2524"/>
                    </a:lnTo>
                    <a:lnTo>
                      <a:pt x="48" y="2528"/>
                    </a:lnTo>
                    <a:lnTo>
                      <a:pt x="50" y="2530"/>
                    </a:lnTo>
                    <a:lnTo>
                      <a:pt x="54" y="2534"/>
                    </a:lnTo>
                    <a:lnTo>
                      <a:pt x="56" y="2540"/>
                    </a:lnTo>
                    <a:lnTo>
                      <a:pt x="58" y="2546"/>
                    </a:lnTo>
                    <a:lnTo>
                      <a:pt x="60" y="2552"/>
                    </a:lnTo>
                    <a:lnTo>
                      <a:pt x="64" y="2560"/>
                    </a:lnTo>
                    <a:lnTo>
                      <a:pt x="64" y="2570"/>
                    </a:lnTo>
                    <a:lnTo>
                      <a:pt x="64" y="2578"/>
                    </a:lnTo>
                    <a:lnTo>
                      <a:pt x="66" y="2588"/>
                    </a:lnTo>
                    <a:lnTo>
                      <a:pt x="64" y="2594"/>
                    </a:lnTo>
                    <a:lnTo>
                      <a:pt x="66" y="2596"/>
                    </a:lnTo>
                    <a:lnTo>
                      <a:pt x="68" y="2600"/>
                    </a:lnTo>
                    <a:lnTo>
                      <a:pt x="66" y="2602"/>
                    </a:lnTo>
                    <a:lnTo>
                      <a:pt x="66" y="2606"/>
                    </a:lnTo>
                    <a:lnTo>
                      <a:pt x="66" y="2612"/>
                    </a:lnTo>
                    <a:lnTo>
                      <a:pt x="74" y="2628"/>
                    </a:lnTo>
                    <a:lnTo>
                      <a:pt x="74" y="2632"/>
                    </a:lnTo>
                    <a:lnTo>
                      <a:pt x="74" y="2640"/>
                    </a:lnTo>
                    <a:lnTo>
                      <a:pt x="70" y="2654"/>
                    </a:lnTo>
                    <a:lnTo>
                      <a:pt x="66" y="2670"/>
                    </a:lnTo>
                    <a:lnTo>
                      <a:pt x="64" y="2680"/>
                    </a:lnTo>
                    <a:lnTo>
                      <a:pt x="66" y="2684"/>
                    </a:lnTo>
                    <a:lnTo>
                      <a:pt x="64" y="2688"/>
                    </a:lnTo>
                    <a:lnTo>
                      <a:pt x="60" y="2694"/>
                    </a:lnTo>
                    <a:lnTo>
                      <a:pt x="56" y="2708"/>
                    </a:lnTo>
                    <a:lnTo>
                      <a:pt x="54" y="2716"/>
                    </a:lnTo>
                    <a:lnTo>
                      <a:pt x="50" y="2720"/>
                    </a:lnTo>
                    <a:lnTo>
                      <a:pt x="46" y="2724"/>
                    </a:lnTo>
                    <a:lnTo>
                      <a:pt x="44" y="2726"/>
                    </a:lnTo>
                    <a:lnTo>
                      <a:pt x="44" y="2730"/>
                    </a:lnTo>
                    <a:lnTo>
                      <a:pt x="44" y="2734"/>
                    </a:lnTo>
                    <a:lnTo>
                      <a:pt x="44" y="2740"/>
                    </a:lnTo>
                    <a:lnTo>
                      <a:pt x="40" y="2750"/>
                    </a:lnTo>
                    <a:lnTo>
                      <a:pt x="38" y="2756"/>
                    </a:lnTo>
                    <a:lnTo>
                      <a:pt x="38" y="2760"/>
                    </a:lnTo>
                    <a:lnTo>
                      <a:pt x="40" y="2762"/>
                    </a:lnTo>
                    <a:lnTo>
                      <a:pt x="44" y="2764"/>
                    </a:lnTo>
                    <a:lnTo>
                      <a:pt x="52" y="2764"/>
                    </a:lnTo>
                    <a:lnTo>
                      <a:pt x="50" y="2766"/>
                    </a:lnTo>
                    <a:lnTo>
                      <a:pt x="50" y="2770"/>
                    </a:lnTo>
                    <a:lnTo>
                      <a:pt x="50" y="2772"/>
                    </a:lnTo>
                    <a:lnTo>
                      <a:pt x="50" y="2776"/>
                    </a:lnTo>
                    <a:lnTo>
                      <a:pt x="50" y="2778"/>
                    </a:lnTo>
                    <a:lnTo>
                      <a:pt x="52" y="2778"/>
                    </a:lnTo>
                    <a:lnTo>
                      <a:pt x="58" y="2776"/>
                    </a:lnTo>
                    <a:lnTo>
                      <a:pt x="64" y="2778"/>
                    </a:lnTo>
                    <a:lnTo>
                      <a:pt x="66" y="2780"/>
                    </a:lnTo>
                    <a:lnTo>
                      <a:pt x="66" y="2782"/>
                    </a:lnTo>
                    <a:lnTo>
                      <a:pt x="68" y="2788"/>
                    </a:lnTo>
                    <a:lnTo>
                      <a:pt x="66" y="2794"/>
                    </a:lnTo>
                    <a:lnTo>
                      <a:pt x="64" y="2804"/>
                    </a:lnTo>
                    <a:lnTo>
                      <a:pt x="66" y="2810"/>
                    </a:lnTo>
                    <a:lnTo>
                      <a:pt x="66" y="2820"/>
                    </a:lnTo>
                    <a:lnTo>
                      <a:pt x="62" y="2842"/>
                    </a:lnTo>
                    <a:lnTo>
                      <a:pt x="60" y="2856"/>
                    </a:lnTo>
                    <a:lnTo>
                      <a:pt x="62" y="2856"/>
                    </a:lnTo>
                    <a:lnTo>
                      <a:pt x="64" y="2856"/>
                    </a:lnTo>
                    <a:lnTo>
                      <a:pt x="68" y="2852"/>
                    </a:lnTo>
                    <a:lnTo>
                      <a:pt x="72" y="2850"/>
                    </a:lnTo>
                    <a:lnTo>
                      <a:pt x="80" y="2850"/>
                    </a:lnTo>
                    <a:lnTo>
                      <a:pt x="92" y="2854"/>
                    </a:lnTo>
                    <a:lnTo>
                      <a:pt x="104" y="2858"/>
                    </a:lnTo>
                    <a:lnTo>
                      <a:pt x="110" y="2856"/>
                    </a:lnTo>
                    <a:lnTo>
                      <a:pt x="114" y="2852"/>
                    </a:lnTo>
                    <a:lnTo>
                      <a:pt x="124" y="2846"/>
                    </a:lnTo>
                    <a:lnTo>
                      <a:pt x="130" y="2844"/>
                    </a:lnTo>
                    <a:lnTo>
                      <a:pt x="136" y="2844"/>
                    </a:lnTo>
                    <a:lnTo>
                      <a:pt x="142" y="2846"/>
                    </a:lnTo>
                    <a:lnTo>
                      <a:pt x="148" y="2850"/>
                    </a:lnTo>
                    <a:lnTo>
                      <a:pt x="158" y="2858"/>
                    </a:lnTo>
                    <a:lnTo>
                      <a:pt x="160" y="2862"/>
                    </a:lnTo>
                    <a:lnTo>
                      <a:pt x="162" y="2866"/>
                    </a:lnTo>
                    <a:lnTo>
                      <a:pt x="162" y="2874"/>
                    </a:lnTo>
                    <a:lnTo>
                      <a:pt x="166" y="2882"/>
                    </a:lnTo>
                    <a:lnTo>
                      <a:pt x="174" y="2892"/>
                    </a:lnTo>
                    <a:lnTo>
                      <a:pt x="182" y="2902"/>
                    </a:lnTo>
                    <a:lnTo>
                      <a:pt x="190" y="2908"/>
                    </a:lnTo>
                    <a:lnTo>
                      <a:pt x="196" y="2910"/>
                    </a:lnTo>
                    <a:lnTo>
                      <a:pt x="198" y="2910"/>
                    </a:lnTo>
                    <a:lnTo>
                      <a:pt x="202" y="2906"/>
                    </a:lnTo>
                    <a:lnTo>
                      <a:pt x="206" y="2902"/>
                    </a:lnTo>
                    <a:lnTo>
                      <a:pt x="208" y="2898"/>
                    </a:lnTo>
                    <a:lnTo>
                      <a:pt x="212" y="2892"/>
                    </a:lnTo>
                    <a:lnTo>
                      <a:pt x="214" y="2888"/>
                    </a:lnTo>
                    <a:lnTo>
                      <a:pt x="218" y="2886"/>
                    </a:lnTo>
                    <a:lnTo>
                      <a:pt x="228" y="2884"/>
                    </a:lnTo>
                    <a:lnTo>
                      <a:pt x="236" y="2884"/>
                    </a:lnTo>
                    <a:lnTo>
                      <a:pt x="238" y="2882"/>
                    </a:lnTo>
                    <a:lnTo>
                      <a:pt x="240" y="2880"/>
                    </a:lnTo>
                    <a:lnTo>
                      <a:pt x="246" y="2874"/>
                    </a:lnTo>
                    <a:lnTo>
                      <a:pt x="254" y="2868"/>
                    </a:lnTo>
                    <a:lnTo>
                      <a:pt x="264" y="2868"/>
                    </a:lnTo>
                    <a:lnTo>
                      <a:pt x="270" y="2868"/>
                    </a:lnTo>
                    <a:lnTo>
                      <a:pt x="276" y="2870"/>
                    </a:lnTo>
                    <a:lnTo>
                      <a:pt x="284" y="2872"/>
                    </a:lnTo>
                    <a:lnTo>
                      <a:pt x="292" y="2874"/>
                    </a:lnTo>
                    <a:lnTo>
                      <a:pt x="310" y="2870"/>
                    </a:lnTo>
                    <a:lnTo>
                      <a:pt x="322" y="2868"/>
                    </a:lnTo>
                    <a:lnTo>
                      <a:pt x="328" y="2866"/>
                    </a:lnTo>
                    <a:lnTo>
                      <a:pt x="332" y="2868"/>
                    </a:lnTo>
                    <a:lnTo>
                      <a:pt x="336" y="2870"/>
                    </a:lnTo>
                    <a:lnTo>
                      <a:pt x="340" y="2866"/>
                    </a:lnTo>
                    <a:lnTo>
                      <a:pt x="346" y="2852"/>
                    </a:lnTo>
                    <a:lnTo>
                      <a:pt x="350" y="2844"/>
                    </a:lnTo>
                    <a:lnTo>
                      <a:pt x="356" y="2836"/>
                    </a:lnTo>
                    <a:lnTo>
                      <a:pt x="364" y="2830"/>
                    </a:lnTo>
                    <a:lnTo>
                      <a:pt x="374" y="2828"/>
                    </a:lnTo>
                    <a:lnTo>
                      <a:pt x="390" y="2826"/>
                    </a:lnTo>
                    <a:lnTo>
                      <a:pt x="392" y="2824"/>
                    </a:lnTo>
                    <a:lnTo>
                      <a:pt x="390" y="2818"/>
                    </a:lnTo>
                    <a:lnTo>
                      <a:pt x="392" y="2808"/>
                    </a:lnTo>
                    <a:lnTo>
                      <a:pt x="396" y="2798"/>
                    </a:lnTo>
                    <a:lnTo>
                      <a:pt x="402" y="2788"/>
                    </a:lnTo>
                    <a:lnTo>
                      <a:pt x="410" y="2780"/>
                    </a:lnTo>
                    <a:lnTo>
                      <a:pt x="424" y="2768"/>
                    </a:lnTo>
                    <a:lnTo>
                      <a:pt x="428" y="2764"/>
                    </a:lnTo>
                    <a:lnTo>
                      <a:pt x="430" y="2760"/>
                    </a:lnTo>
                    <a:lnTo>
                      <a:pt x="428" y="2756"/>
                    </a:lnTo>
                    <a:lnTo>
                      <a:pt x="422" y="2752"/>
                    </a:lnTo>
                    <a:lnTo>
                      <a:pt x="416" y="2746"/>
                    </a:lnTo>
                    <a:lnTo>
                      <a:pt x="412" y="2740"/>
                    </a:lnTo>
                    <a:lnTo>
                      <a:pt x="410" y="2734"/>
                    </a:lnTo>
                    <a:lnTo>
                      <a:pt x="410" y="2724"/>
                    </a:lnTo>
                    <a:lnTo>
                      <a:pt x="412" y="2714"/>
                    </a:lnTo>
                    <a:lnTo>
                      <a:pt x="418" y="2702"/>
                    </a:lnTo>
                    <a:lnTo>
                      <a:pt x="424" y="2690"/>
                    </a:lnTo>
                    <a:lnTo>
                      <a:pt x="438" y="2670"/>
                    </a:lnTo>
                    <a:lnTo>
                      <a:pt x="446" y="2664"/>
                    </a:lnTo>
                    <a:lnTo>
                      <a:pt x="450" y="2660"/>
                    </a:lnTo>
                    <a:lnTo>
                      <a:pt x="460" y="2656"/>
                    </a:lnTo>
                    <a:lnTo>
                      <a:pt x="460" y="2654"/>
                    </a:lnTo>
                    <a:lnTo>
                      <a:pt x="460" y="2652"/>
                    </a:lnTo>
                    <a:lnTo>
                      <a:pt x="454" y="2648"/>
                    </a:lnTo>
                    <a:lnTo>
                      <a:pt x="454" y="2646"/>
                    </a:lnTo>
                    <a:lnTo>
                      <a:pt x="454" y="2642"/>
                    </a:lnTo>
                    <a:lnTo>
                      <a:pt x="458" y="2638"/>
                    </a:lnTo>
                    <a:lnTo>
                      <a:pt x="466" y="2634"/>
                    </a:lnTo>
                    <a:lnTo>
                      <a:pt x="484" y="2628"/>
                    </a:lnTo>
                    <a:lnTo>
                      <a:pt x="502" y="2624"/>
                    </a:lnTo>
                    <a:lnTo>
                      <a:pt x="508" y="2620"/>
                    </a:lnTo>
                    <a:lnTo>
                      <a:pt x="510" y="2616"/>
                    </a:lnTo>
                    <a:lnTo>
                      <a:pt x="514" y="2612"/>
                    </a:lnTo>
                    <a:lnTo>
                      <a:pt x="520" y="2608"/>
                    </a:lnTo>
                    <a:lnTo>
                      <a:pt x="536" y="2600"/>
                    </a:lnTo>
                    <a:lnTo>
                      <a:pt x="544" y="2596"/>
                    </a:lnTo>
                    <a:lnTo>
                      <a:pt x="550" y="2590"/>
                    </a:lnTo>
                    <a:lnTo>
                      <a:pt x="552" y="2584"/>
                    </a:lnTo>
                    <a:lnTo>
                      <a:pt x="552" y="2580"/>
                    </a:lnTo>
                    <a:lnTo>
                      <a:pt x="550" y="2576"/>
                    </a:lnTo>
                    <a:lnTo>
                      <a:pt x="550" y="2572"/>
                    </a:lnTo>
                    <a:lnTo>
                      <a:pt x="550" y="2570"/>
                    </a:lnTo>
                    <a:lnTo>
                      <a:pt x="554" y="2566"/>
                    </a:lnTo>
                    <a:lnTo>
                      <a:pt x="556" y="2566"/>
                    </a:lnTo>
                    <a:lnTo>
                      <a:pt x="556" y="2562"/>
                    </a:lnTo>
                    <a:lnTo>
                      <a:pt x="554" y="2560"/>
                    </a:lnTo>
                    <a:lnTo>
                      <a:pt x="548" y="2554"/>
                    </a:lnTo>
                    <a:lnTo>
                      <a:pt x="548" y="2542"/>
                    </a:lnTo>
                    <a:lnTo>
                      <a:pt x="548" y="2536"/>
                    </a:lnTo>
                    <a:lnTo>
                      <a:pt x="548" y="2532"/>
                    </a:lnTo>
                    <a:lnTo>
                      <a:pt x="548" y="2524"/>
                    </a:lnTo>
                    <a:lnTo>
                      <a:pt x="548" y="2518"/>
                    </a:lnTo>
                    <a:lnTo>
                      <a:pt x="550" y="2514"/>
                    </a:lnTo>
                    <a:lnTo>
                      <a:pt x="556" y="2510"/>
                    </a:lnTo>
                    <a:lnTo>
                      <a:pt x="564" y="2508"/>
                    </a:lnTo>
                    <a:lnTo>
                      <a:pt x="572" y="2502"/>
                    </a:lnTo>
                    <a:lnTo>
                      <a:pt x="584" y="2494"/>
                    </a:lnTo>
                    <a:lnTo>
                      <a:pt x="586" y="2494"/>
                    </a:lnTo>
                    <a:lnTo>
                      <a:pt x="588" y="2494"/>
                    </a:lnTo>
                    <a:lnTo>
                      <a:pt x="590" y="2498"/>
                    </a:lnTo>
                    <a:lnTo>
                      <a:pt x="592" y="2500"/>
                    </a:lnTo>
                    <a:lnTo>
                      <a:pt x="598" y="2502"/>
                    </a:lnTo>
                    <a:lnTo>
                      <a:pt x="604" y="2502"/>
                    </a:lnTo>
                    <a:lnTo>
                      <a:pt x="608" y="2504"/>
                    </a:lnTo>
                    <a:lnTo>
                      <a:pt x="610" y="2506"/>
                    </a:lnTo>
                    <a:lnTo>
                      <a:pt x="616" y="2506"/>
                    </a:lnTo>
                    <a:lnTo>
                      <a:pt x="626" y="2504"/>
                    </a:lnTo>
                    <a:lnTo>
                      <a:pt x="630" y="2504"/>
                    </a:lnTo>
                    <a:lnTo>
                      <a:pt x="634" y="2506"/>
                    </a:lnTo>
                    <a:lnTo>
                      <a:pt x="640" y="2512"/>
                    </a:lnTo>
                    <a:lnTo>
                      <a:pt x="644" y="2516"/>
                    </a:lnTo>
                    <a:lnTo>
                      <a:pt x="646" y="2516"/>
                    </a:lnTo>
                    <a:lnTo>
                      <a:pt x="650" y="2514"/>
                    </a:lnTo>
                    <a:lnTo>
                      <a:pt x="654" y="2516"/>
                    </a:lnTo>
                    <a:lnTo>
                      <a:pt x="656" y="2518"/>
                    </a:lnTo>
                    <a:lnTo>
                      <a:pt x="660" y="2520"/>
                    </a:lnTo>
                    <a:lnTo>
                      <a:pt x="664" y="2520"/>
                    </a:lnTo>
                    <a:lnTo>
                      <a:pt x="678" y="2518"/>
                    </a:lnTo>
                    <a:lnTo>
                      <a:pt x="690" y="2512"/>
                    </a:lnTo>
                    <a:lnTo>
                      <a:pt x="692" y="2508"/>
                    </a:lnTo>
                    <a:lnTo>
                      <a:pt x="694" y="2506"/>
                    </a:lnTo>
                    <a:lnTo>
                      <a:pt x="694" y="2502"/>
                    </a:lnTo>
                    <a:lnTo>
                      <a:pt x="696" y="2500"/>
                    </a:lnTo>
                    <a:lnTo>
                      <a:pt x="704" y="2494"/>
                    </a:lnTo>
                    <a:lnTo>
                      <a:pt x="726" y="2482"/>
                    </a:lnTo>
                    <a:lnTo>
                      <a:pt x="738" y="2476"/>
                    </a:lnTo>
                    <a:lnTo>
                      <a:pt x="748" y="2472"/>
                    </a:lnTo>
                    <a:lnTo>
                      <a:pt x="754" y="2466"/>
                    </a:lnTo>
                    <a:lnTo>
                      <a:pt x="758" y="2462"/>
                    </a:lnTo>
                    <a:lnTo>
                      <a:pt x="762" y="2452"/>
                    </a:lnTo>
                    <a:lnTo>
                      <a:pt x="766" y="2448"/>
                    </a:lnTo>
                    <a:lnTo>
                      <a:pt x="774" y="2444"/>
                    </a:lnTo>
                    <a:lnTo>
                      <a:pt x="780" y="2444"/>
                    </a:lnTo>
                    <a:lnTo>
                      <a:pt x="786" y="2444"/>
                    </a:lnTo>
                    <a:lnTo>
                      <a:pt x="792" y="2448"/>
                    </a:lnTo>
                    <a:lnTo>
                      <a:pt x="798" y="2454"/>
                    </a:lnTo>
                    <a:lnTo>
                      <a:pt x="808" y="2462"/>
                    </a:lnTo>
                    <a:lnTo>
                      <a:pt x="814" y="2466"/>
                    </a:lnTo>
                    <a:lnTo>
                      <a:pt x="820" y="2466"/>
                    </a:lnTo>
                    <a:lnTo>
                      <a:pt x="826" y="2466"/>
                    </a:lnTo>
                    <a:lnTo>
                      <a:pt x="830" y="2468"/>
                    </a:lnTo>
                    <a:lnTo>
                      <a:pt x="832" y="2474"/>
                    </a:lnTo>
                    <a:lnTo>
                      <a:pt x="834" y="2480"/>
                    </a:lnTo>
                    <a:lnTo>
                      <a:pt x="836" y="2494"/>
                    </a:lnTo>
                    <a:lnTo>
                      <a:pt x="838" y="2500"/>
                    </a:lnTo>
                    <a:lnTo>
                      <a:pt x="842" y="2504"/>
                    </a:lnTo>
                    <a:lnTo>
                      <a:pt x="844" y="2508"/>
                    </a:lnTo>
                    <a:lnTo>
                      <a:pt x="846" y="2512"/>
                    </a:lnTo>
                    <a:lnTo>
                      <a:pt x="846" y="2518"/>
                    </a:lnTo>
                    <a:lnTo>
                      <a:pt x="846" y="2522"/>
                    </a:lnTo>
                    <a:lnTo>
                      <a:pt x="846" y="2526"/>
                    </a:lnTo>
                    <a:lnTo>
                      <a:pt x="848" y="2530"/>
                    </a:lnTo>
                    <a:lnTo>
                      <a:pt x="854" y="2536"/>
                    </a:lnTo>
                    <a:lnTo>
                      <a:pt x="870" y="2546"/>
                    </a:lnTo>
                    <a:lnTo>
                      <a:pt x="872" y="2550"/>
                    </a:lnTo>
                    <a:lnTo>
                      <a:pt x="872" y="2556"/>
                    </a:lnTo>
                    <a:lnTo>
                      <a:pt x="872" y="2560"/>
                    </a:lnTo>
                    <a:lnTo>
                      <a:pt x="874" y="2562"/>
                    </a:lnTo>
                    <a:lnTo>
                      <a:pt x="882" y="2564"/>
                    </a:lnTo>
                    <a:lnTo>
                      <a:pt x="890" y="2566"/>
                    </a:lnTo>
                    <a:lnTo>
                      <a:pt x="894" y="2570"/>
                    </a:lnTo>
                    <a:lnTo>
                      <a:pt x="898" y="2576"/>
                    </a:lnTo>
                    <a:lnTo>
                      <a:pt x="902" y="2584"/>
                    </a:lnTo>
                    <a:lnTo>
                      <a:pt x="906" y="2586"/>
                    </a:lnTo>
                    <a:lnTo>
                      <a:pt x="910" y="2588"/>
                    </a:lnTo>
                    <a:lnTo>
                      <a:pt x="920" y="2598"/>
                    </a:lnTo>
                    <a:lnTo>
                      <a:pt x="932" y="2612"/>
                    </a:lnTo>
                    <a:lnTo>
                      <a:pt x="944" y="2620"/>
                    </a:lnTo>
                    <a:lnTo>
                      <a:pt x="956" y="2624"/>
                    </a:lnTo>
                    <a:lnTo>
                      <a:pt x="970" y="2624"/>
                    </a:lnTo>
                    <a:lnTo>
                      <a:pt x="974" y="2626"/>
                    </a:lnTo>
                    <a:lnTo>
                      <a:pt x="978" y="2628"/>
                    </a:lnTo>
                    <a:lnTo>
                      <a:pt x="982" y="2638"/>
                    </a:lnTo>
                    <a:lnTo>
                      <a:pt x="988" y="2646"/>
                    </a:lnTo>
                    <a:lnTo>
                      <a:pt x="990" y="2650"/>
                    </a:lnTo>
                    <a:lnTo>
                      <a:pt x="996" y="2650"/>
                    </a:lnTo>
                    <a:lnTo>
                      <a:pt x="1002" y="2650"/>
                    </a:lnTo>
                    <a:lnTo>
                      <a:pt x="1004" y="2650"/>
                    </a:lnTo>
                    <a:lnTo>
                      <a:pt x="1004" y="2656"/>
                    </a:lnTo>
                    <a:lnTo>
                      <a:pt x="1002" y="2658"/>
                    </a:lnTo>
                    <a:lnTo>
                      <a:pt x="1004" y="2658"/>
                    </a:lnTo>
                    <a:lnTo>
                      <a:pt x="1006" y="2660"/>
                    </a:lnTo>
                    <a:lnTo>
                      <a:pt x="1012" y="2658"/>
                    </a:lnTo>
                    <a:lnTo>
                      <a:pt x="1018" y="2658"/>
                    </a:lnTo>
                    <a:lnTo>
                      <a:pt x="1020" y="2660"/>
                    </a:lnTo>
                    <a:lnTo>
                      <a:pt x="1022" y="2662"/>
                    </a:lnTo>
                    <a:lnTo>
                      <a:pt x="1022" y="2666"/>
                    </a:lnTo>
                    <a:lnTo>
                      <a:pt x="1022" y="2674"/>
                    </a:lnTo>
                    <a:lnTo>
                      <a:pt x="1024" y="2680"/>
                    </a:lnTo>
                    <a:lnTo>
                      <a:pt x="1030" y="2684"/>
                    </a:lnTo>
                    <a:lnTo>
                      <a:pt x="1040" y="2690"/>
                    </a:lnTo>
                    <a:lnTo>
                      <a:pt x="1050" y="2694"/>
                    </a:lnTo>
                    <a:lnTo>
                      <a:pt x="1054" y="2698"/>
                    </a:lnTo>
                    <a:lnTo>
                      <a:pt x="1058" y="2702"/>
                    </a:lnTo>
                    <a:lnTo>
                      <a:pt x="1062" y="2710"/>
                    </a:lnTo>
                    <a:lnTo>
                      <a:pt x="1066" y="2720"/>
                    </a:lnTo>
                    <a:lnTo>
                      <a:pt x="1070" y="2740"/>
                    </a:lnTo>
                    <a:lnTo>
                      <a:pt x="1072" y="2752"/>
                    </a:lnTo>
                    <a:lnTo>
                      <a:pt x="1072" y="2758"/>
                    </a:lnTo>
                    <a:lnTo>
                      <a:pt x="1066" y="2762"/>
                    </a:lnTo>
                    <a:lnTo>
                      <a:pt x="1064" y="2768"/>
                    </a:lnTo>
                    <a:lnTo>
                      <a:pt x="1064" y="2772"/>
                    </a:lnTo>
                    <a:lnTo>
                      <a:pt x="1062" y="2776"/>
                    </a:lnTo>
                    <a:lnTo>
                      <a:pt x="1060" y="2784"/>
                    </a:lnTo>
                    <a:lnTo>
                      <a:pt x="1054" y="2790"/>
                    </a:lnTo>
                    <a:lnTo>
                      <a:pt x="1052" y="2796"/>
                    </a:lnTo>
                    <a:lnTo>
                      <a:pt x="1054" y="2802"/>
                    </a:lnTo>
                    <a:lnTo>
                      <a:pt x="1058" y="2806"/>
                    </a:lnTo>
                    <a:lnTo>
                      <a:pt x="1064" y="2808"/>
                    </a:lnTo>
                    <a:lnTo>
                      <a:pt x="1068" y="2808"/>
                    </a:lnTo>
                    <a:lnTo>
                      <a:pt x="1070" y="2806"/>
                    </a:lnTo>
                    <a:lnTo>
                      <a:pt x="1072" y="2804"/>
                    </a:lnTo>
                    <a:lnTo>
                      <a:pt x="1076" y="2794"/>
                    </a:lnTo>
                    <a:lnTo>
                      <a:pt x="1084" y="2784"/>
                    </a:lnTo>
                    <a:lnTo>
                      <a:pt x="1088" y="2780"/>
                    </a:lnTo>
                    <a:lnTo>
                      <a:pt x="1090" y="2776"/>
                    </a:lnTo>
                    <a:lnTo>
                      <a:pt x="1092" y="2768"/>
                    </a:lnTo>
                    <a:lnTo>
                      <a:pt x="1096" y="2760"/>
                    </a:lnTo>
                    <a:lnTo>
                      <a:pt x="1098" y="2756"/>
                    </a:lnTo>
                    <a:lnTo>
                      <a:pt x="1104" y="2752"/>
                    </a:lnTo>
                    <a:lnTo>
                      <a:pt x="1110" y="2748"/>
                    </a:lnTo>
                    <a:lnTo>
                      <a:pt x="1114" y="2742"/>
                    </a:lnTo>
                    <a:lnTo>
                      <a:pt x="1116" y="2738"/>
                    </a:lnTo>
                    <a:lnTo>
                      <a:pt x="1114" y="2732"/>
                    </a:lnTo>
                    <a:lnTo>
                      <a:pt x="1112" y="2726"/>
                    </a:lnTo>
                    <a:lnTo>
                      <a:pt x="1108" y="2722"/>
                    </a:lnTo>
                    <a:lnTo>
                      <a:pt x="1104" y="2718"/>
                    </a:lnTo>
                    <a:lnTo>
                      <a:pt x="1098" y="2716"/>
                    </a:lnTo>
                    <a:lnTo>
                      <a:pt x="1090" y="2712"/>
                    </a:lnTo>
                    <a:lnTo>
                      <a:pt x="1086" y="2708"/>
                    </a:lnTo>
                    <a:lnTo>
                      <a:pt x="1086" y="2704"/>
                    </a:lnTo>
                    <a:lnTo>
                      <a:pt x="1090" y="2698"/>
                    </a:lnTo>
                    <a:lnTo>
                      <a:pt x="1092" y="2692"/>
                    </a:lnTo>
                    <a:lnTo>
                      <a:pt x="1094" y="2684"/>
                    </a:lnTo>
                    <a:lnTo>
                      <a:pt x="1096" y="2676"/>
                    </a:lnTo>
                    <a:lnTo>
                      <a:pt x="1100" y="2672"/>
                    </a:lnTo>
                    <a:lnTo>
                      <a:pt x="1104" y="2670"/>
                    </a:lnTo>
                    <a:lnTo>
                      <a:pt x="1112" y="2666"/>
                    </a:lnTo>
                    <a:lnTo>
                      <a:pt x="1116" y="2668"/>
                    </a:lnTo>
                    <a:lnTo>
                      <a:pt x="1124" y="2670"/>
                    </a:lnTo>
                    <a:lnTo>
                      <a:pt x="1134" y="2672"/>
                    </a:lnTo>
                    <a:lnTo>
                      <a:pt x="1140" y="2674"/>
                    </a:lnTo>
                    <a:lnTo>
                      <a:pt x="1144" y="2678"/>
                    </a:lnTo>
                    <a:lnTo>
                      <a:pt x="1148" y="2688"/>
                    </a:lnTo>
                    <a:lnTo>
                      <a:pt x="1150" y="2696"/>
                    </a:lnTo>
                    <a:lnTo>
                      <a:pt x="1154" y="2700"/>
                    </a:lnTo>
                    <a:lnTo>
                      <a:pt x="1158" y="2702"/>
                    </a:lnTo>
                    <a:lnTo>
                      <a:pt x="1166" y="2702"/>
                    </a:lnTo>
                    <a:lnTo>
                      <a:pt x="1166" y="2700"/>
                    </a:lnTo>
                    <a:lnTo>
                      <a:pt x="1166" y="2696"/>
                    </a:lnTo>
                    <a:lnTo>
                      <a:pt x="1168" y="2688"/>
                    </a:lnTo>
                    <a:lnTo>
                      <a:pt x="1168" y="2684"/>
                    </a:lnTo>
                    <a:lnTo>
                      <a:pt x="1168" y="2678"/>
                    </a:lnTo>
                    <a:lnTo>
                      <a:pt x="1166" y="2674"/>
                    </a:lnTo>
                    <a:lnTo>
                      <a:pt x="1162" y="2670"/>
                    </a:lnTo>
                    <a:lnTo>
                      <a:pt x="1152" y="2662"/>
                    </a:lnTo>
                    <a:lnTo>
                      <a:pt x="1142" y="2654"/>
                    </a:lnTo>
                    <a:lnTo>
                      <a:pt x="1126" y="2646"/>
                    </a:lnTo>
                    <a:lnTo>
                      <a:pt x="1120" y="2642"/>
                    </a:lnTo>
                    <a:lnTo>
                      <a:pt x="1114" y="2636"/>
                    </a:lnTo>
                    <a:lnTo>
                      <a:pt x="1110" y="2632"/>
                    </a:lnTo>
                    <a:lnTo>
                      <a:pt x="1102" y="2628"/>
                    </a:lnTo>
                    <a:lnTo>
                      <a:pt x="1082" y="2620"/>
                    </a:lnTo>
                    <a:lnTo>
                      <a:pt x="1074" y="2616"/>
                    </a:lnTo>
                    <a:lnTo>
                      <a:pt x="1068" y="2610"/>
                    </a:lnTo>
                    <a:lnTo>
                      <a:pt x="1066" y="2606"/>
                    </a:lnTo>
                    <a:lnTo>
                      <a:pt x="1066" y="2602"/>
                    </a:lnTo>
                    <a:lnTo>
                      <a:pt x="1070" y="2600"/>
                    </a:lnTo>
                    <a:lnTo>
                      <a:pt x="1074" y="2594"/>
                    </a:lnTo>
                    <a:lnTo>
                      <a:pt x="1076" y="2592"/>
                    </a:lnTo>
                    <a:lnTo>
                      <a:pt x="1074" y="2590"/>
                    </a:lnTo>
                    <a:lnTo>
                      <a:pt x="1068" y="2588"/>
                    </a:lnTo>
                    <a:lnTo>
                      <a:pt x="1060" y="2586"/>
                    </a:lnTo>
                    <a:lnTo>
                      <a:pt x="1036" y="2584"/>
                    </a:lnTo>
                    <a:lnTo>
                      <a:pt x="1026" y="2580"/>
                    </a:lnTo>
                    <a:lnTo>
                      <a:pt x="1016" y="2576"/>
                    </a:lnTo>
                    <a:lnTo>
                      <a:pt x="1002" y="2560"/>
                    </a:lnTo>
                    <a:lnTo>
                      <a:pt x="990" y="2544"/>
                    </a:lnTo>
                    <a:lnTo>
                      <a:pt x="984" y="2530"/>
                    </a:lnTo>
                    <a:lnTo>
                      <a:pt x="978" y="2518"/>
                    </a:lnTo>
                    <a:lnTo>
                      <a:pt x="974" y="2498"/>
                    </a:lnTo>
                    <a:lnTo>
                      <a:pt x="970" y="2492"/>
                    </a:lnTo>
                    <a:lnTo>
                      <a:pt x="966" y="2490"/>
                    </a:lnTo>
                    <a:lnTo>
                      <a:pt x="958" y="2488"/>
                    </a:lnTo>
                    <a:lnTo>
                      <a:pt x="950" y="2484"/>
                    </a:lnTo>
                    <a:lnTo>
                      <a:pt x="944" y="2476"/>
                    </a:lnTo>
                    <a:lnTo>
                      <a:pt x="934" y="2468"/>
                    </a:lnTo>
                    <a:lnTo>
                      <a:pt x="928" y="2462"/>
                    </a:lnTo>
                    <a:lnTo>
                      <a:pt x="922" y="2456"/>
                    </a:lnTo>
                    <a:lnTo>
                      <a:pt x="920" y="2448"/>
                    </a:lnTo>
                    <a:lnTo>
                      <a:pt x="918" y="2442"/>
                    </a:lnTo>
                    <a:lnTo>
                      <a:pt x="916" y="2434"/>
                    </a:lnTo>
                    <a:lnTo>
                      <a:pt x="918" y="2428"/>
                    </a:lnTo>
                    <a:lnTo>
                      <a:pt x="920" y="2424"/>
                    </a:lnTo>
                    <a:lnTo>
                      <a:pt x="922" y="2422"/>
                    </a:lnTo>
                    <a:lnTo>
                      <a:pt x="926" y="2420"/>
                    </a:lnTo>
                    <a:lnTo>
                      <a:pt x="928" y="2418"/>
                    </a:lnTo>
                    <a:lnTo>
                      <a:pt x="926" y="2414"/>
                    </a:lnTo>
                    <a:lnTo>
                      <a:pt x="918" y="2400"/>
                    </a:lnTo>
                    <a:lnTo>
                      <a:pt x="914" y="2394"/>
                    </a:lnTo>
                    <a:lnTo>
                      <a:pt x="916" y="2388"/>
                    </a:lnTo>
                    <a:lnTo>
                      <a:pt x="920" y="2384"/>
                    </a:lnTo>
                    <a:lnTo>
                      <a:pt x="924" y="2386"/>
                    </a:lnTo>
                    <a:lnTo>
                      <a:pt x="926" y="2388"/>
                    </a:lnTo>
                    <a:lnTo>
                      <a:pt x="930" y="2388"/>
                    </a:lnTo>
                    <a:lnTo>
                      <a:pt x="934" y="2384"/>
                    </a:lnTo>
                    <a:lnTo>
                      <a:pt x="940" y="2378"/>
                    </a:lnTo>
                    <a:lnTo>
                      <a:pt x="950" y="2372"/>
                    </a:lnTo>
                    <a:lnTo>
                      <a:pt x="956" y="2370"/>
                    </a:lnTo>
                    <a:lnTo>
                      <a:pt x="958" y="2372"/>
                    </a:lnTo>
                    <a:lnTo>
                      <a:pt x="960" y="2374"/>
                    </a:lnTo>
                    <a:lnTo>
                      <a:pt x="966" y="2374"/>
                    </a:lnTo>
                    <a:lnTo>
                      <a:pt x="972" y="2372"/>
                    </a:lnTo>
                    <a:lnTo>
                      <a:pt x="974" y="2374"/>
                    </a:lnTo>
                    <a:lnTo>
                      <a:pt x="974" y="2378"/>
                    </a:lnTo>
                    <a:lnTo>
                      <a:pt x="974" y="2380"/>
                    </a:lnTo>
                    <a:lnTo>
                      <a:pt x="972" y="2382"/>
                    </a:lnTo>
                    <a:lnTo>
                      <a:pt x="970" y="2382"/>
                    </a:lnTo>
                    <a:lnTo>
                      <a:pt x="968" y="2384"/>
                    </a:lnTo>
                    <a:lnTo>
                      <a:pt x="968" y="2386"/>
                    </a:lnTo>
                    <a:lnTo>
                      <a:pt x="970" y="2398"/>
                    </a:lnTo>
                    <a:lnTo>
                      <a:pt x="976" y="2414"/>
                    </a:lnTo>
                    <a:lnTo>
                      <a:pt x="982" y="2426"/>
                    </a:lnTo>
                    <a:lnTo>
                      <a:pt x="986" y="2428"/>
                    </a:lnTo>
                    <a:lnTo>
                      <a:pt x="988" y="2424"/>
                    </a:lnTo>
                    <a:lnTo>
                      <a:pt x="994" y="2402"/>
                    </a:lnTo>
                    <a:lnTo>
                      <a:pt x="996" y="2398"/>
                    </a:lnTo>
                    <a:lnTo>
                      <a:pt x="1000" y="2394"/>
                    </a:lnTo>
                    <a:lnTo>
                      <a:pt x="1004" y="2394"/>
                    </a:lnTo>
                    <a:lnTo>
                      <a:pt x="1008" y="2398"/>
                    </a:lnTo>
                    <a:lnTo>
                      <a:pt x="1016" y="2404"/>
                    </a:lnTo>
                    <a:lnTo>
                      <a:pt x="1020" y="2410"/>
                    </a:lnTo>
                    <a:lnTo>
                      <a:pt x="1022" y="2414"/>
                    </a:lnTo>
                    <a:lnTo>
                      <a:pt x="1022" y="2420"/>
                    </a:lnTo>
                    <a:lnTo>
                      <a:pt x="1024" y="2428"/>
                    </a:lnTo>
                    <a:lnTo>
                      <a:pt x="1026" y="2434"/>
                    </a:lnTo>
                    <a:lnTo>
                      <a:pt x="1030" y="2440"/>
                    </a:lnTo>
                    <a:lnTo>
                      <a:pt x="1034" y="2446"/>
                    </a:lnTo>
                    <a:lnTo>
                      <a:pt x="1036" y="2450"/>
                    </a:lnTo>
                    <a:lnTo>
                      <a:pt x="1036" y="2452"/>
                    </a:lnTo>
                    <a:lnTo>
                      <a:pt x="1034" y="2454"/>
                    </a:lnTo>
                    <a:lnTo>
                      <a:pt x="1034" y="2456"/>
                    </a:lnTo>
                    <a:lnTo>
                      <a:pt x="1034" y="2460"/>
                    </a:lnTo>
                    <a:lnTo>
                      <a:pt x="1038" y="2464"/>
                    </a:lnTo>
                    <a:lnTo>
                      <a:pt x="1046" y="2472"/>
                    </a:lnTo>
                    <a:lnTo>
                      <a:pt x="1056" y="2480"/>
                    </a:lnTo>
                    <a:lnTo>
                      <a:pt x="1062" y="2486"/>
                    </a:lnTo>
                    <a:lnTo>
                      <a:pt x="1066" y="2494"/>
                    </a:lnTo>
                    <a:lnTo>
                      <a:pt x="1066" y="2496"/>
                    </a:lnTo>
                    <a:lnTo>
                      <a:pt x="1068" y="2496"/>
                    </a:lnTo>
                    <a:lnTo>
                      <a:pt x="1076" y="2496"/>
                    </a:lnTo>
                    <a:lnTo>
                      <a:pt x="1084" y="2496"/>
                    </a:lnTo>
                    <a:lnTo>
                      <a:pt x="1090" y="2498"/>
                    </a:lnTo>
                    <a:lnTo>
                      <a:pt x="1102" y="2504"/>
                    </a:lnTo>
                    <a:lnTo>
                      <a:pt x="1114" y="2516"/>
                    </a:lnTo>
                    <a:lnTo>
                      <a:pt x="1128" y="2528"/>
                    </a:lnTo>
                    <a:lnTo>
                      <a:pt x="1114" y="2524"/>
                    </a:lnTo>
                    <a:lnTo>
                      <a:pt x="1110" y="2524"/>
                    </a:lnTo>
                    <a:lnTo>
                      <a:pt x="1110" y="2526"/>
                    </a:lnTo>
                    <a:lnTo>
                      <a:pt x="1116" y="2530"/>
                    </a:lnTo>
                    <a:lnTo>
                      <a:pt x="1134" y="2536"/>
                    </a:lnTo>
                    <a:lnTo>
                      <a:pt x="1144" y="2540"/>
                    </a:lnTo>
                    <a:lnTo>
                      <a:pt x="1152" y="2544"/>
                    </a:lnTo>
                    <a:lnTo>
                      <a:pt x="1160" y="2552"/>
                    </a:lnTo>
                    <a:lnTo>
                      <a:pt x="1162" y="2558"/>
                    </a:lnTo>
                    <a:lnTo>
                      <a:pt x="1164" y="2560"/>
                    </a:lnTo>
                    <a:lnTo>
                      <a:pt x="1166" y="2560"/>
                    </a:lnTo>
                    <a:lnTo>
                      <a:pt x="1174" y="2560"/>
                    </a:lnTo>
                    <a:lnTo>
                      <a:pt x="1176" y="2562"/>
                    </a:lnTo>
                    <a:lnTo>
                      <a:pt x="1184" y="2566"/>
                    </a:lnTo>
                    <a:lnTo>
                      <a:pt x="1188" y="2568"/>
                    </a:lnTo>
                    <a:lnTo>
                      <a:pt x="1190" y="2574"/>
                    </a:lnTo>
                    <a:lnTo>
                      <a:pt x="1190" y="2582"/>
                    </a:lnTo>
                    <a:lnTo>
                      <a:pt x="1192" y="2584"/>
                    </a:lnTo>
                    <a:lnTo>
                      <a:pt x="1196" y="2586"/>
                    </a:lnTo>
                    <a:lnTo>
                      <a:pt x="1204" y="2588"/>
                    </a:lnTo>
                    <a:lnTo>
                      <a:pt x="1208" y="2590"/>
                    </a:lnTo>
                    <a:lnTo>
                      <a:pt x="1208" y="2596"/>
                    </a:lnTo>
                    <a:lnTo>
                      <a:pt x="1208" y="2610"/>
                    </a:lnTo>
                    <a:lnTo>
                      <a:pt x="1206" y="2626"/>
                    </a:lnTo>
                    <a:lnTo>
                      <a:pt x="1206" y="2632"/>
                    </a:lnTo>
                    <a:lnTo>
                      <a:pt x="1206" y="2636"/>
                    </a:lnTo>
                    <a:lnTo>
                      <a:pt x="1206" y="2638"/>
                    </a:lnTo>
                    <a:lnTo>
                      <a:pt x="1206" y="2640"/>
                    </a:lnTo>
                    <a:lnTo>
                      <a:pt x="1204" y="2646"/>
                    </a:lnTo>
                    <a:lnTo>
                      <a:pt x="1200" y="2652"/>
                    </a:lnTo>
                    <a:lnTo>
                      <a:pt x="1200" y="2656"/>
                    </a:lnTo>
                    <a:lnTo>
                      <a:pt x="1202" y="2662"/>
                    </a:lnTo>
                    <a:lnTo>
                      <a:pt x="1202" y="2666"/>
                    </a:lnTo>
                    <a:lnTo>
                      <a:pt x="1202" y="2670"/>
                    </a:lnTo>
                    <a:lnTo>
                      <a:pt x="1202" y="2672"/>
                    </a:lnTo>
                    <a:lnTo>
                      <a:pt x="1200" y="2674"/>
                    </a:lnTo>
                    <a:lnTo>
                      <a:pt x="1202" y="2674"/>
                    </a:lnTo>
                    <a:lnTo>
                      <a:pt x="1208" y="2680"/>
                    </a:lnTo>
                    <a:lnTo>
                      <a:pt x="1216" y="2686"/>
                    </a:lnTo>
                    <a:lnTo>
                      <a:pt x="1222" y="2690"/>
                    </a:lnTo>
                    <a:lnTo>
                      <a:pt x="1224" y="2696"/>
                    </a:lnTo>
                    <a:lnTo>
                      <a:pt x="1224" y="2700"/>
                    </a:lnTo>
                    <a:lnTo>
                      <a:pt x="1226" y="2706"/>
                    </a:lnTo>
                    <a:lnTo>
                      <a:pt x="1228" y="2708"/>
                    </a:lnTo>
                    <a:lnTo>
                      <a:pt x="1230" y="2710"/>
                    </a:lnTo>
                    <a:lnTo>
                      <a:pt x="1240" y="2726"/>
                    </a:lnTo>
                    <a:lnTo>
                      <a:pt x="1246" y="2736"/>
                    </a:lnTo>
                    <a:lnTo>
                      <a:pt x="1250" y="2740"/>
                    </a:lnTo>
                    <a:lnTo>
                      <a:pt x="1254" y="2744"/>
                    </a:lnTo>
                    <a:lnTo>
                      <a:pt x="1258" y="2748"/>
                    </a:lnTo>
                    <a:lnTo>
                      <a:pt x="1260" y="2748"/>
                    </a:lnTo>
                    <a:lnTo>
                      <a:pt x="1260" y="2746"/>
                    </a:lnTo>
                    <a:lnTo>
                      <a:pt x="1262" y="2746"/>
                    </a:lnTo>
                    <a:lnTo>
                      <a:pt x="1266" y="2746"/>
                    </a:lnTo>
                    <a:lnTo>
                      <a:pt x="1272" y="2750"/>
                    </a:lnTo>
                    <a:lnTo>
                      <a:pt x="1274" y="2752"/>
                    </a:lnTo>
                    <a:lnTo>
                      <a:pt x="1266" y="2754"/>
                    </a:lnTo>
                    <a:lnTo>
                      <a:pt x="1258" y="2754"/>
                    </a:lnTo>
                    <a:lnTo>
                      <a:pt x="1258" y="2758"/>
                    </a:lnTo>
                    <a:lnTo>
                      <a:pt x="1260" y="2762"/>
                    </a:lnTo>
                    <a:lnTo>
                      <a:pt x="1268" y="2772"/>
                    </a:lnTo>
                    <a:lnTo>
                      <a:pt x="1272" y="2780"/>
                    </a:lnTo>
                    <a:lnTo>
                      <a:pt x="1274" y="2786"/>
                    </a:lnTo>
                    <a:lnTo>
                      <a:pt x="1276" y="2786"/>
                    </a:lnTo>
                    <a:lnTo>
                      <a:pt x="1280" y="2784"/>
                    </a:lnTo>
                    <a:lnTo>
                      <a:pt x="1284" y="2780"/>
                    </a:lnTo>
                    <a:lnTo>
                      <a:pt x="1286" y="2782"/>
                    </a:lnTo>
                    <a:lnTo>
                      <a:pt x="1290" y="2782"/>
                    </a:lnTo>
                    <a:lnTo>
                      <a:pt x="1300" y="2782"/>
                    </a:lnTo>
                    <a:lnTo>
                      <a:pt x="1312" y="2780"/>
                    </a:lnTo>
                    <a:lnTo>
                      <a:pt x="1316" y="2782"/>
                    </a:lnTo>
                    <a:lnTo>
                      <a:pt x="1318" y="2784"/>
                    </a:lnTo>
                    <a:lnTo>
                      <a:pt x="1324" y="2784"/>
                    </a:lnTo>
                    <a:lnTo>
                      <a:pt x="1330" y="2782"/>
                    </a:lnTo>
                    <a:lnTo>
                      <a:pt x="1336" y="2786"/>
                    </a:lnTo>
                    <a:lnTo>
                      <a:pt x="1342" y="2790"/>
                    </a:lnTo>
                    <a:lnTo>
                      <a:pt x="1348" y="2790"/>
                    </a:lnTo>
                    <a:lnTo>
                      <a:pt x="1354" y="2790"/>
                    </a:lnTo>
                    <a:lnTo>
                      <a:pt x="1358" y="2792"/>
                    </a:lnTo>
                    <a:lnTo>
                      <a:pt x="1358" y="2794"/>
                    </a:lnTo>
                    <a:lnTo>
                      <a:pt x="1358" y="2796"/>
                    </a:lnTo>
                    <a:lnTo>
                      <a:pt x="1350" y="2800"/>
                    </a:lnTo>
                    <a:lnTo>
                      <a:pt x="1342" y="2802"/>
                    </a:lnTo>
                    <a:lnTo>
                      <a:pt x="1336" y="2800"/>
                    </a:lnTo>
                    <a:lnTo>
                      <a:pt x="1322" y="2792"/>
                    </a:lnTo>
                    <a:lnTo>
                      <a:pt x="1312" y="2788"/>
                    </a:lnTo>
                    <a:lnTo>
                      <a:pt x="1306" y="2786"/>
                    </a:lnTo>
                    <a:lnTo>
                      <a:pt x="1302" y="2786"/>
                    </a:lnTo>
                    <a:lnTo>
                      <a:pt x="1298" y="2792"/>
                    </a:lnTo>
                    <a:lnTo>
                      <a:pt x="1296" y="2794"/>
                    </a:lnTo>
                    <a:lnTo>
                      <a:pt x="1292" y="2794"/>
                    </a:lnTo>
                    <a:lnTo>
                      <a:pt x="1288" y="2792"/>
                    </a:lnTo>
                    <a:lnTo>
                      <a:pt x="1282" y="2792"/>
                    </a:lnTo>
                    <a:lnTo>
                      <a:pt x="1282" y="2794"/>
                    </a:lnTo>
                    <a:lnTo>
                      <a:pt x="1280" y="2798"/>
                    </a:lnTo>
                    <a:lnTo>
                      <a:pt x="1280" y="2802"/>
                    </a:lnTo>
                    <a:lnTo>
                      <a:pt x="1278" y="2804"/>
                    </a:lnTo>
                    <a:lnTo>
                      <a:pt x="1274" y="2808"/>
                    </a:lnTo>
                    <a:lnTo>
                      <a:pt x="1272" y="2808"/>
                    </a:lnTo>
                    <a:lnTo>
                      <a:pt x="1276" y="2812"/>
                    </a:lnTo>
                    <a:lnTo>
                      <a:pt x="1280" y="2816"/>
                    </a:lnTo>
                    <a:lnTo>
                      <a:pt x="1280" y="2820"/>
                    </a:lnTo>
                    <a:lnTo>
                      <a:pt x="1280" y="2824"/>
                    </a:lnTo>
                    <a:lnTo>
                      <a:pt x="1286" y="2824"/>
                    </a:lnTo>
                    <a:lnTo>
                      <a:pt x="1288" y="2824"/>
                    </a:lnTo>
                    <a:lnTo>
                      <a:pt x="1292" y="2826"/>
                    </a:lnTo>
                    <a:lnTo>
                      <a:pt x="1294" y="2832"/>
                    </a:lnTo>
                    <a:lnTo>
                      <a:pt x="1294" y="2838"/>
                    </a:lnTo>
                    <a:lnTo>
                      <a:pt x="1292" y="2844"/>
                    </a:lnTo>
                    <a:lnTo>
                      <a:pt x="1292" y="2848"/>
                    </a:lnTo>
                    <a:lnTo>
                      <a:pt x="1292" y="2854"/>
                    </a:lnTo>
                    <a:lnTo>
                      <a:pt x="1298" y="2864"/>
                    </a:lnTo>
                    <a:lnTo>
                      <a:pt x="1300" y="2866"/>
                    </a:lnTo>
                    <a:lnTo>
                      <a:pt x="1304" y="2868"/>
                    </a:lnTo>
                    <a:lnTo>
                      <a:pt x="1306" y="2866"/>
                    </a:lnTo>
                    <a:lnTo>
                      <a:pt x="1308" y="2862"/>
                    </a:lnTo>
                    <a:lnTo>
                      <a:pt x="1308" y="2856"/>
                    </a:lnTo>
                    <a:lnTo>
                      <a:pt x="1310" y="2854"/>
                    </a:lnTo>
                    <a:lnTo>
                      <a:pt x="1314" y="2854"/>
                    </a:lnTo>
                    <a:lnTo>
                      <a:pt x="1316" y="2856"/>
                    </a:lnTo>
                    <a:lnTo>
                      <a:pt x="1320" y="2866"/>
                    </a:lnTo>
                    <a:lnTo>
                      <a:pt x="1322" y="2880"/>
                    </a:lnTo>
                    <a:lnTo>
                      <a:pt x="1324" y="2888"/>
                    </a:lnTo>
                    <a:lnTo>
                      <a:pt x="1326" y="2888"/>
                    </a:lnTo>
                    <a:lnTo>
                      <a:pt x="1328" y="2888"/>
                    </a:lnTo>
                    <a:lnTo>
                      <a:pt x="1330" y="2882"/>
                    </a:lnTo>
                    <a:lnTo>
                      <a:pt x="1332" y="2874"/>
                    </a:lnTo>
                    <a:lnTo>
                      <a:pt x="1334" y="2866"/>
                    </a:lnTo>
                    <a:lnTo>
                      <a:pt x="1336" y="2866"/>
                    </a:lnTo>
                    <a:lnTo>
                      <a:pt x="1338" y="2868"/>
                    </a:lnTo>
                    <a:lnTo>
                      <a:pt x="1342" y="2872"/>
                    </a:lnTo>
                    <a:lnTo>
                      <a:pt x="1348" y="2882"/>
                    </a:lnTo>
                    <a:lnTo>
                      <a:pt x="1350" y="2886"/>
                    </a:lnTo>
                    <a:lnTo>
                      <a:pt x="1354" y="2888"/>
                    </a:lnTo>
                    <a:lnTo>
                      <a:pt x="1356" y="2886"/>
                    </a:lnTo>
                    <a:lnTo>
                      <a:pt x="1356" y="2884"/>
                    </a:lnTo>
                    <a:lnTo>
                      <a:pt x="1356" y="2876"/>
                    </a:lnTo>
                    <a:lnTo>
                      <a:pt x="1348" y="2854"/>
                    </a:lnTo>
                    <a:lnTo>
                      <a:pt x="1340" y="2834"/>
                    </a:lnTo>
                    <a:lnTo>
                      <a:pt x="1338" y="2828"/>
                    </a:lnTo>
                    <a:lnTo>
                      <a:pt x="1338" y="2826"/>
                    </a:lnTo>
                    <a:lnTo>
                      <a:pt x="1340" y="2824"/>
                    </a:lnTo>
                    <a:lnTo>
                      <a:pt x="1346" y="2826"/>
                    </a:lnTo>
                    <a:lnTo>
                      <a:pt x="1350" y="2828"/>
                    </a:lnTo>
                    <a:lnTo>
                      <a:pt x="1352" y="2832"/>
                    </a:lnTo>
                    <a:lnTo>
                      <a:pt x="1354" y="2838"/>
                    </a:lnTo>
                    <a:lnTo>
                      <a:pt x="1356" y="2840"/>
                    </a:lnTo>
                    <a:lnTo>
                      <a:pt x="1358" y="2840"/>
                    </a:lnTo>
                    <a:lnTo>
                      <a:pt x="1368" y="2836"/>
                    </a:lnTo>
                    <a:lnTo>
                      <a:pt x="1370" y="2834"/>
                    </a:lnTo>
                    <a:lnTo>
                      <a:pt x="1372" y="2832"/>
                    </a:lnTo>
                    <a:lnTo>
                      <a:pt x="1370" y="2828"/>
                    </a:lnTo>
                    <a:lnTo>
                      <a:pt x="1366" y="2824"/>
                    </a:lnTo>
                    <a:lnTo>
                      <a:pt x="1360" y="2822"/>
                    </a:lnTo>
                    <a:lnTo>
                      <a:pt x="1356" y="2822"/>
                    </a:lnTo>
                    <a:lnTo>
                      <a:pt x="1356" y="2820"/>
                    </a:lnTo>
                    <a:lnTo>
                      <a:pt x="1356" y="2816"/>
                    </a:lnTo>
                    <a:lnTo>
                      <a:pt x="1354" y="2812"/>
                    </a:lnTo>
                    <a:lnTo>
                      <a:pt x="1352" y="2810"/>
                    </a:lnTo>
                    <a:lnTo>
                      <a:pt x="1354" y="2808"/>
                    </a:lnTo>
                    <a:lnTo>
                      <a:pt x="1360" y="2802"/>
                    </a:lnTo>
                    <a:lnTo>
                      <a:pt x="1368" y="2800"/>
                    </a:lnTo>
                    <a:lnTo>
                      <a:pt x="1370" y="2800"/>
                    </a:lnTo>
                    <a:lnTo>
                      <a:pt x="1374" y="2802"/>
                    </a:lnTo>
                    <a:lnTo>
                      <a:pt x="1382" y="2816"/>
                    </a:lnTo>
                    <a:lnTo>
                      <a:pt x="1388" y="2820"/>
                    </a:lnTo>
                    <a:lnTo>
                      <a:pt x="1390" y="2820"/>
                    </a:lnTo>
                    <a:lnTo>
                      <a:pt x="1392" y="2820"/>
                    </a:lnTo>
                    <a:lnTo>
                      <a:pt x="1394" y="2818"/>
                    </a:lnTo>
                    <a:lnTo>
                      <a:pt x="1394" y="2816"/>
                    </a:lnTo>
                    <a:lnTo>
                      <a:pt x="1394" y="2810"/>
                    </a:lnTo>
                    <a:lnTo>
                      <a:pt x="1392" y="2804"/>
                    </a:lnTo>
                    <a:lnTo>
                      <a:pt x="1392" y="2796"/>
                    </a:lnTo>
                    <a:lnTo>
                      <a:pt x="1392" y="2794"/>
                    </a:lnTo>
                    <a:lnTo>
                      <a:pt x="1390" y="2790"/>
                    </a:lnTo>
                    <a:lnTo>
                      <a:pt x="1386" y="2788"/>
                    </a:lnTo>
                    <a:lnTo>
                      <a:pt x="1378" y="2784"/>
                    </a:lnTo>
                    <a:lnTo>
                      <a:pt x="1376" y="2782"/>
                    </a:lnTo>
                    <a:lnTo>
                      <a:pt x="1374" y="2780"/>
                    </a:lnTo>
                    <a:lnTo>
                      <a:pt x="1370" y="2774"/>
                    </a:lnTo>
                    <a:lnTo>
                      <a:pt x="1366" y="2774"/>
                    </a:lnTo>
                    <a:lnTo>
                      <a:pt x="1364" y="2772"/>
                    </a:lnTo>
                    <a:lnTo>
                      <a:pt x="1360" y="2768"/>
                    </a:lnTo>
                    <a:lnTo>
                      <a:pt x="1358" y="2764"/>
                    </a:lnTo>
                    <a:lnTo>
                      <a:pt x="1352" y="2762"/>
                    </a:lnTo>
                    <a:lnTo>
                      <a:pt x="1340" y="2758"/>
                    </a:lnTo>
                    <a:lnTo>
                      <a:pt x="1332" y="2754"/>
                    </a:lnTo>
                    <a:lnTo>
                      <a:pt x="1332" y="2752"/>
                    </a:lnTo>
                    <a:lnTo>
                      <a:pt x="1338" y="2752"/>
                    </a:lnTo>
                    <a:lnTo>
                      <a:pt x="1346" y="2750"/>
                    </a:lnTo>
                    <a:lnTo>
                      <a:pt x="1348" y="2746"/>
                    </a:lnTo>
                    <a:lnTo>
                      <a:pt x="1348" y="2744"/>
                    </a:lnTo>
                    <a:lnTo>
                      <a:pt x="1346" y="2740"/>
                    </a:lnTo>
                    <a:lnTo>
                      <a:pt x="1344" y="2732"/>
                    </a:lnTo>
                    <a:lnTo>
                      <a:pt x="1344" y="2730"/>
                    </a:lnTo>
                    <a:lnTo>
                      <a:pt x="1348" y="2730"/>
                    </a:lnTo>
                    <a:lnTo>
                      <a:pt x="1352" y="2730"/>
                    </a:lnTo>
                    <a:lnTo>
                      <a:pt x="1354" y="2732"/>
                    </a:lnTo>
                    <a:lnTo>
                      <a:pt x="1354" y="2738"/>
                    </a:lnTo>
                    <a:lnTo>
                      <a:pt x="1354" y="2742"/>
                    </a:lnTo>
                    <a:lnTo>
                      <a:pt x="1356" y="2742"/>
                    </a:lnTo>
                    <a:lnTo>
                      <a:pt x="1358" y="2742"/>
                    </a:lnTo>
                    <a:lnTo>
                      <a:pt x="1360" y="2738"/>
                    </a:lnTo>
                    <a:lnTo>
                      <a:pt x="1360" y="2736"/>
                    </a:lnTo>
                    <a:lnTo>
                      <a:pt x="1360" y="2728"/>
                    </a:lnTo>
                    <a:lnTo>
                      <a:pt x="1354" y="2720"/>
                    </a:lnTo>
                    <a:lnTo>
                      <a:pt x="1348" y="2710"/>
                    </a:lnTo>
                    <a:lnTo>
                      <a:pt x="1340" y="2702"/>
                    </a:lnTo>
                    <a:lnTo>
                      <a:pt x="1334" y="2692"/>
                    </a:lnTo>
                    <a:lnTo>
                      <a:pt x="1330" y="2682"/>
                    </a:lnTo>
                    <a:lnTo>
                      <a:pt x="1330" y="2678"/>
                    </a:lnTo>
                    <a:lnTo>
                      <a:pt x="1332" y="2674"/>
                    </a:lnTo>
                    <a:lnTo>
                      <a:pt x="1336" y="2666"/>
                    </a:lnTo>
                    <a:lnTo>
                      <a:pt x="1340" y="2660"/>
                    </a:lnTo>
                    <a:lnTo>
                      <a:pt x="1344" y="2660"/>
                    </a:lnTo>
                    <a:lnTo>
                      <a:pt x="1346" y="2660"/>
                    </a:lnTo>
                    <a:lnTo>
                      <a:pt x="1346" y="2662"/>
                    </a:lnTo>
                    <a:lnTo>
                      <a:pt x="1346" y="2668"/>
                    </a:lnTo>
                    <a:lnTo>
                      <a:pt x="1346" y="2670"/>
                    </a:lnTo>
                    <a:lnTo>
                      <a:pt x="1346" y="2672"/>
                    </a:lnTo>
                    <a:lnTo>
                      <a:pt x="1352" y="2674"/>
                    </a:lnTo>
                    <a:lnTo>
                      <a:pt x="1358" y="2676"/>
                    </a:lnTo>
                    <a:lnTo>
                      <a:pt x="1360" y="2680"/>
                    </a:lnTo>
                    <a:lnTo>
                      <a:pt x="1362" y="2686"/>
                    </a:lnTo>
                    <a:lnTo>
                      <a:pt x="1362" y="2690"/>
                    </a:lnTo>
                    <a:lnTo>
                      <a:pt x="1366" y="2694"/>
                    </a:lnTo>
                    <a:lnTo>
                      <a:pt x="1372" y="2696"/>
                    </a:lnTo>
                    <a:lnTo>
                      <a:pt x="1374" y="2696"/>
                    </a:lnTo>
                    <a:lnTo>
                      <a:pt x="1376" y="2696"/>
                    </a:lnTo>
                    <a:lnTo>
                      <a:pt x="1376" y="2694"/>
                    </a:lnTo>
                    <a:lnTo>
                      <a:pt x="1374" y="2690"/>
                    </a:lnTo>
                    <a:lnTo>
                      <a:pt x="1368" y="2684"/>
                    </a:lnTo>
                    <a:lnTo>
                      <a:pt x="1368" y="2678"/>
                    </a:lnTo>
                    <a:lnTo>
                      <a:pt x="1370" y="2678"/>
                    </a:lnTo>
                    <a:lnTo>
                      <a:pt x="1378" y="2684"/>
                    </a:lnTo>
                    <a:lnTo>
                      <a:pt x="1386" y="2692"/>
                    </a:lnTo>
                    <a:lnTo>
                      <a:pt x="1390" y="2694"/>
                    </a:lnTo>
                    <a:lnTo>
                      <a:pt x="1392" y="2694"/>
                    </a:lnTo>
                    <a:lnTo>
                      <a:pt x="1390" y="2692"/>
                    </a:lnTo>
                    <a:lnTo>
                      <a:pt x="1386" y="2684"/>
                    </a:lnTo>
                    <a:lnTo>
                      <a:pt x="1380" y="2676"/>
                    </a:lnTo>
                    <a:lnTo>
                      <a:pt x="1380" y="2674"/>
                    </a:lnTo>
                    <a:lnTo>
                      <a:pt x="1382" y="2674"/>
                    </a:lnTo>
                    <a:lnTo>
                      <a:pt x="1394" y="2680"/>
                    </a:lnTo>
                    <a:lnTo>
                      <a:pt x="1402" y="2684"/>
                    </a:lnTo>
                    <a:lnTo>
                      <a:pt x="1406" y="2684"/>
                    </a:lnTo>
                    <a:lnTo>
                      <a:pt x="1404" y="2682"/>
                    </a:lnTo>
                    <a:lnTo>
                      <a:pt x="1400" y="2676"/>
                    </a:lnTo>
                    <a:lnTo>
                      <a:pt x="1392" y="2670"/>
                    </a:lnTo>
                    <a:lnTo>
                      <a:pt x="1386" y="2668"/>
                    </a:lnTo>
                    <a:lnTo>
                      <a:pt x="1384" y="2668"/>
                    </a:lnTo>
                    <a:lnTo>
                      <a:pt x="1384" y="2664"/>
                    </a:lnTo>
                    <a:lnTo>
                      <a:pt x="1384" y="2662"/>
                    </a:lnTo>
                    <a:lnTo>
                      <a:pt x="1384" y="2660"/>
                    </a:lnTo>
                    <a:lnTo>
                      <a:pt x="1380" y="2656"/>
                    </a:lnTo>
                    <a:lnTo>
                      <a:pt x="1380" y="2654"/>
                    </a:lnTo>
                    <a:lnTo>
                      <a:pt x="1388" y="2652"/>
                    </a:lnTo>
                    <a:lnTo>
                      <a:pt x="1392" y="2652"/>
                    </a:lnTo>
                    <a:lnTo>
                      <a:pt x="1398" y="2650"/>
                    </a:lnTo>
                    <a:lnTo>
                      <a:pt x="1404" y="2644"/>
                    </a:lnTo>
                    <a:lnTo>
                      <a:pt x="1408" y="2642"/>
                    </a:lnTo>
                    <a:lnTo>
                      <a:pt x="1412" y="2640"/>
                    </a:lnTo>
                    <a:lnTo>
                      <a:pt x="1418" y="2642"/>
                    </a:lnTo>
                    <a:lnTo>
                      <a:pt x="1422" y="2644"/>
                    </a:lnTo>
                    <a:lnTo>
                      <a:pt x="1426" y="2644"/>
                    </a:lnTo>
                    <a:lnTo>
                      <a:pt x="1430" y="2640"/>
                    </a:lnTo>
                    <a:lnTo>
                      <a:pt x="1436" y="2638"/>
                    </a:lnTo>
                    <a:lnTo>
                      <a:pt x="1438" y="2638"/>
                    </a:lnTo>
                    <a:lnTo>
                      <a:pt x="1444" y="2640"/>
                    </a:lnTo>
                    <a:lnTo>
                      <a:pt x="1450" y="2644"/>
                    </a:lnTo>
                    <a:lnTo>
                      <a:pt x="1454" y="2644"/>
                    </a:lnTo>
                    <a:lnTo>
                      <a:pt x="1464" y="2644"/>
                    </a:lnTo>
                    <a:lnTo>
                      <a:pt x="1470" y="2644"/>
                    </a:lnTo>
                    <a:lnTo>
                      <a:pt x="1472" y="2646"/>
                    </a:lnTo>
                    <a:lnTo>
                      <a:pt x="1472" y="2650"/>
                    </a:lnTo>
                    <a:lnTo>
                      <a:pt x="1474" y="2656"/>
                    </a:lnTo>
                    <a:lnTo>
                      <a:pt x="1480" y="2660"/>
                    </a:lnTo>
                    <a:lnTo>
                      <a:pt x="1486" y="2660"/>
                    </a:lnTo>
                    <a:lnTo>
                      <a:pt x="1492" y="2658"/>
                    </a:lnTo>
                    <a:lnTo>
                      <a:pt x="1504" y="2656"/>
                    </a:lnTo>
                    <a:lnTo>
                      <a:pt x="1504" y="2658"/>
                    </a:lnTo>
                    <a:lnTo>
                      <a:pt x="1502" y="2660"/>
                    </a:lnTo>
                    <a:lnTo>
                      <a:pt x="1484" y="2668"/>
                    </a:lnTo>
                    <a:lnTo>
                      <a:pt x="1480" y="2672"/>
                    </a:lnTo>
                    <a:lnTo>
                      <a:pt x="1478" y="2680"/>
                    </a:lnTo>
                    <a:lnTo>
                      <a:pt x="1480" y="2684"/>
                    </a:lnTo>
                    <a:lnTo>
                      <a:pt x="1482" y="2682"/>
                    </a:lnTo>
                    <a:lnTo>
                      <a:pt x="1494" y="2670"/>
                    </a:lnTo>
                    <a:lnTo>
                      <a:pt x="1506" y="2662"/>
                    </a:lnTo>
                    <a:lnTo>
                      <a:pt x="1514" y="2658"/>
                    </a:lnTo>
                    <a:lnTo>
                      <a:pt x="1522" y="2654"/>
                    </a:lnTo>
                    <a:lnTo>
                      <a:pt x="1528" y="2646"/>
                    </a:lnTo>
                    <a:lnTo>
                      <a:pt x="1532" y="2638"/>
                    </a:lnTo>
                    <a:lnTo>
                      <a:pt x="1536" y="2636"/>
                    </a:lnTo>
                    <a:lnTo>
                      <a:pt x="1538" y="2634"/>
                    </a:lnTo>
                    <a:lnTo>
                      <a:pt x="1540" y="2636"/>
                    </a:lnTo>
                    <a:lnTo>
                      <a:pt x="1544" y="2640"/>
                    </a:lnTo>
                    <a:lnTo>
                      <a:pt x="1548" y="2640"/>
                    </a:lnTo>
                    <a:lnTo>
                      <a:pt x="1552" y="2638"/>
                    </a:lnTo>
                    <a:lnTo>
                      <a:pt x="1556" y="2634"/>
                    </a:lnTo>
                    <a:lnTo>
                      <a:pt x="1562" y="2634"/>
                    </a:lnTo>
                    <a:lnTo>
                      <a:pt x="1572" y="2638"/>
                    </a:lnTo>
                    <a:lnTo>
                      <a:pt x="1580" y="2638"/>
                    </a:lnTo>
                    <a:lnTo>
                      <a:pt x="1586" y="2638"/>
                    </a:lnTo>
                    <a:lnTo>
                      <a:pt x="1590" y="2634"/>
                    </a:lnTo>
                    <a:lnTo>
                      <a:pt x="1594" y="2626"/>
                    </a:lnTo>
                    <a:lnTo>
                      <a:pt x="1594" y="2624"/>
                    </a:lnTo>
                    <a:lnTo>
                      <a:pt x="1592" y="2624"/>
                    </a:lnTo>
                    <a:lnTo>
                      <a:pt x="1584" y="2622"/>
                    </a:lnTo>
                    <a:lnTo>
                      <a:pt x="1572" y="2616"/>
                    </a:lnTo>
                    <a:lnTo>
                      <a:pt x="1560" y="2608"/>
                    </a:lnTo>
                    <a:lnTo>
                      <a:pt x="1554" y="2600"/>
                    </a:lnTo>
                    <a:lnTo>
                      <a:pt x="1552" y="2592"/>
                    </a:lnTo>
                    <a:lnTo>
                      <a:pt x="1552" y="2582"/>
                    </a:lnTo>
                    <a:lnTo>
                      <a:pt x="1552" y="2578"/>
                    </a:lnTo>
                    <a:lnTo>
                      <a:pt x="1550" y="2576"/>
                    </a:lnTo>
                    <a:lnTo>
                      <a:pt x="1546" y="2572"/>
                    </a:lnTo>
                    <a:lnTo>
                      <a:pt x="1542" y="2570"/>
                    </a:lnTo>
                    <a:lnTo>
                      <a:pt x="1540" y="2568"/>
                    </a:lnTo>
                    <a:lnTo>
                      <a:pt x="1540" y="2564"/>
                    </a:lnTo>
                    <a:lnTo>
                      <a:pt x="1540" y="2560"/>
                    </a:lnTo>
                    <a:lnTo>
                      <a:pt x="1538" y="2558"/>
                    </a:lnTo>
                    <a:lnTo>
                      <a:pt x="1530" y="2556"/>
                    </a:lnTo>
                    <a:lnTo>
                      <a:pt x="1528" y="2556"/>
                    </a:lnTo>
                    <a:lnTo>
                      <a:pt x="1528" y="2554"/>
                    </a:lnTo>
                    <a:lnTo>
                      <a:pt x="1536" y="2546"/>
                    </a:lnTo>
                    <a:lnTo>
                      <a:pt x="1542" y="2542"/>
                    </a:lnTo>
                    <a:lnTo>
                      <a:pt x="1546" y="2538"/>
                    </a:lnTo>
                    <a:lnTo>
                      <a:pt x="1546" y="2534"/>
                    </a:lnTo>
                    <a:lnTo>
                      <a:pt x="1546" y="2530"/>
                    </a:lnTo>
                    <a:lnTo>
                      <a:pt x="1546" y="2522"/>
                    </a:lnTo>
                    <a:lnTo>
                      <a:pt x="1546" y="2516"/>
                    </a:lnTo>
                    <a:lnTo>
                      <a:pt x="1550" y="2510"/>
                    </a:lnTo>
                    <a:lnTo>
                      <a:pt x="1554" y="2504"/>
                    </a:lnTo>
                    <a:lnTo>
                      <a:pt x="1560" y="2502"/>
                    </a:lnTo>
                    <a:lnTo>
                      <a:pt x="1566" y="2504"/>
                    </a:lnTo>
                    <a:lnTo>
                      <a:pt x="1570" y="2504"/>
                    </a:lnTo>
                    <a:lnTo>
                      <a:pt x="1572" y="2502"/>
                    </a:lnTo>
                    <a:lnTo>
                      <a:pt x="1574" y="2496"/>
                    </a:lnTo>
                    <a:lnTo>
                      <a:pt x="1574" y="2484"/>
                    </a:lnTo>
                    <a:lnTo>
                      <a:pt x="1578" y="2458"/>
                    </a:lnTo>
                    <a:lnTo>
                      <a:pt x="1580" y="2448"/>
                    </a:lnTo>
                    <a:lnTo>
                      <a:pt x="1584" y="2440"/>
                    </a:lnTo>
                    <a:lnTo>
                      <a:pt x="1588" y="2434"/>
                    </a:lnTo>
                    <a:lnTo>
                      <a:pt x="1594" y="2428"/>
                    </a:lnTo>
                    <a:lnTo>
                      <a:pt x="1600" y="2426"/>
                    </a:lnTo>
                    <a:lnTo>
                      <a:pt x="1608" y="2422"/>
                    </a:lnTo>
                    <a:lnTo>
                      <a:pt x="1614" y="2418"/>
                    </a:lnTo>
                    <a:lnTo>
                      <a:pt x="1618" y="2414"/>
                    </a:lnTo>
                    <a:lnTo>
                      <a:pt x="1620" y="2406"/>
                    </a:lnTo>
                    <a:lnTo>
                      <a:pt x="1620" y="2398"/>
                    </a:lnTo>
                    <a:lnTo>
                      <a:pt x="1620" y="2390"/>
                    </a:lnTo>
                    <a:lnTo>
                      <a:pt x="1620" y="2386"/>
                    </a:lnTo>
                    <a:lnTo>
                      <a:pt x="1618" y="2384"/>
                    </a:lnTo>
                    <a:lnTo>
                      <a:pt x="1616" y="2378"/>
                    </a:lnTo>
                    <a:lnTo>
                      <a:pt x="1616" y="2372"/>
                    </a:lnTo>
                    <a:lnTo>
                      <a:pt x="1620" y="2372"/>
                    </a:lnTo>
                    <a:lnTo>
                      <a:pt x="1626" y="2372"/>
                    </a:lnTo>
                    <a:lnTo>
                      <a:pt x="1630" y="2370"/>
                    </a:lnTo>
                    <a:lnTo>
                      <a:pt x="1636" y="2366"/>
                    </a:lnTo>
                    <a:lnTo>
                      <a:pt x="1646" y="2358"/>
                    </a:lnTo>
                    <a:lnTo>
                      <a:pt x="1654" y="2348"/>
                    </a:lnTo>
                    <a:lnTo>
                      <a:pt x="1660" y="2340"/>
                    </a:lnTo>
                    <a:lnTo>
                      <a:pt x="1662" y="2330"/>
                    </a:lnTo>
                    <a:lnTo>
                      <a:pt x="1662" y="2326"/>
                    </a:lnTo>
                    <a:lnTo>
                      <a:pt x="1664" y="2324"/>
                    </a:lnTo>
                    <a:lnTo>
                      <a:pt x="1668" y="2322"/>
                    </a:lnTo>
                    <a:lnTo>
                      <a:pt x="1672" y="2320"/>
                    </a:lnTo>
                    <a:lnTo>
                      <a:pt x="1682" y="2320"/>
                    </a:lnTo>
                    <a:lnTo>
                      <a:pt x="1690" y="2318"/>
                    </a:lnTo>
                    <a:lnTo>
                      <a:pt x="1698" y="2318"/>
                    </a:lnTo>
                    <a:lnTo>
                      <a:pt x="1702" y="2318"/>
                    </a:lnTo>
                    <a:lnTo>
                      <a:pt x="1704" y="2318"/>
                    </a:lnTo>
                    <a:lnTo>
                      <a:pt x="1706" y="2312"/>
                    </a:lnTo>
                    <a:lnTo>
                      <a:pt x="1708" y="2296"/>
                    </a:lnTo>
                    <a:lnTo>
                      <a:pt x="1708" y="2294"/>
                    </a:lnTo>
                    <a:lnTo>
                      <a:pt x="1710" y="2298"/>
                    </a:lnTo>
                    <a:lnTo>
                      <a:pt x="1712" y="2308"/>
                    </a:lnTo>
                    <a:lnTo>
                      <a:pt x="1712" y="2316"/>
                    </a:lnTo>
                    <a:lnTo>
                      <a:pt x="1714" y="2320"/>
                    </a:lnTo>
                    <a:lnTo>
                      <a:pt x="1718" y="2322"/>
                    </a:lnTo>
                    <a:lnTo>
                      <a:pt x="1724" y="2322"/>
                    </a:lnTo>
                    <a:lnTo>
                      <a:pt x="1732" y="2322"/>
                    </a:lnTo>
                    <a:lnTo>
                      <a:pt x="1726" y="2324"/>
                    </a:lnTo>
                    <a:lnTo>
                      <a:pt x="1720" y="2326"/>
                    </a:lnTo>
                    <a:lnTo>
                      <a:pt x="1708" y="2324"/>
                    </a:lnTo>
                    <a:lnTo>
                      <a:pt x="1700" y="2322"/>
                    </a:lnTo>
                    <a:lnTo>
                      <a:pt x="1696" y="2322"/>
                    </a:lnTo>
                    <a:lnTo>
                      <a:pt x="1696" y="2324"/>
                    </a:lnTo>
                    <a:lnTo>
                      <a:pt x="1696" y="2326"/>
                    </a:lnTo>
                    <a:lnTo>
                      <a:pt x="1700" y="2330"/>
                    </a:lnTo>
                    <a:lnTo>
                      <a:pt x="1708" y="2336"/>
                    </a:lnTo>
                    <a:lnTo>
                      <a:pt x="1718" y="2342"/>
                    </a:lnTo>
                    <a:lnTo>
                      <a:pt x="1722" y="2346"/>
                    </a:lnTo>
                    <a:lnTo>
                      <a:pt x="1722" y="2348"/>
                    </a:lnTo>
                    <a:lnTo>
                      <a:pt x="1724" y="2350"/>
                    </a:lnTo>
                    <a:lnTo>
                      <a:pt x="1728" y="2350"/>
                    </a:lnTo>
                    <a:lnTo>
                      <a:pt x="1740" y="2350"/>
                    </a:lnTo>
                    <a:lnTo>
                      <a:pt x="1754" y="2348"/>
                    </a:lnTo>
                    <a:lnTo>
                      <a:pt x="1760" y="2348"/>
                    </a:lnTo>
                    <a:lnTo>
                      <a:pt x="1764" y="2350"/>
                    </a:lnTo>
                    <a:lnTo>
                      <a:pt x="1766" y="2352"/>
                    </a:lnTo>
                    <a:lnTo>
                      <a:pt x="1768" y="2352"/>
                    </a:lnTo>
                    <a:lnTo>
                      <a:pt x="1772" y="2350"/>
                    </a:lnTo>
                    <a:lnTo>
                      <a:pt x="1776" y="2350"/>
                    </a:lnTo>
                    <a:lnTo>
                      <a:pt x="1780" y="2356"/>
                    </a:lnTo>
                    <a:lnTo>
                      <a:pt x="1780" y="2358"/>
                    </a:lnTo>
                    <a:lnTo>
                      <a:pt x="1778" y="2360"/>
                    </a:lnTo>
                    <a:lnTo>
                      <a:pt x="1774" y="2364"/>
                    </a:lnTo>
                    <a:lnTo>
                      <a:pt x="1756" y="2374"/>
                    </a:lnTo>
                    <a:lnTo>
                      <a:pt x="1738" y="2382"/>
                    </a:lnTo>
                    <a:lnTo>
                      <a:pt x="1732" y="2386"/>
                    </a:lnTo>
                    <a:lnTo>
                      <a:pt x="1732" y="2388"/>
                    </a:lnTo>
                    <a:lnTo>
                      <a:pt x="1732" y="2390"/>
                    </a:lnTo>
                    <a:lnTo>
                      <a:pt x="1736" y="2392"/>
                    </a:lnTo>
                    <a:lnTo>
                      <a:pt x="1742" y="2394"/>
                    </a:lnTo>
                    <a:lnTo>
                      <a:pt x="1756" y="2398"/>
                    </a:lnTo>
                    <a:lnTo>
                      <a:pt x="1762" y="2400"/>
                    </a:lnTo>
                    <a:lnTo>
                      <a:pt x="1768" y="2404"/>
                    </a:lnTo>
                    <a:lnTo>
                      <a:pt x="1772" y="2410"/>
                    </a:lnTo>
                    <a:lnTo>
                      <a:pt x="1774" y="2416"/>
                    </a:lnTo>
                    <a:lnTo>
                      <a:pt x="1774" y="2424"/>
                    </a:lnTo>
                    <a:lnTo>
                      <a:pt x="1772" y="2428"/>
                    </a:lnTo>
                    <a:lnTo>
                      <a:pt x="1768" y="2432"/>
                    </a:lnTo>
                    <a:lnTo>
                      <a:pt x="1766" y="2434"/>
                    </a:lnTo>
                    <a:lnTo>
                      <a:pt x="1768" y="2434"/>
                    </a:lnTo>
                    <a:lnTo>
                      <a:pt x="1774" y="2442"/>
                    </a:lnTo>
                    <a:lnTo>
                      <a:pt x="1780" y="2446"/>
                    </a:lnTo>
                    <a:lnTo>
                      <a:pt x="1788" y="2448"/>
                    </a:lnTo>
                    <a:lnTo>
                      <a:pt x="1794" y="2446"/>
                    </a:lnTo>
                    <a:lnTo>
                      <a:pt x="1800" y="2442"/>
                    </a:lnTo>
                    <a:lnTo>
                      <a:pt x="1810" y="2432"/>
                    </a:lnTo>
                    <a:lnTo>
                      <a:pt x="1822" y="2422"/>
                    </a:lnTo>
                    <a:lnTo>
                      <a:pt x="1826" y="2420"/>
                    </a:lnTo>
                    <a:lnTo>
                      <a:pt x="1830" y="2420"/>
                    </a:lnTo>
                    <a:lnTo>
                      <a:pt x="1832" y="2422"/>
                    </a:lnTo>
                    <a:lnTo>
                      <a:pt x="1836" y="2422"/>
                    </a:lnTo>
                    <a:lnTo>
                      <a:pt x="1844" y="2416"/>
                    </a:lnTo>
                    <a:lnTo>
                      <a:pt x="1850" y="2410"/>
                    </a:lnTo>
                    <a:lnTo>
                      <a:pt x="1856" y="2408"/>
                    </a:lnTo>
                    <a:lnTo>
                      <a:pt x="1860" y="2408"/>
                    </a:lnTo>
                    <a:lnTo>
                      <a:pt x="1862" y="2408"/>
                    </a:lnTo>
                    <a:lnTo>
                      <a:pt x="1870" y="2412"/>
                    </a:lnTo>
                    <a:lnTo>
                      <a:pt x="1876" y="2414"/>
                    </a:lnTo>
                    <a:lnTo>
                      <a:pt x="1882" y="2412"/>
                    </a:lnTo>
                    <a:lnTo>
                      <a:pt x="1892" y="2408"/>
                    </a:lnTo>
                    <a:lnTo>
                      <a:pt x="1894" y="2406"/>
                    </a:lnTo>
                    <a:lnTo>
                      <a:pt x="1892" y="2404"/>
                    </a:lnTo>
                    <a:lnTo>
                      <a:pt x="1892" y="2400"/>
                    </a:lnTo>
                    <a:lnTo>
                      <a:pt x="1892" y="2398"/>
                    </a:lnTo>
                    <a:lnTo>
                      <a:pt x="1894" y="2394"/>
                    </a:lnTo>
                    <a:lnTo>
                      <a:pt x="1896" y="2390"/>
                    </a:lnTo>
                    <a:lnTo>
                      <a:pt x="1894" y="2386"/>
                    </a:lnTo>
                    <a:lnTo>
                      <a:pt x="1886" y="2384"/>
                    </a:lnTo>
                    <a:lnTo>
                      <a:pt x="1874" y="2386"/>
                    </a:lnTo>
                    <a:lnTo>
                      <a:pt x="1868" y="2388"/>
                    </a:lnTo>
                    <a:lnTo>
                      <a:pt x="1862" y="2392"/>
                    </a:lnTo>
                    <a:lnTo>
                      <a:pt x="1854" y="2396"/>
                    </a:lnTo>
                    <a:lnTo>
                      <a:pt x="1852" y="2396"/>
                    </a:lnTo>
                    <a:lnTo>
                      <a:pt x="1848" y="2392"/>
                    </a:lnTo>
                    <a:lnTo>
                      <a:pt x="1842" y="2386"/>
                    </a:lnTo>
                    <a:lnTo>
                      <a:pt x="1836" y="2376"/>
                    </a:lnTo>
                    <a:lnTo>
                      <a:pt x="1826" y="2358"/>
                    </a:lnTo>
                    <a:lnTo>
                      <a:pt x="1824" y="2348"/>
                    </a:lnTo>
                    <a:lnTo>
                      <a:pt x="1824" y="2346"/>
                    </a:lnTo>
                    <a:lnTo>
                      <a:pt x="1824" y="2344"/>
                    </a:lnTo>
                    <a:lnTo>
                      <a:pt x="1830" y="2342"/>
                    </a:lnTo>
                    <a:lnTo>
                      <a:pt x="1836" y="2340"/>
                    </a:lnTo>
                    <a:lnTo>
                      <a:pt x="1838" y="2340"/>
                    </a:lnTo>
                    <a:lnTo>
                      <a:pt x="1838" y="2342"/>
                    </a:lnTo>
                    <a:lnTo>
                      <a:pt x="1838" y="2344"/>
                    </a:lnTo>
                    <a:lnTo>
                      <a:pt x="1838" y="2348"/>
                    </a:lnTo>
                    <a:lnTo>
                      <a:pt x="1842" y="2346"/>
                    </a:lnTo>
                    <a:lnTo>
                      <a:pt x="1852" y="2336"/>
                    </a:lnTo>
                    <a:lnTo>
                      <a:pt x="1862" y="2326"/>
                    </a:lnTo>
                    <a:lnTo>
                      <a:pt x="1872" y="2318"/>
                    </a:lnTo>
                    <a:lnTo>
                      <a:pt x="1876" y="2316"/>
                    </a:lnTo>
                    <a:lnTo>
                      <a:pt x="1880" y="2316"/>
                    </a:lnTo>
                    <a:lnTo>
                      <a:pt x="1886" y="2318"/>
                    </a:lnTo>
                    <a:lnTo>
                      <a:pt x="1896" y="2316"/>
                    </a:lnTo>
                    <a:lnTo>
                      <a:pt x="1906" y="2312"/>
                    </a:lnTo>
                    <a:lnTo>
                      <a:pt x="1916" y="2308"/>
                    </a:lnTo>
                    <a:lnTo>
                      <a:pt x="1934" y="2296"/>
                    </a:lnTo>
                    <a:lnTo>
                      <a:pt x="1944" y="2292"/>
                    </a:lnTo>
                    <a:lnTo>
                      <a:pt x="1952" y="2292"/>
                    </a:lnTo>
                    <a:lnTo>
                      <a:pt x="1956" y="2294"/>
                    </a:lnTo>
                    <a:lnTo>
                      <a:pt x="1960" y="2296"/>
                    </a:lnTo>
                    <a:lnTo>
                      <a:pt x="1964" y="2294"/>
                    </a:lnTo>
                    <a:lnTo>
                      <a:pt x="1972" y="2288"/>
                    </a:lnTo>
                    <a:lnTo>
                      <a:pt x="1976" y="2288"/>
                    </a:lnTo>
                    <a:lnTo>
                      <a:pt x="1980" y="2290"/>
                    </a:lnTo>
                    <a:lnTo>
                      <a:pt x="1986" y="2288"/>
                    </a:lnTo>
                    <a:lnTo>
                      <a:pt x="1992" y="2286"/>
                    </a:lnTo>
                    <a:lnTo>
                      <a:pt x="1998" y="2284"/>
                    </a:lnTo>
                    <a:lnTo>
                      <a:pt x="2002" y="2284"/>
                    </a:lnTo>
                    <a:lnTo>
                      <a:pt x="2004" y="2286"/>
                    </a:lnTo>
                    <a:lnTo>
                      <a:pt x="2004" y="2288"/>
                    </a:lnTo>
                    <a:lnTo>
                      <a:pt x="2004" y="2290"/>
                    </a:lnTo>
                    <a:lnTo>
                      <a:pt x="2000" y="2294"/>
                    </a:lnTo>
                    <a:lnTo>
                      <a:pt x="1996" y="2298"/>
                    </a:lnTo>
                    <a:lnTo>
                      <a:pt x="1988" y="2300"/>
                    </a:lnTo>
                    <a:lnTo>
                      <a:pt x="1980" y="2302"/>
                    </a:lnTo>
                    <a:lnTo>
                      <a:pt x="1974" y="2306"/>
                    </a:lnTo>
                    <a:lnTo>
                      <a:pt x="1968" y="2312"/>
                    </a:lnTo>
                    <a:lnTo>
                      <a:pt x="1962" y="2316"/>
                    </a:lnTo>
                    <a:lnTo>
                      <a:pt x="1948" y="2318"/>
                    </a:lnTo>
                    <a:lnTo>
                      <a:pt x="1944" y="2318"/>
                    </a:lnTo>
                    <a:lnTo>
                      <a:pt x="1944" y="2320"/>
                    </a:lnTo>
                    <a:lnTo>
                      <a:pt x="1944" y="2324"/>
                    </a:lnTo>
                    <a:lnTo>
                      <a:pt x="1946" y="2326"/>
                    </a:lnTo>
                    <a:lnTo>
                      <a:pt x="1952" y="2332"/>
                    </a:lnTo>
                    <a:lnTo>
                      <a:pt x="1956" y="2334"/>
                    </a:lnTo>
                    <a:lnTo>
                      <a:pt x="1958" y="2334"/>
                    </a:lnTo>
                    <a:lnTo>
                      <a:pt x="1962" y="2334"/>
                    </a:lnTo>
                    <a:lnTo>
                      <a:pt x="1968" y="2338"/>
                    </a:lnTo>
                    <a:lnTo>
                      <a:pt x="1974" y="2344"/>
                    </a:lnTo>
                    <a:lnTo>
                      <a:pt x="1978" y="2352"/>
                    </a:lnTo>
                    <a:lnTo>
                      <a:pt x="1976" y="2354"/>
                    </a:lnTo>
                    <a:lnTo>
                      <a:pt x="1972" y="2352"/>
                    </a:lnTo>
                    <a:lnTo>
                      <a:pt x="1964" y="2350"/>
                    </a:lnTo>
                    <a:lnTo>
                      <a:pt x="1958" y="2350"/>
                    </a:lnTo>
                    <a:lnTo>
                      <a:pt x="1952" y="2354"/>
                    </a:lnTo>
                    <a:lnTo>
                      <a:pt x="1948" y="2362"/>
                    </a:lnTo>
                    <a:lnTo>
                      <a:pt x="1942" y="2376"/>
                    </a:lnTo>
                    <a:lnTo>
                      <a:pt x="1940" y="2382"/>
                    </a:lnTo>
                    <a:lnTo>
                      <a:pt x="1942" y="2388"/>
                    </a:lnTo>
                    <a:lnTo>
                      <a:pt x="1944" y="2396"/>
                    </a:lnTo>
                    <a:lnTo>
                      <a:pt x="1942" y="2396"/>
                    </a:lnTo>
                    <a:lnTo>
                      <a:pt x="1940" y="2396"/>
                    </a:lnTo>
                    <a:lnTo>
                      <a:pt x="1934" y="2394"/>
                    </a:lnTo>
                    <a:lnTo>
                      <a:pt x="1930" y="2392"/>
                    </a:lnTo>
                    <a:lnTo>
                      <a:pt x="1926" y="2394"/>
                    </a:lnTo>
                    <a:lnTo>
                      <a:pt x="1922" y="2394"/>
                    </a:lnTo>
                    <a:lnTo>
                      <a:pt x="1918" y="2392"/>
                    </a:lnTo>
                    <a:lnTo>
                      <a:pt x="1910" y="2390"/>
                    </a:lnTo>
                    <a:lnTo>
                      <a:pt x="1904" y="2388"/>
                    </a:lnTo>
                    <a:lnTo>
                      <a:pt x="1904" y="2390"/>
                    </a:lnTo>
                    <a:lnTo>
                      <a:pt x="1904" y="2392"/>
                    </a:lnTo>
                    <a:lnTo>
                      <a:pt x="1904" y="2396"/>
                    </a:lnTo>
                    <a:lnTo>
                      <a:pt x="1904" y="2398"/>
                    </a:lnTo>
                    <a:lnTo>
                      <a:pt x="1900" y="2402"/>
                    </a:lnTo>
                    <a:lnTo>
                      <a:pt x="1900" y="2404"/>
                    </a:lnTo>
                    <a:lnTo>
                      <a:pt x="1912" y="2410"/>
                    </a:lnTo>
                    <a:lnTo>
                      <a:pt x="1918" y="2414"/>
                    </a:lnTo>
                    <a:lnTo>
                      <a:pt x="1924" y="2418"/>
                    </a:lnTo>
                    <a:lnTo>
                      <a:pt x="1928" y="2424"/>
                    </a:lnTo>
                    <a:lnTo>
                      <a:pt x="1934" y="2430"/>
                    </a:lnTo>
                    <a:lnTo>
                      <a:pt x="1938" y="2432"/>
                    </a:lnTo>
                    <a:lnTo>
                      <a:pt x="1944" y="2434"/>
                    </a:lnTo>
                    <a:lnTo>
                      <a:pt x="1950" y="2434"/>
                    </a:lnTo>
                    <a:lnTo>
                      <a:pt x="1954" y="2436"/>
                    </a:lnTo>
                    <a:lnTo>
                      <a:pt x="1956" y="2440"/>
                    </a:lnTo>
                    <a:lnTo>
                      <a:pt x="1958" y="2442"/>
                    </a:lnTo>
                    <a:lnTo>
                      <a:pt x="1960" y="2446"/>
                    </a:lnTo>
                    <a:lnTo>
                      <a:pt x="1966" y="2448"/>
                    </a:lnTo>
                    <a:lnTo>
                      <a:pt x="1976" y="2452"/>
                    </a:lnTo>
                    <a:lnTo>
                      <a:pt x="1990" y="2456"/>
                    </a:lnTo>
                    <a:lnTo>
                      <a:pt x="1994" y="2458"/>
                    </a:lnTo>
                    <a:lnTo>
                      <a:pt x="1996" y="2462"/>
                    </a:lnTo>
                    <a:lnTo>
                      <a:pt x="2006" y="2474"/>
                    </a:lnTo>
                    <a:lnTo>
                      <a:pt x="2034" y="2504"/>
                    </a:lnTo>
                    <a:lnTo>
                      <a:pt x="2042" y="2510"/>
                    </a:lnTo>
                    <a:lnTo>
                      <a:pt x="2050" y="2516"/>
                    </a:lnTo>
                    <a:lnTo>
                      <a:pt x="2062" y="2520"/>
                    </a:lnTo>
                    <a:lnTo>
                      <a:pt x="2070" y="2522"/>
                    </a:lnTo>
                    <a:lnTo>
                      <a:pt x="2074" y="2526"/>
                    </a:lnTo>
                    <a:lnTo>
                      <a:pt x="2076" y="2530"/>
                    </a:lnTo>
                    <a:lnTo>
                      <a:pt x="2080" y="2534"/>
                    </a:lnTo>
                    <a:lnTo>
                      <a:pt x="2082" y="2538"/>
                    </a:lnTo>
                    <a:lnTo>
                      <a:pt x="2088" y="2538"/>
                    </a:lnTo>
                    <a:lnTo>
                      <a:pt x="2092" y="2540"/>
                    </a:lnTo>
                    <a:lnTo>
                      <a:pt x="2094" y="2544"/>
                    </a:lnTo>
                    <a:lnTo>
                      <a:pt x="2098" y="2552"/>
                    </a:lnTo>
                    <a:lnTo>
                      <a:pt x="2100" y="2562"/>
                    </a:lnTo>
                    <a:lnTo>
                      <a:pt x="2104" y="2584"/>
                    </a:lnTo>
                    <a:lnTo>
                      <a:pt x="2104" y="2598"/>
                    </a:lnTo>
                    <a:lnTo>
                      <a:pt x="2100" y="2606"/>
                    </a:lnTo>
                    <a:lnTo>
                      <a:pt x="2096" y="2610"/>
                    </a:lnTo>
                    <a:lnTo>
                      <a:pt x="2086" y="2618"/>
                    </a:lnTo>
                    <a:lnTo>
                      <a:pt x="2066" y="2630"/>
                    </a:lnTo>
                    <a:lnTo>
                      <a:pt x="2054" y="2636"/>
                    </a:lnTo>
                    <a:lnTo>
                      <a:pt x="2044" y="2640"/>
                    </a:lnTo>
                    <a:lnTo>
                      <a:pt x="2032" y="2638"/>
                    </a:lnTo>
                    <a:lnTo>
                      <a:pt x="2028" y="2638"/>
                    </a:lnTo>
                    <a:lnTo>
                      <a:pt x="2024" y="2634"/>
                    </a:lnTo>
                    <a:lnTo>
                      <a:pt x="2014" y="2630"/>
                    </a:lnTo>
                    <a:lnTo>
                      <a:pt x="2006" y="2630"/>
                    </a:lnTo>
                    <a:lnTo>
                      <a:pt x="1996" y="2632"/>
                    </a:lnTo>
                    <a:lnTo>
                      <a:pt x="1986" y="2636"/>
                    </a:lnTo>
                    <a:lnTo>
                      <a:pt x="1976" y="2640"/>
                    </a:lnTo>
                    <a:lnTo>
                      <a:pt x="1968" y="2642"/>
                    </a:lnTo>
                    <a:lnTo>
                      <a:pt x="1960" y="2642"/>
                    </a:lnTo>
                    <a:lnTo>
                      <a:pt x="1956" y="2640"/>
                    </a:lnTo>
                    <a:lnTo>
                      <a:pt x="1952" y="2636"/>
                    </a:lnTo>
                    <a:lnTo>
                      <a:pt x="1942" y="2630"/>
                    </a:lnTo>
                    <a:lnTo>
                      <a:pt x="1940" y="2630"/>
                    </a:lnTo>
                    <a:lnTo>
                      <a:pt x="1938" y="2632"/>
                    </a:lnTo>
                    <a:lnTo>
                      <a:pt x="1936" y="2634"/>
                    </a:lnTo>
                    <a:lnTo>
                      <a:pt x="1932" y="2634"/>
                    </a:lnTo>
                    <a:lnTo>
                      <a:pt x="1924" y="2630"/>
                    </a:lnTo>
                    <a:lnTo>
                      <a:pt x="1918" y="2626"/>
                    </a:lnTo>
                    <a:lnTo>
                      <a:pt x="1914" y="2622"/>
                    </a:lnTo>
                    <a:lnTo>
                      <a:pt x="1910" y="2618"/>
                    </a:lnTo>
                    <a:lnTo>
                      <a:pt x="1908" y="2616"/>
                    </a:lnTo>
                    <a:lnTo>
                      <a:pt x="1906" y="2616"/>
                    </a:lnTo>
                    <a:lnTo>
                      <a:pt x="1896" y="2620"/>
                    </a:lnTo>
                    <a:lnTo>
                      <a:pt x="1890" y="2620"/>
                    </a:lnTo>
                    <a:lnTo>
                      <a:pt x="1886" y="2618"/>
                    </a:lnTo>
                    <a:lnTo>
                      <a:pt x="1884" y="2614"/>
                    </a:lnTo>
                    <a:lnTo>
                      <a:pt x="1882" y="2608"/>
                    </a:lnTo>
                    <a:lnTo>
                      <a:pt x="1880" y="2602"/>
                    </a:lnTo>
                    <a:lnTo>
                      <a:pt x="1876" y="2598"/>
                    </a:lnTo>
                    <a:lnTo>
                      <a:pt x="1870" y="2596"/>
                    </a:lnTo>
                    <a:lnTo>
                      <a:pt x="1860" y="2598"/>
                    </a:lnTo>
                    <a:lnTo>
                      <a:pt x="1850" y="2600"/>
                    </a:lnTo>
                    <a:lnTo>
                      <a:pt x="1844" y="2596"/>
                    </a:lnTo>
                    <a:lnTo>
                      <a:pt x="1842" y="2592"/>
                    </a:lnTo>
                    <a:lnTo>
                      <a:pt x="1840" y="2586"/>
                    </a:lnTo>
                    <a:lnTo>
                      <a:pt x="1840" y="2582"/>
                    </a:lnTo>
                    <a:lnTo>
                      <a:pt x="1838" y="2578"/>
                    </a:lnTo>
                    <a:lnTo>
                      <a:pt x="1836" y="2576"/>
                    </a:lnTo>
                    <a:lnTo>
                      <a:pt x="1830" y="2580"/>
                    </a:lnTo>
                    <a:lnTo>
                      <a:pt x="1822" y="2582"/>
                    </a:lnTo>
                    <a:lnTo>
                      <a:pt x="1814" y="2584"/>
                    </a:lnTo>
                    <a:lnTo>
                      <a:pt x="1798" y="2582"/>
                    </a:lnTo>
                    <a:lnTo>
                      <a:pt x="1788" y="2580"/>
                    </a:lnTo>
                    <a:lnTo>
                      <a:pt x="1778" y="2580"/>
                    </a:lnTo>
                    <a:lnTo>
                      <a:pt x="1766" y="2582"/>
                    </a:lnTo>
                    <a:lnTo>
                      <a:pt x="1752" y="2586"/>
                    </a:lnTo>
                    <a:lnTo>
                      <a:pt x="1724" y="2596"/>
                    </a:lnTo>
                    <a:lnTo>
                      <a:pt x="1706" y="2608"/>
                    </a:lnTo>
                    <a:lnTo>
                      <a:pt x="1694" y="2618"/>
                    </a:lnTo>
                    <a:lnTo>
                      <a:pt x="1688" y="2624"/>
                    </a:lnTo>
                    <a:lnTo>
                      <a:pt x="1684" y="2630"/>
                    </a:lnTo>
                    <a:lnTo>
                      <a:pt x="1678" y="2632"/>
                    </a:lnTo>
                    <a:lnTo>
                      <a:pt x="1668" y="2632"/>
                    </a:lnTo>
                    <a:lnTo>
                      <a:pt x="1656" y="2628"/>
                    </a:lnTo>
                    <a:lnTo>
                      <a:pt x="1646" y="2626"/>
                    </a:lnTo>
                    <a:lnTo>
                      <a:pt x="1638" y="2626"/>
                    </a:lnTo>
                    <a:lnTo>
                      <a:pt x="1630" y="2628"/>
                    </a:lnTo>
                    <a:lnTo>
                      <a:pt x="1618" y="2628"/>
                    </a:lnTo>
                    <a:lnTo>
                      <a:pt x="1608" y="2624"/>
                    </a:lnTo>
                    <a:lnTo>
                      <a:pt x="1602" y="2626"/>
                    </a:lnTo>
                    <a:lnTo>
                      <a:pt x="1598" y="2628"/>
                    </a:lnTo>
                    <a:lnTo>
                      <a:pt x="1596" y="2634"/>
                    </a:lnTo>
                    <a:lnTo>
                      <a:pt x="1594" y="2638"/>
                    </a:lnTo>
                    <a:lnTo>
                      <a:pt x="1596" y="2640"/>
                    </a:lnTo>
                    <a:lnTo>
                      <a:pt x="1600" y="2642"/>
                    </a:lnTo>
                    <a:lnTo>
                      <a:pt x="1604" y="2646"/>
                    </a:lnTo>
                    <a:lnTo>
                      <a:pt x="1608" y="2650"/>
                    </a:lnTo>
                    <a:lnTo>
                      <a:pt x="1612" y="2650"/>
                    </a:lnTo>
                    <a:lnTo>
                      <a:pt x="1620" y="2652"/>
                    </a:lnTo>
                    <a:lnTo>
                      <a:pt x="1622" y="2652"/>
                    </a:lnTo>
                    <a:lnTo>
                      <a:pt x="1620" y="2652"/>
                    </a:lnTo>
                    <a:lnTo>
                      <a:pt x="1606" y="2656"/>
                    </a:lnTo>
                    <a:lnTo>
                      <a:pt x="1584" y="2660"/>
                    </a:lnTo>
                    <a:lnTo>
                      <a:pt x="1584" y="2662"/>
                    </a:lnTo>
                    <a:lnTo>
                      <a:pt x="1584" y="2664"/>
                    </a:lnTo>
                    <a:lnTo>
                      <a:pt x="1592" y="2666"/>
                    </a:lnTo>
                    <a:lnTo>
                      <a:pt x="1594" y="2668"/>
                    </a:lnTo>
                    <a:lnTo>
                      <a:pt x="1594" y="2672"/>
                    </a:lnTo>
                    <a:lnTo>
                      <a:pt x="1586" y="2674"/>
                    </a:lnTo>
                    <a:lnTo>
                      <a:pt x="1570" y="2674"/>
                    </a:lnTo>
                    <a:lnTo>
                      <a:pt x="1558" y="2672"/>
                    </a:lnTo>
                    <a:lnTo>
                      <a:pt x="1554" y="2670"/>
                    </a:lnTo>
                    <a:lnTo>
                      <a:pt x="1552" y="2666"/>
                    </a:lnTo>
                    <a:lnTo>
                      <a:pt x="1552" y="2664"/>
                    </a:lnTo>
                    <a:lnTo>
                      <a:pt x="1550" y="2662"/>
                    </a:lnTo>
                    <a:lnTo>
                      <a:pt x="1544" y="2662"/>
                    </a:lnTo>
                    <a:lnTo>
                      <a:pt x="1538" y="2666"/>
                    </a:lnTo>
                    <a:lnTo>
                      <a:pt x="1536" y="2668"/>
                    </a:lnTo>
                    <a:lnTo>
                      <a:pt x="1538" y="2670"/>
                    </a:lnTo>
                    <a:lnTo>
                      <a:pt x="1540" y="2672"/>
                    </a:lnTo>
                    <a:lnTo>
                      <a:pt x="1540" y="2674"/>
                    </a:lnTo>
                    <a:lnTo>
                      <a:pt x="1536" y="2676"/>
                    </a:lnTo>
                    <a:lnTo>
                      <a:pt x="1530" y="2676"/>
                    </a:lnTo>
                    <a:lnTo>
                      <a:pt x="1528" y="2674"/>
                    </a:lnTo>
                    <a:lnTo>
                      <a:pt x="1526" y="2672"/>
                    </a:lnTo>
                    <a:lnTo>
                      <a:pt x="1524" y="2670"/>
                    </a:lnTo>
                    <a:lnTo>
                      <a:pt x="1520" y="2668"/>
                    </a:lnTo>
                    <a:lnTo>
                      <a:pt x="1516" y="2666"/>
                    </a:lnTo>
                    <a:lnTo>
                      <a:pt x="1510" y="2668"/>
                    </a:lnTo>
                    <a:lnTo>
                      <a:pt x="1506" y="2670"/>
                    </a:lnTo>
                    <a:lnTo>
                      <a:pt x="1500" y="2672"/>
                    </a:lnTo>
                    <a:lnTo>
                      <a:pt x="1494" y="2678"/>
                    </a:lnTo>
                    <a:lnTo>
                      <a:pt x="1488" y="2686"/>
                    </a:lnTo>
                    <a:lnTo>
                      <a:pt x="1482" y="2692"/>
                    </a:lnTo>
                    <a:lnTo>
                      <a:pt x="1480" y="2694"/>
                    </a:lnTo>
                    <a:lnTo>
                      <a:pt x="1478" y="2696"/>
                    </a:lnTo>
                    <a:lnTo>
                      <a:pt x="1476" y="2706"/>
                    </a:lnTo>
                    <a:lnTo>
                      <a:pt x="1474" y="2716"/>
                    </a:lnTo>
                    <a:lnTo>
                      <a:pt x="1474" y="2718"/>
                    </a:lnTo>
                    <a:lnTo>
                      <a:pt x="1476" y="2720"/>
                    </a:lnTo>
                    <a:lnTo>
                      <a:pt x="1482" y="2720"/>
                    </a:lnTo>
                    <a:lnTo>
                      <a:pt x="1496" y="2716"/>
                    </a:lnTo>
                    <a:lnTo>
                      <a:pt x="1504" y="2716"/>
                    </a:lnTo>
                    <a:lnTo>
                      <a:pt x="1506" y="2716"/>
                    </a:lnTo>
                    <a:lnTo>
                      <a:pt x="1506" y="2718"/>
                    </a:lnTo>
                    <a:lnTo>
                      <a:pt x="1504" y="2720"/>
                    </a:lnTo>
                    <a:lnTo>
                      <a:pt x="1500" y="2728"/>
                    </a:lnTo>
                    <a:lnTo>
                      <a:pt x="1498" y="2732"/>
                    </a:lnTo>
                    <a:lnTo>
                      <a:pt x="1502" y="2734"/>
                    </a:lnTo>
                    <a:lnTo>
                      <a:pt x="1504" y="2738"/>
                    </a:lnTo>
                    <a:lnTo>
                      <a:pt x="1504" y="2740"/>
                    </a:lnTo>
                    <a:lnTo>
                      <a:pt x="1502" y="2746"/>
                    </a:lnTo>
                    <a:lnTo>
                      <a:pt x="1502" y="2750"/>
                    </a:lnTo>
                    <a:lnTo>
                      <a:pt x="1504" y="2752"/>
                    </a:lnTo>
                    <a:lnTo>
                      <a:pt x="1506" y="2752"/>
                    </a:lnTo>
                    <a:lnTo>
                      <a:pt x="1510" y="2754"/>
                    </a:lnTo>
                    <a:lnTo>
                      <a:pt x="1510" y="2756"/>
                    </a:lnTo>
                    <a:lnTo>
                      <a:pt x="1504" y="2760"/>
                    </a:lnTo>
                    <a:lnTo>
                      <a:pt x="1498" y="2766"/>
                    </a:lnTo>
                    <a:lnTo>
                      <a:pt x="1498" y="2768"/>
                    </a:lnTo>
                    <a:lnTo>
                      <a:pt x="1502" y="2770"/>
                    </a:lnTo>
                    <a:lnTo>
                      <a:pt x="1508" y="2774"/>
                    </a:lnTo>
                    <a:lnTo>
                      <a:pt x="1510" y="2778"/>
                    </a:lnTo>
                    <a:lnTo>
                      <a:pt x="1510" y="2780"/>
                    </a:lnTo>
                    <a:lnTo>
                      <a:pt x="1508" y="2782"/>
                    </a:lnTo>
                    <a:lnTo>
                      <a:pt x="1504" y="2782"/>
                    </a:lnTo>
                    <a:lnTo>
                      <a:pt x="1500" y="2782"/>
                    </a:lnTo>
                    <a:lnTo>
                      <a:pt x="1496" y="2780"/>
                    </a:lnTo>
                    <a:lnTo>
                      <a:pt x="1494" y="2774"/>
                    </a:lnTo>
                    <a:lnTo>
                      <a:pt x="1492" y="2768"/>
                    </a:lnTo>
                    <a:lnTo>
                      <a:pt x="1488" y="2768"/>
                    </a:lnTo>
                    <a:lnTo>
                      <a:pt x="1486" y="2768"/>
                    </a:lnTo>
                    <a:lnTo>
                      <a:pt x="1486" y="2772"/>
                    </a:lnTo>
                    <a:lnTo>
                      <a:pt x="1484" y="2782"/>
                    </a:lnTo>
                    <a:lnTo>
                      <a:pt x="1486" y="2788"/>
                    </a:lnTo>
                    <a:lnTo>
                      <a:pt x="1490" y="2792"/>
                    </a:lnTo>
                    <a:lnTo>
                      <a:pt x="1494" y="2794"/>
                    </a:lnTo>
                    <a:lnTo>
                      <a:pt x="1498" y="2794"/>
                    </a:lnTo>
                    <a:lnTo>
                      <a:pt x="1500" y="2794"/>
                    </a:lnTo>
                    <a:lnTo>
                      <a:pt x="1504" y="2796"/>
                    </a:lnTo>
                    <a:lnTo>
                      <a:pt x="1508" y="2800"/>
                    </a:lnTo>
                    <a:lnTo>
                      <a:pt x="1510" y="2800"/>
                    </a:lnTo>
                    <a:lnTo>
                      <a:pt x="1518" y="2802"/>
                    </a:lnTo>
                    <a:lnTo>
                      <a:pt x="1520" y="2802"/>
                    </a:lnTo>
                    <a:lnTo>
                      <a:pt x="1522" y="2804"/>
                    </a:lnTo>
                    <a:lnTo>
                      <a:pt x="1522" y="2806"/>
                    </a:lnTo>
                    <a:lnTo>
                      <a:pt x="1520" y="2810"/>
                    </a:lnTo>
                    <a:lnTo>
                      <a:pt x="1516" y="2818"/>
                    </a:lnTo>
                    <a:lnTo>
                      <a:pt x="1516" y="2822"/>
                    </a:lnTo>
                    <a:lnTo>
                      <a:pt x="1520" y="2826"/>
                    </a:lnTo>
                    <a:lnTo>
                      <a:pt x="1520" y="2832"/>
                    </a:lnTo>
                    <a:lnTo>
                      <a:pt x="1520" y="2836"/>
                    </a:lnTo>
                    <a:lnTo>
                      <a:pt x="1522" y="2838"/>
                    </a:lnTo>
                    <a:lnTo>
                      <a:pt x="1526" y="2838"/>
                    </a:lnTo>
                    <a:lnTo>
                      <a:pt x="1528" y="2840"/>
                    </a:lnTo>
                    <a:lnTo>
                      <a:pt x="1530" y="2844"/>
                    </a:lnTo>
                    <a:lnTo>
                      <a:pt x="1530" y="2848"/>
                    </a:lnTo>
                    <a:lnTo>
                      <a:pt x="1530" y="2850"/>
                    </a:lnTo>
                    <a:lnTo>
                      <a:pt x="1524" y="2850"/>
                    </a:lnTo>
                    <a:lnTo>
                      <a:pt x="1518" y="2850"/>
                    </a:lnTo>
                    <a:lnTo>
                      <a:pt x="1520" y="2854"/>
                    </a:lnTo>
                    <a:lnTo>
                      <a:pt x="1522" y="2856"/>
                    </a:lnTo>
                    <a:lnTo>
                      <a:pt x="1528" y="2858"/>
                    </a:lnTo>
                    <a:lnTo>
                      <a:pt x="1542" y="2856"/>
                    </a:lnTo>
                    <a:lnTo>
                      <a:pt x="1552" y="2856"/>
                    </a:lnTo>
                    <a:lnTo>
                      <a:pt x="1556" y="2858"/>
                    </a:lnTo>
                    <a:lnTo>
                      <a:pt x="1554" y="2860"/>
                    </a:lnTo>
                    <a:lnTo>
                      <a:pt x="1550" y="2864"/>
                    </a:lnTo>
                    <a:lnTo>
                      <a:pt x="1546" y="2866"/>
                    </a:lnTo>
                    <a:lnTo>
                      <a:pt x="1534" y="2868"/>
                    </a:lnTo>
                    <a:lnTo>
                      <a:pt x="1526" y="2870"/>
                    </a:lnTo>
                    <a:lnTo>
                      <a:pt x="1524" y="2870"/>
                    </a:lnTo>
                    <a:lnTo>
                      <a:pt x="1526" y="2872"/>
                    </a:lnTo>
                    <a:lnTo>
                      <a:pt x="1528" y="2876"/>
                    </a:lnTo>
                    <a:lnTo>
                      <a:pt x="1532" y="2876"/>
                    </a:lnTo>
                    <a:lnTo>
                      <a:pt x="1540" y="2874"/>
                    </a:lnTo>
                    <a:lnTo>
                      <a:pt x="1548" y="2872"/>
                    </a:lnTo>
                    <a:lnTo>
                      <a:pt x="1550" y="2872"/>
                    </a:lnTo>
                    <a:lnTo>
                      <a:pt x="1552" y="2876"/>
                    </a:lnTo>
                    <a:lnTo>
                      <a:pt x="1552" y="2878"/>
                    </a:lnTo>
                    <a:lnTo>
                      <a:pt x="1554" y="2878"/>
                    </a:lnTo>
                    <a:lnTo>
                      <a:pt x="1560" y="2872"/>
                    </a:lnTo>
                    <a:lnTo>
                      <a:pt x="1564" y="2870"/>
                    </a:lnTo>
                    <a:lnTo>
                      <a:pt x="1568" y="2868"/>
                    </a:lnTo>
                    <a:lnTo>
                      <a:pt x="1572" y="2868"/>
                    </a:lnTo>
                    <a:lnTo>
                      <a:pt x="1576" y="2870"/>
                    </a:lnTo>
                    <a:lnTo>
                      <a:pt x="1580" y="2874"/>
                    </a:lnTo>
                    <a:lnTo>
                      <a:pt x="1582" y="2874"/>
                    </a:lnTo>
                    <a:lnTo>
                      <a:pt x="1588" y="2874"/>
                    </a:lnTo>
                    <a:lnTo>
                      <a:pt x="1590" y="2872"/>
                    </a:lnTo>
                    <a:lnTo>
                      <a:pt x="1592" y="2874"/>
                    </a:lnTo>
                    <a:lnTo>
                      <a:pt x="1594" y="2880"/>
                    </a:lnTo>
                    <a:lnTo>
                      <a:pt x="1598" y="2886"/>
                    </a:lnTo>
                    <a:lnTo>
                      <a:pt x="1602" y="2892"/>
                    </a:lnTo>
                    <a:lnTo>
                      <a:pt x="1610" y="2900"/>
                    </a:lnTo>
                    <a:lnTo>
                      <a:pt x="1616" y="2902"/>
                    </a:lnTo>
                    <a:lnTo>
                      <a:pt x="1620" y="2904"/>
                    </a:lnTo>
                    <a:lnTo>
                      <a:pt x="1624" y="2904"/>
                    </a:lnTo>
                    <a:lnTo>
                      <a:pt x="1628" y="2902"/>
                    </a:lnTo>
                    <a:lnTo>
                      <a:pt x="1634" y="2896"/>
                    </a:lnTo>
                    <a:lnTo>
                      <a:pt x="1638" y="2894"/>
                    </a:lnTo>
                    <a:lnTo>
                      <a:pt x="1640" y="2894"/>
                    </a:lnTo>
                    <a:lnTo>
                      <a:pt x="1642" y="2896"/>
                    </a:lnTo>
                    <a:lnTo>
                      <a:pt x="1646" y="2898"/>
                    </a:lnTo>
                    <a:lnTo>
                      <a:pt x="1648" y="2896"/>
                    </a:lnTo>
                    <a:lnTo>
                      <a:pt x="1652" y="2894"/>
                    </a:lnTo>
                    <a:lnTo>
                      <a:pt x="1654" y="2890"/>
                    </a:lnTo>
                    <a:lnTo>
                      <a:pt x="1654" y="2884"/>
                    </a:lnTo>
                    <a:lnTo>
                      <a:pt x="1654" y="2872"/>
                    </a:lnTo>
                    <a:lnTo>
                      <a:pt x="1656" y="2866"/>
                    </a:lnTo>
                    <a:lnTo>
                      <a:pt x="1662" y="2864"/>
                    </a:lnTo>
                    <a:lnTo>
                      <a:pt x="1670" y="2864"/>
                    </a:lnTo>
                    <a:lnTo>
                      <a:pt x="1686" y="2868"/>
                    </a:lnTo>
                    <a:lnTo>
                      <a:pt x="1700" y="2874"/>
                    </a:lnTo>
                    <a:lnTo>
                      <a:pt x="1712" y="2882"/>
                    </a:lnTo>
                    <a:lnTo>
                      <a:pt x="1720" y="2890"/>
                    </a:lnTo>
                    <a:lnTo>
                      <a:pt x="1728" y="2898"/>
                    </a:lnTo>
                    <a:lnTo>
                      <a:pt x="1732" y="2904"/>
                    </a:lnTo>
                    <a:lnTo>
                      <a:pt x="1738" y="2908"/>
                    </a:lnTo>
                    <a:lnTo>
                      <a:pt x="1744" y="2910"/>
                    </a:lnTo>
                    <a:lnTo>
                      <a:pt x="1752" y="2908"/>
                    </a:lnTo>
                    <a:lnTo>
                      <a:pt x="1766" y="2904"/>
                    </a:lnTo>
                    <a:lnTo>
                      <a:pt x="1778" y="2902"/>
                    </a:lnTo>
                    <a:lnTo>
                      <a:pt x="1782" y="2900"/>
                    </a:lnTo>
                    <a:lnTo>
                      <a:pt x="1788" y="2898"/>
                    </a:lnTo>
                    <a:lnTo>
                      <a:pt x="1794" y="2892"/>
                    </a:lnTo>
                    <a:lnTo>
                      <a:pt x="1802" y="2884"/>
                    </a:lnTo>
                    <a:lnTo>
                      <a:pt x="1814" y="2872"/>
                    </a:lnTo>
                    <a:lnTo>
                      <a:pt x="1822" y="2868"/>
                    </a:lnTo>
                    <a:lnTo>
                      <a:pt x="1828" y="2868"/>
                    </a:lnTo>
                    <a:lnTo>
                      <a:pt x="1834" y="2872"/>
                    </a:lnTo>
                    <a:lnTo>
                      <a:pt x="1838" y="2876"/>
                    </a:lnTo>
                    <a:lnTo>
                      <a:pt x="1844" y="2880"/>
                    </a:lnTo>
                    <a:lnTo>
                      <a:pt x="1848" y="2880"/>
                    </a:lnTo>
                    <a:lnTo>
                      <a:pt x="1856" y="2876"/>
                    </a:lnTo>
                    <a:lnTo>
                      <a:pt x="1868" y="2864"/>
                    </a:lnTo>
                    <a:lnTo>
                      <a:pt x="1876" y="2860"/>
                    </a:lnTo>
                    <a:lnTo>
                      <a:pt x="1878" y="2860"/>
                    </a:lnTo>
                    <a:lnTo>
                      <a:pt x="1880" y="2862"/>
                    </a:lnTo>
                    <a:lnTo>
                      <a:pt x="1882" y="2870"/>
                    </a:lnTo>
                    <a:lnTo>
                      <a:pt x="1882" y="2874"/>
                    </a:lnTo>
                    <a:lnTo>
                      <a:pt x="1880" y="2878"/>
                    </a:lnTo>
                    <a:lnTo>
                      <a:pt x="1872" y="2886"/>
                    </a:lnTo>
                    <a:lnTo>
                      <a:pt x="1866" y="2892"/>
                    </a:lnTo>
                    <a:lnTo>
                      <a:pt x="1864" y="2894"/>
                    </a:lnTo>
                    <a:lnTo>
                      <a:pt x="1866" y="2896"/>
                    </a:lnTo>
                    <a:lnTo>
                      <a:pt x="1872" y="2906"/>
                    </a:lnTo>
                    <a:lnTo>
                      <a:pt x="1872" y="2910"/>
                    </a:lnTo>
                    <a:lnTo>
                      <a:pt x="1872" y="2914"/>
                    </a:lnTo>
                    <a:lnTo>
                      <a:pt x="1868" y="2918"/>
                    </a:lnTo>
                    <a:lnTo>
                      <a:pt x="1864" y="2924"/>
                    </a:lnTo>
                    <a:lnTo>
                      <a:pt x="1862" y="2930"/>
                    </a:lnTo>
                    <a:lnTo>
                      <a:pt x="1866" y="2940"/>
                    </a:lnTo>
                    <a:lnTo>
                      <a:pt x="1870" y="2948"/>
                    </a:lnTo>
                    <a:lnTo>
                      <a:pt x="1870" y="2956"/>
                    </a:lnTo>
                    <a:lnTo>
                      <a:pt x="1870" y="2966"/>
                    </a:lnTo>
                    <a:lnTo>
                      <a:pt x="1872" y="2980"/>
                    </a:lnTo>
                    <a:lnTo>
                      <a:pt x="1872" y="2986"/>
                    </a:lnTo>
                    <a:lnTo>
                      <a:pt x="1870" y="2990"/>
                    </a:lnTo>
                    <a:lnTo>
                      <a:pt x="1866" y="2996"/>
                    </a:lnTo>
                    <a:lnTo>
                      <a:pt x="1860" y="3000"/>
                    </a:lnTo>
                    <a:lnTo>
                      <a:pt x="1858" y="3006"/>
                    </a:lnTo>
                    <a:lnTo>
                      <a:pt x="1858" y="3012"/>
                    </a:lnTo>
                    <a:lnTo>
                      <a:pt x="1858" y="3020"/>
                    </a:lnTo>
                    <a:lnTo>
                      <a:pt x="1856" y="3020"/>
                    </a:lnTo>
                    <a:lnTo>
                      <a:pt x="1854" y="3024"/>
                    </a:lnTo>
                    <a:lnTo>
                      <a:pt x="1850" y="3034"/>
                    </a:lnTo>
                    <a:lnTo>
                      <a:pt x="1848" y="3044"/>
                    </a:lnTo>
                    <a:lnTo>
                      <a:pt x="1846" y="3050"/>
                    </a:lnTo>
                    <a:lnTo>
                      <a:pt x="1842" y="3054"/>
                    </a:lnTo>
                    <a:lnTo>
                      <a:pt x="1838" y="3064"/>
                    </a:lnTo>
                    <a:lnTo>
                      <a:pt x="1824" y="3108"/>
                    </a:lnTo>
                    <a:lnTo>
                      <a:pt x="1818" y="3130"/>
                    </a:lnTo>
                    <a:lnTo>
                      <a:pt x="1814" y="3144"/>
                    </a:lnTo>
                    <a:lnTo>
                      <a:pt x="1806" y="3154"/>
                    </a:lnTo>
                    <a:lnTo>
                      <a:pt x="1800" y="3160"/>
                    </a:lnTo>
                    <a:lnTo>
                      <a:pt x="1768" y="3170"/>
                    </a:lnTo>
                    <a:lnTo>
                      <a:pt x="1764" y="3170"/>
                    </a:lnTo>
                    <a:lnTo>
                      <a:pt x="1760" y="3166"/>
                    </a:lnTo>
                    <a:lnTo>
                      <a:pt x="1756" y="3164"/>
                    </a:lnTo>
                    <a:lnTo>
                      <a:pt x="1754" y="3166"/>
                    </a:lnTo>
                    <a:lnTo>
                      <a:pt x="1748" y="3168"/>
                    </a:lnTo>
                    <a:lnTo>
                      <a:pt x="1744" y="3170"/>
                    </a:lnTo>
                    <a:lnTo>
                      <a:pt x="1740" y="3170"/>
                    </a:lnTo>
                    <a:lnTo>
                      <a:pt x="1734" y="3168"/>
                    </a:lnTo>
                    <a:lnTo>
                      <a:pt x="1728" y="3164"/>
                    </a:lnTo>
                    <a:lnTo>
                      <a:pt x="1726" y="3162"/>
                    </a:lnTo>
                    <a:lnTo>
                      <a:pt x="1724" y="3162"/>
                    </a:lnTo>
                    <a:lnTo>
                      <a:pt x="1724" y="3164"/>
                    </a:lnTo>
                    <a:lnTo>
                      <a:pt x="1724" y="3168"/>
                    </a:lnTo>
                    <a:lnTo>
                      <a:pt x="1720" y="3170"/>
                    </a:lnTo>
                    <a:lnTo>
                      <a:pt x="1734" y="3232"/>
                    </a:lnTo>
                    <a:lnTo>
                      <a:pt x="1734" y="3230"/>
                    </a:lnTo>
                    <a:lnTo>
                      <a:pt x="1738" y="3232"/>
                    </a:lnTo>
                    <a:lnTo>
                      <a:pt x="1738" y="3236"/>
                    </a:lnTo>
                    <a:lnTo>
                      <a:pt x="1738" y="3242"/>
                    </a:lnTo>
                    <a:lnTo>
                      <a:pt x="1740" y="3252"/>
                    </a:lnTo>
                    <a:lnTo>
                      <a:pt x="1744" y="3260"/>
                    </a:lnTo>
                    <a:lnTo>
                      <a:pt x="1750" y="3266"/>
                    </a:lnTo>
                    <a:lnTo>
                      <a:pt x="1754" y="3272"/>
                    </a:lnTo>
                    <a:lnTo>
                      <a:pt x="1758" y="3278"/>
                    </a:lnTo>
                    <a:lnTo>
                      <a:pt x="1760" y="3288"/>
                    </a:lnTo>
                    <a:lnTo>
                      <a:pt x="1762" y="3300"/>
                    </a:lnTo>
                    <a:lnTo>
                      <a:pt x="1766" y="3306"/>
                    </a:lnTo>
                    <a:lnTo>
                      <a:pt x="1770" y="3312"/>
                    </a:lnTo>
                    <a:lnTo>
                      <a:pt x="1784" y="3328"/>
                    </a:lnTo>
                    <a:lnTo>
                      <a:pt x="1792" y="3340"/>
                    </a:lnTo>
                    <a:lnTo>
                      <a:pt x="1796" y="3344"/>
                    </a:lnTo>
                    <a:lnTo>
                      <a:pt x="1800" y="3346"/>
                    </a:lnTo>
                    <a:lnTo>
                      <a:pt x="1802" y="3344"/>
                    </a:lnTo>
                    <a:lnTo>
                      <a:pt x="1804" y="3340"/>
                    </a:lnTo>
                    <a:lnTo>
                      <a:pt x="1810" y="3328"/>
                    </a:lnTo>
                    <a:lnTo>
                      <a:pt x="1812" y="3314"/>
                    </a:lnTo>
                    <a:lnTo>
                      <a:pt x="1816" y="3292"/>
                    </a:lnTo>
                    <a:lnTo>
                      <a:pt x="1830" y="3254"/>
                    </a:lnTo>
                    <a:lnTo>
                      <a:pt x="1832" y="3250"/>
                    </a:lnTo>
                    <a:lnTo>
                      <a:pt x="1832" y="3256"/>
                    </a:lnTo>
                    <a:lnTo>
                      <a:pt x="1832" y="3260"/>
                    </a:lnTo>
                    <a:lnTo>
                      <a:pt x="1826" y="3286"/>
                    </a:lnTo>
                    <a:lnTo>
                      <a:pt x="1826" y="3296"/>
                    </a:lnTo>
                    <a:lnTo>
                      <a:pt x="1826" y="3302"/>
                    </a:lnTo>
                    <a:lnTo>
                      <a:pt x="1822" y="3312"/>
                    </a:lnTo>
                    <a:lnTo>
                      <a:pt x="1818" y="3328"/>
                    </a:lnTo>
                    <a:lnTo>
                      <a:pt x="1818" y="3330"/>
                    </a:lnTo>
                    <a:lnTo>
                      <a:pt x="1824" y="3328"/>
                    </a:lnTo>
                    <a:lnTo>
                      <a:pt x="1828" y="3326"/>
                    </a:lnTo>
                    <a:lnTo>
                      <a:pt x="1834" y="3326"/>
                    </a:lnTo>
                    <a:lnTo>
                      <a:pt x="1838" y="3328"/>
                    </a:lnTo>
                    <a:lnTo>
                      <a:pt x="1840" y="3330"/>
                    </a:lnTo>
                    <a:lnTo>
                      <a:pt x="1848" y="3340"/>
                    </a:lnTo>
                    <a:lnTo>
                      <a:pt x="1864" y="3372"/>
                    </a:lnTo>
                    <a:lnTo>
                      <a:pt x="1880" y="3406"/>
                    </a:lnTo>
                    <a:lnTo>
                      <a:pt x="1888" y="3418"/>
                    </a:lnTo>
                    <a:lnTo>
                      <a:pt x="1896" y="3428"/>
                    </a:lnTo>
                    <a:lnTo>
                      <a:pt x="1900" y="3434"/>
                    </a:lnTo>
                    <a:lnTo>
                      <a:pt x="1900" y="3440"/>
                    </a:lnTo>
                    <a:lnTo>
                      <a:pt x="1902" y="3444"/>
                    </a:lnTo>
                    <a:lnTo>
                      <a:pt x="1908" y="3450"/>
                    </a:lnTo>
                    <a:lnTo>
                      <a:pt x="1916" y="3458"/>
                    </a:lnTo>
                    <a:lnTo>
                      <a:pt x="1922" y="3470"/>
                    </a:lnTo>
                    <a:lnTo>
                      <a:pt x="1926" y="3482"/>
                    </a:lnTo>
                    <a:lnTo>
                      <a:pt x="1926" y="3486"/>
                    </a:lnTo>
                    <a:lnTo>
                      <a:pt x="1924" y="3492"/>
                    </a:lnTo>
                    <a:lnTo>
                      <a:pt x="1922" y="3496"/>
                    </a:lnTo>
                    <a:lnTo>
                      <a:pt x="1924" y="3502"/>
                    </a:lnTo>
                    <a:lnTo>
                      <a:pt x="1926" y="3506"/>
                    </a:lnTo>
                    <a:lnTo>
                      <a:pt x="1928" y="3512"/>
                    </a:lnTo>
                    <a:lnTo>
                      <a:pt x="1938" y="3522"/>
                    </a:lnTo>
                    <a:lnTo>
                      <a:pt x="1944" y="3526"/>
                    </a:lnTo>
                    <a:lnTo>
                      <a:pt x="1952" y="3528"/>
                    </a:lnTo>
                    <a:lnTo>
                      <a:pt x="1958" y="3532"/>
                    </a:lnTo>
                    <a:lnTo>
                      <a:pt x="1964" y="3538"/>
                    </a:lnTo>
                    <a:lnTo>
                      <a:pt x="1970" y="3548"/>
                    </a:lnTo>
                    <a:lnTo>
                      <a:pt x="1976" y="3560"/>
                    </a:lnTo>
                    <a:lnTo>
                      <a:pt x="1988" y="3586"/>
                    </a:lnTo>
                    <a:lnTo>
                      <a:pt x="1996" y="3610"/>
                    </a:lnTo>
                    <a:lnTo>
                      <a:pt x="1998" y="3620"/>
                    </a:lnTo>
                    <a:lnTo>
                      <a:pt x="1998" y="3626"/>
                    </a:lnTo>
                    <a:lnTo>
                      <a:pt x="1998" y="3632"/>
                    </a:lnTo>
                    <a:lnTo>
                      <a:pt x="1996" y="3636"/>
                    </a:lnTo>
                    <a:lnTo>
                      <a:pt x="1994" y="3638"/>
                    </a:lnTo>
                    <a:lnTo>
                      <a:pt x="1992" y="3642"/>
                    </a:lnTo>
                    <a:lnTo>
                      <a:pt x="1994" y="3648"/>
                    </a:lnTo>
                    <a:lnTo>
                      <a:pt x="1996" y="3656"/>
                    </a:lnTo>
                    <a:lnTo>
                      <a:pt x="2000" y="3664"/>
                    </a:lnTo>
                    <a:lnTo>
                      <a:pt x="2000" y="3668"/>
                    </a:lnTo>
                    <a:lnTo>
                      <a:pt x="1998" y="3670"/>
                    </a:lnTo>
                    <a:lnTo>
                      <a:pt x="1998" y="3672"/>
                    </a:lnTo>
                    <a:lnTo>
                      <a:pt x="1996" y="3674"/>
                    </a:lnTo>
                    <a:lnTo>
                      <a:pt x="1996" y="3676"/>
                    </a:lnTo>
                    <a:lnTo>
                      <a:pt x="2004" y="3690"/>
                    </a:lnTo>
                    <a:lnTo>
                      <a:pt x="2014" y="3706"/>
                    </a:lnTo>
                    <a:lnTo>
                      <a:pt x="2020" y="3716"/>
                    </a:lnTo>
                    <a:lnTo>
                      <a:pt x="2026" y="3722"/>
                    </a:lnTo>
                    <a:lnTo>
                      <a:pt x="2036" y="3726"/>
                    </a:lnTo>
                    <a:lnTo>
                      <a:pt x="2042" y="3730"/>
                    </a:lnTo>
                    <a:lnTo>
                      <a:pt x="2048" y="3734"/>
                    </a:lnTo>
                    <a:lnTo>
                      <a:pt x="2058" y="3744"/>
                    </a:lnTo>
                    <a:lnTo>
                      <a:pt x="2064" y="3758"/>
                    </a:lnTo>
                    <a:lnTo>
                      <a:pt x="2072" y="3770"/>
                    </a:lnTo>
                    <a:lnTo>
                      <a:pt x="2078" y="3778"/>
                    </a:lnTo>
                    <a:lnTo>
                      <a:pt x="2082" y="3782"/>
                    </a:lnTo>
                    <a:lnTo>
                      <a:pt x="2084" y="3786"/>
                    </a:lnTo>
                    <a:lnTo>
                      <a:pt x="2084" y="3796"/>
                    </a:lnTo>
                    <a:lnTo>
                      <a:pt x="2086" y="3804"/>
                    </a:lnTo>
                    <a:lnTo>
                      <a:pt x="2088" y="3810"/>
                    </a:lnTo>
                    <a:lnTo>
                      <a:pt x="2092" y="3816"/>
                    </a:lnTo>
                    <a:lnTo>
                      <a:pt x="2094" y="3824"/>
                    </a:lnTo>
                    <a:lnTo>
                      <a:pt x="2096" y="3830"/>
                    </a:lnTo>
                    <a:lnTo>
                      <a:pt x="2098" y="3836"/>
                    </a:lnTo>
                    <a:lnTo>
                      <a:pt x="2108" y="3848"/>
                    </a:lnTo>
                    <a:lnTo>
                      <a:pt x="2120" y="3862"/>
                    </a:lnTo>
                    <a:lnTo>
                      <a:pt x="2124" y="3870"/>
                    </a:lnTo>
                    <a:lnTo>
                      <a:pt x="2126" y="3878"/>
                    </a:lnTo>
                    <a:lnTo>
                      <a:pt x="2128" y="3884"/>
                    </a:lnTo>
                    <a:lnTo>
                      <a:pt x="2130" y="3886"/>
                    </a:lnTo>
                    <a:lnTo>
                      <a:pt x="2134" y="3886"/>
                    </a:lnTo>
                    <a:lnTo>
                      <a:pt x="2138" y="3888"/>
                    </a:lnTo>
                    <a:lnTo>
                      <a:pt x="2140" y="3892"/>
                    </a:lnTo>
                    <a:lnTo>
                      <a:pt x="2144" y="3902"/>
                    </a:lnTo>
                    <a:lnTo>
                      <a:pt x="2146" y="3918"/>
                    </a:lnTo>
                    <a:lnTo>
                      <a:pt x="2148" y="3936"/>
                    </a:lnTo>
                    <a:lnTo>
                      <a:pt x="2146" y="3944"/>
                    </a:lnTo>
                    <a:lnTo>
                      <a:pt x="2142" y="3952"/>
                    </a:lnTo>
                    <a:lnTo>
                      <a:pt x="2142" y="3954"/>
                    </a:lnTo>
                    <a:lnTo>
                      <a:pt x="2142" y="3958"/>
                    </a:lnTo>
                    <a:lnTo>
                      <a:pt x="2144" y="3964"/>
                    </a:lnTo>
                    <a:lnTo>
                      <a:pt x="2146" y="3968"/>
                    </a:lnTo>
                    <a:lnTo>
                      <a:pt x="2146" y="3972"/>
                    </a:lnTo>
                    <a:lnTo>
                      <a:pt x="2144" y="3974"/>
                    </a:lnTo>
                    <a:lnTo>
                      <a:pt x="2140" y="3976"/>
                    </a:lnTo>
                    <a:lnTo>
                      <a:pt x="2142" y="3980"/>
                    </a:lnTo>
                    <a:lnTo>
                      <a:pt x="2146" y="3982"/>
                    </a:lnTo>
                    <a:lnTo>
                      <a:pt x="2148" y="3986"/>
                    </a:lnTo>
                    <a:lnTo>
                      <a:pt x="2150" y="3988"/>
                    </a:lnTo>
                    <a:lnTo>
                      <a:pt x="2150" y="3996"/>
                    </a:lnTo>
                    <a:lnTo>
                      <a:pt x="2152" y="4000"/>
                    </a:lnTo>
                    <a:lnTo>
                      <a:pt x="2154" y="4008"/>
                    </a:lnTo>
                    <a:lnTo>
                      <a:pt x="2156" y="4020"/>
                    </a:lnTo>
                    <a:lnTo>
                      <a:pt x="2158" y="4034"/>
                    </a:lnTo>
                    <a:lnTo>
                      <a:pt x="2162" y="4044"/>
                    </a:lnTo>
                    <a:lnTo>
                      <a:pt x="2166" y="4054"/>
                    </a:lnTo>
                    <a:lnTo>
                      <a:pt x="2166" y="4058"/>
                    </a:lnTo>
                    <a:lnTo>
                      <a:pt x="2166" y="4064"/>
                    </a:lnTo>
                    <a:lnTo>
                      <a:pt x="2164" y="4072"/>
                    </a:lnTo>
                    <a:lnTo>
                      <a:pt x="2166" y="4076"/>
                    </a:lnTo>
                    <a:lnTo>
                      <a:pt x="2168" y="4082"/>
                    </a:lnTo>
                    <a:lnTo>
                      <a:pt x="2172" y="4092"/>
                    </a:lnTo>
                    <a:lnTo>
                      <a:pt x="2176" y="4100"/>
                    </a:lnTo>
                    <a:lnTo>
                      <a:pt x="2178" y="4102"/>
                    </a:lnTo>
                    <a:lnTo>
                      <a:pt x="2180" y="4102"/>
                    </a:lnTo>
                    <a:lnTo>
                      <a:pt x="2184" y="4100"/>
                    </a:lnTo>
                    <a:lnTo>
                      <a:pt x="2186" y="4102"/>
                    </a:lnTo>
                    <a:lnTo>
                      <a:pt x="2190" y="4104"/>
                    </a:lnTo>
                    <a:lnTo>
                      <a:pt x="2196" y="4108"/>
                    </a:lnTo>
                    <a:lnTo>
                      <a:pt x="2200" y="4106"/>
                    </a:lnTo>
                    <a:lnTo>
                      <a:pt x="2204" y="4104"/>
                    </a:lnTo>
                    <a:lnTo>
                      <a:pt x="2208" y="4104"/>
                    </a:lnTo>
                    <a:lnTo>
                      <a:pt x="2212" y="4104"/>
                    </a:lnTo>
                    <a:lnTo>
                      <a:pt x="2214" y="4102"/>
                    </a:lnTo>
                    <a:lnTo>
                      <a:pt x="2218" y="4098"/>
                    </a:lnTo>
                    <a:lnTo>
                      <a:pt x="2226" y="4098"/>
                    </a:lnTo>
                    <a:lnTo>
                      <a:pt x="2232" y="4100"/>
                    </a:lnTo>
                    <a:lnTo>
                      <a:pt x="2236" y="4098"/>
                    </a:lnTo>
                    <a:lnTo>
                      <a:pt x="2238" y="4096"/>
                    </a:lnTo>
                    <a:lnTo>
                      <a:pt x="2240" y="4094"/>
                    </a:lnTo>
                    <a:lnTo>
                      <a:pt x="2242" y="4090"/>
                    </a:lnTo>
                    <a:lnTo>
                      <a:pt x="2244" y="4088"/>
                    </a:lnTo>
                    <a:lnTo>
                      <a:pt x="2248" y="4088"/>
                    </a:lnTo>
                    <a:lnTo>
                      <a:pt x="2252" y="4086"/>
                    </a:lnTo>
                    <a:lnTo>
                      <a:pt x="2254" y="4084"/>
                    </a:lnTo>
                    <a:lnTo>
                      <a:pt x="2258" y="4074"/>
                    </a:lnTo>
                    <a:lnTo>
                      <a:pt x="2262" y="4070"/>
                    </a:lnTo>
                    <a:lnTo>
                      <a:pt x="2266" y="4068"/>
                    </a:lnTo>
                    <a:lnTo>
                      <a:pt x="2274" y="4066"/>
                    </a:lnTo>
                    <a:lnTo>
                      <a:pt x="2284" y="4066"/>
                    </a:lnTo>
                    <a:lnTo>
                      <a:pt x="2300" y="4066"/>
                    </a:lnTo>
                    <a:lnTo>
                      <a:pt x="2312" y="4062"/>
                    </a:lnTo>
                    <a:lnTo>
                      <a:pt x="2324" y="4058"/>
                    </a:lnTo>
                    <a:lnTo>
                      <a:pt x="2334" y="4050"/>
                    </a:lnTo>
                    <a:lnTo>
                      <a:pt x="2348" y="4038"/>
                    </a:lnTo>
                    <a:lnTo>
                      <a:pt x="2356" y="4036"/>
                    </a:lnTo>
                    <a:lnTo>
                      <a:pt x="2364" y="4036"/>
                    </a:lnTo>
                    <a:lnTo>
                      <a:pt x="2370" y="4038"/>
                    </a:lnTo>
                    <a:lnTo>
                      <a:pt x="2374" y="4038"/>
                    </a:lnTo>
                    <a:lnTo>
                      <a:pt x="2382" y="4034"/>
                    </a:lnTo>
                    <a:lnTo>
                      <a:pt x="2390" y="4028"/>
                    </a:lnTo>
                    <a:lnTo>
                      <a:pt x="2398" y="4020"/>
                    </a:lnTo>
                    <a:lnTo>
                      <a:pt x="2406" y="4010"/>
                    </a:lnTo>
                    <a:lnTo>
                      <a:pt x="2416" y="4002"/>
                    </a:lnTo>
                    <a:lnTo>
                      <a:pt x="2426" y="3998"/>
                    </a:lnTo>
                    <a:lnTo>
                      <a:pt x="2432" y="3996"/>
                    </a:lnTo>
                    <a:lnTo>
                      <a:pt x="2438" y="3998"/>
                    </a:lnTo>
                    <a:lnTo>
                      <a:pt x="2442" y="3998"/>
                    </a:lnTo>
                    <a:lnTo>
                      <a:pt x="2446" y="3996"/>
                    </a:lnTo>
                    <a:lnTo>
                      <a:pt x="2452" y="3992"/>
                    </a:lnTo>
                    <a:lnTo>
                      <a:pt x="2462" y="3986"/>
                    </a:lnTo>
                    <a:lnTo>
                      <a:pt x="2468" y="3982"/>
                    </a:lnTo>
                    <a:lnTo>
                      <a:pt x="2480" y="3978"/>
                    </a:lnTo>
                    <a:lnTo>
                      <a:pt x="2500" y="3972"/>
                    </a:lnTo>
                    <a:lnTo>
                      <a:pt x="2506" y="3968"/>
                    </a:lnTo>
                    <a:lnTo>
                      <a:pt x="2510" y="3966"/>
                    </a:lnTo>
                    <a:lnTo>
                      <a:pt x="2520" y="3962"/>
                    </a:lnTo>
                    <a:lnTo>
                      <a:pt x="2526" y="3960"/>
                    </a:lnTo>
                    <a:lnTo>
                      <a:pt x="2528" y="3954"/>
                    </a:lnTo>
                    <a:lnTo>
                      <a:pt x="2528" y="3942"/>
                    </a:lnTo>
                    <a:lnTo>
                      <a:pt x="2528" y="3934"/>
                    </a:lnTo>
                    <a:lnTo>
                      <a:pt x="2532" y="3926"/>
                    </a:lnTo>
                    <a:lnTo>
                      <a:pt x="2542" y="3916"/>
                    </a:lnTo>
                    <a:lnTo>
                      <a:pt x="2562" y="3906"/>
                    </a:lnTo>
                    <a:lnTo>
                      <a:pt x="2566" y="3902"/>
                    </a:lnTo>
                    <a:lnTo>
                      <a:pt x="2572" y="3902"/>
                    </a:lnTo>
                    <a:lnTo>
                      <a:pt x="2578" y="3902"/>
                    </a:lnTo>
                    <a:lnTo>
                      <a:pt x="2584" y="3902"/>
                    </a:lnTo>
                    <a:lnTo>
                      <a:pt x="2586" y="3900"/>
                    </a:lnTo>
                    <a:lnTo>
                      <a:pt x="2594" y="3894"/>
                    </a:lnTo>
                    <a:lnTo>
                      <a:pt x="2600" y="3892"/>
                    </a:lnTo>
                    <a:lnTo>
                      <a:pt x="2606" y="3890"/>
                    </a:lnTo>
                    <a:lnTo>
                      <a:pt x="2614" y="3888"/>
                    </a:lnTo>
                    <a:lnTo>
                      <a:pt x="2624" y="3890"/>
                    </a:lnTo>
                    <a:lnTo>
                      <a:pt x="2630" y="3890"/>
                    </a:lnTo>
                    <a:lnTo>
                      <a:pt x="2634" y="3890"/>
                    </a:lnTo>
                    <a:lnTo>
                      <a:pt x="2638" y="3888"/>
                    </a:lnTo>
                    <a:lnTo>
                      <a:pt x="2642" y="3886"/>
                    </a:lnTo>
                    <a:lnTo>
                      <a:pt x="2646" y="3878"/>
                    </a:lnTo>
                    <a:lnTo>
                      <a:pt x="2650" y="3868"/>
                    </a:lnTo>
                    <a:lnTo>
                      <a:pt x="2654" y="3858"/>
                    </a:lnTo>
                    <a:lnTo>
                      <a:pt x="2658" y="3850"/>
                    </a:lnTo>
                    <a:lnTo>
                      <a:pt x="2664" y="3844"/>
                    </a:lnTo>
                    <a:lnTo>
                      <a:pt x="2670" y="3842"/>
                    </a:lnTo>
                    <a:lnTo>
                      <a:pt x="2676" y="3842"/>
                    </a:lnTo>
                    <a:lnTo>
                      <a:pt x="2690" y="3840"/>
                    </a:lnTo>
                    <a:lnTo>
                      <a:pt x="2698" y="3836"/>
                    </a:lnTo>
                    <a:lnTo>
                      <a:pt x="2702" y="3830"/>
                    </a:lnTo>
                    <a:lnTo>
                      <a:pt x="2704" y="3822"/>
                    </a:lnTo>
                    <a:lnTo>
                      <a:pt x="2708" y="3814"/>
                    </a:lnTo>
                    <a:lnTo>
                      <a:pt x="2712" y="3806"/>
                    </a:lnTo>
                    <a:lnTo>
                      <a:pt x="2720" y="3798"/>
                    </a:lnTo>
                    <a:lnTo>
                      <a:pt x="2734" y="3794"/>
                    </a:lnTo>
                    <a:lnTo>
                      <a:pt x="2746" y="3790"/>
                    </a:lnTo>
                    <a:lnTo>
                      <a:pt x="2752" y="3786"/>
                    </a:lnTo>
                    <a:lnTo>
                      <a:pt x="2754" y="3782"/>
                    </a:lnTo>
                    <a:lnTo>
                      <a:pt x="2752" y="3776"/>
                    </a:lnTo>
                    <a:lnTo>
                      <a:pt x="2750" y="3768"/>
                    </a:lnTo>
                    <a:lnTo>
                      <a:pt x="2750" y="3758"/>
                    </a:lnTo>
                    <a:lnTo>
                      <a:pt x="2750" y="3746"/>
                    </a:lnTo>
                    <a:lnTo>
                      <a:pt x="2754" y="3730"/>
                    </a:lnTo>
                    <a:lnTo>
                      <a:pt x="2760" y="3716"/>
                    </a:lnTo>
                    <a:lnTo>
                      <a:pt x="2764" y="3710"/>
                    </a:lnTo>
                    <a:lnTo>
                      <a:pt x="2768" y="3712"/>
                    </a:lnTo>
                    <a:lnTo>
                      <a:pt x="2770" y="3714"/>
                    </a:lnTo>
                    <a:lnTo>
                      <a:pt x="2772" y="3718"/>
                    </a:lnTo>
                    <a:lnTo>
                      <a:pt x="2776" y="3720"/>
                    </a:lnTo>
                    <a:lnTo>
                      <a:pt x="2780" y="3716"/>
                    </a:lnTo>
                    <a:lnTo>
                      <a:pt x="2786" y="3704"/>
                    </a:lnTo>
                    <a:lnTo>
                      <a:pt x="2792" y="3692"/>
                    </a:lnTo>
                    <a:lnTo>
                      <a:pt x="2796" y="3684"/>
                    </a:lnTo>
                    <a:lnTo>
                      <a:pt x="2806" y="3674"/>
                    </a:lnTo>
                    <a:lnTo>
                      <a:pt x="2816" y="3664"/>
                    </a:lnTo>
                    <a:lnTo>
                      <a:pt x="2820" y="3656"/>
                    </a:lnTo>
                    <a:lnTo>
                      <a:pt x="2824" y="3644"/>
                    </a:lnTo>
                    <a:lnTo>
                      <a:pt x="2830" y="3628"/>
                    </a:lnTo>
                    <a:lnTo>
                      <a:pt x="2834" y="3618"/>
                    </a:lnTo>
                    <a:lnTo>
                      <a:pt x="2834" y="3616"/>
                    </a:lnTo>
                    <a:lnTo>
                      <a:pt x="2832" y="3614"/>
                    </a:lnTo>
                    <a:lnTo>
                      <a:pt x="2822" y="3608"/>
                    </a:lnTo>
                    <a:close/>
                    <a:moveTo>
                      <a:pt x="2468" y="3400"/>
                    </a:moveTo>
                    <a:lnTo>
                      <a:pt x="2468" y="3400"/>
                    </a:lnTo>
                    <a:lnTo>
                      <a:pt x="2470" y="3400"/>
                    </a:lnTo>
                    <a:lnTo>
                      <a:pt x="2468" y="3400"/>
                    </a:lnTo>
                    <a:close/>
                    <a:moveTo>
                      <a:pt x="1836" y="3098"/>
                    </a:moveTo>
                    <a:lnTo>
                      <a:pt x="1836" y="3098"/>
                    </a:lnTo>
                    <a:lnTo>
                      <a:pt x="1838" y="3094"/>
                    </a:lnTo>
                    <a:lnTo>
                      <a:pt x="1842" y="3094"/>
                    </a:lnTo>
                    <a:lnTo>
                      <a:pt x="1838" y="3094"/>
                    </a:lnTo>
                    <a:lnTo>
                      <a:pt x="1836" y="3098"/>
                    </a:lnTo>
                    <a:close/>
                    <a:moveTo>
                      <a:pt x="1856" y="3100"/>
                    </a:moveTo>
                    <a:lnTo>
                      <a:pt x="1856" y="3100"/>
                    </a:lnTo>
                    <a:lnTo>
                      <a:pt x="1856" y="3102"/>
                    </a:lnTo>
                    <a:lnTo>
                      <a:pt x="1856" y="3100"/>
                    </a:lnTo>
                    <a:lnTo>
                      <a:pt x="1856" y="3090"/>
                    </a:lnTo>
                    <a:lnTo>
                      <a:pt x="1858" y="3084"/>
                    </a:lnTo>
                    <a:lnTo>
                      <a:pt x="1860" y="3082"/>
                    </a:lnTo>
                    <a:lnTo>
                      <a:pt x="1858" y="3084"/>
                    </a:lnTo>
                    <a:lnTo>
                      <a:pt x="1856" y="3090"/>
                    </a:lnTo>
                    <a:lnTo>
                      <a:pt x="1856" y="3100"/>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39" name="Freeform 6156">
                <a:extLst>
                  <a:ext uri="{FF2B5EF4-FFF2-40B4-BE49-F238E27FC236}">
                    <a16:creationId xmlns:a16="http://schemas.microsoft.com/office/drawing/2014/main" id="{F5F87DD8-55DA-BD1B-0A18-B06DF2272133}"/>
                  </a:ext>
                </a:extLst>
              </p:cNvPr>
              <p:cNvSpPr>
                <a:spLocks noEditPoints="1"/>
              </p:cNvSpPr>
              <p:nvPr/>
            </p:nvSpPr>
            <p:spPr bwMode="auto">
              <a:xfrm>
                <a:off x="5067524" y="879407"/>
                <a:ext cx="3719699" cy="3473100"/>
              </a:xfrm>
              <a:custGeom>
                <a:avLst/>
                <a:gdLst>
                  <a:gd name="T0" fmla="*/ 334096 w 5856"/>
                  <a:gd name="T1" fmla="*/ 341505 h 5472"/>
                  <a:gd name="T2" fmla="*/ 374746 w 5856"/>
                  <a:gd name="T3" fmla="*/ 60938 h 5472"/>
                  <a:gd name="T4" fmla="*/ 2452998 w 5856"/>
                  <a:gd name="T5" fmla="*/ 316114 h 5472"/>
                  <a:gd name="T6" fmla="*/ 3177084 w 5856"/>
                  <a:gd name="T7" fmla="*/ 608108 h 5472"/>
                  <a:gd name="T8" fmla="*/ 2139228 w 5856"/>
                  <a:gd name="T9" fmla="*/ 481154 h 5472"/>
                  <a:gd name="T10" fmla="*/ 256606 w 5856"/>
                  <a:gd name="T11" fmla="*/ 559865 h 5472"/>
                  <a:gd name="T12" fmla="*/ 48272 w 5856"/>
                  <a:gd name="T13" fmla="*/ 76172 h 5472"/>
                  <a:gd name="T14" fmla="*/ 461128 w 5856"/>
                  <a:gd name="T15" fmla="*/ 11426 h 5472"/>
                  <a:gd name="T16" fmla="*/ 438262 w 5856"/>
                  <a:gd name="T17" fmla="*/ 78711 h 5472"/>
                  <a:gd name="T18" fmla="*/ 1814025 w 5856"/>
                  <a:gd name="T19" fmla="*/ 3336340 h 5472"/>
                  <a:gd name="T20" fmla="*/ 2066820 w 5856"/>
                  <a:gd name="T21" fmla="*/ 2794248 h 5472"/>
                  <a:gd name="T22" fmla="*/ 2090956 w 5856"/>
                  <a:gd name="T23" fmla="*/ 2845030 h 5472"/>
                  <a:gd name="T24" fmla="*/ 2021088 w 5856"/>
                  <a:gd name="T25" fmla="*/ 2668564 h 5472"/>
                  <a:gd name="T26" fmla="*/ 2068090 w 5856"/>
                  <a:gd name="T27" fmla="*/ 2759971 h 5472"/>
                  <a:gd name="T28" fmla="*/ 2012196 w 5856"/>
                  <a:gd name="T29" fmla="*/ 2762510 h 5472"/>
                  <a:gd name="T30" fmla="*/ 2125255 w 5856"/>
                  <a:gd name="T31" fmla="*/ 3088781 h 5472"/>
                  <a:gd name="T32" fmla="*/ 2097307 w 5856"/>
                  <a:gd name="T33" fmla="*/ 1976667 h 5472"/>
                  <a:gd name="T34" fmla="*/ 2010925 w 5856"/>
                  <a:gd name="T35" fmla="*/ 3324914 h 5472"/>
                  <a:gd name="T36" fmla="*/ 2102389 w 5856"/>
                  <a:gd name="T37" fmla="*/ 1863679 h 5472"/>
                  <a:gd name="T38" fmla="*/ 1256352 w 5856"/>
                  <a:gd name="T39" fmla="*/ 2824717 h 5472"/>
                  <a:gd name="T40" fmla="*/ 1637450 w 5856"/>
                  <a:gd name="T41" fmla="*/ 2959288 h 5472"/>
                  <a:gd name="T42" fmla="*/ 1636179 w 5856"/>
                  <a:gd name="T43" fmla="*/ 3313488 h 5472"/>
                  <a:gd name="T44" fmla="*/ 1580285 w 5856"/>
                  <a:gd name="T45" fmla="*/ 3222082 h 5472"/>
                  <a:gd name="T46" fmla="*/ 1342734 w 5856"/>
                  <a:gd name="T47" fmla="*/ 2956749 h 5472"/>
                  <a:gd name="T48" fmla="*/ 5081 w 5856"/>
                  <a:gd name="T49" fmla="*/ 3446790 h 5472"/>
                  <a:gd name="T50" fmla="*/ 2179879 w 5856"/>
                  <a:gd name="T51" fmla="*/ 2182332 h 5472"/>
                  <a:gd name="T52" fmla="*/ 2291667 w 5856"/>
                  <a:gd name="T53" fmla="*/ 2007136 h 5472"/>
                  <a:gd name="T54" fmla="*/ 1948679 w 5856"/>
                  <a:gd name="T55" fmla="*/ 3044347 h 5472"/>
                  <a:gd name="T56" fmla="*/ 1984248 w 5856"/>
                  <a:gd name="T57" fmla="*/ 3100206 h 5472"/>
                  <a:gd name="T58" fmla="*/ 1942328 w 5856"/>
                  <a:gd name="T59" fmla="*/ 2744736 h 5472"/>
                  <a:gd name="T60" fmla="*/ 2132876 w 5856"/>
                  <a:gd name="T61" fmla="*/ 3114171 h 5472"/>
                  <a:gd name="T62" fmla="*/ 2483486 w 5856"/>
                  <a:gd name="T63" fmla="*/ 1744342 h 5472"/>
                  <a:gd name="T64" fmla="*/ 2336129 w 5856"/>
                  <a:gd name="T65" fmla="*/ 1971589 h 5472"/>
                  <a:gd name="T66" fmla="*/ 2107470 w 5856"/>
                  <a:gd name="T67" fmla="*/ 1984284 h 5472"/>
                  <a:gd name="T68" fmla="*/ 2536840 w 5856"/>
                  <a:gd name="T69" fmla="*/ 1350786 h 5472"/>
                  <a:gd name="T70" fmla="*/ 2451728 w 5856"/>
                  <a:gd name="T71" fmla="*/ 1727838 h 5472"/>
                  <a:gd name="T72" fmla="*/ 2022358 w 5856"/>
                  <a:gd name="T73" fmla="*/ 2660947 h 5472"/>
                  <a:gd name="T74" fmla="*/ 1906759 w 5856"/>
                  <a:gd name="T75" fmla="*/ 2780283 h 5472"/>
                  <a:gd name="T76" fmla="*/ 2087145 w 5856"/>
                  <a:gd name="T77" fmla="*/ 2730772 h 5472"/>
                  <a:gd name="T78" fmla="*/ 1878811 w 5856"/>
                  <a:gd name="T79" fmla="*/ 2870420 h 5472"/>
                  <a:gd name="T80" fmla="*/ 1669208 w 5856"/>
                  <a:gd name="T81" fmla="*/ 3111632 h 5472"/>
                  <a:gd name="T82" fmla="*/ 2046494 w 5856"/>
                  <a:gd name="T83" fmla="*/ 2306747 h 5472"/>
                  <a:gd name="T84" fmla="*/ 3226627 w 5856"/>
                  <a:gd name="T85" fmla="*/ 603030 h 5472"/>
                  <a:gd name="T86" fmla="*/ 2160824 w 5856"/>
                  <a:gd name="T87" fmla="*/ 505275 h 5472"/>
                  <a:gd name="T88" fmla="*/ 1448171 w 5856"/>
                  <a:gd name="T89" fmla="*/ 275489 h 5472"/>
                  <a:gd name="T90" fmla="*/ 899390 w 5856"/>
                  <a:gd name="T91" fmla="*/ 483693 h 5472"/>
                  <a:gd name="T92" fmla="*/ 736789 w 5856"/>
                  <a:gd name="T93" fmla="*/ 700784 h 5472"/>
                  <a:gd name="T94" fmla="*/ 137195 w 5856"/>
                  <a:gd name="T95" fmla="*/ 684280 h 5472"/>
                  <a:gd name="T96" fmla="*/ 415396 w 5856"/>
                  <a:gd name="T97" fmla="*/ 2273739 h 5472"/>
                  <a:gd name="T98" fmla="*/ 814279 w 5856"/>
                  <a:gd name="T99" fmla="*/ 2748545 h 5472"/>
                  <a:gd name="T100" fmla="*/ 1185214 w 5856"/>
                  <a:gd name="T101" fmla="*/ 2338485 h 5472"/>
                  <a:gd name="T102" fmla="*/ 1393547 w 5856"/>
                  <a:gd name="T103" fmla="*/ 2695225 h 5472"/>
                  <a:gd name="T104" fmla="*/ 1451982 w 5856"/>
                  <a:gd name="T105" fmla="*/ 2856456 h 5472"/>
                  <a:gd name="T106" fmla="*/ 1629828 w 5856"/>
                  <a:gd name="T107" fmla="*/ 2740928 h 5472"/>
                  <a:gd name="T108" fmla="*/ 1744157 w 5856"/>
                  <a:gd name="T109" fmla="*/ 2391805 h 5472"/>
                  <a:gd name="T110" fmla="*/ 1933435 w 5856"/>
                  <a:gd name="T111" fmla="*/ 2254696 h 5472"/>
                  <a:gd name="T112" fmla="*/ 1986789 w 5856"/>
                  <a:gd name="T113" fmla="*/ 2059187 h 5472"/>
                  <a:gd name="T114" fmla="*/ 1905488 w 5856"/>
                  <a:gd name="T115" fmla="*/ 1812897 h 5472"/>
                  <a:gd name="T116" fmla="*/ 2103659 w 5856"/>
                  <a:gd name="T117" fmla="*/ 1858600 h 5472"/>
                  <a:gd name="T118" fmla="*/ 2129066 w 5856"/>
                  <a:gd name="T119" fmla="*/ 1809089 h 5472"/>
                  <a:gd name="T120" fmla="*/ 2413618 w 5856"/>
                  <a:gd name="T121" fmla="*/ 1277153 h 5472"/>
                  <a:gd name="T122" fmla="*/ 3003049 w 5856"/>
                  <a:gd name="T123" fmla="*/ 983890 h 5472"/>
                  <a:gd name="T124" fmla="*/ 3079269 w 5856"/>
                  <a:gd name="T125" fmla="*/ 1027054 h 547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856"/>
                  <a:gd name="T190" fmla="*/ 0 h 5472"/>
                  <a:gd name="T191" fmla="*/ 5856 w 5856"/>
                  <a:gd name="T192" fmla="*/ 5472 h 547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856" h="5472">
                    <a:moveTo>
                      <a:pt x="1912" y="64"/>
                    </a:moveTo>
                    <a:lnTo>
                      <a:pt x="1912" y="64"/>
                    </a:lnTo>
                    <a:lnTo>
                      <a:pt x="1910" y="60"/>
                    </a:lnTo>
                    <a:lnTo>
                      <a:pt x="1902" y="58"/>
                    </a:lnTo>
                    <a:lnTo>
                      <a:pt x="1882" y="54"/>
                    </a:lnTo>
                    <a:lnTo>
                      <a:pt x="1862" y="54"/>
                    </a:lnTo>
                    <a:lnTo>
                      <a:pt x="1854" y="56"/>
                    </a:lnTo>
                    <a:lnTo>
                      <a:pt x="1850" y="60"/>
                    </a:lnTo>
                    <a:lnTo>
                      <a:pt x="1850" y="62"/>
                    </a:lnTo>
                    <a:lnTo>
                      <a:pt x="1852" y="64"/>
                    </a:lnTo>
                    <a:lnTo>
                      <a:pt x="1858" y="68"/>
                    </a:lnTo>
                    <a:lnTo>
                      <a:pt x="1868" y="70"/>
                    </a:lnTo>
                    <a:lnTo>
                      <a:pt x="1880" y="70"/>
                    </a:lnTo>
                    <a:lnTo>
                      <a:pt x="1902" y="68"/>
                    </a:lnTo>
                    <a:lnTo>
                      <a:pt x="1908" y="66"/>
                    </a:lnTo>
                    <a:lnTo>
                      <a:pt x="1912" y="64"/>
                    </a:lnTo>
                    <a:close/>
                    <a:moveTo>
                      <a:pt x="1078" y="706"/>
                    </a:moveTo>
                    <a:lnTo>
                      <a:pt x="1078" y="706"/>
                    </a:lnTo>
                    <a:lnTo>
                      <a:pt x="1094" y="702"/>
                    </a:lnTo>
                    <a:lnTo>
                      <a:pt x="1100" y="700"/>
                    </a:lnTo>
                    <a:lnTo>
                      <a:pt x="1104" y="698"/>
                    </a:lnTo>
                    <a:lnTo>
                      <a:pt x="1104" y="694"/>
                    </a:lnTo>
                    <a:lnTo>
                      <a:pt x="1104" y="690"/>
                    </a:lnTo>
                    <a:lnTo>
                      <a:pt x="1102" y="684"/>
                    </a:lnTo>
                    <a:lnTo>
                      <a:pt x="1094" y="678"/>
                    </a:lnTo>
                    <a:lnTo>
                      <a:pt x="1082" y="674"/>
                    </a:lnTo>
                    <a:lnTo>
                      <a:pt x="1070" y="674"/>
                    </a:lnTo>
                    <a:lnTo>
                      <a:pt x="1058" y="676"/>
                    </a:lnTo>
                    <a:lnTo>
                      <a:pt x="1048" y="682"/>
                    </a:lnTo>
                    <a:lnTo>
                      <a:pt x="1040" y="688"/>
                    </a:lnTo>
                    <a:lnTo>
                      <a:pt x="1036" y="694"/>
                    </a:lnTo>
                    <a:lnTo>
                      <a:pt x="1036" y="700"/>
                    </a:lnTo>
                    <a:lnTo>
                      <a:pt x="1040" y="704"/>
                    </a:lnTo>
                    <a:lnTo>
                      <a:pt x="1048" y="708"/>
                    </a:lnTo>
                    <a:lnTo>
                      <a:pt x="1060" y="708"/>
                    </a:lnTo>
                    <a:lnTo>
                      <a:pt x="1078" y="706"/>
                    </a:lnTo>
                    <a:close/>
                    <a:moveTo>
                      <a:pt x="1928" y="154"/>
                    </a:moveTo>
                    <a:lnTo>
                      <a:pt x="1928" y="154"/>
                    </a:lnTo>
                    <a:lnTo>
                      <a:pt x="1914" y="152"/>
                    </a:lnTo>
                    <a:lnTo>
                      <a:pt x="1902" y="154"/>
                    </a:lnTo>
                    <a:lnTo>
                      <a:pt x="1894" y="156"/>
                    </a:lnTo>
                    <a:lnTo>
                      <a:pt x="1890" y="160"/>
                    </a:lnTo>
                    <a:lnTo>
                      <a:pt x="1890" y="164"/>
                    </a:lnTo>
                    <a:lnTo>
                      <a:pt x="1894" y="168"/>
                    </a:lnTo>
                    <a:lnTo>
                      <a:pt x="1900" y="172"/>
                    </a:lnTo>
                    <a:lnTo>
                      <a:pt x="1910" y="176"/>
                    </a:lnTo>
                    <a:lnTo>
                      <a:pt x="1920" y="178"/>
                    </a:lnTo>
                    <a:lnTo>
                      <a:pt x="1926" y="180"/>
                    </a:lnTo>
                    <a:lnTo>
                      <a:pt x="1932" y="186"/>
                    </a:lnTo>
                    <a:lnTo>
                      <a:pt x="1934" y="188"/>
                    </a:lnTo>
                    <a:lnTo>
                      <a:pt x="1938" y="190"/>
                    </a:lnTo>
                    <a:lnTo>
                      <a:pt x="1956" y="188"/>
                    </a:lnTo>
                    <a:lnTo>
                      <a:pt x="1982" y="180"/>
                    </a:lnTo>
                    <a:lnTo>
                      <a:pt x="1996" y="174"/>
                    </a:lnTo>
                    <a:lnTo>
                      <a:pt x="2000" y="172"/>
                    </a:lnTo>
                    <a:lnTo>
                      <a:pt x="2000" y="170"/>
                    </a:lnTo>
                    <a:lnTo>
                      <a:pt x="1998" y="168"/>
                    </a:lnTo>
                    <a:lnTo>
                      <a:pt x="1994" y="166"/>
                    </a:lnTo>
                    <a:lnTo>
                      <a:pt x="1982" y="162"/>
                    </a:lnTo>
                    <a:lnTo>
                      <a:pt x="1964" y="158"/>
                    </a:lnTo>
                    <a:lnTo>
                      <a:pt x="1928" y="154"/>
                    </a:lnTo>
                    <a:close/>
                    <a:moveTo>
                      <a:pt x="526" y="138"/>
                    </a:moveTo>
                    <a:lnTo>
                      <a:pt x="526" y="138"/>
                    </a:lnTo>
                    <a:lnTo>
                      <a:pt x="532" y="144"/>
                    </a:lnTo>
                    <a:lnTo>
                      <a:pt x="538" y="148"/>
                    </a:lnTo>
                    <a:lnTo>
                      <a:pt x="552" y="152"/>
                    </a:lnTo>
                    <a:lnTo>
                      <a:pt x="558" y="154"/>
                    </a:lnTo>
                    <a:lnTo>
                      <a:pt x="562" y="152"/>
                    </a:lnTo>
                    <a:lnTo>
                      <a:pt x="564" y="150"/>
                    </a:lnTo>
                    <a:lnTo>
                      <a:pt x="564" y="146"/>
                    </a:lnTo>
                    <a:lnTo>
                      <a:pt x="564" y="142"/>
                    </a:lnTo>
                    <a:lnTo>
                      <a:pt x="568" y="140"/>
                    </a:lnTo>
                    <a:lnTo>
                      <a:pt x="572" y="136"/>
                    </a:lnTo>
                    <a:lnTo>
                      <a:pt x="582" y="136"/>
                    </a:lnTo>
                    <a:lnTo>
                      <a:pt x="600" y="134"/>
                    </a:lnTo>
                    <a:lnTo>
                      <a:pt x="604" y="132"/>
                    </a:lnTo>
                    <a:lnTo>
                      <a:pt x="606" y="130"/>
                    </a:lnTo>
                    <a:lnTo>
                      <a:pt x="604" y="128"/>
                    </a:lnTo>
                    <a:lnTo>
                      <a:pt x="598" y="126"/>
                    </a:lnTo>
                    <a:lnTo>
                      <a:pt x="580" y="122"/>
                    </a:lnTo>
                    <a:lnTo>
                      <a:pt x="556" y="120"/>
                    </a:lnTo>
                    <a:lnTo>
                      <a:pt x="534" y="122"/>
                    </a:lnTo>
                    <a:lnTo>
                      <a:pt x="526" y="124"/>
                    </a:lnTo>
                    <a:lnTo>
                      <a:pt x="522" y="126"/>
                    </a:lnTo>
                    <a:lnTo>
                      <a:pt x="522" y="132"/>
                    </a:lnTo>
                    <a:lnTo>
                      <a:pt x="526" y="138"/>
                    </a:lnTo>
                    <a:close/>
                    <a:moveTo>
                      <a:pt x="658" y="948"/>
                    </a:moveTo>
                    <a:lnTo>
                      <a:pt x="658" y="948"/>
                    </a:lnTo>
                    <a:lnTo>
                      <a:pt x="658" y="944"/>
                    </a:lnTo>
                    <a:lnTo>
                      <a:pt x="656" y="942"/>
                    </a:lnTo>
                    <a:lnTo>
                      <a:pt x="644" y="936"/>
                    </a:lnTo>
                    <a:lnTo>
                      <a:pt x="628" y="926"/>
                    </a:lnTo>
                    <a:lnTo>
                      <a:pt x="620" y="920"/>
                    </a:lnTo>
                    <a:lnTo>
                      <a:pt x="612" y="912"/>
                    </a:lnTo>
                    <a:lnTo>
                      <a:pt x="602" y="904"/>
                    </a:lnTo>
                    <a:lnTo>
                      <a:pt x="594" y="904"/>
                    </a:lnTo>
                    <a:lnTo>
                      <a:pt x="588" y="906"/>
                    </a:lnTo>
                    <a:lnTo>
                      <a:pt x="582" y="908"/>
                    </a:lnTo>
                    <a:lnTo>
                      <a:pt x="580" y="910"/>
                    </a:lnTo>
                    <a:lnTo>
                      <a:pt x="580" y="912"/>
                    </a:lnTo>
                    <a:lnTo>
                      <a:pt x="582" y="916"/>
                    </a:lnTo>
                    <a:lnTo>
                      <a:pt x="584" y="920"/>
                    </a:lnTo>
                    <a:lnTo>
                      <a:pt x="582" y="920"/>
                    </a:lnTo>
                    <a:lnTo>
                      <a:pt x="578" y="918"/>
                    </a:lnTo>
                    <a:lnTo>
                      <a:pt x="576" y="918"/>
                    </a:lnTo>
                    <a:lnTo>
                      <a:pt x="574" y="920"/>
                    </a:lnTo>
                    <a:lnTo>
                      <a:pt x="576" y="924"/>
                    </a:lnTo>
                    <a:lnTo>
                      <a:pt x="580" y="930"/>
                    </a:lnTo>
                    <a:lnTo>
                      <a:pt x="588" y="940"/>
                    </a:lnTo>
                    <a:lnTo>
                      <a:pt x="594" y="944"/>
                    </a:lnTo>
                    <a:lnTo>
                      <a:pt x="596" y="946"/>
                    </a:lnTo>
                    <a:lnTo>
                      <a:pt x="600" y="944"/>
                    </a:lnTo>
                    <a:lnTo>
                      <a:pt x="600" y="942"/>
                    </a:lnTo>
                    <a:lnTo>
                      <a:pt x="604" y="942"/>
                    </a:lnTo>
                    <a:lnTo>
                      <a:pt x="610" y="942"/>
                    </a:lnTo>
                    <a:lnTo>
                      <a:pt x="618" y="946"/>
                    </a:lnTo>
                    <a:lnTo>
                      <a:pt x="620" y="948"/>
                    </a:lnTo>
                    <a:lnTo>
                      <a:pt x="620" y="952"/>
                    </a:lnTo>
                    <a:lnTo>
                      <a:pt x="620" y="956"/>
                    </a:lnTo>
                    <a:lnTo>
                      <a:pt x="624" y="958"/>
                    </a:lnTo>
                    <a:lnTo>
                      <a:pt x="638" y="956"/>
                    </a:lnTo>
                    <a:lnTo>
                      <a:pt x="652" y="954"/>
                    </a:lnTo>
                    <a:lnTo>
                      <a:pt x="656" y="950"/>
                    </a:lnTo>
                    <a:lnTo>
                      <a:pt x="658" y="948"/>
                    </a:lnTo>
                    <a:close/>
                    <a:moveTo>
                      <a:pt x="768" y="460"/>
                    </a:moveTo>
                    <a:lnTo>
                      <a:pt x="768" y="460"/>
                    </a:lnTo>
                    <a:lnTo>
                      <a:pt x="752" y="466"/>
                    </a:lnTo>
                    <a:lnTo>
                      <a:pt x="742" y="468"/>
                    </a:lnTo>
                    <a:lnTo>
                      <a:pt x="736" y="468"/>
                    </a:lnTo>
                    <a:lnTo>
                      <a:pt x="732" y="466"/>
                    </a:lnTo>
                    <a:lnTo>
                      <a:pt x="728" y="462"/>
                    </a:lnTo>
                    <a:lnTo>
                      <a:pt x="722" y="460"/>
                    </a:lnTo>
                    <a:lnTo>
                      <a:pt x="712" y="458"/>
                    </a:lnTo>
                    <a:lnTo>
                      <a:pt x="698" y="460"/>
                    </a:lnTo>
                    <a:lnTo>
                      <a:pt x="682" y="462"/>
                    </a:lnTo>
                    <a:lnTo>
                      <a:pt x="674" y="464"/>
                    </a:lnTo>
                    <a:lnTo>
                      <a:pt x="672" y="468"/>
                    </a:lnTo>
                    <a:lnTo>
                      <a:pt x="672" y="470"/>
                    </a:lnTo>
                    <a:lnTo>
                      <a:pt x="674" y="474"/>
                    </a:lnTo>
                    <a:lnTo>
                      <a:pt x="674" y="476"/>
                    </a:lnTo>
                    <a:lnTo>
                      <a:pt x="672" y="478"/>
                    </a:lnTo>
                    <a:lnTo>
                      <a:pt x="664" y="476"/>
                    </a:lnTo>
                    <a:lnTo>
                      <a:pt x="652" y="478"/>
                    </a:lnTo>
                    <a:lnTo>
                      <a:pt x="636" y="480"/>
                    </a:lnTo>
                    <a:lnTo>
                      <a:pt x="620" y="484"/>
                    </a:lnTo>
                    <a:lnTo>
                      <a:pt x="602" y="492"/>
                    </a:lnTo>
                    <a:lnTo>
                      <a:pt x="584" y="500"/>
                    </a:lnTo>
                    <a:lnTo>
                      <a:pt x="568" y="508"/>
                    </a:lnTo>
                    <a:lnTo>
                      <a:pt x="554" y="518"/>
                    </a:lnTo>
                    <a:lnTo>
                      <a:pt x="544" y="528"/>
                    </a:lnTo>
                    <a:lnTo>
                      <a:pt x="538" y="536"/>
                    </a:lnTo>
                    <a:lnTo>
                      <a:pt x="532" y="538"/>
                    </a:lnTo>
                    <a:lnTo>
                      <a:pt x="528" y="538"/>
                    </a:lnTo>
                    <a:lnTo>
                      <a:pt x="526" y="538"/>
                    </a:lnTo>
                    <a:lnTo>
                      <a:pt x="524" y="536"/>
                    </a:lnTo>
                    <a:lnTo>
                      <a:pt x="520" y="534"/>
                    </a:lnTo>
                    <a:lnTo>
                      <a:pt x="514" y="536"/>
                    </a:lnTo>
                    <a:lnTo>
                      <a:pt x="506" y="542"/>
                    </a:lnTo>
                    <a:lnTo>
                      <a:pt x="498" y="548"/>
                    </a:lnTo>
                    <a:lnTo>
                      <a:pt x="494" y="550"/>
                    </a:lnTo>
                    <a:lnTo>
                      <a:pt x="490" y="548"/>
                    </a:lnTo>
                    <a:lnTo>
                      <a:pt x="488" y="546"/>
                    </a:lnTo>
                    <a:lnTo>
                      <a:pt x="488" y="544"/>
                    </a:lnTo>
                    <a:lnTo>
                      <a:pt x="484" y="542"/>
                    </a:lnTo>
                    <a:lnTo>
                      <a:pt x="480" y="542"/>
                    </a:lnTo>
                    <a:lnTo>
                      <a:pt x="474" y="546"/>
                    </a:lnTo>
                    <a:lnTo>
                      <a:pt x="470" y="550"/>
                    </a:lnTo>
                    <a:lnTo>
                      <a:pt x="468" y="554"/>
                    </a:lnTo>
                    <a:lnTo>
                      <a:pt x="470" y="558"/>
                    </a:lnTo>
                    <a:lnTo>
                      <a:pt x="474" y="560"/>
                    </a:lnTo>
                    <a:lnTo>
                      <a:pt x="480" y="564"/>
                    </a:lnTo>
                    <a:lnTo>
                      <a:pt x="480" y="568"/>
                    </a:lnTo>
                    <a:lnTo>
                      <a:pt x="476" y="570"/>
                    </a:lnTo>
                    <a:lnTo>
                      <a:pt x="472" y="572"/>
                    </a:lnTo>
                    <a:lnTo>
                      <a:pt x="470" y="576"/>
                    </a:lnTo>
                    <a:lnTo>
                      <a:pt x="472" y="578"/>
                    </a:lnTo>
                    <a:lnTo>
                      <a:pt x="476" y="580"/>
                    </a:lnTo>
                    <a:lnTo>
                      <a:pt x="478" y="582"/>
                    </a:lnTo>
                    <a:lnTo>
                      <a:pt x="478" y="584"/>
                    </a:lnTo>
                    <a:lnTo>
                      <a:pt x="476" y="586"/>
                    </a:lnTo>
                    <a:lnTo>
                      <a:pt x="468" y="586"/>
                    </a:lnTo>
                    <a:lnTo>
                      <a:pt x="460" y="588"/>
                    </a:lnTo>
                    <a:lnTo>
                      <a:pt x="454" y="594"/>
                    </a:lnTo>
                    <a:lnTo>
                      <a:pt x="450" y="600"/>
                    </a:lnTo>
                    <a:lnTo>
                      <a:pt x="446" y="606"/>
                    </a:lnTo>
                    <a:lnTo>
                      <a:pt x="442" y="614"/>
                    </a:lnTo>
                    <a:lnTo>
                      <a:pt x="436" y="622"/>
                    </a:lnTo>
                    <a:lnTo>
                      <a:pt x="426" y="630"/>
                    </a:lnTo>
                    <a:lnTo>
                      <a:pt x="414" y="636"/>
                    </a:lnTo>
                    <a:lnTo>
                      <a:pt x="390" y="648"/>
                    </a:lnTo>
                    <a:lnTo>
                      <a:pt x="384" y="654"/>
                    </a:lnTo>
                    <a:lnTo>
                      <a:pt x="380" y="658"/>
                    </a:lnTo>
                    <a:lnTo>
                      <a:pt x="380" y="662"/>
                    </a:lnTo>
                    <a:lnTo>
                      <a:pt x="382" y="666"/>
                    </a:lnTo>
                    <a:lnTo>
                      <a:pt x="390" y="666"/>
                    </a:lnTo>
                    <a:lnTo>
                      <a:pt x="400" y="666"/>
                    </a:lnTo>
                    <a:lnTo>
                      <a:pt x="408" y="668"/>
                    </a:lnTo>
                    <a:lnTo>
                      <a:pt x="410" y="670"/>
                    </a:lnTo>
                    <a:lnTo>
                      <a:pt x="408" y="674"/>
                    </a:lnTo>
                    <a:lnTo>
                      <a:pt x="406" y="678"/>
                    </a:lnTo>
                    <a:lnTo>
                      <a:pt x="402" y="680"/>
                    </a:lnTo>
                    <a:lnTo>
                      <a:pt x="402" y="684"/>
                    </a:lnTo>
                    <a:lnTo>
                      <a:pt x="406" y="684"/>
                    </a:lnTo>
                    <a:lnTo>
                      <a:pt x="416" y="682"/>
                    </a:lnTo>
                    <a:lnTo>
                      <a:pt x="438" y="676"/>
                    </a:lnTo>
                    <a:lnTo>
                      <a:pt x="446" y="676"/>
                    </a:lnTo>
                    <a:lnTo>
                      <a:pt x="454" y="676"/>
                    </a:lnTo>
                    <a:lnTo>
                      <a:pt x="460" y="678"/>
                    </a:lnTo>
                    <a:lnTo>
                      <a:pt x="466" y="682"/>
                    </a:lnTo>
                    <a:lnTo>
                      <a:pt x="486" y="692"/>
                    </a:lnTo>
                    <a:lnTo>
                      <a:pt x="496" y="696"/>
                    </a:lnTo>
                    <a:lnTo>
                      <a:pt x="508" y="694"/>
                    </a:lnTo>
                    <a:lnTo>
                      <a:pt x="514" y="692"/>
                    </a:lnTo>
                    <a:lnTo>
                      <a:pt x="518" y="690"/>
                    </a:lnTo>
                    <a:lnTo>
                      <a:pt x="522" y="686"/>
                    </a:lnTo>
                    <a:lnTo>
                      <a:pt x="524" y="680"/>
                    </a:lnTo>
                    <a:lnTo>
                      <a:pt x="526" y="674"/>
                    </a:lnTo>
                    <a:lnTo>
                      <a:pt x="528" y="672"/>
                    </a:lnTo>
                    <a:lnTo>
                      <a:pt x="538" y="670"/>
                    </a:lnTo>
                    <a:lnTo>
                      <a:pt x="542" y="668"/>
                    </a:lnTo>
                    <a:lnTo>
                      <a:pt x="546" y="664"/>
                    </a:lnTo>
                    <a:lnTo>
                      <a:pt x="550" y="660"/>
                    </a:lnTo>
                    <a:lnTo>
                      <a:pt x="554" y="650"/>
                    </a:lnTo>
                    <a:lnTo>
                      <a:pt x="558" y="640"/>
                    </a:lnTo>
                    <a:lnTo>
                      <a:pt x="562" y="634"/>
                    </a:lnTo>
                    <a:lnTo>
                      <a:pt x="566" y="630"/>
                    </a:lnTo>
                    <a:lnTo>
                      <a:pt x="572" y="628"/>
                    </a:lnTo>
                    <a:lnTo>
                      <a:pt x="580" y="624"/>
                    </a:lnTo>
                    <a:lnTo>
                      <a:pt x="584" y="622"/>
                    </a:lnTo>
                    <a:lnTo>
                      <a:pt x="586" y="616"/>
                    </a:lnTo>
                    <a:lnTo>
                      <a:pt x="588" y="606"/>
                    </a:lnTo>
                    <a:lnTo>
                      <a:pt x="590" y="602"/>
                    </a:lnTo>
                    <a:lnTo>
                      <a:pt x="594" y="600"/>
                    </a:lnTo>
                    <a:lnTo>
                      <a:pt x="610" y="594"/>
                    </a:lnTo>
                    <a:lnTo>
                      <a:pt x="638" y="584"/>
                    </a:lnTo>
                    <a:lnTo>
                      <a:pt x="652" y="578"/>
                    </a:lnTo>
                    <a:lnTo>
                      <a:pt x="658" y="572"/>
                    </a:lnTo>
                    <a:lnTo>
                      <a:pt x="662" y="568"/>
                    </a:lnTo>
                    <a:lnTo>
                      <a:pt x="664" y="564"/>
                    </a:lnTo>
                    <a:lnTo>
                      <a:pt x="668" y="558"/>
                    </a:lnTo>
                    <a:lnTo>
                      <a:pt x="674" y="552"/>
                    </a:lnTo>
                    <a:lnTo>
                      <a:pt x="688" y="544"/>
                    </a:lnTo>
                    <a:lnTo>
                      <a:pt x="712" y="534"/>
                    </a:lnTo>
                    <a:lnTo>
                      <a:pt x="744" y="522"/>
                    </a:lnTo>
                    <a:lnTo>
                      <a:pt x="778" y="512"/>
                    </a:lnTo>
                    <a:lnTo>
                      <a:pt x="854" y="492"/>
                    </a:lnTo>
                    <a:lnTo>
                      <a:pt x="924" y="474"/>
                    </a:lnTo>
                    <a:lnTo>
                      <a:pt x="956" y="464"/>
                    </a:lnTo>
                    <a:lnTo>
                      <a:pt x="980" y="454"/>
                    </a:lnTo>
                    <a:lnTo>
                      <a:pt x="990" y="448"/>
                    </a:lnTo>
                    <a:lnTo>
                      <a:pt x="998" y="444"/>
                    </a:lnTo>
                    <a:lnTo>
                      <a:pt x="1002" y="438"/>
                    </a:lnTo>
                    <a:lnTo>
                      <a:pt x="1002" y="432"/>
                    </a:lnTo>
                    <a:lnTo>
                      <a:pt x="1002" y="428"/>
                    </a:lnTo>
                    <a:lnTo>
                      <a:pt x="1000" y="424"/>
                    </a:lnTo>
                    <a:lnTo>
                      <a:pt x="996" y="420"/>
                    </a:lnTo>
                    <a:lnTo>
                      <a:pt x="990" y="416"/>
                    </a:lnTo>
                    <a:lnTo>
                      <a:pt x="974" y="410"/>
                    </a:lnTo>
                    <a:lnTo>
                      <a:pt x="954" y="406"/>
                    </a:lnTo>
                    <a:lnTo>
                      <a:pt x="932" y="408"/>
                    </a:lnTo>
                    <a:lnTo>
                      <a:pt x="908" y="412"/>
                    </a:lnTo>
                    <a:lnTo>
                      <a:pt x="878" y="422"/>
                    </a:lnTo>
                    <a:lnTo>
                      <a:pt x="874" y="426"/>
                    </a:lnTo>
                    <a:lnTo>
                      <a:pt x="870" y="428"/>
                    </a:lnTo>
                    <a:lnTo>
                      <a:pt x="868" y="430"/>
                    </a:lnTo>
                    <a:lnTo>
                      <a:pt x="864" y="434"/>
                    </a:lnTo>
                    <a:lnTo>
                      <a:pt x="856" y="438"/>
                    </a:lnTo>
                    <a:lnTo>
                      <a:pt x="842" y="444"/>
                    </a:lnTo>
                    <a:lnTo>
                      <a:pt x="818" y="450"/>
                    </a:lnTo>
                    <a:lnTo>
                      <a:pt x="808" y="450"/>
                    </a:lnTo>
                    <a:lnTo>
                      <a:pt x="798" y="452"/>
                    </a:lnTo>
                    <a:lnTo>
                      <a:pt x="768" y="460"/>
                    </a:lnTo>
                    <a:close/>
                    <a:moveTo>
                      <a:pt x="484" y="70"/>
                    </a:moveTo>
                    <a:lnTo>
                      <a:pt x="484" y="70"/>
                    </a:lnTo>
                    <a:lnTo>
                      <a:pt x="482" y="70"/>
                    </a:lnTo>
                    <a:lnTo>
                      <a:pt x="484" y="70"/>
                    </a:lnTo>
                    <a:lnTo>
                      <a:pt x="490" y="72"/>
                    </a:lnTo>
                    <a:lnTo>
                      <a:pt x="500" y="74"/>
                    </a:lnTo>
                    <a:lnTo>
                      <a:pt x="510" y="78"/>
                    </a:lnTo>
                    <a:lnTo>
                      <a:pt x="528" y="86"/>
                    </a:lnTo>
                    <a:lnTo>
                      <a:pt x="538" y="86"/>
                    </a:lnTo>
                    <a:lnTo>
                      <a:pt x="554" y="86"/>
                    </a:lnTo>
                    <a:lnTo>
                      <a:pt x="568" y="86"/>
                    </a:lnTo>
                    <a:lnTo>
                      <a:pt x="568" y="84"/>
                    </a:lnTo>
                    <a:lnTo>
                      <a:pt x="566" y="82"/>
                    </a:lnTo>
                    <a:lnTo>
                      <a:pt x="544" y="76"/>
                    </a:lnTo>
                    <a:lnTo>
                      <a:pt x="530" y="72"/>
                    </a:lnTo>
                    <a:lnTo>
                      <a:pt x="512" y="70"/>
                    </a:lnTo>
                    <a:lnTo>
                      <a:pt x="496" y="68"/>
                    </a:lnTo>
                    <a:lnTo>
                      <a:pt x="484" y="70"/>
                    </a:lnTo>
                    <a:close/>
                    <a:moveTo>
                      <a:pt x="542" y="114"/>
                    </a:moveTo>
                    <a:lnTo>
                      <a:pt x="542" y="114"/>
                    </a:lnTo>
                    <a:lnTo>
                      <a:pt x="554" y="116"/>
                    </a:lnTo>
                    <a:lnTo>
                      <a:pt x="558" y="114"/>
                    </a:lnTo>
                    <a:lnTo>
                      <a:pt x="560" y="112"/>
                    </a:lnTo>
                    <a:lnTo>
                      <a:pt x="560" y="110"/>
                    </a:lnTo>
                    <a:lnTo>
                      <a:pt x="560" y="108"/>
                    </a:lnTo>
                    <a:lnTo>
                      <a:pt x="554" y="106"/>
                    </a:lnTo>
                    <a:lnTo>
                      <a:pt x="542" y="106"/>
                    </a:lnTo>
                    <a:lnTo>
                      <a:pt x="532" y="108"/>
                    </a:lnTo>
                    <a:lnTo>
                      <a:pt x="530" y="110"/>
                    </a:lnTo>
                    <a:lnTo>
                      <a:pt x="532" y="112"/>
                    </a:lnTo>
                    <a:lnTo>
                      <a:pt x="534" y="114"/>
                    </a:lnTo>
                    <a:lnTo>
                      <a:pt x="542" y="114"/>
                    </a:lnTo>
                    <a:close/>
                    <a:moveTo>
                      <a:pt x="590" y="96"/>
                    </a:moveTo>
                    <a:lnTo>
                      <a:pt x="590" y="96"/>
                    </a:lnTo>
                    <a:lnTo>
                      <a:pt x="596" y="94"/>
                    </a:lnTo>
                    <a:lnTo>
                      <a:pt x="598" y="92"/>
                    </a:lnTo>
                    <a:lnTo>
                      <a:pt x="598" y="90"/>
                    </a:lnTo>
                    <a:lnTo>
                      <a:pt x="596" y="88"/>
                    </a:lnTo>
                    <a:lnTo>
                      <a:pt x="592" y="86"/>
                    </a:lnTo>
                    <a:lnTo>
                      <a:pt x="584" y="86"/>
                    </a:lnTo>
                    <a:lnTo>
                      <a:pt x="574" y="88"/>
                    </a:lnTo>
                    <a:lnTo>
                      <a:pt x="562" y="90"/>
                    </a:lnTo>
                    <a:lnTo>
                      <a:pt x="556" y="92"/>
                    </a:lnTo>
                    <a:lnTo>
                      <a:pt x="556" y="94"/>
                    </a:lnTo>
                    <a:lnTo>
                      <a:pt x="560" y="96"/>
                    </a:lnTo>
                    <a:lnTo>
                      <a:pt x="576" y="96"/>
                    </a:lnTo>
                    <a:lnTo>
                      <a:pt x="590" y="96"/>
                    </a:lnTo>
                    <a:close/>
                    <a:moveTo>
                      <a:pt x="554" y="70"/>
                    </a:moveTo>
                    <a:lnTo>
                      <a:pt x="554" y="70"/>
                    </a:lnTo>
                    <a:lnTo>
                      <a:pt x="554" y="72"/>
                    </a:lnTo>
                    <a:lnTo>
                      <a:pt x="554" y="74"/>
                    </a:lnTo>
                    <a:lnTo>
                      <a:pt x="562" y="78"/>
                    </a:lnTo>
                    <a:lnTo>
                      <a:pt x="572" y="80"/>
                    </a:lnTo>
                    <a:lnTo>
                      <a:pt x="582" y="80"/>
                    </a:lnTo>
                    <a:lnTo>
                      <a:pt x="584" y="78"/>
                    </a:lnTo>
                    <a:lnTo>
                      <a:pt x="584" y="76"/>
                    </a:lnTo>
                    <a:lnTo>
                      <a:pt x="576" y="72"/>
                    </a:lnTo>
                    <a:lnTo>
                      <a:pt x="564" y="68"/>
                    </a:lnTo>
                    <a:lnTo>
                      <a:pt x="558" y="68"/>
                    </a:lnTo>
                    <a:lnTo>
                      <a:pt x="554" y="70"/>
                    </a:lnTo>
                    <a:close/>
                    <a:moveTo>
                      <a:pt x="1962" y="108"/>
                    </a:moveTo>
                    <a:lnTo>
                      <a:pt x="1962" y="108"/>
                    </a:lnTo>
                    <a:lnTo>
                      <a:pt x="1950" y="114"/>
                    </a:lnTo>
                    <a:lnTo>
                      <a:pt x="1938" y="120"/>
                    </a:lnTo>
                    <a:lnTo>
                      <a:pt x="1916" y="128"/>
                    </a:lnTo>
                    <a:lnTo>
                      <a:pt x="1908" y="132"/>
                    </a:lnTo>
                    <a:lnTo>
                      <a:pt x="1906" y="134"/>
                    </a:lnTo>
                    <a:lnTo>
                      <a:pt x="1908" y="136"/>
                    </a:lnTo>
                    <a:lnTo>
                      <a:pt x="1918" y="138"/>
                    </a:lnTo>
                    <a:lnTo>
                      <a:pt x="1930" y="138"/>
                    </a:lnTo>
                    <a:lnTo>
                      <a:pt x="1938" y="142"/>
                    </a:lnTo>
                    <a:lnTo>
                      <a:pt x="1952" y="146"/>
                    </a:lnTo>
                    <a:lnTo>
                      <a:pt x="1968" y="154"/>
                    </a:lnTo>
                    <a:lnTo>
                      <a:pt x="1980" y="156"/>
                    </a:lnTo>
                    <a:lnTo>
                      <a:pt x="1994" y="158"/>
                    </a:lnTo>
                    <a:lnTo>
                      <a:pt x="2010" y="158"/>
                    </a:lnTo>
                    <a:lnTo>
                      <a:pt x="2016" y="158"/>
                    </a:lnTo>
                    <a:lnTo>
                      <a:pt x="2020" y="156"/>
                    </a:lnTo>
                    <a:lnTo>
                      <a:pt x="2022" y="152"/>
                    </a:lnTo>
                    <a:lnTo>
                      <a:pt x="2024" y="150"/>
                    </a:lnTo>
                    <a:lnTo>
                      <a:pt x="2028" y="146"/>
                    </a:lnTo>
                    <a:lnTo>
                      <a:pt x="2040" y="142"/>
                    </a:lnTo>
                    <a:lnTo>
                      <a:pt x="2058" y="140"/>
                    </a:lnTo>
                    <a:lnTo>
                      <a:pt x="2100" y="140"/>
                    </a:lnTo>
                    <a:lnTo>
                      <a:pt x="2130" y="140"/>
                    </a:lnTo>
                    <a:lnTo>
                      <a:pt x="2138" y="138"/>
                    </a:lnTo>
                    <a:lnTo>
                      <a:pt x="2142" y="136"/>
                    </a:lnTo>
                    <a:lnTo>
                      <a:pt x="2142" y="130"/>
                    </a:lnTo>
                    <a:lnTo>
                      <a:pt x="2136" y="122"/>
                    </a:lnTo>
                    <a:lnTo>
                      <a:pt x="2132" y="114"/>
                    </a:lnTo>
                    <a:lnTo>
                      <a:pt x="2132" y="112"/>
                    </a:lnTo>
                    <a:lnTo>
                      <a:pt x="2134" y="110"/>
                    </a:lnTo>
                    <a:lnTo>
                      <a:pt x="2140" y="108"/>
                    </a:lnTo>
                    <a:lnTo>
                      <a:pt x="2146" y="106"/>
                    </a:lnTo>
                    <a:lnTo>
                      <a:pt x="2162" y="104"/>
                    </a:lnTo>
                    <a:lnTo>
                      <a:pt x="2164" y="102"/>
                    </a:lnTo>
                    <a:lnTo>
                      <a:pt x="2166" y="100"/>
                    </a:lnTo>
                    <a:lnTo>
                      <a:pt x="2164" y="96"/>
                    </a:lnTo>
                    <a:lnTo>
                      <a:pt x="2160" y="92"/>
                    </a:lnTo>
                    <a:lnTo>
                      <a:pt x="2154" y="90"/>
                    </a:lnTo>
                    <a:lnTo>
                      <a:pt x="2142" y="88"/>
                    </a:lnTo>
                    <a:lnTo>
                      <a:pt x="2136" y="88"/>
                    </a:lnTo>
                    <a:lnTo>
                      <a:pt x="2128" y="86"/>
                    </a:lnTo>
                    <a:lnTo>
                      <a:pt x="2118" y="82"/>
                    </a:lnTo>
                    <a:lnTo>
                      <a:pt x="2110" y="74"/>
                    </a:lnTo>
                    <a:lnTo>
                      <a:pt x="2090" y="60"/>
                    </a:lnTo>
                    <a:lnTo>
                      <a:pt x="2082" y="56"/>
                    </a:lnTo>
                    <a:lnTo>
                      <a:pt x="2076" y="52"/>
                    </a:lnTo>
                    <a:lnTo>
                      <a:pt x="2068" y="50"/>
                    </a:lnTo>
                    <a:lnTo>
                      <a:pt x="2060" y="50"/>
                    </a:lnTo>
                    <a:lnTo>
                      <a:pt x="2052" y="54"/>
                    </a:lnTo>
                    <a:lnTo>
                      <a:pt x="2044" y="58"/>
                    </a:lnTo>
                    <a:lnTo>
                      <a:pt x="2034" y="62"/>
                    </a:lnTo>
                    <a:lnTo>
                      <a:pt x="2026" y="66"/>
                    </a:lnTo>
                    <a:lnTo>
                      <a:pt x="2008" y="68"/>
                    </a:lnTo>
                    <a:lnTo>
                      <a:pt x="1988" y="74"/>
                    </a:lnTo>
                    <a:lnTo>
                      <a:pt x="1978" y="78"/>
                    </a:lnTo>
                    <a:lnTo>
                      <a:pt x="1964" y="84"/>
                    </a:lnTo>
                    <a:lnTo>
                      <a:pt x="1954" y="92"/>
                    </a:lnTo>
                    <a:lnTo>
                      <a:pt x="1952" y="94"/>
                    </a:lnTo>
                    <a:lnTo>
                      <a:pt x="1954" y="96"/>
                    </a:lnTo>
                    <a:lnTo>
                      <a:pt x="1960" y="98"/>
                    </a:lnTo>
                    <a:lnTo>
                      <a:pt x="1964" y="98"/>
                    </a:lnTo>
                    <a:lnTo>
                      <a:pt x="1968" y="98"/>
                    </a:lnTo>
                    <a:lnTo>
                      <a:pt x="1968" y="100"/>
                    </a:lnTo>
                    <a:lnTo>
                      <a:pt x="1968" y="102"/>
                    </a:lnTo>
                    <a:lnTo>
                      <a:pt x="1962" y="108"/>
                    </a:lnTo>
                    <a:close/>
                    <a:moveTo>
                      <a:pt x="3810" y="584"/>
                    </a:moveTo>
                    <a:lnTo>
                      <a:pt x="3810" y="584"/>
                    </a:lnTo>
                    <a:lnTo>
                      <a:pt x="3826" y="588"/>
                    </a:lnTo>
                    <a:lnTo>
                      <a:pt x="3834" y="588"/>
                    </a:lnTo>
                    <a:lnTo>
                      <a:pt x="3840" y="584"/>
                    </a:lnTo>
                    <a:lnTo>
                      <a:pt x="3842" y="580"/>
                    </a:lnTo>
                    <a:lnTo>
                      <a:pt x="3842" y="574"/>
                    </a:lnTo>
                    <a:lnTo>
                      <a:pt x="3846" y="570"/>
                    </a:lnTo>
                    <a:lnTo>
                      <a:pt x="3852" y="568"/>
                    </a:lnTo>
                    <a:lnTo>
                      <a:pt x="3864" y="570"/>
                    </a:lnTo>
                    <a:lnTo>
                      <a:pt x="3878" y="574"/>
                    </a:lnTo>
                    <a:lnTo>
                      <a:pt x="3890" y="572"/>
                    </a:lnTo>
                    <a:lnTo>
                      <a:pt x="3900" y="570"/>
                    </a:lnTo>
                    <a:lnTo>
                      <a:pt x="3910" y="566"/>
                    </a:lnTo>
                    <a:lnTo>
                      <a:pt x="3918" y="562"/>
                    </a:lnTo>
                    <a:lnTo>
                      <a:pt x="3926" y="560"/>
                    </a:lnTo>
                    <a:lnTo>
                      <a:pt x="3934" y="562"/>
                    </a:lnTo>
                    <a:lnTo>
                      <a:pt x="3942" y="566"/>
                    </a:lnTo>
                    <a:lnTo>
                      <a:pt x="3952" y="570"/>
                    </a:lnTo>
                    <a:lnTo>
                      <a:pt x="3962" y="572"/>
                    </a:lnTo>
                    <a:lnTo>
                      <a:pt x="3974" y="572"/>
                    </a:lnTo>
                    <a:lnTo>
                      <a:pt x="3986" y="570"/>
                    </a:lnTo>
                    <a:lnTo>
                      <a:pt x="4014" y="562"/>
                    </a:lnTo>
                    <a:lnTo>
                      <a:pt x="4048" y="552"/>
                    </a:lnTo>
                    <a:lnTo>
                      <a:pt x="4056" y="546"/>
                    </a:lnTo>
                    <a:lnTo>
                      <a:pt x="4060" y="542"/>
                    </a:lnTo>
                    <a:lnTo>
                      <a:pt x="4060" y="538"/>
                    </a:lnTo>
                    <a:lnTo>
                      <a:pt x="4056" y="534"/>
                    </a:lnTo>
                    <a:lnTo>
                      <a:pt x="4054" y="530"/>
                    </a:lnTo>
                    <a:lnTo>
                      <a:pt x="4054" y="528"/>
                    </a:lnTo>
                    <a:lnTo>
                      <a:pt x="4056" y="524"/>
                    </a:lnTo>
                    <a:lnTo>
                      <a:pt x="4066" y="524"/>
                    </a:lnTo>
                    <a:lnTo>
                      <a:pt x="4070" y="522"/>
                    </a:lnTo>
                    <a:lnTo>
                      <a:pt x="4074" y="520"/>
                    </a:lnTo>
                    <a:lnTo>
                      <a:pt x="4076" y="518"/>
                    </a:lnTo>
                    <a:lnTo>
                      <a:pt x="4074" y="516"/>
                    </a:lnTo>
                    <a:lnTo>
                      <a:pt x="4068" y="512"/>
                    </a:lnTo>
                    <a:lnTo>
                      <a:pt x="4056" y="506"/>
                    </a:lnTo>
                    <a:lnTo>
                      <a:pt x="4042" y="500"/>
                    </a:lnTo>
                    <a:lnTo>
                      <a:pt x="4026" y="498"/>
                    </a:lnTo>
                    <a:lnTo>
                      <a:pt x="4010" y="496"/>
                    </a:lnTo>
                    <a:lnTo>
                      <a:pt x="3994" y="498"/>
                    </a:lnTo>
                    <a:lnTo>
                      <a:pt x="3980" y="498"/>
                    </a:lnTo>
                    <a:lnTo>
                      <a:pt x="3968" y="496"/>
                    </a:lnTo>
                    <a:lnTo>
                      <a:pt x="3958" y="490"/>
                    </a:lnTo>
                    <a:lnTo>
                      <a:pt x="3948" y="484"/>
                    </a:lnTo>
                    <a:lnTo>
                      <a:pt x="3938" y="478"/>
                    </a:lnTo>
                    <a:lnTo>
                      <a:pt x="3928" y="472"/>
                    </a:lnTo>
                    <a:lnTo>
                      <a:pt x="3918" y="470"/>
                    </a:lnTo>
                    <a:lnTo>
                      <a:pt x="3912" y="472"/>
                    </a:lnTo>
                    <a:lnTo>
                      <a:pt x="3906" y="474"/>
                    </a:lnTo>
                    <a:lnTo>
                      <a:pt x="3898" y="480"/>
                    </a:lnTo>
                    <a:lnTo>
                      <a:pt x="3894" y="486"/>
                    </a:lnTo>
                    <a:lnTo>
                      <a:pt x="3892" y="492"/>
                    </a:lnTo>
                    <a:lnTo>
                      <a:pt x="3894" y="498"/>
                    </a:lnTo>
                    <a:lnTo>
                      <a:pt x="3900" y="506"/>
                    </a:lnTo>
                    <a:lnTo>
                      <a:pt x="3900" y="510"/>
                    </a:lnTo>
                    <a:lnTo>
                      <a:pt x="3896" y="512"/>
                    </a:lnTo>
                    <a:lnTo>
                      <a:pt x="3890" y="512"/>
                    </a:lnTo>
                    <a:lnTo>
                      <a:pt x="3882" y="508"/>
                    </a:lnTo>
                    <a:lnTo>
                      <a:pt x="3862" y="498"/>
                    </a:lnTo>
                    <a:lnTo>
                      <a:pt x="3842" y="484"/>
                    </a:lnTo>
                    <a:lnTo>
                      <a:pt x="3822" y="472"/>
                    </a:lnTo>
                    <a:lnTo>
                      <a:pt x="3814" y="468"/>
                    </a:lnTo>
                    <a:lnTo>
                      <a:pt x="3808" y="468"/>
                    </a:lnTo>
                    <a:lnTo>
                      <a:pt x="3800" y="466"/>
                    </a:lnTo>
                    <a:lnTo>
                      <a:pt x="3794" y="468"/>
                    </a:lnTo>
                    <a:lnTo>
                      <a:pt x="3778" y="476"/>
                    </a:lnTo>
                    <a:lnTo>
                      <a:pt x="3758" y="488"/>
                    </a:lnTo>
                    <a:lnTo>
                      <a:pt x="3748" y="496"/>
                    </a:lnTo>
                    <a:lnTo>
                      <a:pt x="3746" y="502"/>
                    </a:lnTo>
                    <a:lnTo>
                      <a:pt x="3746" y="508"/>
                    </a:lnTo>
                    <a:lnTo>
                      <a:pt x="3748" y="514"/>
                    </a:lnTo>
                    <a:lnTo>
                      <a:pt x="3752" y="524"/>
                    </a:lnTo>
                    <a:lnTo>
                      <a:pt x="3752" y="530"/>
                    </a:lnTo>
                    <a:lnTo>
                      <a:pt x="3746" y="532"/>
                    </a:lnTo>
                    <a:lnTo>
                      <a:pt x="3742" y="536"/>
                    </a:lnTo>
                    <a:lnTo>
                      <a:pt x="3742" y="542"/>
                    </a:lnTo>
                    <a:lnTo>
                      <a:pt x="3744" y="548"/>
                    </a:lnTo>
                    <a:lnTo>
                      <a:pt x="3752" y="554"/>
                    </a:lnTo>
                    <a:lnTo>
                      <a:pt x="3762" y="560"/>
                    </a:lnTo>
                    <a:lnTo>
                      <a:pt x="3776" y="568"/>
                    </a:lnTo>
                    <a:lnTo>
                      <a:pt x="3810" y="584"/>
                    </a:lnTo>
                    <a:close/>
                    <a:moveTo>
                      <a:pt x="4172" y="572"/>
                    </a:moveTo>
                    <a:lnTo>
                      <a:pt x="4172" y="572"/>
                    </a:lnTo>
                    <a:lnTo>
                      <a:pt x="4198" y="578"/>
                    </a:lnTo>
                    <a:lnTo>
                      <a:pt x="4218" y="578"/>
                    </a:lnTo>
                    <a:lnTo>
                      <a:pt x="4262" y="576"/>
                    </a:lnTo>
                    <a:lnTo>
                      <a:pt x="4276" y="574"/>
                    </a:lnTo>
                    <a:lnTo>
                      <a:pt x="4288" y="570"/>
                    </a:lnTo>
                    <a:lnTo>
                      <a:pt x="4294" y="566"/>
                    </a:lnTo>
                    <a:lnTo>
                      <a:pt x="4300" y="560"/>
                    </a:lnTo>
                    <a:lnTo>
                      <a:pt x="4300" y="556"/>
                    </a:lnTo>
                    <a:lnTo>
                      <a:pt x="4300" y="552"/>
                    </a:lnTo>
                    <a:lnTo>
                      <a:pt x="4296" y="550"/>
                    </a:lnTo>
                    <a:lnTo>
                      <a:pt x="4288" y="550"/>
                    </a:lnTo>
                    <a:lnTo>
                      <a:pt x="4280" y="550"/>
                    </a:lnTo>
                    <a:lnTo>
                      <a:pt x="4274" y="548"/>
                    </a:lnTo>
                    <a:lnTo>
                      <a:pt x="4266" y="540"/>
                    </a:lnTo>
                    <a:lnTo>
                      <a:pt x="4260" y="536"/>
                    </a:lnTo>
                    <a:lnTo>
                      <a:pt x="4252" y="534"/>
                    </a:lnTo>
                    <a:lnTo>
                      <a:pt x="4244" y="536"/>
                    </a:lnTo>
                    <a:lnTo>
                      <a:pt x="4230" y="540"/>
                    </a:lnTo>
                    <a:lnTo>
                      <a:pt x="4220" y="542"/>
                    </a:lnTo>
                    <a:lnTo>
                      <a:pt x="4214" y="542"/>
                    </a:lnTo>
                    <a:lnTo>
                      <a:pt x="4212" y="540"/>
                    </a:lnTo>
                    <a:lnTo>
                      <a:pt x="4212" y="536"/>
                    </a:lnTo>
                    <a:lnTo>
                      <a:pt x="4210" y="532"/>
                    </a:lnTo>
                    <a:lnTo>
                      <a:pt x="4204" y="528"/>
                    </a:lnTo>
                    <a:lnTo>
                      <a:pt x="4194" y="526"/>
                    </a:lnTo>
                    <a:lnTo>
                      <a:pt x="4174" y="528"/>
                    </a:lnTo>
                    <a:lnTo>
                      <a:pt x="4154" y="528"/>
                    </a:lnTo>
                    <a:lnTo>
                      <a:pt x="4142" y="526"/>
                    </a:lnTo>
                    <a:lnTo>
                      <a:pt x="4132" y="524"/>
                    </a:lnTo>
                    <a:lnTo>
                      <a:pt x="4126" y="520"/>
                    </a:lnTo>
                    <a:lnTo>
                      <a:pt x="4122" y="514"/>
                    </a:lnTo>
                    <a:lnTo>
                      <a:pt x="4122" y="516"/>
                    </a:lnTo>
                    <a:lnTo>
                      <a:pt x="4118" y="518"/>
                    </a:lnTo>
                    <a:lnTo>
                      <a:pt x="4112" y="530"/>
                    </a:lnTo>
                    <a:lnTo>
                      <a:pt x="4108" y="536"/>
                    </a:lnTo>
                    <a:lnTo>
                      <a:pt x="4110" y="542"/>
                    </a:lnTo>
                    <a:lnTo>
                      <a:pt x="4114" y="550"/>
                    </a:lnTo>
                    <a:lnTo>
                      <a:pt x="4126" y="556"/>
                    </a:lnTo>
                    <a:lnTo>
                      <a:pt x="4144" y="564"/>
                    </a:lnTo>
                    <a:lnTo>
                      <a:pt x="4172" y="572"/>
                    </a:lnTo>
                    <a:close/>
                    <a:moveTo>
                      <a:pt x="5478" y="870"/>
                    </a:moveTo>
                    <a:lnTo>
                      <a:pt x="5478" y="866"/>
                    </a:lnTo>
                    <a:lnTo>
                      <a:pt x="5548" y="856"/>
                    </a:lnTo>
                    <a:lnTo>
                      <a:pt x="5558" y="854"/>
                    </a:lnTo>
                    <a:lnTo>
                      <a:pt x="5564" y="852"/>
                    </a:lnTo>
                    <a:lnTo>
                      <a:pt x="5570" y="848"/>
                    </a:lnTo>
                    <a:lnTo>
                      <a:pt x="5572" y="846"/>
                    </a:lnTo>
                    <a:lnTo>
                      <a:pt x="5570" y="842"/>
                    </a:lnTo>
                    <a:lnTo>
                      <a:pt x="5568" y="838"/>
                    </a:lnTo>
                    <a:lnTo>
                      <a:pt x="5560" y="832"/>
                    </a:lnTo>
                    <a:lnTo>
                      <a:pt x="5546" y="826"/>
                    </a:lnTo>
                    <a:lnTo>
                      <a:pt x="5530" y="820"/>
                    </a:lnTo>
                    <a:lnTo>
                      <a:pt x="5512" y="818"/>
                    </a:lnTo>
                    <a:lnTo>
                      <a:pt x="5494" y="818"/>
                    </a:lnTo>
                    <a:lnTo>
                      <a:pt x="5478" y="820"/>
                    </a:lnTo>
                    <a:lnTo>
                      <a:pt x="5478" y="818"/>
                    </a:lnTo>
                    <a:lnTo>
                      <a:pt x="5454" y="826"/>
                    </a:lnTo>
                    <a:lnTo>
                      <a:pt x="5444" y="832"/>
                    </a:lnTo>
                    <a:lnTo>
                      <a:pt x="5434" y="838"/>
                    </a:lnTo>
                    <a:lnTo>
                      <a:pt x="5428" y="844"/>
                    </a:lnTo>
                    <a:lnTo>
                      <a:pt x="5422" y="850"/>
                    </a:lnTo>
                    <a:lnTo>
                      <a:pt x="5418" y="856"/>
                    </a:lnTo>
                    <a:lnTo>
                      <a:pt x="5418" y="864"/>
                    </a:lnTo>
                    <a:lnTo>
                      <a:pt x="5418" y="868"/>
                    </a:lnTo>
                    <a:lnTo>
                      <a:pt x="5422" y="872"/>
                    </a:lnTo>
                    <a:lnTo>
                      <a:pt x="5426" y="874"/>
                    </a:lnTo>
                    <a:lnTo>
                      <a:pt x="5434" y="874"/>
                    </a:lnTo>
                    <a:lnTo>
                      <a:pt x="5452" y="874"/>
                    </a:lnTo>
                    <a:lnTo>
                      <a:pt x="5478" y="870"/>
                    </a:lnTo>
                    <a:close/>
                    <a:moveTo>
                      <a:pt x="2060" y="404"/>
                    </a:moveTo>
                    <a:lnTo>
                      <a:pt x="2060" y="404"/>
                    </a:lnTo>
                    <a:lnTo>
                      <a:pt x="2068" y="408"/>
                    </a:lnTo>
                    <a:lnTo>
                      <a:pt x="2078" y="408"/>
                    </a:lnTo>
                    <a:lnTo>
                      <a:pt x="2088" y="406"/>
                    </a:lnTo>
                    <a:lnTo>
                      <a:pt x="2096" y="404"/>
                    </a:lnTo>
                    <a:lnTo>
                      <a:pt x="2104" y="400"/>
                    </a:lnTo>
                    <a:lnTo>
                      <a:pt x="2108" y="396"/>
                    </a:lnTo>
                    <a:lnTo>
                      <a:pt x="2112" y="392"/>
                    </a:lnTo>
                    <a:lnTo>
                      <a:pt x="2112" y="388"/>
                    </a:lnTo>
                    <a:lnTo>
                      <a:pt x="2106" y="386"/>
                    </a:lnTo>
                    <a:lnTo>
                      <a:pt x="2100" y="386"/>
                    </a:lnTo>
                    <a:lnTo>
                      <a:pt x="2080" y="392"/>
                    </a:lnTo>
                    <a:lnTo>
                      <a:pt x="2064" y="398"/>
                    </a:lnTo>
                    <a:lnTo>
                      <a:pt x="2060" y="402"/>
                    </a:lnTo>
                    <a:lnTo>
                      <a:pt x="2058" y="404"/>
                    </a:lnTo>
                    <a:lnTo>
                      <a:pt x="2060" y="404"/>
                    </a:lnTo>
                    <a:close/>
                    <a:moveTo>
                      <a:pt x="3868" y="678"/>
                    </a:moveTo>
                    <a:lnTo>
                      <a:pt x="3868" y="678"/>
                    </a:lnTo>
                    <a:lnTo>
                      <a:pt x="3858" y="686"/>
                    </a:lnTo>
                    <a:lnTo>
                      <a:pt x="3856" y="688"/>
                    </a:lnTo>
                    <a:lnTo>
                      <a:pt x="3858" y="690"/>
                    </a:lnTo>
                    <a:lnTo>
                      <a:pt x="3866" y="690"/>
                    </a:lnTo>
                    <a:lnTo>
                      <a:pt x="3896" y="688"/>
                    </a:lnTo>
                    <a:lnTo>
                      <a:pt x="3916" y="688"/>
                    </a:lnTo>
                    <a:lnTo>
                      <a:pt x="3940" y="692"/>
                    </a:lnTo>
                    <a:lnTo>
                      <a:pt x="3970" y="696"/>
                    </a:lnTo>
                    <a:lnTo>
                      <a:pt x="3990" y="696"/>
                    </a:lnTo>
                    <a:lnTo>
                      <a:pt x="4004" y="694"/>
                    </a:lnTo>
                    <a:lnTo>
                      <a:pt x="4006" y="692"/>
                    </a:lnTo>
                    <a:lnTo>
                      <a:pt x="4008" y="690"/>
                    </a:lnTo>
                    <a:lnTo>
                      <a:pt x="4008" y="686"/>
                    </a:lnTo>
                    <a:lnTo>
                      <a:pt x="4006" y="682"/>
                    </a:lnTo>
                    <a:lnTo>
                      <a:pt x="4000" y="674"/>
                    </a:lnTo>
                    <a:lnTo>
                      <a:pt x="3988" y="664"/>
                    </a:lnTo>
                    <a:lnTo>
                      <a:pt x="3972" y="654"/>
                    </a:lnTo>
                    <a:lnTo>
                      <a:pt x="3956" y="648"/>
                    </a:lnTo>
                    <a:lnTo>
                      <a:pt x="3940" y="644"/>
                    </a:lnTo>
                    <a:lnTo>
                      <a:pt x="3928" y="646"/>
                    </a:lnTo>
                    <a:lnTo>
                      <a:pt x="3916" y="648"/>
                    </a:lnTo>
                    <a:lnTo>
                      <a:pt x="3904" y="654"/>
                    </a:lnTo>
                    <a:lnTo>
                      <a:pt x="3894" y="662"/>
                    </a:lnTo>
                    <a:lnTo>
                      <a:pt x="3868" y="678"/>
                    </a:lnTo>
                    <a:close/>
                    <a:moveTo>
                      <a:pt x="5044" y="956"/>
                    </a:moveTo>
                    <a:lnTo>
                      <a:pt x="5044" y="956"/>
                    </a:lnTo>
                    <a:lnTo>
                      <a:pt x="5046" y="954"/>
                    </a:lnTo>
                    <a:lnTo>
                      <a:pt x="5046" y="950"/>
                    </a:lnTo>
                    <a:lnTo>
                      <a:pt x="5044" y="948"/>
                    </a:lnTo>
                    <a:lnTo>
                      <a:pt x="5042" y="946"/>
                    </a:lnTo>
                    <a:lnTo>
                      <a:pt x="5034" y="942"/>
                    </a:lnTo>
                    <a:lnTo>
                      <a:pt x="5024" y="940"/>
                    </a:lnTo>
                    <a:lnTo>
                      <a:pt x="5012" y="938"/>
                    </a:lnTo>
                    <a:lnTo>
                      <a:pt x="5000" y="938"/>
                    </a:lnTo>
                    <a:lnTo>
                      <a:pt x="4990" y="938"/>
                    </a:lnTo>
                    <a:lnTo>
                      <a:pt x="4984" y="942"/>
                    </a:lnTo>
                    <a:lnTo>
                      <a:pt x="4982" y="944"/>
                    </a:lnTo>
                    <a:lnTo>
                      <a:pt x="4982" y="946"/>
                    </a:lnTo>
                    <a:lnTo>
                      <a:pt x="4986" y="950"/>
                    </a:lnTo>
                    <a:lnTo>
                      <a:pt x="4992" y="954"/>
                    </a:lnTo>
                    <a:lnTo>
                      <a:pt x="5002" y="958"/>
                    </a:lnTo>
                    <a:lnTo>
                      <a:pt x="5014" y="960"/>
                    </a:lnTo>
                    <a:lnTo>
                      <a:pt x="5024" y="962"/>
                    </a:lnTo>
                    <a:lnTo>
                      <a:pt x="5034" y="960"/>
                    </a:lnTo>
                    <a:lnTo>
                      <a:pt x="5044" y="956"/>
                    </a:lnTo>
                    <a:close/>
                    <a:moveTo>
                      <a:pt x="3698" y="530"/>
                    </a:moveTo>
                    <a:lnTo>
                      <a:pt x="3698" y="530"/>
                    </a:lnTo>
                    <a:lnTo>
                      <a:pt x="3704" y="524"/>
                    </a:lnTo>
                    <a:lnTo>
                      <a:pt x="3706" y="518"/>
                    </a:lnTo>
                    <a:lnTo>
                      <a:pt x="3704" y="508"/>
                    </a:lnTo>
                    <a:lnTo>
                      <a:pt x="3696" y="498"/>
                    </a:lnTo>
                    <a:lnTo>
                      <a:pt x="3694" y="496"/>
                    </a:lnTo>
                    <a:lnTo>
                      <a:pt x="3692" y="496"/>
                    </a:lnTo>
                    <a:lnTo>
                      <a:pt x="3688" y="500"/>
                    </a:lnTo>
                    <a:lnTo>
                      <a:pt x="3684" y="506"/>
                    </a:lnTo>
                    <a:lnTo>
                      <a:pt x="3682" y="514"/>
                    </a:lnTo>
                    <a:lnTo>
                      <a:pt x="3680" y="524"/>
                    </a:lnTo>
                    <a:lnTo>
                      <a:pt x="3684" y="530"/>
                    </a:lnTo>
                    <a:lnTo>
                      <a:pt x="3686" y="532"/>
                    </a:lnTo>
                    <a:lnTo>
                      <a:pt x="3688" y="532"/>
                    </a:lnTo>
                    <a:lnTo>
                      <a:pt x="3692" y="532"/>
                    </a:lnTo>
                    <a:lnTo>
                      <a:pt x="3698" y="530"/>
                    </a:lnTo>
                    <a:close/>
                    <a:moveTo>
                      <a:pt x="2260" y="322"/>
                    </a:moveTo>
                    <a:lnTo>
                      <a:pt x="2260" y="322"/>
                    </a:lnTo>
                    <a:lnTo>
                      <a:pt x="2286" y="316"/>
                    </a:lnTo>
                    <a:lnTo>
                      <a:pt x="2314" y="310"/>
                    </a:lnTo>
                    <a:lnTo>
                      <a:pt x="2350" y="306"/>
                    </a:lnTo>
                    <a:lnTo>
                      <a:pt x="2398" y="304"/>
                    </a:lnTo>
                    <a:lnTo>
                      <a:pt x="2424" y="302"/>
                    </a:lnTo>
                    <a:lnTo>
                      <a:pt x="2442" y="298"/>
                    </a:lnTo>
                    <a:lnTo>
                      <a:pt x="2456" y="294"/>
                    </a:lnTo>
                    <a:lnTo>
                      <a:pt x="2464" y="288"/>
                    </a:lnTo>
                    <a:lnTo>
                      <a:pt x="2466" y="284"/>
                    </a:lnTo>
                    <a:lnTo>
                      <a:pt x="2466" y="282"/>
                    </a:lnTo>
                    <a:lnTo>
                      <a:pt x="2462" y="274"/>
                    </a:lnTo>
                    <a:lnTo>
                      <a:pt x="2456" y="266"/>
                    </a:lnTo>
                    <a:lnTo>
                      <a:pt x="2442" y="256"/>
                    </a:lnTo>
                    <a:lnTo>
                      <a:pt x="2420" y="240"/>
                    </a:lnTo>
                    <a:lnTo>
                      <a:pt x="2412" y="234"/>
                    </a:lnTo>
                    <a:lnTo>
                      <a:pt x="2406" y="232"/>
                    </a:lnTo>
                    <a:lnTo>
                      <a:pt x="2398" y="232"/>
                    </a:lnTo>
                    <a:lnTo>
                      <a:pt x="2388" y="236"/>
                    </a:lnTo>
                    <a:lnTo>
                      <a:pt x="2376" y="242"/>
                    </a:lnTo>
                    <a:lnTo>
                      <a:pt x="2360" y="254"/>
                    </a:lnTo>
                    <a:lnTo>
                      <a:pt x="2346" y="262"/>
                    </a:lnTo>
                    <a:lnTo>
                      <a:pt x="2344" y="264"/>
                    </a:lnTo>
                    <a:lnTo>
                      <a:pt x="2344" y="262"/>
                    </a:lnTo>
                    <a:lnTo>
                      <a:pt x="2356" y="248"/>
                    </a:lnTo>
                    <a:lnTo>
                      <a:pt x="2364" y="238"/>
                    </a:lnTo>
                    <a:lnTo>
                      <a:pt x="2372" y="226"/>
                    </a:lnTo>
                    <a:lnTo>
                      <a:pt x="2376" y="218"/>
                    </a:lnTo>
                    <a:lnTo>
                      <a:pt x="2374" y="214"/>
                    </a:lnTo>
                    <a:lnTo>
                      <a:pt x="2372" y="212"/>
                    </a:lnTo>
                    <a:lnTo>
                      <a:pt x="2354" y="208"/>
                    </a:lnTo>
                    <a:lnTo>
                      <a:pt x="2344" y="206"/>
                    </a:lnTo>
                    <a:lnTo>
                      <a:pt x="2336" y="206"/>
                    </a:lnTo>
                    <a:lnTo>
                      <a:pt x="2326" y="208"/>
                    </a:lnTo>
                    <a:lnTo>
                      <a:pt x="2316" y="212"/>
                    </a:lnTo>
                    <a:lnTo>
                      <a:pt x="2306" y="222"/>
                    </a:lnTo>
                    <a:lnTo>
                      <a:pt x="2294" y="236"/>
                    </a:lnTo>
                    <a:lnTo>
                      <a:pt x="2286" y="248"/>
                    </a:lnTo>
                    <a:lnTo>
                      <a:pt x="2278" y="256"/>
                    </a:lnTo>
                    <a:lnTo>
                      <a:pt x="2266" y="264"/>
                    </a:lnTo>
                    <a:lnTo>
                      <a:pt x="2260" y="270"/>
                    </a:lnTo>
                    <a:lnTo>
                      <a:pt x="2252" y="278"/>
                    </a:lnTo>
                    <a:lnTo>
                      <a:pt x="2242" y="292"/>
                    </a:lnTo>
                    <a:lnTo>
                      <a:pt x="2230" y="314"/>
                    </a:lnTo>
                    <a:lnTo>
                      <a:pt x="2226" y="324"/>
                    </a:lnTo>
                    <a:lnTo>
                      <a:pt x="2226" y="328"/>
                    </a:lnTo>
                    <a:lnTo>
                      <a:pt x="2228" y="330"/>
                    </a:lnTo>
                    <a:lnTo>
                      <a:pt x="2238" y="328"/>
                    </a:lnTo>
                    <a:lnTo>
                      <a:pt x="2260" y="322"/>
                    </a:lnTo>
                    <a:close/>
                    <a:moveTo>
                      <a:pt x="2156" y="150"/>
                    </a:moveTo>
                    <a:lnTo>
                      <a:pt x="2156" y="150"/>
                    </a:lnTo>
                    <a:lnTo>
                      <a:pt x="2132" y="150"/>
                    </a:lnTo>
                    <a:lnTo>
                      <a:pt x="2100" y="148"/>
                    </a:lnTo>
                    <a:lnTo>
                      <a:pt x="2084" y="150"/>
                    </a:lnTo>
                    <a:lnTo>
                      <a:pt x="2068" y="152"/>
                    </a:lnTo>
                    <a:lnTo>
                      <a:pt x="2054" y="156"/>
                    </a:lnTo>
                    <a:lnTo>
                      <a:pt x="2042" y="162"/>
                    </a:lnTo>
                    <a:lnTo>
                      <a:pt x="2016" y="178"/>
                    </a:lnTo>
                    <a:lnTo>
                      <a:pt x="1988" y="192"/>
                    </a:lnTo>
                    <a:lnTo>
                      <a:pt x="1980" y="198"/>
                    </a:lnTo>
                    <a:lnTo>
                      <a:pt x="1978" y="200"/>
                    </a:lnTo>
                    <a:lnTo>
                      <a:pt x="1978" y="202"/>
                    </a:lnTo>
                    <a:lnTo>
                      <a:pt x="1980" y="204"/>
                    </a:lnTo>
                    <a:lnTo>
                      <a:pt x="1982" y="204"/>
                    </a:lnTo>
                    <a:lnTo>
                      <a:pt x="1996" y="206"/>
                    </a:lnTo>
                    <a:lnTo>
                      <a:pt x="2012" y="206"/>
                    </a:lnTo>
                    <a:lnTo>
                      <a:pt x="2020" y="208"/>
                    </a:lnTo>
                    <a:lnTo>
                      <a:pt x="2024" y="210"/>
                    </a:lnTo>
                    <a:lnTo>
                      <a:pt x="2024" y="214"/>
                    </a:lnTo>
                    <a:lnTo>
                      <a:pt x="2024" y="218"/>
                    </a:lnTo>
                    <a:lnTo>
                      <a:pt x="2026" y="224"/>
                    </a:lnTo>
                    <a:lnTo>
                      <a:pt x="2030" y="230"/>
                    </a:lnTo>
                    <a:lnTo>
                      <a:pt x="2038" y="234"/>
                    </a:lnTo>
                    <a:lnTo>
                      <a:pt x="2046" y="238"/>
                    </a:lnTo>
                    <a:lnTo>
                      <a:pt x="2054" y="238"/>
                    </a:lnTo>
                    <a:lnTo>
                      <a:pt x="2074" y="240"/>
                    </a:lnTo>
                    <a:lnTo>
                      <a:pt x="2100" y="244"/>
                    </a:lnTo>
                    <a:lnTo>
                      <a:pt x="2118" y="246"/>
                    </a:lnTo>
                    <a:lnTo>
                      <a:pt x="2138" y="252"/>
                    </a:lnTo>
                    <a:lnTo>
                      <a:pt x="2158" y="258"/>
                    </a:lnTo>
                    <a:lnTo>
                      <a:pt x="2180" y="260"/>
                    </a:lnTo>
                    <a:lnTo>
                      <a:pt x="2200" y="260"/>
                    </a:lnTo>
                    <a:lnTo>
                      <a:pt x="2218" y="258"/>
                    </a:lnTo>
                    <a:lnTo>
                      <a:pt x="2232" y="252"/>
                    </a:lnTo>
                    <a:lnTo>
                      <a:pt x="2240" y="248"/>
                    </a:lnTo>
                    <a:lnTo>
                      <a:pt x="2244" y="244"/>
                    </a:lnTo>
                    <a:lnTo>
                      <a:pt x="2244" y="240"/>
                    </a:lnTo>
                    <a:lnTo>
                      <a:pt x="2242" y="238"/>
                    </a:lnTo>
                    <a:lnTo>
                      <a:pt x="2240" y="234"/>
                    </a:lnTo>
                    <a:lnTo>
                      <a:pt x="2236" y="232"/>
                    </a:lnTo>
                    <a:lnTo>
                      <a:pt x="2236" y="228"/>
                    </a:lnTo>
                    <a:lnTo>
                      <a:pt x="2236" y="220"/>
                    </a:lnTo>
                    <a:lnTo>
                      <a:pt x="2238" y="210"/>
                    </a:lnTo>
                    <a:lnTo>
                      <a:pt x="2244" y="202"/>
                    </a:lnTo>
                    <a:lnTo>
                      <a:pt x="2248" y="192"/>
                    </a:lnTo>
                    <a:lnTo>
                      <a:pt x="2252" y="184"/>
                    </a:lnTo>
                    <a:lnTo>
                      <a:pt x="2252" y="180"/>
                    </a:lnTo>
                    <a:lnTo>
                      <a:pt x="2252" y="176"/>
                    </a:lnTo>
                    <a:lnTo>
                      <a:pt x="2250" y="174"/>
                    </a:lnTo>
                    <a:lnTo>
                      <a:pt x="2246" y="172"/>
                    </a:lnTo>
                    <a:lnTo>
                      <a:pt x="2238" y="166"/>
                    </a:lnTo>
                    <a:lnTo>
                      <a:pt x="2234" y="162"/>
                    </a:lnTo>
                    <a:lnTo>
                      <a:pt x="2230" y="160"/>
                    </a:lnTo>
                    <a:lnTo>
                      <a:pt x="2226" y="156"/>
                    </a:lnTo>
                    <a:lnTo>
                      <a:pt x="2220" y="156"/>
                    </a:lnTo>
                    <a:lnTo>
                      <a:pt x="2212" y="156"/>
                    </a:lnTo>
                    <a:lnTo>
                      <a:pt x="2184" y="164"/>
                    </a:lnTo>
                    <a:lnTo>
                      <a:pt x="2170" y="170"/>
                    </a:lnTo>
                    <a:lnTo>
                      <a:pt x="2162" y="170"/>
                    </a:lnTo>
                    <a:lnTo>
                      <a:pt x="2160" y="168"/>
                    </a:lnTo>
                    <a:lnTo>
                      <a:pt x="2162" y="164"/>
                    </a:lnTo>
                    <a:lnTo>
                      <a:pt x="2164" y="158"/>
                    </a:lnTo>
                    <a:lnTo>
                      <a:pt x="2164" y="154"/>
                    </a:lnTo>
                    <a:lnTo>
                      <a:pt x="2164" y="150"/>
                    </a:lnTo>
                    <a:lnTo>
                      <a:pt x="2156" y="150"/>
                    </a:lnTo>
                    <a:close/>
                    <a:moveTo>
                      <a:pt x="3192" y="724"/>
                    </a:moveTo>
                    <a:lnTo>
                      <a:pt x="3192" y="724"/>
                    </a:lnTo>
                    <a:lnTo>
                      <a:pt x="3218" y="728"/>
                    </a:lnTo>
                    <a:lnTo>
                      <a:pt x="3242" y="734"/>
                    </a:lnTo>
                    <a:lnTo>
                      <a:pt x="3268" y="744"/>
                    </a:lnTo>
                    <a:lnTo>
                      <a:pt x="3300" y="758"/>
                    </a:lnTo>
                    <a:lnTo>
                      <a:pt x="3308" y="762"/>
                    </a:lnTo>
                    <a:lnTo>
                      <a:pt x="3314" y="764"/>
                    </a:lnTo>
                    <a:lnTo>
                      <a:pt x="3316" y="762"/>
                    </a:lnTo>
                    <a:lnTo>
                      <a:pt x="3316" y="760"/>
                    </a:lnTo>
                    <a:lnTo>
                      <a:pt x="3314" y="752"/>
                    </a:lnTo>
                    <a:lnTo>
                      <a:pt x="3316" y="748"/>
                    </a:lnTo>
                    <a:lnTo>
                      <a:pt x="3320" y="746"/>
                    </a:lnTo>
                    <a:lnTo>
                      <a:pt x="3332" y="746"/>
                    </a:lnTo>
                    <a:lnTo>
                      <a:pt x="3338" y="746"/>
                    </a:lnTo>
                    <a:lnTo>
                      <a:pt x="3368" y="758"/>
                    </a:lnTo>
                    <a:lnTo>
                      <a:pt x="3390" y="768"/>
                    </a:lnTo>
                    <a:lnTo>
                      <a:pt x="3412" y="778"/>
                    </a:lnTo>
                    <a:lnTo>
                      <a:pt x="3420" y="782"/>
                    </a:lnTo>
                    <a:lnTo>
                      <a:pt x="3428" y="782"/>
                    </a:lnTo>
                    <a:lnTo>
                      <a:pt x="3434" y="778"/>
                    </a:lnTo>
                    <a:lnTo>
                      <a:pt x="3440" y="772"/>
                    </a:lnTo>
                    <a:lnTo>
                      <a:pt x="3440" y="766"/>
                    </a:lnTo>
                    <a:lnTo>
                      <a:pt x="3440" y="762"/>
                    </a:lnTo>
                    <a:lnTo>
                      <a:pt x="3436" y="756"/>
                    </a:lnTo>
                    <a:lnTo>
                      <a:pt x="3430" y="752"/>
                    </a:lnTo>
                    <a:lnTo>
                      <a:pt x="3422" y="748"/>
                    </a:lnTo>
                    <a:lnTo>
                      <a:pt x="3414" y="746"/>
                    </a:lnTo>
                    <a:lnTo>
                      <a:pt x="3412" y="744"/>
                    </a:lnTo>
                    <a:lnTo>
                      <a:pt x="3412" y="742"/>
                    </a:lnTo>
                    <a:lnTo>
                      <a:pt x="3414" y="742"/>
                    </a:lnTo>
                    <a:lnTo>
                      <a:pt x="3422" y="738"/>
                    </a:lnTo>
                    <a:lnTo>
                      <a:pt x="3432" y="736"/>
                    </a:lnTo>
                    <a:lnTo>
                      <a:pt x="3432" y="734"/>
                    </a:lnTo>
                    <a:lnTo>
                      <a:pt x="3432" y="732"/>
                    </a:lnTo>
                    <a:lnTo>
                      <a:pt x="3426" y="730"/>
                    </a:lnTo>
                    <a:lnTo>
                      <a:pt x="3418" y="726"/>
                    </a:lnTo>
                    <a:lnTo>
                      <a:pt x="3410" y="724"/>
                    </a:lnTo>
                    <a:lnTo>
                      <a:pt x="3406" y="720"/>
                    </a:lnTo>
                    <a:lnTo>
                      <a:pt x="3406" y="718"/>
                    </a:lnTo>
                    <a:lnTo>
                      <a:pt x="3416" y="714"/>
                    </a:lnTo>
                    <a:lnTo>
                      <a:pt x="3428" y="710"/>
                    </a:lnTo>
                    <a:lnTo>
                      <a:pt x="3430" y="708"/>
                    </a:lnTo>
                    <a:lnTo>
                      <a:pt x="3430" y="706"/>
                    </a:lnTo>
                    <a:lnTo>
                      <a:pt x="3426" y="702"/>
                    </a:lnTo>
                    <a:lnTo>
                      <a:pt x="3418" y="696"/>
                    </a:lnTo>
                    <a:lnTo>
                      <a:pt x="3392" y="686"/>
                    </a:lnTo>
                    <a:lnTo>
                      <a:pt x="3364" y="676"/>
                    </a:lnTo>
                    <a:lnTo>
                      <a:pt x="3352" y="674"/>
                    </a:lnTo>
                    <a:lnTo>
                      <a:pt x="3342" y="676"/>
                    </a:lnTo>
                    <a:lnTo>
                      <a:pt x="3336" y="678"/>
                    </a:lnTo>
                    <a:lnTo>
                      <a:pt x="3330" y="684"/>
                    </a:lnTo>
                    <a:lnTo>
                      <a:pt x="3326" y="688"/>
                    </a:lnTo>
                    <a:lnTo>
                      <a:pt x="3322" y="690"/>
                    </a:lnTo>
                    <a:lnTo>
                      <a:pt x="3320" y="688"/>
                    </a:lnTo>
                    <a:lnTo>
                      <a:pt x="3316" y="682"/>
                    </a:lnTo>
                    <a:lnTo>
                      <a:pt x="3312" y="676"/>
                    </a:lnTo>
                    <a:lnTo>
                      <a:pt x="3306" y="672"/>
                    </a:lnTo>
                    <a:lnTo>
                      <a:pt x="3302" y="668"/>
                    </a:lnTo>
                    <a:lnTo>
                      <a:pt x="3294" y="668"/>
                    </a:lnTo>
                    <a:lnTo>
                      <a:pt x="3278" y="666"/>
                    </a:lnTo>
                    <a:lnTo>
                      <a:pt x="3270" y="664"/>
                    </a:lnTo>
                    <a:lnTo>
                      <a:pt x="3258" y="660"/>
                    </a:lnTo>
                    <a:lnTo>
                      <a:pt x="3244" y="656"/>
                    </a:lnTo>
                    <a:lnTo>
                      <a:pt x="3230" y="654"/>
                    </a:lnTo>
                    <a:lnTo>
                      <a:pt x="3216" y="656"/>
                    </a:lnTo>
                    <a:lnTo>
                      <a:pt x="3204" y="660"/>
                    </a:lnTo>
                    <a:lnTo>
                      <a:pt x="3194" y="666"/>
                    </a:lnTo>
                    <a:lnTo>
                      <a:pt x="3186" y="674"/>
                    </a:lnTo>
                    <a:lnTo>
                      <a:pt x="3186" y="676"/>
                    </a:lnTo>
                    <a:lnTo>
                      <a:pt x="3186" y="680"/>
                    </a:lnTo>
                    <a:lnTo>
                      <a:pt x="3188" y="684"/>
                    </a:lnTo>
                    <a:lnTo>
                      <a:pt x="3190" y="688"/>
                    </a:lnTo>
                    <a:lnTo>
                      <a:pt x="3194" y="692"/>
                    </a:lnTo>
                    <a:lnTo>
                      <a:pt x="3196" y="696"/>
                    </a:lnTo>
                    <a:lnTo>
                      <a:pt x="3196" y="700"/>
                    </a:lnTo>
                    <a:lnTo>
                      <a:pt x="3196" y="702"/>
                    </a:lnTo>
                    <a:lnTo>
                      <a:pt x="3190" y="706"/>
                    </a:lnTo>
                    <a:lnTo>
                      <a:pt x="3184" y="712"/>
                    </a:lnTo>
                    <a:lnTo>
                      <a:pt x="3178" y="714"/>
                    </a:lnTo>
                    <a:lnTo>
                      <a:pt x="3176" y="718"/>
                    </a:lnTo>
                    <a:lnTo>
                      <a:pt x="3180" y="720"/>
                    </a:lnTo>
                    <a:lnTo>
                      <a:pt x="3192" y="724"/>
                    </a:lnTo>
                    <a:close/>
                    <a:moveTo>
                      <a:pt x="614" y="10"/>
                    </a:moveTo>
                    <a:lnTo>
                      <a:pt x="614" y="10"/>
                    </a:lnTo>
                    <a:lnTo>
                      <a:pt x="614" y="8"/>
                    </a:lnTo>
                    <a:lnTo>
                      <a:pt x="612" y="6"/>
                    </a:lnTo>
                    <a:lnTo>
                      <a:pt x="606" y="4"/>
                    </a:lnTo>
                    <a:lnTo>
                      <a:pt x="588" y="0"/>
                    </a:lnTo>
                    <a:lnTo>
                      <a:pt x="576" y="0"/>
                    </a:lnTo>
                    <a:lnTo>
                      <a:pt x="566" y="2"/>
                    </a:lnTo>
                    <a:lnTo>
                      <a:pt x="558" y="4"/>
                    </a:lnTo>
                    <a:lnTo>
                      <a:pt x="554" y="10"/>
                    </a:lnTo>
                    <a:lnTo>
                      <a:pt x="552" y="12"/>
                    </a:lnTo>
                    <a:lnTo>
                      <a:pt x="554" y="14"/>
                    </a:lnTo>
                    <a:lnTo>
                      <a:pt x="558" y="18"/>
                    </a:lnTo>
                    <a:lnTo>
                      <a:pt x="568" y="18"/>
                    </a:lnTo>
                    <a:lnTo>
                      <a:pt x="578" y="18"/>
                    </a:lnTo>
                    <a:lnTo>
                      <a:pt x="602" y="16"/>
                    </a:lnTo>
                    <a:lnTo>
                      <a:pt x="610" y="12"/>
                    </a:lnTo>
                    <a:lnTo>
                      <a:pt x="614" y="10"/>
                    </a:lnTo>
                    <a:close/>
                    <a:moveTo>
                      <a:pt x="444" y="80"/>
                    </a:moveTo>
                    <a:lnTo>
                      <a:pt x="444" y="80"/>
                    </a:lnTo>
                    <a:lnTo>
                      <a:pt x="450" y="82"/>
                    </a:lnTo>
                    <a:lnTo>
                      <a:pt x="450" y="84"/>
                    </a:lnTo>
                    <a:lnTo>
                      <a:pt x="456" y="86"/>
                    </a:lnTo>
                    <a:lnTo>
                      <a:pt x="474" y="88"/>
                    </a:lnTo>
                    <a:lnTo>
                      <a:pt x="502" y="94"/>
                    </a:lnTo>
                    <a:lnTo>
                      <a:pt x="514" y="100"/>
                    </a:lnTo>
                    <a:lnTo>
                      <a:pt x="524" y="102"/>
                    </a:lnTo>
                    <a:lnTo>
                      <a:pt x="536" y="100"/>
                    </a:lnTo>
                    <a:lnTo>
                      <a:pt x="544" y="96"/>
                    </a:lnTo>
                    <a:lnTo>
                      <a:pt x="546" y="94"/>
                    </a:lnTo>
                    <a:lnTo>
                      <a:pt x="544" y="94"/>
                    </a:lnTo>
                    <a:lnTo>
                      <a:pt x="520" y="88"/>
                    </a:lnTo>
                    <a:lnTo>
                      <a:pt x="492" y="76"/>
                    </a:lnTo>
                    <a:lnTo>
                      <a:pt x="478" y="74"/>
                    </a:lnTo>
                    <a:lnTo>
                      <a:pt x="466" y="76"/>
                    </a:lnTo>
                    <a:lnTo>
                      <a:pt x="458" y="76"/>
                    </a:lnTo>
                    <a:lnTo>
                      <a:pt x="452" y="74"/>
                    </a:lnTo>
                    <a:lnTo>
                      <a:pt x="438" y="70"/>
                    </a:lnTo>
                    <a:lnTo>
                      <a:pt x="432" y="68"/>
                    </a:lnTo>
                    <a:lnTo>
                      <a:pt x="426" y="66"/>
                    </a:lnTo>
                    <a:lnTo>
                      <a:pt x="420" y="68"/>
                    </a:lnTo>
                    <a:lnTo>
                      <a:pt x="414" y="74"/>
                    </a:lnTo>
                    <a:lnTo>
                      <a:pt x="412" y="76"/>
                    </a:lnTo>
                    <a:lnTo>
                      <a:pt x="414" y="76"/>
                    </a:lnTo>
                    <a:lnTo>
                      <a:pt x="420" y="78"/>
                    </a:lnTo>
                    <a:lnTo>
                      <a:pt x="432" y="78"/>
                    </a:lnTo>
                    <a:lnTo>
                      <a:pt x="444" y="80"/>
                    </a:lnTo>
                    <a:close/>
                    <a:moveTo>
                      <a:pt x="296" y="786"/>
                    </a:moveTo>
                    <a:lnTo>
                      <a:pt x="296" y="786"/>
                    </a:lnTo>
                    <a:lnTo>
                      <a:pt x="290" y="806"/>
                    </a:lnTo>
                    <a:lnTo>
                      <a:pt x="288" y="812"/>
                    </a:lnTo>
                    <a:lnTo>
                      <a:pt x="288" y="818"/>
                    </a:lnTo>
                    <a:lnTo>
                      <a:pt x="292" y="822"/>
                    </a:lnTo>
                    <a:lnTo>
                      <a:pt x="300" y="826"/>
                    </a:lnTo>
                    <a:lnTo>
                      <a:pt x="310" y="828"/>
                    </a:lnTo>
                    <a:lnTo>
                      <a:pt x="324" y="828"/>
                    </a:lnTo>
                    <a:lnTo>
                      <a:pt x="340" y="828"/>
                    </a:lnTo>
                    <a:lnTo>
                      <a:pt x="338" y="830"/>
                    </a:lnTo>
                    <a:lnTo>
                      <a:pt x="334" y="832"/>
                    </a:lnTo>
                    <a:lnTo>
                      <a:pt x="330" y="836"/>
                    </a:lnTo>
                    <a:lnTo>
                      <a:pt x="330" y="842"/>
                    </a:lnTo>
                    <a:lnTo>
                      <a:pt x="330" y="844"/>
                    </a:lnTo>
                    <a:lnTo>
                      <a:pt x="332" y="848"/>
                    </a:lnTo>
                    <a:lnTo>
                      <a:pt x="344" y="856"/>
                    </a:lnTo>
                    <a:lnTo>
                      <a:pt x="350" y="858"/>
                    </a:lnTo>
                    <a:lnTo>
                      <a:pt x="356" y="860"/>
                    </a:lnTo>
                    <a:lnTo>
                      <a:pt x="360" y="860"/>
                    </a:lnTo>
                    <a:lnTo>
                      <a:pt x="362" y="858"/>
                    </a:lnTo>
                    <a:lnTo>
                      <a:pt x="364" y="852"/>
                    </a:lnTo>
                    <a:lnTo>
                      <a:pt x="366" y="844"/>
                    </a:lnTo>
                    <a:lnTo>
                      <a:pt x="366" y="838"/>
                    </a:lnTo>
                    <a:lnTo>
                      <a:pt x="366" y="834"/>
                    </a:lnTo>
                    <a:lnTo>
                      <a:pt x="368" y="832"/>
                    </a:lnTo>
                    <a:lnTo>
                      <a:pt x="370" y="834"/>
                    </a:lnTo>
                    <a:lnTo>
                      <a:pt x="376" y="842"/>
                    </a:lnTo>
                    <a:lnTo>
                      <a:pt x="380" y="848"/>
                    </a:lnTo>
                    <a:lnTo>
                      <a:pt x="382" y="852"/>
                    </a:lnTo>
                    <a:lnTo>
                      <a:pt x="382" y="856"/>
                    </a:lnTo>
                    <a:lnTo>
                      <a:pt x="382" y="860"/>
                    </a:lnTo>
                    <a:lnTo>
                      <a:pt x="378" y="866"/>
                    </a:lnTo>
                    <a:lnTo>
                      <a:pt x="372" y="870"/>
                    </a:lnTo>
                    <a:lnTo>
                      <a:pt x="368" y="874"/>
                    </a:lnTo>
                    <a:lnTo>
                      <a:pt x="368" y="876"/>
                    </a:lnTo>
                    <a:lnTo>
                      <a:pt x="374" y="878"/>
                    </a:lnTo>
                    <a:lnTo>
                      <a:pt x="388" y="880"/>
                    </a:lnTo>
                    <a:lnTo>
                      <a:pt x="404" y="882"/>
                    </a:lnTo>
                    <a:lnTo>
                      <a:pt x="414" y="884"/>
                    </a:lnTo>
                    <a:lnTo>
                      <a:pt x="420" y="886"/>
                    </a:lnTo>
                    <a:lnTo>
                      <a:pt x="424" y="888"/>
                    </a:lnTo>
                    <a:lnTo>
                      <a:pt x="426" y="890"/>
                    </a:lnTo>
                    <a:lnTo>
                      <a:pt x="430" y="892"/>
                    </a:lnTo>
                    <a:lnTo>
                      <a:pt x="450" y="892"/>
                    </a:lnTo>
                    <a:lnTo>
                      <a:pt x="464" y="894"/>
                    </a:lnTo>
                    <a:lnTo>
                      <a:pt x="476" y="894"/>
                    </a:lnTo>
                    <a:lnTo>
                      <a:pt x="494" y="898"/>
                    </a:lnTo>
                    <a:lnTo>
                      <a:pt x="504" y="898"/>
                    </a:lnTo>
                    <a:lnTo>
                      <a:pt x="514" y="898"/>
                    </a:lnTo>
                    <a:lnTo>
                      <a:pt x="524" y="894"/>
                    </a:lnTo>
                    <a:lnTo>
                      <a:pt x="536" y="888"/>
                    </a:lnTo>
                    <a:lnTo>
                      <a:pt x="540" y="886"/>
                    </a:lnTo>
                    <a:lnTo>
                      <a:pt x="540" y="884"/>
                    </a:lnTo>
                    <a:lnTo>
                      <a:pt x="540" y="882"/>
                    </a:lnTo>
                    <a:lnTo>
                      <a:pt x="538" y="878"/>
                    </a:lnTo>
                    <a:lnTo>
                      <a:pt x="530" y="874"/>
                    </a:lnTo>
                    <a:lnTo>
                      <a:pt x="518" y="868"/>
                    </a:lnTo>
                    <a:lnTo>
                      <a:pt x="506" y="862"/>
                    </a:lnTo>
                    <a:lnTo>
                      <a:pt x="494" y="854"/>
                    </a:lnTo>
                    <a:lnTo>
                      <a:pt x="484" y="846"/>
                    </a:lnTo>
                    <a:lnTo>
                      <a:pt x="476" y="836"/>
                    </a:lnTo>
                    <a:lnTo>
                      <a:pt x="472" y="826"/>
                    </a:lnTo>
                    <a:lnTo>
                      <a:pt x="466" y="820"/>
                    </a:lnTo>
                    <a:lnTo>
                      <a:pt x="456" y="808"/>
                    </a:lnTo>
                    <a:lnTo>
                      <a:pt x="452" y="800"/>
                    </a:lnTo>
                    <a:lnTo>
                      <a:pt x="448" y="792"/>
                    </a:lnTo>
                    <a:lnTo>
                      <a:pt x="448" y="780"/>
                    </a:lnTo>
                    <a:lnTo>
                      <a:pt x="450" y="764"/>
                    </a:lnTo>
                    <a:lnTo>
                      <a:pt x="452" y="756"/>
                    </a:lnTo>
                    <a:lnTo>
                      <a:pt x="456" y="748"/>
                    </a:lnTo>
                    <a:lnTo>
                      <a:pt x="464" y="736"/>
                    </a:lnTo>
                    <a:lnTo>
                      <a:pt x="474" y="726"/>
                    </a:lnTo>
                    <a:lnTo>
                      <a:pt x="482" y="718"/>
                    </a:lnTo>
                    <a:lnTo>
                      <a:pt x="490" y="712"/>
                    </a:lnTo>
                    <a:lnTo>
                      <a:pt x="492" y="706"/>
                    </a:lnTo>
                    <a:lnTo>
                      <a:pt x="492" y="704"/>
                    </a:lnTo>
                    <a:lnTo>
                      <a:pt x="488" y="702"/>
                    </a:lnTo>
                    <a:lnTo>
                      <a:pt x="478" y="696"/>
                    </a:lnTo>
                    <a:lnTo>
                      <a:pt x="458" y="688"/>
                    </a:lnTo>
                    <a:lnTo>
                      <a:pt x="454" y="686"/>
                    </a:lnTo>
                    <a:lnTo>
                      <a:pt x="448" y="686"/>
                    </a:lnTo>
                    <a:lnTo>
                      <a:pt x="434" y="688"/>
                    </a:lnTo>
                    <a:lnTo>
                      <a:pt x="400" y="694"/>
                    </a:lnTo>
                    <a:lnTo>
                      <a:pt x="378" y="698"/>
                    </a:lnTo>
                    <a:lnTo>
                      <a:pt x="366" y="700"/>
                    </a:lnTo>
                    <a:lnTo>
                      <a:pt x="362" y="702"/>
                    </a:lnTo>
                    <a:lnTo>
                      <a:pt x="362" y="706"/>
                    </a:lnTo>
                    <a:lnTo>
                      <a:pt x="362" y="708"/>
                    </a:lnTo>
                    <a:lnTo>
                      <a:pt x="362" y="712"/>
                    </a:lnTo>
                    <a:lnTo>
                      <a:pt x="358" y="716"/>
                    </a:lnTo>
                    <a:lnTo>
                      <a:pt x="348" y="720"/>
                    </a:lnTo>
                    <a:lnTo>
                      <a:pt x="338" y="726"/>
                    </a:lnTo>
                    <a:lnTo>
                      <a:pt x="334" y="730"/>
                    </a:lnTo>
                    <a:lnTo>
                      <a:pt x="332" y="734"/>
                    </a:lnTo>
                    <a:lnTo>
                      <a:pt x="334" y="736"/>
                    </a:lnTo>
                    <a:lnTo>
                      <a:pt x="338" y="742"/>
                    </a:lnTo>
                    <a:lnTo>
                      <a:pt x="340" y="746"/>
                    </a:lnTo>
                    <a:lnTo>
                      <a:pt x="340" y="754"/>
                    </a:lnTo>
                    <a:lnTo>
                      <a:pt x="336" y="764"/>
                    </a:lnTo>
                    <a:lnTo>
                      <a:pt x="330" y="774"/>
                    </a:lnTo>
                    <a:lnTo>
                      <a:pt x="324" y="778"/>
                    </a:lnTo>
                    <a:lnTo>
                      <a:pt x="320" y="778"/>
                    </a:lnTo>
                    <a:lnTo>
                      <a:pt x="316" y="776"/>
                    </a:lnTo>
                    <a:lnTo>
                      <a:pt x="310" y="774"/>
                    </a:lnTo>
                    <a:lnTo>
                      <a:pt x="306" y="774"/>
                    </a:lnTo>
                    <a:lnTo>
                      <a:pt x="302" y="778"/>
                    </a:lnTo>
                    <a:lnTo>
                      <a:pt x="296" y="786"/>
                    </a:lnTo>
                    <a:close/>
                    <a:moveTo>
                      <a:pt x="282" y="168"/>
                    </a:moveTo>
                    <a:lnTo>
                      <a:pt x="282" y="168"/>
                    </a:lnTo>
                    <a:lnTo>
                      <a:pt x="290" y="168"/>
                    </a:lnTo>
                    <a:lnTo>
                      <a:pt x="294" y="164"/>
                    </a:lnTo>
                    <a:lnTo>
                      <a:pt x="292" y="160"/>
                    </a:lnTo>
                    <a:lnTo>
                      <a:pt x="288" y="158"/>
                    </a:lnTo>
                    <a:lnTo>
                      <a:pt x="280" y="154"/>
                    </a:lnTo>
                    <a:lnTo>
                      <a:pt x="270" y="152"/>
                    </a:lnTo>
                    <a:lnTo>
                      <a:pt x="260" y="152"/>
                    </a:lnTo>
                    <a:lnTo>
                      <a:pt x="250" y="156"/>
                    </a:lnTo>
                    <a:lnTo>
                      <a:pt x="242" y="160"/>
                    </a:lnTo>
                    <a:lnTo>
                      <a:pt x="240" y="164"/>
                    </a:lnTo>
                    <a:lnTo>
                      <a:pt x="240" y="166"/>
                    </a:lnTo>
                    <a:lnTo>
                      <a:pt x="244" y="166"/>
                    </a:lnTo>
                    <a:lnTo>
                      <a:pt x="260" y="168"/>
                    </a:lnTo>
                    <a:lnTo>
                      <a:pt x="282" y="168"/>
                    </a:lnTo>
                    <a:close/>
                    <a:moveTo>
                      <a:pt x="416" y="96"/>
                    </a:moveTo>
                    <a:lnTo>
                      <a:pt x="416" y="96"/>
                    </a:lnTo>
                    <a:lnTo>
                      <a:pt x="424" y="96"/>
                    </a:lnTo>
                    <a:lnTo>
                      <a:pt x="428" y="100"/>
                    </a:lnTo>
                    <a:lnTo>
                      <a:pt x="432" y="100"/>
                    </a:lnTo>
                    <a:lnTo>
                      <a:pt x="440" y="100"/>
                    </a:lnTo>
                    <a:lnTo>
                      <a:pt x="452" y="98"/>
                    </a:lnTo>
                    <a:lnTo>
                      <a:pt x="464" y="96"/>
                    </a:lnTo>
                    <a:lnTo>
                      <a:pt x="470" y="96"/>
                    </a:lnTo>
                    <a:lnTo>
                      <a:pt x="472" y="96"/>
                    </a:lnTo>
                    <a:lnTo>
                      <a:pt x="470" y="94"/>
                    </a:lnTo>
                    <a:lnTo>
                      <a:pt x="452" y="88"/>
                    </a:lnTo>
                    <a:lnTo>
                      <a:pt x="440" y="86"/>
                    </a:lnTo>
                    <a:lnTo>
                      <a:pt x="436" y="86"/>
                    </a:lnTo>
                    <a:lnTo>
                      <a:pt x="432" y="88"/>
                    </a:lnTo>
                    <a:lnTo>
                      <a:pt x="428" y="90"/>
                    </a:lnTo>
                    <a:lnTo>
                      <a:pt x="424" y="90"/>
                    </a:lnTo>
                    <a:lnTo>
                      <a:pt x="414" y="88"/>
                    </a:lnTo>
                    <a:lnTo>
                      <a:pt x="404" y="86"/>
                    </a:lnTo>
                    <a:lnTo>
                      <a:pt x="398" y="88"/>
                    </a:lnTo>
                    <a:lnTo>
                      <a:pt x="396" y="92"/>
                    </a:lnTo>
                    <a:lnTo>
                      <a:pt x="394" y="94"/>
                    </a:lnTo>
                    <a:lnTo>
                      <a:pt x="398" y="96"/>
                    </a:lnTo>
                    <a:lnTo>
                      <a:pt x="416" y="96"/>
                    </a:lnTo>
                    <a:close/>
                    <a:moveTo>
                      <a:pt x="406" y="124"/>
                    </a:moveTo>
                    <a:lnTo>
                      <a:pt x="406" y="124"/>
                    </a:lnTo>
                    <a:lnTo>
                      <a:pt x="414" y="122"/>
                    </a:lnTo>
                    <a:lnTo>
                      <a:pt x="416" y="122"/>
                    </a:lnTo>
                    <a:lnTo>
                      <a:pt x="416" y="120"/>
                    </a:lnTo>
                    <a:lnTo>
                      <a:pt x="414" y="116"/>
                    </a:lnTo>
                    <a:lnTo>
                      <a:pt x="408" y="112"/>
                    </a:lnTo>
                    <a:lnTo>
                      <a:pt x="402" y="110"/>
                    </a:lnTo>
                    <a:lnTo>
                      <a:pt x="394" y="110"/>
                    </a:lnTo>
                    <a:lnTo>
                      <a:pt x="390" y="112"/>
                    </a:lnTo>
                    <a:lnTo>
                      <a:pt x="392" y="114"/>
                    </a:lnTo>
                    <a:lnTo>
                      <a:pt x="392" y="116"/>
                    </a:lnTo>
                    <a:lnTo>
                      <a:pt x="392" y="118"/>
                    </a:lnTo>
                    <a:lnTo>
                      <a:pt x="390" y="120"/>
                    </a:lnTo>
                    <a:lnTo>
                      <a:pt x="390" y="122"/>
                    </a:lnTo>
                    <a:lnTo>
                      <a:pt x="392" y="124"/>
                    </a:lnTo>
                    <a:lnTo>
                      <a:pt x="406" y="124"/>
                    </a:lnTo>
                    <a:close/>
                    <a:moveTo>
                      <a:pt x="382" y="134"/>
                    </a:moveTo>
                    <a:lnTo>
                      <a:pt x="382" y="134"/>
                    </a:lnTo>
                    <a:lnTo>
                      <a:pt x="372" y="126"/>
                    </a:lnTo>
                    <a:lnTo>
                      <a:pt x="368" y="124"/>
                    </a:lnTo>
                    <a:lnTo>
                      <a:pt x="364" y="124"/>
                    </a:lnTo>
                    <a:lnTo>
                      <a:pt x="350" y="128"/>
                    </a:lnTo>
                    <a:lnTo>
                      <a:pt x="330" y="136"/>
                    </a:lnTo>
                    <a:lnTo>
                      <a:pt x="328" y="138"/>
                    </a:lnTo>
                    <a:lnTo>
                      <a:pt x="326" y="140"/>
                    </a:lnTo>
                    <a:lnTo>
                      <a:pt x="328" y="142"/>
                    </a:lnTo>
                    <a:lnTo>
                      <a:pt x="332" y="144"/>
                    </a:lnTo>
                    <a:lnTo>
                      <a:pt x="342" y="146"/>
                    </a:lnTo>
                    <a:lnTo>
                      <a:pt x="356" y="148"/>
                    </a:lnTo>
                    <a:lnTo>
                      <a:pt x="370" y="148"/>
                    </a:lnTo>
                    <a:lnTo>
                      <a:pt x="380" y="146"/>
                    </a:lnTo>
                    <a:lnTo>
                      <a:pt x="384" y="144"/>
                    </a:lnTo>
                    <a:lnTo>
                      <a:pt x="386" y="142"/>
                    </a:lnTo>
                    <a:lnTo>
                      <a:pt x="386" y="138"/>
                    </a:lnTo>
                    <a:lnTo>
                      <a:pt x="382" y="134"/>
                    </a:lnTo>
                    <a:close/>
                    <a:moveTo>
                      <a:pt x="46" y="116"/>
                    </a:moveTo>
                    <a:lnTo>
                      <a:pt x="46" y="116"/>
                    </a:lnTo>
                    <a:lnTo>
                      <a:pt x="54" y="118"/>
                    </a:lnTo>
                    <a:lnTo>
                      <a:pt x="62" y="114"/>
                    </a:lnTo>
                    <a:lnTo>
                      <a:pt x="66" y="114"/>
                    </a:lnTo>
                    <a:lnTo>
                      <a:pt x="70" y="116"/>
                    </a:lnTo>
                    <a:lnTo>
                      <a:pt x="76" y="120"/>
                    </a:lnTo>
                    <a:lnTo>
                      <a:pt x="80" y="122"/>
                    </a:lnTo>
                    <a:lnTo>
                      <a:pt x="86" y="124"/>
                    </a:lnTo>
                    <a:lnTo>
                      <a:pt x="92" y="122"/>
                    </a:lnTo>
                    <a:lnTo>
                      <a:pt x="102" y="118"/>
                    </a:lnTo>
                    <a:lnTo>
                      <a:pt x="118" y="110"/>
                    </a:lnTo>
                    <a:lnTo>
                      <a:pt x="130" y="104"/>
                    </a:lnTo>
                    <a:lnTo>
                      <a:pt x="134" y="102"/>
                    </a:lnTo>
                    <a:lnTo>
                      <a:pt x="140" y="102"/>
                    </a:lnTo>
                    <a:lnTo>
                      <a:pt x="148" y="102"/>
                    </a:lnTo>
                    <a:lnTo>
                      <a:pt x="158" y="106"/>
                    </a:lnTo>
                    <a:lnTo>
                      <a:pt x="168" y="108"/>
                    </a:lnTo>
                    <a:lnTo>
                      <a:pt x="176" y="108"/>
                    </a:lnTo>
                    <a:lnTo>
                      <a:pt x="180" y="108"/>
                    </a:lnTo>
                    <a:lnTo>
                      <a:pt x="182" y="106"/>
                    </a:lnTo>
                    <a:lnTo>
                      <a:pt x="182" y="102"/>
                    </a:lnTo>
                    <a:lnTo>
                      <a:pt x="176" y="98"/>
                    </a:lnTo>
                    <a:lnTo>
                      <a:pt x="166" y="94"/>
                    </a:lnTo>
                    <a:lnTo>
                      <a:pt x="150" y="90"/>
                    </a:lnTo>
                    <a:lnTo>
                      <a:pt x="126" y="86"/>
                    </a:lnTo>
                    <a:lnTo>
                      <a:pt x="122" y="88"/>
                    </a:lnTo>
                    <a:lnTo>
                      <a:pt x="120" y="90"/>
                    </a:lnTo>
                    <a:lnTo>
                      <a:pt x="118" y="92"/>
                    </a:lnTo>
                    <a:lnTo>
                      <a:pt x="114" y="94"/>
                    </a:lnTo>
                    <a:lnTo>
                      <a:pt x="108" y="98"/>
                    </a:lnTo>
                    <a:lnTo>
                      <a:pt x="96" y="100"/>
                    </a:lnTo>
                    <a:lnTo>
                      <a:pt x="64" y="104"/>
                    </a:lnTo>
                    <a:lnTo>
                      <a:pt x="42" y="108"/>
                    </a:lnTo>
                    <a:lnTo>
                      <a:pt x="34" y="110"/>
                    </a:lnTo>
                    <a:lnTo>
                      <a:pt x="32" y="112"/>
                    </a:lnTo>
                    <a:lnTo>
                      <a:pt x="36" y="114"/>
                    </a:lnTo>
                    <a:lnTo>
                      <a:pt x="46" y="116"/>
                    </a:lnTo>
                    <a:close/>
                    <a:moveTo>
                      <a:pt x="202" y="100"/>
                    </a:moveTo>
                    <a:lnTo>
                      <a:pt x="202" y="100"/>
                    </a:lnTo>
                    <a:lnTo>
                      <a:pt x="210" y="106"/>
                    </a:lnTo>
                    <a:lnTo>
                      <a:pt x="210" y="108"/>
                    </a:lnTo>
                    <a:lnTo>
                      <a:pt x="210" y="112"/>
                    </a:lnTo>
                    <a:lnTo>
                      <a:pt x="208" y="114"/>
                    </a:lnTo>
                    <a:lnTo>
                      <a:pt x="202" y="116"/>
                    </a:lnTo>
                    <a:lnTo>
                      <a:pt x="178" y="118"/>
                    </a:lnTo>
                    <a:lnTo>
                      <a:pt x="152" y="118"/>
                    </a:lnTo>
                    <a:lnTo>
                      <a:pt x="136" y="118"/>
                    </a:lnTo>
                    <a:lnTo>
                      <a:pt x="132" y="120"/>
                    </a:lnTo>
                    <a:lnTo>
                      <a:pt x="134" y="124"/>
                    </a:lnTo>
                    <a:lnTo>
                      <a:pt x="140" y="126"/>
                    </a:lnTo>
                    <a:lnTo>
                      <a:pt x="146" y="132"/>
                    </a:lnTo>
                    <a:lnTo>
                      <a:pt x="146" y="134"/>
                    </a:lnTo>
                    <a:lnTo>
                      <a:pt x="144" y="134"/>
                    </a:lnTo>
                    <a:lnTo>
                      <a:pt x="124" y="132"/>
                    </a:lnTo>
                    <a:lnTo>
                      <a:pt x="110" y="132"/>
                    </a:lnTo>
                    <a:lnTo>
                      <a:pt x="100" y="132"/>
                    </a:lnTo>
                    <a:lnTo>
                      <a:pt x="96" y="134"/>
                    </a:lnTo>
                    <a:lnTo>
                      <a:pt x="96" y="136"/>
                    </a:lnTo>
                    <a:lnTo>
                      <a:pt x="100" y="140"/>
                    </a:lnTo>
                    <a:lnTo>
                      <a:pt x="110" y="144"/>
                    </a:lnTo>
                    <a:lnTo>
                      <a:pt x="118" y="148"/>
                    </a:lnTo>
                    <a:lnTo>
                      <a:pt x="122" y="148"/>
                    </a:lnTo>
                    <a:lnTo>
                      <a:pt x="128" y="144"/>
                    </a:lnTo>
                    <a:lnTo>
                      <a:pt x="140" y="140"/>
                    </a:lnTo>
                    <a:lnTo>
                      <a:pt x="146" y="140"/>
                    </a:lnTo>
                    <a:lnTo>
                      <a:pt x="148" y="140"/>
                    </a:lnTo>
                    <a:lnTo>
                      <a:pt x="146" y="146"/>
                    </a:lnTo>
                    <a:lnTo>
                      <a:pt x="146" y="150"/>
                    </a:lnTo>
                    <a:lnTo>
                      <a:pt x="146" y="152"/>
                    </a:lnTo>
                    <a:lnTo>
                      <a:pt x="150" y="152"/>
                    </a:lnTo>
                    <a:lnTo>
                      <a:pt x="160" y="150"/>
                    </a:lnTo>
                    <a:lnTo>
                      <a:pt x="168" y="148"/>
                    </a:lnTo>
                    <a:lnTo>
                      <a:pt x="176" y="146"/>
                    </a:lnTo>
                    <a:lnTo>
                      <a:pt x="184" y="148"/>
                    </a:lnTo>
                    <a:lnTo>
                      <a:pt x="190" y="150"/>
                    </a:lnTo>
                    <a:lnTo>
                      <a:pt x="192" y="150"/>
                    </a:lnTo>
                    <a:lnTo>
                      <a:pt x="196" y="148"/>
                    </a:lnTo>
                    <a:lnTo>
                      <a:pt x="200" y="144"/>
                    </a:lnTo>
                    <a:lnTo>
                      <a:pt x="198" y="142"/>
                    </a:lnTo>
                    <a:lnTo>
                      <a:pt x="192" y="140"/>
                    </a:lnTo>
                    <a:lnTo>
                      <a:pt x="184" y="138"/>
                    </a:lnTo>
                    <a:lnTo>
                      <a:pt x="184" y="136"/>
                    </a:lnTo>
                    <a:lnTo>
                      <a:pt x="186" y="134"/>
                    </a:lnTo>
                    <a:lnTo>
                      <a:pt x="196" y="130"/>
                    </a:lnTo>
                    <a:lnTo>
                      <a:pt x="206" y="130"/>
                    </a:lnTo>
                    <a:lnTo>
                      <a:pt x="216" y="128"/>
                    </a:lnTo>
                    <a:lnTo>
                      <a:pt x="220" y="126"/>
                    </a:lnTo>
                    <a:lnTo>
                      <a:pt x="226" y="124"/>
                    </a:lnTo>
                    <a:lnTo>
                      <a:pt x="230" y="120"/>
                    </a:lnTo>
                    <a:lnTo>
                      <a:pt x="234" y="118"/>
                    </a:lnTo>
                    <a:lnTo>
                      <a:pt x="246" y="118"/>
                    </a:lnTo>
                    <a:lnTo>
                      <a:pt x="262" y="118"/>
                    </a:lnTo>
                    <a:lnTo>
                      <a:pt x="286" y="114"/>
                    </a:lnTo>
                    <a:lnTo>
                      <a:pt x="298" y="112"/>
                    </a:lnTo>
                    <a:lnTo>
                      <a:pt x="304" y="108"/>
                    </a:lnTo>
                    <a:lnTo>
                      <a:pt x="306" y="104"/>
                    </a:lnTo>
                    <a:lnTo>
                      <a:pt x="304" y="102"/>
                    </a:lnTo>
                    <a:lnTo>
                      <a:pt x="298" y="98"/>
                    </a:lnTo>
                    <a:lnTo>
                      <a:pt x="290" y="96"/>
                    </a:lnTo>
                    <a:lnTo>
                      <a:pt x="280" y="96"/>
                    </a:lnTo>
                    <a:lnTo>
                      <a:pt x="270" y="98"/>
                    </a:lnTo>
                    <a:lnTo>
                      <a:pt x="256" y="98"/>
                    </a:lnTo>
                    <a:lnTo>
                      <a:pt x="258" y="98"/>
                    </a:lnTo>
                    <a:lnTo>
                      <a:pt x="260" y="96"/>
                    </a:lnTo>
                    <a:lnTo>
                      <a:pt x="262" y="94"/>
                    </a:lnTo>
                    <a:lnTo>
                      <a:pt x="262" y="92"/>
                    </a:lnTo>
                    <a:lnTo>
                      <a:pt x="258" y="90"/>
                    </a:lnTo>
                    <a:lnTo>
                      <a:pt x="250" y="88"/>
                    </a:lnTo>
                    <a:lnTo>
                      <a:pt x="228" y="88"/>
                    </a:lnTo>
                    <a:lnTo>
                      <a:pt x="208" y="90"/>
                    </a:lnTo>
                    <a:lnTo>
                      <a:pt x="202" y="92"/>
                    </a:lnTo>
                    <a:lnTo>
                      <a:pt x="198" y="96"/>
                    </a:lnTo>
                    <a:lnTo>
                      <a:pt x="198" y="98"/>
                    </a:lnTo>
                    <a:lnTo>
                      <a:pt x="202" y="100"/>
                    </a:lnTo>
                    <a:close/>
                    <a:moveTo>
                      <a:pt x="272" y="70"/>
                    </a:moveTo>
                    <a:lnTo>
                      <a:pt x="272" y="70"/>
                    </a:lnTo>
                    <a:lnTo>
                      <a:pt x="276" y="66"/>
                    </a:lnTo>
                    <a:lnTo>
                      <a:pt x="278" y="64"/>
                    </a:lnTo>
                    <a:lnTo>
                      <a:pt x="276" y="62"/>
                    </a:lnTo>
                    <a:lnTo>
                      <a:pt x="274" y="60"/>
                    </a:lnTo>
                    <a:lnTo>
                      <a:pt x="268" y="60"/>
                    </a:lnTo>
                    <a:lnTo>
                      <a:pt x="262" y="60"/>
                    </a:lnTo>
                    <a:lnTo>
                      <a:pt x="256" y="62"/>
                    </a:lnTo>
                    <a:lnTo>
                      <a:pt x="250" y="66"/>
                    </a:lnTo>
                    <a:lnTo>
                      <a:pt x="246" y="72"/>
                    </a:lnTo>
                    <a:lnTo>
                      <a:pt x="244" y="76"/>
                    </a:lnTo>
                    <a:lnTo>
                      <a:pt x="244" y="78"/>
                    </a:lnTo>
                    <a:lnTo>
                      <a:pt x="248" y="78"/>
                    </a:lnTo>
                    <a:lnTo>
                      <a:pt x="258" y="74"/>
                    </a:lnTo>
                    <a:lnTo>
                      <a:pt x="272" y="70"/>
                    </a:lnTo>
                    <a:close/>
                    <a:moveTo>
                      <a:pt x="228" y="142"/>
                    </a:moveTo>
                    <a:lnTo>
                      <a:pt x="228" y="142"/>
                    </a:lnTo>
                    <a:lnTo>
                      <a:pt x="222" y="144"/>
                    </a:lnTo>
                    <a:lnTo>
                      <a:pt x="220" y="146"/>
                    </a:lnTo>
                    <a:lnTo>
                      <a:pt x="218" y="150"/>
                    </a:lnTo>
                    <a:lnTo>
                      <a:pt x="220" y="152"/>
                    </a:lnTo>
                    <a:lnTo>
                      <a:pt x="222" y="156"/>
                    </a:lnTo>
                    <a:lnTo>
                      <a:pt x="226" y="156"/>
                    </a:lnTo>
                    <a:lnTo>
                      <a:pt x="232" y="156"/>
                    </a:lnTo>
                    <a:lnTo>
                      <a:pt x="238" y="154"/>
                    </a:lnTo>
                    <a:lnTo>
                      <a:pt x="246" y="148"/>
                    </a:lnTo>
                    <a:lnTo>
                      <a:pt x="248" y="144"/>
                    </a:lnTo>
                    <a:lnTo>
                      <a:pt x="248" y="142"/>
                    </a:lnTo>
                    <a:lnTo>
                      <a:pt x="246" y="140"/>
                    </a:lnTo>
                    <a:lnTo>
                      <a:pt x="242" y="138"/>
                    </a:lnTo>
                    <a:lnTo>
                      <a:pt x="228" y="142"/>
                    </a:lnTo>
                    <a:close/>
                    <a:moveTo>
                      <a:pt x="790" y="22"/>
                    </a:moveTo>
                    <a:lnTo>
                      <a:pt x="790" y="22"/>
                    </a:lnTo>
                    <a:lnTo>
                      <a:pt x="792" y="20"/>
                    </a:lnTo>
                    <a:lnTo>
                      <a:pt x="792" y="18"/>
                    </a:lnTo>
                    <a:lnTo>
                      <a:pt x="788" y="14"/>
                    </a:lnTo>
                    <a:lnTo>
                      <a:pt x="780" y="12"/>
                    </a:lnTo>
                    <a:lnTo>
                      <a:pt x="770" y="12"/>
                    </a:lnTo>
                    <a:lnTo>
                      <a:pt x="748" y="12"/>
                    </a:lnTo>
                    <a:lnTo>
                      <a:pt x="736" y="14"/>
                    </a:lnTo>
                    <a:lnTo>
                      <a:pt x="728" y="18"/>
                    </a:lnTo>
                    <a:lnTo>
                      <a:pt x="726" y="18"/>
                    </a:lnTo>
                    <a:lnTo>
                      <a:pt x="726" y="20"/>
                    </a:lnTo>
                    <a:lnTo>
                      <a:pt x="730" y="22"/>
                    </a:lnTo>
                    <a:lnTo>
                      <a:pt x="750" y="26"/>
                    </a:lnTo>
                    <a:lnTo>
                      <a:pt x="774" y="26"/>
                    </a:lnTo>
                    <a:lnTo>
                      <a:pt x="784" y="26"/>
                    </a:lnTo>
                    <a:lnTo>
                      <a:pt x="790" y="22"/>
                    </a:lnTo>
                    <a:close/>
                    <a:moveTo>
                      <a:pt x="596" y="154"/>
                    </a:moveTo>
                    <a:lnTo>
                      <a:pt x="596" y="154"/>
                    </a:lnTo>
                    <a:lnTo>
                      <a:pt x="588" y="158"/>
                    </a:lnTo>
                    <a:lnTo>
                      <a:pt x="586" y="160"/>
                    </a:lnTo>
                    <a:lnTo>
                      <a:pt x="588" y="162"/>
                    </a:lnTo>
                    <a:lnTo>
                      <a:pt x="592" y="164"/>
                    </a:lnTo>
                    <a:lnTo>
                      <a:pt x="608" y="164"/>
                    </a:lnTo>
                    <a:lnTo>
                      <a:pt x="628" y="164"/>
                    </a:lnTo>
                    <a:lnTo>
                      <a:pt x="634" y="162"/>
                    </a:lnTo>
                    <a:lnTo>
                      <a:pt x="638" y="160"/>
                    </a:lnTo>
                    <a:lnTo>
                      <a:pt x="636" y="158"/>
                    </a:lnTo>
                    <a:lnTo>
                      <a:pt x="632" y="156"/>
                    </a:lnTo>
                    <a:lnTo>
                      <a:pt x="618" y="152"/>
                    </a:lnTo>
                    <a:lnTo>
                      <a:pt x="610" y="152"/>
                    </a:lnTo>
                    <a:lnTo>
                      <a:pt x="600" y="154"/>
                    </a:lnTo>
                    <a:lnTo>
                      <a:pt x="596" y="154"/>
                    </a:lnTo>
                    <a:close/>
                    <a:moveTo>
                      <a:pt x="482" y="98"/>
                    </a:moveTo>
                    <a:lnTo>
                      <a:pt x="482" y="98"/>
                    </a:lnTo>
                    <a:lnTo>
                      <a:pt x="460" y="100"/>
                    </a:lnTo>
                    <a:lnTo>
                      <a:pt x="458" y="102"/>
                    </a:lnTo>
                    <a:lnTo>
                      <a:pt x="462" y="106"/>
                    </a:lnTo>
                    <a:lnTo>
                      <a:pt x="470" y="108"/>
                    </a:lnTo>
                    <a:lnTo>
                      <a:pt x="482" y="108"/>
                    </a:lnTo>
                    <a:lnTo>
                      <a:pt x="510" y="106"/>
                    </a:lnTo>
                    <a:lnTo>
                      <a:pt x="514" y="106"/>
                    </a:lnTo>
                    <a:lnTo>
                      <a:pt x="516" y="104"/>
                    </a:lnTo>
                    <a:lnTo>
                      <a:pt x="508" y="100"/>
                    </a:lnTo>
                    <a:lnTo>
                      <a:pt x="496" y="98"/>
                    </a:lnTo>
                    <a:lnTo>
                      <a:pt x="482" y="98"/>
                    </a:lnTo>
                    <a:close/>
                    <a:moveTo>
                      <a:pt x="796" y="100"/>
                    </a:moveTo>
                    <a:lnTo>
                      <a:pt x="796" y="100"/>
                    </a:lnTo>
                    <a:lnTo>
                      <a:pt x="822" y="96"/>
                    </a:lnTo>
                    <a:lnTo>
                      <a:pt x="842" y="92"/>
                    </a:lnTo>
                    <a:lnTo>
                      <a:pt x="848" y="90"/>
                    </a:lnTo>
                    <a:lnTo>
                      <a:pt x="854" y="88"/>
                    </a:lnTo>
                    <a:lnTo>
                      <a:pt x="856" y="84"/>
                    </a:lnTo>
                    <a:lnTo>
                      <a:pt x="858" y="78"/>
                    </a:lnTo>
                    <a:lnTo>
                      <a:pt x="856" y="70"/>
                    </a:lnTo>
                    <a:lnTo>
                      <a:pt x="852" y="66"/>
                    </a:lnTo>
                    <a:lnTo>
                      <a:pt x="844" y="62"/>
                    </a:lnTo>
                    <a:lnTo>
                      <a:pt x="836" y="60"/>
                    </a:lnTo>
                    <a:lnTo>
                      <a:pt x="828" y="60"/>
                    </a:lnTo>
                    <a:lnTo>
                      <a:pt x="820" y="60"/>
                    </a:lnTo>
                    <a:lnTo>
                      <a:pt x="812" y="62"/>
                    </a:lnTo>
                    <a:lnTo>
                      <a:pt x="806" y="66"/>
                    </a:lnTo>
                    <a:lnTo>
                      <a:pt x="800" y="70"/>
                    </a:lnTo>
                    <a:lnTo>
                      <a:pt x="796" y="72"/>
                    </a:lnTo>
                    <a:lnTo>
                      <a:pt x="784" y="74"/>
                    </a:lnTo>
                    <a:lnTo>
                      <a:pt x="768" y="76"/>
                    </a:lnTo>
                    <a:lnTo>
                      <a:pt x="758" y="80"/>
                    </a:lnTo>
                    <a:lnTo>
                      <a:pt x="748" y="86"/>
                    </a:lnTo>
                    <a:lnTo>
                      <a:pt x="742" y="90"/>
                    </a:lnTo>
                    <a:lnTo>
                      <a:pt x="740" y="94"/>
                    </a:lnTo>
                    <a:lnTo>
                      <a:pt x="742" y="98"/>
                    </a:lnTo>
                    <a:lnTo>
                      <a:pt x="748" y="100"/>
                    </a:lnTo>
                    <a:lnTo>
                      <a:pt x="758" y="102"/>
                    </a:lnTo>
                    <a:lnTo>
                      <a:pt x="768" y="102"/>
                    </a:lnTo>
                    <a:lnTo>
                      <a:pt x="796" y="100"/>
                    </a:lnTo>
                    <a:close/>
                    <a:moveTo>
                      <a:pt x="506" y="132"/>
                    </a:moveTo>
                    <a:lnTo>
                      <a:pt x="506" y="132"/>
                    </a:lnTo>
                    <a:lnTo>
                      <a:pt x="494" y="134"/>
                    </a:lnTo>
                    <a:lnTo>
                      <a:pt x="482" y="132"/>
                    </a:lnTo>
                    <a:lnTo>
                      <a:pt x="476" y="134"/>
                    </a:lnTo>
                    <a:lnTo>
                      <a:pt x="472" y="136"/>
                    </a:lnTo>
                    <a:lnTo>
                      <a:pt x="468" y="140"/>
                    </a:lnTo>
                    <a:lnTo>
                      <a:pt x="466" y="148"/>
                    </a:lnTo>
                    <a:lnTo>
                      <a:pt x="466" y="154"/>
                    </a:lnTo>
                    <a:lnTo>
                      <a:pt x="468" y="156"/>
                    </a:lnTo>
                    <a:lnTo>
                      <a:pt x="472" y="158"/>
                    </a:lnTo>
                    <a:lnTo>
                      <a:pt x="478" y="158"/>
                    </a:lnTo>
                    <a:lnTo>
                      <a:pt x="494" y="158"/>
                    </a:lnTo>
                    <a:lnTo>
                      <a:pt x="512" y="158"/>
                    </a:lnTo>
                    <a:lnTo>
                      <a:pt x="520" y="156"/>
                    </a:lnTo>
                    <a:lnTo>
                      <a:pt x="524" y="154"/>
                    </a:lnTo>
                    <a:lnTo>
                      <a:pt x="526" y="150"/>
                    </a:lnTo>
                    <a:lnTo>
                      <a:pt x="524" y="144"/>
                    </a:lnTo>
                    <a:lnTo>
                      <a:pt x="522" y="138"/>
                    </a:lnTo>
                    <a:lnTo>
                      <a:pt x="516" y="134"/>
                    </a:lnTo>
                    <a:lnTo>
                      <a:pt x="512" y="132"/>
                    </a:lnTo>
                    <a:lnTo>
                      <a:pt x="506" y="132"/>
                    </a:lnTo>
                    <a:close/>
                    <a:moveTo>
                      <a:pt x="456" y="58"/>
                    </a:moveTo>
                    <a:lnTo>
                      <a:pt x="456" y="58"/>
                    </a:lnTo>
                    <a:lnTo>
                      <a:pt x="460" y="58"/>
                    </a:lnTo>
                    <a:lnTo>
                      <a:pt x="464" y="58"/>
                    </a:lnTo>
                    <a:lnTo>
                      <a:pt x="470" y="58"/>
                    </a:lnTo>
                    <a:lnTo>
                      <a:pt x="480" y="58"/>
                    </a:lnTo>
                    <a:lnTo>
                      <a:pt x="486" y="58"/>
                    </a:lnTo>
                    <a:lnTo>
                      <a:pt x="492" y="62"/>
                    </a:lnTo>
                    <a:lnTo>
                      <a:pt x="496" y="64"/>
                    </a:lnTo>
                    <a:lnTo>
                      <a:pt x="500" y="64"/>
                    </a:lnTo>
                    <a:lnTo>
                      <a:pt x="508" y="60"/>
                    </a:lnTo>
                    <a:lnTo>
                      <a:pt x="524" y="56"/>
                    </a:lnTo>
                    <a:lnTo>
                      <a:pt x="548" y="52"/>
                    </a:lnTo>
                    <a:lnTo>
                      <a:pt x="552" y="52"/>
                    </a:lnTo>
                    <a:lnTo>
                      <a:pt x="550" y="50"/>
                    </a:lnTo>
                    <a:lnTo>
                      <a:pt x="540" y="48"/>
                    </a:lnTo>
                    <a:lnTo>
                      <a:pt x="498" y="44"/>
                    </a:lnTo>
                    <a:lnTo>
                      <a:pt x="492" y="44"/>
                    </a:lnTo>
                    <a:lnTo>
                      <a:pt x="488" y="44"/>
                    </a:lnTo>
                    <a:lnTo>
                      <a:pt x="488" y="46"/>
                    </a:lnTo>
                    <a:lnTo>
                      <a:pt x="490" y="48"/>
                    </a:lnTo>
                    <a:lnTo>
                      <a:pt x="494" y="52"/>
                    </a:lnTo>
                    <a:lnTo>
                      <a:pt x="492" y="54"/>
                    </a:lnTo>
                    <a:lnTo>
                      <a:pt x="488" y="54"/>
                    </a:lnTo>
                    <a:lnTo>
                      <a:pt x="462" y="52"/>
                    </a:lnTo>
                    <a:lnTo>
                      <a:pt x="454" y="54"/>
                    </a:lnTo>
                    <a:lnTo>
                      <a:pt x="454" y="56"/>
                    </a:lnTo>
                    <a:lnTo>
                      <a:pt x="456" y="58"/>
                    </a:lnTo>
                    <a:close/>
                    <a:moveTo>
                      <a:pt x="678" y="84"/>
                    </a:moveTo>
                    <a:lnTo>
                      <a:pt x="678" y="84"/>
                    </a:lnTo>
                    <a:lnTo>
                      <a:pt x="688" y="82"/>
                    </a:lnTo>
                    <a:lnTo>
                      <a:pt x="696" y="78"/>
                    </a:lnTo>
                    <a:lnTo>
                      <a:pt x="704" y="74"/>
                    </a:lnTo>
                    <a:lnTo>
                      <a:pt x="710" y="70"/>
                    </a:lnTo>
                    <a:lnTo>
                      <a:pt x="710" y="68"/>
                    </a:lnTo>
                    <a:lnTo>
                      <a:pt x="710" y="66"/>
                    </a:lnTo>
                    <a:lnTo>
                      <a:pt x="704" y="64"/>
                    </a:lnTo>
                    <a:lnTo>
                      <a:pt x="692" y="64"/>
                    </a:lnTo>
                    <a:lnTo>
                      <a:pt x="670" y="68"/>
                    </a:lnTo>
                    <a:lnTo>
                      <a:pt x="654" y="72"/>
                    </a:lnTo>
                    <a:lnTo>
                      <a:pt x="646" y="76"/>
                    </a:lnTo>
                    <a:lnTo>
                      <a:pt x="644" y="80"/>
                    </a:lnTo>
                    <a:lnTo>
                      <a:pt x="646" y="82"/>
                    </a:lnTo>
                    <a:lnTo>
                      <a:pt x="658" y="84"/>
                    </a:lnTo>
                    <a:lnTo>
                      <a:pt x="678" y="84"/>
                    </a:lnTo>
                    <a:close/>
                    <a:moveTo>
                      <a:pt x="568" y="44"/>
                    </a:moveTo>
                    <a:lnTo>
                      <a:pt x="568" y="44"/>
                    </a:lnTo>
                    <a:lnTo>
                      <a:pt x="580" y="44"/>
                    </a:lnTo>
                    <a:lnTo>
                      <a:pt x="582" y="44"/>
                    </a:lnTo>
                    <a:lnTo>
                      <a:pt x="580" y="42"/>
                    </a:lnTo>
                    <a:lnTo>
                      <a:pt x="570" y="38"/>
                    </a:lnTo>
                    <a:lnTo>
                      <a:pt x="556" y="34"/>
                    </a:lnTo>
                    <a:lnTo>
                      <a:pt x="544" y="30"/>
                    </a:lnTo>
                    <a:lnTo>
                      <a:pt x="536" y="28"/>
                    </a:lnTo>
                    <a:lnTo>
                      <a:pt x="528" y="30"/>
                    </a:lnTo>
                    <a:lnTo>
                      <a:pt x="518" y="34"/>
                    </a:lnTo>
                    <a:lnTo>
                      <a:pt x="510" y="38"/>
                    </a:lnTo>
                    <a:lnTo>
                      <a:pt x="508" y="40"/>
                    </a:lnTo>
                    <a:lnTo>
                      <a:pt x="510" y="40"/>
                    </a:lnTo>
                    <a:lnTo>
                      <a:pt x="520" y="40"/>
                    </a:lnTo>
                    <a:lnTo>
                      <a:pt x="542" y="42"/>
                    </a:lnTo>
                    <a:lnTo>
                      <a:pt x="568" y="44"/>
                    </a:lnTo>
                    <a:close/>
                    <a:moveTo>
                      <a:pt x="672" y="122"/>
                    </a:moveTo>
                    <a:lnTo>
                      <a:pt x="672" y="122"/>
                    </a:lnTo>
                    <a:lnTo>
                      <a:pt x="682" y="124"/>
                    </a:lnTo>
                    <a:lnTo>
                      <a:pt x="690" y="124"/>
                    </a:lnTo>
                    <a:lnTo>
                      <a:pt x="694" y="124"/>
                    </a:lnTo>
                    <a:lnTo>
                      <a:pt x="698" y="120"/>
                    </a:lnTo>
                    <a:lnTo>
                      <a:pt x="706" y="116"/>
                    </a:lnTo>
                    <a:lnTo>
                      <a:pt x="710" y="112"/>
                    </a:lnTo>
                    <a:lnTo>
                      <a:pt x="718" y="112"/>
                    </a:lnTo>
                    <a:lnTo>
                      <a:pt x="724" y="110"/>
                    </a:lnTo>
                    <a:lnTo>
                      <a:pt x="728" y="106"/>
                    </a:lnTo>
                    <a:lnTo>
                      <a:pt x="730" y="100"/>
                    </a:lnTo>
                    <a:lnTo>
                      <a:pt x="728" y="94"/>
                    </a:lnTo>
                    <a:lnTo>
                      <a:pt x="724" y="88"/>
                    </a:lnTo>
                    <a:lnTo>
                      <a:pt x="716" y="84"/>
                    </a:lnTo>
                    <a:lnTo>
                      <a:pt x="704" y="84"/>
                    </a:lnTo>
                    <a:lnTo>
                      <a:pt x="688" y="88"/>
                    </a:lnTo>
                    <a:lnTo>
                      <a:pt x="670" y="94"/>
                    </a:lnTo>
                    <a:lnTo>
                      <a:pt x="656" y="94"/>
                    </a:lnTo>
                    <a:lnTo>
                      <a:pt x="644" y="92"/>
                    </a:lnTo>
                    <a:lnTo>
                      <a:pt x="634" y="90"/>
                    </a:lnTo>
                    <a:lnTo>
                      <a:pt x="626" y="90"/>
                    </a:lnTo>
                    <a:lnTo>
                      <a:pt x="620" y="90"/>
                    </a:lnTo>
                    <a:lnTo>
                      <a:pt x="614" y="94"/>
                    </a:lnTo>
                    <a:lnTo>
                      <a:pt x="608" y="104"/>
                    </a:lnTo>
                    <a:lnTo>
                      <a:pt x="606" y="116"/>
                    </a:lnTo>
                    <a:lnTo>
                      <a:pt x="606" y="118"/>
                    </a:lnTo>
                    <a:lnTo>
                      <a:pt x="608" y="122"/>
                    </a:lnTo>
                    <a:lnTo>
                      <a:pt x="614" y="124"/>
                    </a:lnTo>
                    <a:lnTo>
                      <a:pt x="622" y="124"/>
                    </a:lnTo>
                    <a:lnTo>
                      <a:pt x="646" y="120"/>
                    </a:lnTo>
                    <a:lnTo>
                      <a:pt x="660" y="120"/>
                    </a:lnTo>
                    <a:lnTo>
                      <a:pt x="672" y="122"/>
                    </a:lnTo>
                    <a:close/>
                    <a:moveTo>
                      <a:pt x="4428" y="2314"/>
                    </a:moveTo>
                    <a:lnTo>
                      <a:pt x="4428" y="2314"/>
                    </a:lnTo>
                    <a:lnTo>
                      <a:pt x="4426" y="2314"/>
                    </a:lnTo>
                    <a:lnTo>
                      <a:pt x="4428" y="2314"/>
                    </a:lnTo>
                    <a:lnTo>
                      <a:pt x="4432" y="2310"/>
                    </a:lnTo>
                    <a:lnTo>
                      <a:pt x="4436" y="2306"/>
                    </a:lnTo>
                    <a:lnTo>
                      <a:pt x="4436" y="2302"/>
                    </a:lnTo>
                    <a:lnTo>
                      <a:pt x="4432" y="2304"/>
                    </a:lnTo>
                    <a:lnTo>
                      <a:pt x="4428" y="2314"/>
                    </a:lnTo>
                    <a:close/>
                    <a:moveTo>
                      <a:pt x="4510" y="2192"/>
                    </a:moveTo>
                    <a:lnTo>
                      <a:pt x="4510" y="2192"/>
                    </a:lnTo>
                    <a:lnTo>
                      <a:pt x="4508" y="2194"/>
                    </a:lnTo>
                    <a:lnTo>
                      <a:pt x="4506" y="2196"/>
                    </a:lnTo>
                    <a:lnTo>
                      <a:pt x="4502" y="2202"/>
                    </a:lnTo>
                    <a:lnTo>
                      <a:pt x="4498" y="2210"/>
                    </a:lnTo>
                    <a:lnTo>
                      <a:pt x="4496" y="2214"/>
                    </a:lnTo>
                    <a:lnTo>
                      <a:pt x="4492" y="2216"/>
                    </a:lnTo>
                    <a:lnTo>
                      <a:pt x="4482" y="2220"/>
                    </a:lnTo>
                    <a:lnTo>
                      <a:pt x="4476" y="2224"/>
                    </a:lnTo>
                    <a:lnTo>
                      <a:pt x="4476" y="2226"/>
                    </a:lnTo>
                    <a:lnTo>
                      <a:pt x="4474" y="2228"/>
                    </a:lnTo>
                    <a:lnTo>
                      <a:pt x="4478" y="2236"/>
                    </a:lnTo>
                    <a:lnTo>
                      <a:pt x="4480" y="2238"/>
                    </a:lnTo>
                    <a:lnTo>
                      <a:pt x="4482" y="2238"/>
                    </a:lnTo>
                    <a:lnTo>
                      <a:pt x="4484" y="2236"/>
                    </a:lnTo>
                    <a:lnTo>
                      <a:pt x="4490" y="2230"/>
                    </a:lnTo>
                    <a:lnTo>
                      <a:pt x="4494" y="2228"/>
                    </a:lnTo>
                    <a:lnTo>
                      <a:pt x="4498" y="2226"/>
                    </a:lnTo>
                    <a:lnTo>
                      <a:pt x="4504" y="2224"/>
                    </a:lnTo>
                    <a:lnTo>
                      <a:pt x="4508" y="2220"/>
                    </a:lnTo>
                    <a:lnTo>
                      <a:pt x="4510" y="2214"/>
                    </a:lnTo>
                    <a:lnTo>
                      <a:pt x="4512" y="2208"/>
                    </a:lnTo>
                    <a:lnTo>
                      <a:pt x="4512" y="2198"/>
                    </a:lnTo>
                    <a:lnTo>
                      <a:pt x="4512" y="2194"/>
                    </a:lnTo>
                    <a:lnTo>
                      <a:pt x="4510" y="2192"/>
                    </a:lnTo>
                    <a:close/>
                    <a:moveTo>
                      <a:pt x="4462" y="2262"/>
                    </a:moveTo>
                    <a:lnTo>
                      <a:pt x="4462" y="2262"/>
                    </a:lnTo>
                    <a:lnTo>
                      <a:pt x="4460" y="2260"/>
                    </a:lnTo>
                    <a:lnTo>
                      <a:pt x="4456" y="2262"/>
                    </a:lnTo>
                    <a:lnTo>
                      <a:pt x="4452" y="2272"/>
                    </a:lnTo>
                    <a:lnTo>
                      <a:pt x="4448" y="2284"/>
                    </a:lnTo>
                    <a:lnTo>
                      <a:pt x="4448" y="2292"/>
                    </a:lnTo>
                    <a:lnTo>
                      <a:pt x="4448" y="2294"/>
                    </a:lnTo>
                    <a:lnTo>
                      <a:pt x="4452" y="2292"/>
                    </a:lnTo>
                    <a:lnTo>
                      <a:pt x="4458" y="2282"/>
                    </a:lnTo>
                    <a:lnTo>
                      <a:pt x="4462" y="2272"/>
                    </a:lnTo>
                    <a:lnTo>
                      <a:pt x="4462" y="2266"/>
                    </a:lnTo>
                    <a:lnTo>
                      <a:pt x="4462" y="2262"/>
                    </a:lnTo>
                    <a:close/>
                    <a:moveTo>
                      <a:pt x="4486" y="4072"/>
                    </a:moveTo>
                    <a:lnTo>
                      <a:pt x="4486" y="4072"/>
                    </a:lnTo>
                    <a:lnTo>
                      <a:pt x="4482" y="4070"/>
                    </a:lnTo>
                    <a:lnTo>
                      <a:pt x="4482" y="4068"/>
                    </a:lnTo>
                    <a:lnTo>
                      <a:pt x="4480" y="4066"/>
                    </a:lnTo>
                    <a:lnTo>
                      <a:pt x="4478" y="4064"/>
                    </a:lnTo>
                    <a:lnTo>
                      <a:pt x="4474" y="4064"/>
                    </a:lnTo>
                    <a:lnTo>
                      <a:pt x="4470" y="4064"/>
                    </a:lnTo>
                    <a:lnTo>
                      <a:pt x="4460" y="4068"/>
                    </a:lnTo>
                    <a:lnTo>
                      <a:pt x="4450" y="4076"/>
                    </a:lnTo>
                    <a:lnTo>
                      <a:pt x="4448" y="4080"/>
                    </a:lnTo>
                    <a:lnTo>
                      <a:pt x="4448" y="4084"/>
                    </a:lnTo>
                    <a:lnTo>
                      <a:pt x="4446" y="4088"/>
                    </a:lnTo>
                    <a:lnTo>
                      <a:pt x="4442" y="4094"/>
                    </a:lnTo>
                    <a:lnTo>
                      <a:pt x="4440" y="4100"/>
                    </a:lnTo>
                    <a:lnTo>
                      <a:pt x="4438" y="4104"/>
                    </a:lnTo>
                    <a:lnTo>
                      <a:pt x="4440" y="4106"/>
                    </a:lnTo>
                    <a:lnTo>
                      <a:pt x="4442" y="4104"/>
                    </a:lnTo>
                    <a:lnTo>
                      <a:pt x="4448" y="4104"/>
                    </a:lnTo>
                    <a:lnTo>
                      <a:pt x="4458" y="4106"/>
                    </a:lnTo>
                    <a:lnTo>
                      <a:pt x="4462" y="4106"/>
                    </a:lnTo>
                    <a:lnTo>
                      <a:pt x="4466" y="4106"/>
                    </a:lnTo>
                    <a:lnTo>
                      <a:pt x="4470" y="4102"/>
                    </a:lnTo>
                    <a:lnTo>
                      <a:pt x="4474" y="4098"/>
                    </a:lnTo>
                    <a:lnTo>
                      <a:pt x="4478" y="4094"/>
                    </a:lnTo>
                    <a:lnTo>
                      <a:pt x="4480" y="4092"/>
                    </a:lnTo>
                    <a:lnTo>
                      <a:pt x="4482" y="4090"/>
                    </a:lnTo>
                    <a:lnTo>
                      <a:pt x="4484" y="4082"/>
                    </a:lnTo>
                    <a:lnTo>
                      <a:pt x="4488" y="4074"/>
                    </a:lnTo>
                    <a:lnTo>
                      <a:pt x="4488" y="4072"/>
                    </a:lnTo>
                    <a:lnTo>
                      <a:pt x="4486" y="4072"/>
                    </a:lnTo>
                    <a:close/>
                    <a:moveTo>
                      <a:pt x="2916" y="5240"/>
                    </a:moveTo>
                    <a:lnTo>
                      <a:pt x="2916" y="5240"/>
                    </a:lnTo>
                    <a:lnTo>
                      <a:pt x="2912" y="5240"/>
                    </a:lnTo>
                    <a:lnTo>
                      <a:pt x="2908" y="5240"/>
                    </a:lnTo>
                    <a:lnTo>
                      <a:pt x="2902" y="5244"/>
                    </a:lnTo>
                    <a:lnTo>
                      <a:pt x="2898" y="5248"/>
                    </a:lnTo>
                    <a:lnTo>
                      <a:pt x="2896" y="5252"/>
                    </a:lnTo>
                    <a:lnTo>
                      <a:pt x="2896" y="5260"/>
                    </a:lnTo>
                    <a:lnTo>
                      <a:pt x="2896" y="5264"/>
                    </a:lnTo>
                    <a:lnTo>
                      <a:pt x="2894" y="5266"/>
                    </a:lnTo>
                    <a:lnTo>
                      <a:pt x="2890" y="5266"/>
                    </a:lnTo>
                    <a:lnTo>
                      <a:pt x="2888" y="5270"/>
                    </a:lnTo>
                    <a:lnTo>
                      <a:pt x="2892" y="5272"/>
                    </a:lnTo>
                    <a:lnTo>
                      <a:pt x="2904" y="5274"/>
                    </a:lnTo>
                    <a:lnTo>
                      <a:pt x="2914" y="5274"/>
                    </a:lnTo>
                    <a:lnTo>
                      <a:pt x="2916" y="5272"/>
                    </a:lnTo>
                    <a:lnTo>
                      <a:pt x="2918" y="5272"/>
                    </a:lnTo>
                    <a:lnTo>
                      <a:pt x="2918" y="5266"/>
                    </a:lnTo>
                    <a:lnTo>
                      <a:pt x="2920" y="5258"/>
                    </a:lnTo>
                    <a:lnTo>
                      <a:pt x="2924" y="5250"/>
                    </a:lnTo>
                    <a:lnTo>
                      <a:pt x="2924" y="5246"/>
                    </a:lnTo>
                    <a:lnTo>
                      <a:pt x="2922" y="5242"/>
                    </a:lnTo>
                    <a:lnTo>
                      <a:pt x="2916" y="5240"/>
                    </a:lnTo>
                    <a:close/>
                    <a:moveTo>
                      <a:pt x="2868" y="5234"/>
                    </a:moveTo>
                    <a:lnTo>
                      <a:pt x="2868" y="5234"/>
                    </a:lnTo>
                    <a:lnTo>
                      <a:pt x="2866" y="5232"/>
                    </a:lnTo>
                    <a:lnTo>
                      <a:pt x="2864" y="5232"/>
                    </a:lnTo>
                    <a:lnTo>
                      <a:pt x="2860" y="5234"/>
                    </a:lnTo>
                    <a:lnTo>
                      <a:pt x="2854" y="5238"/>
                    </a:lnTo>
                    <a:lnTo>
                      <a:pt x="2850" y="5238"/>
                    </a:lnTo>
                    <a:lnTo>
                      <a:pt x="2844" y="5236"/>
                    </a:lnTo>
                    <a:lnTo>
                      <a:pt x="2838" y="5234"/>
                    </a:lnTo>
                    <a:lnTo>
                      <a:pt x="2836" y="5234"/>
                    </a:lnTo>
                    <a:lnTo>
                      <a:pt x="2834" y="5236"/>
                    </a:lnTo>
                    <a:lnTo>
                      <a:pt x="2834" y="5240"/>
                    </a:lnTo>
                    <a:lnTo>
                      <a:pt x="2836" y="5246"/>
                    </a:lnTo>
                    <a:lnTo>
                      <a:pt x="2840" y="5248"/>
                    </a:lnTo>
                    <a:lnTo>
                      <a:pt x="2844" y="5250"/>
                    </a:lnTo>
                    <a:lnTo>
                      <a:pt x="2850" y="5252"/>
                    </a:lnTo>
                    <a:lnTo>
                      <a:pt x="2856" y="5256"/>
                    </a:lnTo>
                    <a:lnTo>
                      <a:pt x="2860" y="5262"/>
                    </a:lnTo>
                    <a:lnTo>
                      <a:pt x="2860" y="5266"/>
                    </a:lnTo>
                    <a:lnTo>
                      <a:pt x="2860" y="5270"/>
                    </a:lnTo>
                    <a:lnTo>
                      <a:pt x="2862" y="5270"/>
                    </a:lnTo>
                    <a:lnTo>
                      <a:pt x="2866" y="5270"/>
                    </a:lnTo>
                    <a:lnTo>
                      <a:pt x="2868" y="5266"/>
                    </a:lnTo>
                    <a:lnTo>
                      <a:pt x="2870" y="5260"/>
                    </a:lnTo>
                    <a:lnTo>
                      <a:pt x="2876" y="5254"/>
                    </a:lnTo>
                    <a:lnTo>
                      <a:pt x="2882" y="5250"/>
                    </a:lnTo>
                    <a:lnTo>
                      <a:pt x="2882" y="5246"/>
                    </a:lnTo>
                    <a:lnTo>
                      <a:pt x="2882" y="5244"/>
                    </a:lnTo>
                    <a:lnTo>
                      <a:pt x="2876" y="5240"/>
                    </a:lnTo>
                    <a:lnTo>
                      <a:pt x="2868" y="5234"/>
                    </a:lnTo>
                    <a:close/>
                    <a:moveTo>
                      <a:pt x="2906" y="5026"/>
                    </a:moveTo>
                    <a:lnTo>
                      <a:pt x="2906" y="5026"/>
                    </a:lnTo>
                    <a:lnTo>
                      <a:pt x="2906" y="5016"/>
                    </a:lnTo>
                    <a:lnTo>
                      <a:pt x="2906" y="5006"/>
                    </a:lnTo>
                    <a:lnTo>
                      <a:pt x="2904" y="5000"/>
                    </a:lnTo>
                    <a:lnTo>
                      <a:pt x="2902" y="5000"/>
                    </a:lnTo>
                    <a:lnTo>
                      <a:pt x="2900" y="5002"/>
                    </a:lnTo>
                    <a:lnTo>
                      <a:pt x="2898" y="5010"/>
                    </a:lnTo>
                    <a:lnTo>
                      <a:pt x="2898" y="5018"/>
                    </a:lnTo>
                    <a:lnTo>
                      <a:pt x="2898" y="5026"/>
                    </a:lnTo>
                    <a:lnTo>
                      <a:pt x="2896" y="5036"/>
                    </a:lnTo>
                    <a:lnTo>
                      <a:pt x="2896" y="5038"/>
                    </a:lnTo>
                    <a:lnTo>
                      <a:pt x="2898" y="5038"/>
                    </a:lnTo>
                    <a:lnTo>
                      <a:pt x="2902" y="5034"/>
                    </a:lnTo>
                    <a:lnTo>
                      <a:pt x="2906" y="5026"/>
                    </a:lnTo>
                    <a:close/>
                    <a:moveTo>
                      <a:pt x="3284" y="4314"/>
                    </a:moveTo>
                    <a:lnTo>
                      <a:pt x="3284" y="4314"/>
                    </a:lnTo>
                    <a:lnTo>
                      <a:pt x="3286" y="4316"/>
                    </a:lnTo>
                    <a:lnTo>
                      <a:pt x="3288" y="4318"/>
                    </a:lnTo>
                    <a:lnTo>
                      <a:pt x="3290" y="4318"/>
                    </a:lnTo>
                    <a:lnTo>
                      <a:pt x="3290" y="4316"/>
                    </a:lnTo>
                    <a:lnTo>
                      <a:pt x="3290" y="4314"/>
                    </a:lnTo>
                    <a:lnTo>
                      <a:pt x="3288" y="4312"/>
                    </a:lnTo>
                    <a:lnTo>
                      <a:pt x="3284" y="4314"/>
                    </a:lnTo>
                    <a:close/>
                    <a:moveTo>
                      <a:pt x="3284" y="4332"/>
                    </a:moveTo>
                    <a:lnTo>
                      <a:pt x="3284" y="4332"/>
                    </a:lnTo>
                    <a:lnTo>
                      <a:pt x="3284" y="4330"/>
                    </a:lnTo>
                    <a:lnTo>
                      <a:pt x="3282" y="4330"/>
                    </a:lnTo>
                    <a:lnTo>
                      <a:pt x="3278" y="4336"/>
                    </a:lnTo>
                    <a:lnTo>
                      <a:pt x="3278" y="4344"/>
                    </a:lnTo>
                    <a:lnTo>
                      <a:pt x="3278" y="4350"/>
                    </a:lnTo>
                    <a:lnTo>
                      <a:pt x="3282" y="4354"/>
                    </a:lnTo>
                    <a:lnTo>
                      <a:pt x="3284" y="4358"/>
                    </a:lnTo>
                    <a:lnTo>
                      <a:pt x="3286" y="4358"/>
                    </a:lnTo>
                    <a:lnTo>
                      <a:pt x="3286" y="4354"/>
                    </a:lnTo>
                    <a:lnTo>
                      <a:pt x="3284" y="4332"/>
                    </a:lnTo>
                    <a:close/>
                    <a:moveTo>
                      <a:pt x="2868" y="5178"/>
                    </a:moveTo>
                    <a:lnTo>
                      <a:pt x="2868" y="5178"/>
                    </a:lnTo>
                    <a:lnTo>
                      <a:pt x="2870" y="5178"/>
                    </a:lnTo>
                    <a:lnTo>
                      <a:pt x="2872" y="5178"/>
                    </a:lnTo>
                    <a:lnTo>
                      <a:pt x="2874" y="5178"/>
                    </a:lnTo>
                    <a:lnTo>
                      <a:pt x="2876" y="5178"/>
                    </a:lnTo>
                    <a:lnTo>
                      <a:pt x="2876" y="5176"/>
                    </a:lnTo>
                    <a:lnTo>
                      <a:pt x="2874" y="5174"/>
                    </a:lnTo>
                    <a:lnTo>
                      <a:pt x="2872" y="5172"/>
                    </a:lnTo>
                    <a:lnTo>
                      <a:pt x="2866" y="5172"/>
                    </a:lnTo>
                    <a:lnTo>
                      <a:pt x="2862" y="5174"/>
                    </a:lnTo>
                    <a:lnTo>
                      <a:pt x="2864" y="5176"/>
                    </a:lnTo>
                    <a:lnTo>
                      <a:pt x="2866" y="5178"/>
                    </a:lnTo>
                    <a:lnTo>
                      <a:pt x="2868" y="5178"/>
                    </a:lnTo>
                    <a:close/>
                    <a:moveTo>
                      <a:pt x="2798" y="5190"/>
                    </a:moveTo>
                    <a:lnTo>
                      <a:pt x="2798" y="5190"/>
                    </a:lnTo>
                    <a:lnTo>
                      <a:pt x="2804" y="5186"/>
                    </a:lnTo>
                    <a:lnTo>
                      <a:pt x="2812" y="5182"/>
                    </a:lnTo>
                    <a:lnTo>
                      <a:pt x="2818" y="5180"/>
                    </a:lnTo>
                    <a:lnTo>
                      <a:pt x="2818" y="5178"/>
                    </a:lnTo>
                    <a:lnTo>
                      <a:pt x="2818" y="5176"/>
                    </a:lnTo>
                    <a:lnTo>
                      <a:pt x="2814" y="5174"/>
                    </a:lnTo>
                    <a:lnTo>
                      <a:pt x="2810" y="5174"/>
                    </a:lnTo>
                    <a:lnTo>
                      <a:pt x="2804" y="5176"/>
                    </a:lnTo>
                    <a:lnTo>
                      <a:pt x="2794" y="5176"/>
                    </a:lnTo>
                    <a:lnTo>
                      <a:pt x="2780" y="5174"/>
                    </a:lnTo>
                    <a:lnTo>
                      <a:pt x="2770" y="5176"/>
                    </a:lnTo>
                    <a:lnTo>
                      <a:pt x="2764" y="5180"/>
                    </a:lnTo>
                    <a:lnTo>
                      <a:pt x="2764" y="5182"/>
                    </a:lnTo>
                    <a:lnTo>
                      <a:pt x="2764" y="5186"/>
                    </a:lnTo>
                    <a:lnTo>
                      <a:pt x="2768" y="5188"/>
                    </a:lnTo>
                    <a:lnTo>
                      <a:pt x="2780" y="5192"/>
                    </a:lnTo>
                    <a:lnTo>
                      <a:pt x="2790" y="5192"/>
                    </a:lnTo>
                    <a:lnTo>
                      <a:pt x="2796" y="5192"/>
                    </a:lnTo>
                    <a:lnTo>
                      <a:pt x="2798" y="5190"/>
                    </a:lnTo>
                    <a:close/>
                    <a:moveTo>
                      <a:pt x="4914" y="1916"/>
                    </a:moveTo>
                    <a:lnTo>
                      <a:pt x="4914" y="1916"/>
                    </a:lnTo>
                    <a:lnTo>
                      <a:pt x="4910" y="1920"/>
                    </a:lnTo>
                    <a:lnTo>
                      <a:pt x="4910" y="1924"/>
                    </a:lnTo>
                    <a:lnTo>
                      <a:pt x="4912" y="1928"/>
                    </a:lnTo>
                    <a:lnTo>
                      <a:pt x="4914" y="1934"/>
                    </a:lnTo>
                    <a:lnTo>
                      <a:pt x="4926" y="1944"/>
                    </a:lnTo>
                    <a:lnTo>
                      <a:pt x="4938" y="1954"/>
                    </a:lnTo>
                    <a:lnTo>
                      <a:pt x="4942" y="1958"/>
                    </a:lnTo>
                    <a:lnTo>
                      <a:pt x="4942" y="1954"/>
                    </a:lnTo>
                    <a:lnTo>
                      <a:pt x="4940" y="1946"/>
                    </a:lnTo>
                    <a:lnTo>
                      <a:pt x="4936" y="1936"/>
                    </a:lnTo>
                    <a:lnTo>
                      <a:pt x="4930" y="1926"/>
                    </a:lnTo>
                    <a:lnTo>
                      <a:pt x="4924" y="1918"/>
                    </a:lnTo>
                    <a:lnTo>
                      <a:pt x="4918" y="1914"/>
                    </a:lnTo>
                    <a:lnTo>
                      <a:pt x="4916" y="1914"/>
                    </a:lnTo>
                    <a:lnTo>
                      <a:pt x="4914" y="1916"/>
                    </a:lnTo>
                    <a:close/>
                    <a:moveTo>
                      <a:pt x="4520" y="2200"/>
                    </a:moveTo>
                    <a:lnTo>
                      <a:pt x="4520" y="2200"/>
                    </a:lnTo>
                    <a:lnTo>
                      <a:pt x="4522" y="2200"/>
                    </a:lnTo>
                    <a:lnTo>
                      <a:pt x="4524" y="2200"/>
                    </a:lnTo>
                    <a:lnTo>
                      <a:pt x="4528" y="2196"/>
                    </a:lnTo>
                    <a:lnTo>
                      <a:pt x="4528" y="2192"/>
                    </a:lnTo>
                    <a:lnTo>
                      <a:pt x="4528" y="2188"/>
                    </a:lnTo>
                    <a:lnTo>
                      <a:pt x="4524" y="2188"/>
                    </a:lnTo>
                    <a:lnTo>
                      <a:pt x="4520" y="2190"/>
                    </a:lnTo>
                    <a:lnTo>
                      <a:pt x="4518" y="2194"/>
                    </a:lnTo>
                    <a:lnTo>
                      <a:pt x="4518" y="2196"/>
                    </a:lnTo>
                    <a:lnTo>
                      <a:pt x="4520" y="2200"/>
                    </a:lnTo>
                    <a:close/>
                    <a:moveTo>
                      <a:pt x="4814" y="1702"/>
                    </a:moveTo>
                    <a:lnTo>
                      <a:pt x="4814" y="1702"/>
                    </a:lnTo>
                    <a:lnTo>
                      <a:pt x="4812" y="1704"/>
                    </a:lnTo>
                    <a:lnTo>
                      <a:pt x="4812" y="1706"/>
                    </a:lnTo>
                    <a:lnTo>
                      <a:pt x="4816" y="1706"/>
                    </a:lnTo>
                    <a:lnTo>
                      <a:pt x="4832" y="1700"/>
                    </a:lnTo>
                    <a:lnTo>
                      <a:pt x="4842" y="1696"/>
                    </a:lnTo>
                    <a:lnTo>
                      <a:pt x="4850" y="1690"/>
                    </a:lnTo>
                    <a:lnTo>
                      <a:pt x="4856" y="1684"/>
                    </a:lnTo>
                    <a:lnTo>
                      <a:pt x="4858" y="1678"/>
                    </a:lnTo>
                    <a:lnTo>
                      <a:pt x="4856" y="1674"/>
                    </a:lnTo>
                    <a:lnTo>
                      <a:pt x="4852" y="1672"/>
                    </a:lnTo>
                    <a:lnTo>
                      <a:pt x="4848" y="1672"/>
                    </a:lnTo>
                    <a:lnTo>
                      <a:pt x="4842" y="1674"/>
                    </a:lnTo>
                    <a:lnTo>
                      <a:pt x="4828" y="1686"/>
                    </a:lnTo>
                    <a:lnTo>
                      <a:pt x="4814" y="1702"/>
                    </a:lnTo>
                    <a:close/>
                    <a:moveTo>
                      <a:pt x="3278" y="4364"/>
                    </a:moveTo>
                    <a:lnTo>
                      <a:pt x="3278" y="4364"/>
                    </a:lnTo>
                    <a:lnTo>
                      <a:pt x="3276" y="4362"/>
                    </a:lnTo>
                    <a:lnTo>
                      <a:pt x="3274" y="4362"/>
                    </a:lnTo>
                    <a:lnTo>
                      <a:pt x="3278" y="4384"/>
                    </a:lnTo>
                    <a:lnTo>
                      <a:pt x="3278" y="4398"/>
                    </a:lnTo>
                    <a:lnTo>
                      <a:pt x="3278" y="4400"/>
                    </a:lnTo>
                    <a:lnTo>
                      <a:pt x="3276" y="4402"/>
                    </a:lnTo>
                    <a:lnTo>
                      <a:pt x="3272" y="4402"/>
                    </a:lnTo>
                    <a:lnTo>
                      <a:pt x="3266" y="4398"/>
                    </a:lnTo>
                    <a:lnTo>
                      <a:pt x="3264" y="4400"/>
                    </a:lnTo>
                    <a:lnTo>
                      <a:pt x="3264" y="4406"/>
                    </a:lnTo>
                    <a:lnTo>
                      <a:pt x="3262" y="4408"/>
                    </a:lnTo>
                    <a:lnTo>
                      <a:pt x="3260" y="4408"/>
                    </a:lnTo>
                    <a:lnTo>
                      <a:pt x="3256" y="4404"/>
                    </a:lnTo>
                    <a:lnTo>
                      <a:pt x="3254" y="4402"/>
                    </a:lnTo>
                    <a:lnTo>
                      <a:pt x="3252" y="4400"/>
                    </a:lnTo>
                    <a:lnTo>
                      <a:pt x="3250" y="4402"/>
                    </a:lnTo>
                    <a:lnTo>
                      <a:pt x="3248" y="4404"/>
                    </a:lnTo>
                    <a:lnTo>
                      <a:pt x="3248" y="4424"/>
                    </a:lnTo>
                    <a:lnTo>
                      <a:pt x="3248" y="4426"/>
                    </a:lnTo>
                    <a:lnTo>
                      <a:pt x="3246" y="4426"/>
                    </a:lnTo>
                    <a:lnTo>
                      <a:pt x="3240" y="4422"/>
                    </a:lnTo>
                    <a:lnTo>
                      <a:pt x="3238" y="4422"/>
                    </a:lnTo>
                    <a:lnTo>
                      <a:pt x="3234" y="4420"/>
                    </a:lnTo>
                    <a:lnTo>
                      <a:pt x="3232" y="4422"/>
                    </a:lnTo>
                    <a:lnTo>
                      <a:pt x="3230" y="4428"/>
                    </a:lnTo>
                    <a:lnTo>
                      <a:pt x="3226" y="4438"/>
                    </a:lnTo>
                    <a:lnTo>
                      <a:pt x="3224" y="4440"/>
                    </a:lnTo>
                    <a:lnTo>
                      <a:pt x="3220" y="4440"/>
                    </a:lnTo>
                    <a:lnTo>
                      <a:pt x="3214" y="4444"/>
                    </a:lnTo>
                    <a:lnTo>
                      <a:pt x="3210" y="4446"/>
                    </a:lnTo>
                    <a:lnTo>
                      <a:pt x="3212" y="4440"/>
                    </a:lnTo>
                    <a:lnTo>
                      <a:pt x="3212" y="4432"/>
                    </a:lnTo>
                    <a:lnTo>
                      <a:pt x="3210" y="4424"/>
                    </a:lnTo>
                    <a:lnTo>
                      <a:pt x="3208" y="4420"/>
                    </a:lnTo>
                    <a:lnTo>
                      <a:pt x="3204" y="4418"/>
                    </a:lnTo>
                    <a:lnTo>
                      <a:pt x="3200" y="4418"/>
                    </a:lnTo>
                    <a:lnTo>
                      <a:pt x="3198" y="4420"/>
                    </a:lnTo>
                    <a:lnTo>
                      <a:pt x="3198" y="4418"/>
                    </a:lnTo>
                    <a:lnTo>
                      <a:pt x="3196" y="4416"/>
                    </a:lnTo>
                    <a:lnTo>
                      <a:pt x="3194" y="4414"/>
                    </a:lnTo>
                    <a:lnTo>
                      <a:pt x="3192" y="4416"/>
                    </a:lnTo>
                    <a:lnTo>
                      <a:pt x="3192" y="4420"/>
                    </a:lnTo>
                    <a:lnTo>
                      <a:pt x="3190" y="4422"/>
                    </a:lnTo>
                    <a:lnTo>
                      <a:pt x="3188" y="4424"/>
                    </a:lnTo>
                    <a:lnTo>
                      <a:pt x="3186" y="4424"/>
                    </a:lnTo>
                    <a:lnTo>
                      <a:pt x="3182" y="4424"/>
                    </a:lnTo>
                    <a:lnTo>
                      <a:pt x="3178" y="4428"/>
                    </a:lnTo>
                    <a:lnTo>
                      <a:pt x="3176" y="4432"/>
                    </a:lnTo>
                    <a:lnTo>
                      <a:pt x="3178" y="4438"/>
                    </a:lnTo>
                    <a:lnTo>
                      <a:pt x="3178" y="4440"/>
                    </a:lnTo>
                    <a:lnTo>
                      <a:pt x="3174" y="4442"/>
                    </a:lnTo>
                    <a:lnTo>
                      <a:pt x="3170" y="4444"/>
                    </a:lnTo>
                    <a:lnTo>
                      <a:pt x="3166" y="4442"/>
                    </a:lnTo>
                    <a:lnTo>
                      <a:pt x="3164" y="4442"/>
                    </a:lnTo>
                    <a:lnTo>
                      <a:pt x="3162" y="4442"/>
                    </a:lnTo>
                    <a:lnTo>
                      <a:pt x="3160" y="4444"/>
                    </a:lnTo>
                    <a:lnTo>
                      <a:pt x="3156" y="4446"/>
                    </a:lnTo>
                    <a:lnTo>
                      <a:pt x="3150" y="4448"/>
                    </a:lnTo>
                    <a:lnTo>
                      <a:pt x="3146" y="4452"/>
                    </a:lnTo>
                    <a:lnTo>
                      <a:pt x="3142" y="4458"/>
                    </a:lnTo>
                    <a:lnTo>
                      <a:pt x="3140" y="4462"/>
                    </a:lnTo>
                    <a:lnTo>
                      <a:pt x="3140" y="4472"/>
                    </a:lnTo>
                    <a:lnTo>
                      <a:pt x="3138" y="4478"/>
                    </a:lnTo>
                    <a:lnTo>
                      <a:pt x="3134" y="4488"/>
                    </a:lnTo>
                    <a:lnTo>
                      <a:pt x="3132" y="4492"/>
                    </a:lnTo>
                    <a:lnTo>
                      <a:pt x="3134" y="4496"/>
                    </a:lnTo>
                    <a:lnTo>
                      <a:pt x="3136" y="4500"/>
                    </a:lnTo>
                    <a:lnTo>
                      <a:pt x="3138" y="4504"/>
                    </a:lnTo>
                    <a:lnTo>
                      <a:pt x="3140" y="4504"/>
                    </a:lnTo>
                    <a:lnTo>
                      <a:pt x="3144" y="4500"/>
                    </a:lnTo>
                    <a:lnTo>
                      <a:pt x="3148" y="4488"/>
                    </a:lnTo>
                    <a:lnTo>
                      <a:pt x="3150" y="4480"/>
                    </a:lnTo>
                    <a:lnTo>
                      <a:pt x="3152" y="4478"/>
                    </a:lnTo>
                    <a:lnTo>
                      <a:pt x="3152" y="4476"/>
                    </a:lnTo>
                    <a:lnTo>
                      <a:pt x="3154" y="4474"/>
                    </a:lnTo>
                    <a:lnTo>
                      <a:pt x="3156" y="4472"/>
                    </a:lnTo>
                    <a:lnTo>
                      <a:pt x="3156" y="4470"/>
                    </a:lnTo>
                    <a:lnTo>
                      <a:pt x="3158" y="4466"/>
                    </a:lnTo>
                    <a:lnTo>
                      <a:pt x="3160" y="4462"/>
                    </a:lnTo>
                    <a:lnTo>
                      <a:pt x="3164" y="4460"/>
                    </a:lnTo>
                    <a:lnTo>
                      <a:pt x="3168" y="4462"/>
                    </a:lnTo>
                    <a:lnTo>
                      <a:pt x="3170" y="4466"/>
                    </a:lnTo>
                    <a:lnTo>
                      <a:pt x="3168" y="4472"/>
                    </a:lnTo>
                    <a:lnTo>
                      <a:pt x="3168" y="4474"/>
                    </a:lnTo>
                    <a:lnTo>
                      <a:pt x="3172" y="4474"/>
                    </a:lnTo>
                    <a:lnTo>
                      <a:pt x="3178" y="4472"/>
                    </a:lnTo>
                    <a:lnTo>
                      <a:pt x="3182" y="4466"/>
                    </a:lnTo>
                    <a:lnTo>
                      <a:pt x="3184" y="4462"/>
                    </a:lnTo>
                    <a:lnTo>
                      <a:pt x="3184" y="4466"/>
                    </a:lnTo>
                    <a:lnTo>
                      <a:pt x="3184" y="4472"/>
                    </a:lnTo>
                    <a:lnTo>
                      <a:pt x="3184" y="4474"/>
                    </a:lnTo>
                    <a:lnTo>
                      <a:pt x="3186" y="4476"/>
                    </a:lnTo>
                    <a:lnTo>
                      <a:pt x="3192" y="4478"/>
                    </a:lnTo>
                    <a:lnTo>
                      <a:pt x="3194" y="4480"/>
                    </a:lnTo>
                    <a:lnTo>
                      <a:pt x="3194" y="4476"/>
                    </a:lnTo>
                    <a:lnTo>
                      <a:pt x="3194" y="4470"/>
                    </a:lnTo>
                    <a:lnTo>
                      <a:pt x="3196" y="4466"/>
                    </a:lnTo>
                    <a:lnTo>
                      <a:pt x="3198" y="4464"/>
                    </a:lnTo>
                    <a:lnTo>
                      <a:pt x="3196" y="4462"/>
                    </a:lnTo>
                    <a:lnTo>
                      <a:pt x="3194" y="4460"/>
                    </a:lnTo>
                    <a:lnTo>
                      <a:pt x="3196" y="4458"/>
                    </a:lnTo>
                    <a:lnTo>
                      <a:pt x="3200" y="4458"/>
                    </a:lnTo>
                    <a:lnTo>
                      <a:pt x="3206" y="4460"/>
                    </a:lnTo>
                    <a:lnTo>
                      <a:pt x="3210" y="4464"/>
                    </a:lnTo>
                    <a:lnTo>
                      <a:pt x="3216" y="4466"/>
                    </a:lnTo>
                    <a:lnTo>
                      <a:pt x="3218" y="4468"/>
                    </a:lnTo>
                    <a:lnTo>
                      <a:pt x="3222" y="4472"/>
                    </a:lnTo>
                    <a:lnTo>
                      <a:pt x="3222" y="4476"/>
                    </a:lnTo>
                    <a:lnTo>
                      <a:pt x="3224" y="4478"/>
                    </a:lnTo>
                    <a:lnTo>
                      <a:pt x="3226" y="4478"/>
                    </a:lnTo>
                    <a:lnTo>
                      <a:pt x="3226" y="4482"/>
                    </a:lnTo>
                    <a:lnTo>
                      <a:pt x="3224" y="4486"/>
                    </a:lnTo>
                    <a:lnTo>
                      <a:pt x="3220" y="4492"/>
                    </a:lnTo>
                    <a:lnTo>
                      <a:pt x="3216" y="4500"/>
                    </a:lnTo>
                    <a:lnTo>
                      <a:pt x="3216" y="4502"/>
                    </a:lnTo>
                    <a:lnTo>
                      <a:pt x="3216" y="4506"/>
                    </a:lnTo>
                    <a:lnTo>
                      <a:pt x="3218" y="4520"/>
                    </a:lnTo>
                    <a:lnTo>
                      <a:pt x="3220" y="4526"/>
                    </a:lnTo>
                    <a:lnTo>
                      <a:pt x="3222" y="4532"/>
                    </a:lnTo>
                    <a:lnTo>
                      <a:pt x="3224" y="4534"/>
                    </a:lnTo>
                    <a:lnTo>
                      <a:pt x="3224" y="4536"/>
                    </a:lnTo>
                    <a:lnTo>
                      <a:pt x="3226" y="4538"/>
                    </a:lnTo>
                    <a:lnTo>
                      <a:pt x="3234" y="4544"/>
                    </a:lnTo>
                    <a:lnTo>
                      <a:pt x="3252" y="4552"/>
                    </a:lnTo>
                    <a:lnTo>
                      <a:pt x="3256" y="4554"/>
                    </a:lnTo>
                    <a:lnTo>
                      <a:pt x="3260" y="4548"/>
                    </a:lnTo>
                    <a:lnTo>
                      <a:pt x="3264" y="4542"/>
                    </a:lnTo>
                    <a:lnTo>
                      <a:pt x="3266" y="4542"/>
                    </a:lnTo>
                    <a:lnTo>
                      <a:pt x="3268" y="4544"/>
                    </a:lnTo>
                    <a:lnTo>
                      <a:pt x="3266" y="4550"/>
                    </a:lnTo>
                    <a:lnTo>
                      <a:pt x="3266" y="4556"/>
                    </a:lnTo>
                    <a:lnTo>
                      <a:pt x="3268" y="4564"/>
                    </a:lnTo>
                    <a:lnTo>
                      <a:pt x="3270" y="4566"/>
                    </a:lnTo>
                    <a:lnTo>
                      <a:pt x="3272" y="4568"/>
                    </a:lnTo>
                    <a:lnTo>
                      <a:pt x="3274" y="4566"/>
                    </a:lnTo>
                    <a:lnTo>
                      <a:pt x="3278" y="4564"/>
                    </a:lnTo>
                    <a:lnTo>
                      <a:pt x="3282" y="4554"/>
                    </a:lnTo>
                    <a:lnTo>
                      <a:pt x="3284" y="4546"/>
                    </a:lnTo>
                    <a:lnTo>
                      <a:pt x="3286" y="4540"/>
                    </a:lnTo>
                    <a:lnTo>
                      <a:pt x="3284" y="4534"/>
                    </a:lnTo>
                    <a:lnTo>
                      <a:pt x="3280" y="4524"/>
                    </a:lnTo>
                    <a:lnTo>
                      <a:pt x="3278" y="4520"/>
                    </a:lnTo>
                    <a:lnTo>
                      <a:pt x="3276" y="4518"/>
                    </a:lnTo>
                    <a:lnTo>
                      <a:pt x="3274" y="4516"/>
                    </a:lnTo>
                    <a:lnTo>
                      <a:pt x="3274" y="4514"/>
                    </a:lnTo>
                    <a:lnTo>
                      <a:pt x="3274" y="4508"/>
                    </a:lnTo>
                    <a:lnTo>
                      <a:pt x="3276" y="4500"/>
                    </a:lnTo>
                    <a:lnTo>
                      <a:pt x="3280" y="4496"/>
                    </a:lnTo>
                    <a:lnTo>
                      <a:pt x="3284" y="4494"/>
                    </a:lnTo>
                    <a:lnTo>
                      <a:pt x="3284" y="4490"/>
                    </a:lnTo>
                    <a:lnTo>
                      <a:pt x="3284" y="4486"/>
                    </a:lnTo>
                    <a:lnTo>
                      <a:pt x="3288" y="4484"/>
                    </a:lnTo>
                    <a:lnTo>
                      <a:pt x="3290" y="4482"/>
                    </a:lnTo>
                    <a:lnTo>
                      <a:pt x="3292" y="4482"/>
                    </a:lnTo>
                    <a:lnTo>
                      <a:pt x="3292" y="4490"/>
                    </a:lnTo>
                    <a:lnTo>
                      <a:pt x="3294" y="4498"/>
                    </a:lnTo>
                    <a:lnTo>
                      <a:pt x="3296" y="4502"/>
                    </a:lnTo>
                    <a:lnTo>
                      <a:pt x="3300" y="4506"/>
                    </a:lnTo>
                    <a:lnTo>
                      <a:pt x="3302" y="4510"/>
                    </a:lnTo>
                    <a:lnTo>
                      <a:pt x="3300" y="4512"/>
                    </a:lnTo>
                    <a:lnTo>
                      <a:pt x="3300" y="4518"/>
                    </a:lnTo>
                    <a:lnTo>
                      <a:pt x="3302" y="4528"/>
                    </a:lnTo>
                    <a:lnTo>
                      <a:pt x="3304" y="4530"/>
                    </a:lnTo>
                    <a:lnTo>
                      <a:pt x="3306" y="4530"/>
                    </a:lnTo>
                    <a:lnTo>
                      <a:pt x="3306" y="4526"/>
                    </a:lnTo>
                    <a:lnTo>
                      <a:pt x="3308" y="4518"/>
                    </a:lnTo>
                    <a:lnTo>
                      <a:pt x="3306" y="4508"/>
                    </a:lnTo>
                    <a:lnTo>
                      <a:pt x="3304" y="4502"/>
                    </a:lnTo>
                    <a:lnTo>
                      <a:pt x="3308" y="4504"/>
                    </a:lnTo>
                    <a:lnTo>
                      <a:pt x="3310" y="4506"/>
                    </a:lnTo>
                    <a:lnTo>
                      <a:pt x="3312" y="4506"/>
                    </a:lnTo>
                    <a:lnTo>
                      <a:pt x="3310" y="4504"/>
                    </a:lnTo>
                    <a:lnTo>
                      <a:pt x="3310" y="4500"/>
                    </a:lnTo>
                    <a:lnTo>
                      <a:pt x="3312" y="4498"/>
                    </a:lnTo>
                    <a:lnTo>
                      <a:pt x="3316" y="4498"/>
                    </a:lnTo>
                    <a:lnTo>
                      <a:pt x="3320" y="4492"/>
                    </a:lnTo>
                    <a:lnTo>
                      <a:pt x="3322" y="4488"/>
                    </a:lnTo>
                    <a:lnTo>
                      <a:pt x="3322" y="4482"/>
                    </a:lnTo>
                    <a:lnTo>
                      <a:pt x="3320" y="4468"/>
                    </a:lnTo>
                    <a:lnTo>
                      <a:pt x="3320" y="4464"/>
                    </a:lnTo>
                    <a:lnTo>
                      <a:pt x="3318" y="4462"/>
                    </a:lnTo>
                    <a:lnTo>
                      <a:pt x="3316" y="4460"/>
                    </a:lnTo>
                    <a:lnTo>
                      <a:pt x="3314" y="4458"/>
                    </a:lnTo>
                    <a:lnTo>
                      <a:pt x="3314" y="4452"/>
                    </a:lnTo>
                    <a:lnTo>
                      <a:pt x="3316" y="4446"/>
                    </a:lnTo>
                    <a:lnTo>
                      <a:pt x="3316" y="4442"/>
                    </a:lnTo>
                    <a:lnTo>
                      <a:pt x="3314" y="4438"/>
                    </a:lnTo>
                    <a:lnTo>
                      <a:pt x="3314" y="4432"/>
                    </a:lnTo>
                    <a:lnTo>
                      <a:pt x="3314" y="4428"/>
                    </a:lnTo>
                    <a:lnTo>
                      <a:pt x="3312" y="4424"/>
                    </a:lnTo>
                    <a:lnTo>
                      <a:pt x="3310" y="4424"/>
                    </a:lnTo>
                    <a:lnTo>
                      <a:pt x="3308" y="4424"/>
                    </a:lnTo>
                    <a:lnTo>
                      <a:pt x="3304" y="4424"/>
                    </a:lnTo>
                    <a:lnTo>
                      <a:pt x="3302" y="4422"/>
                    </a:lnTo>
                    <a:lnTo>
                      <a:pt x="3302" y="4420"/>
                    </a:lnTo>
                    <a:lnTo>
                      <a:pt x="3304" y="4418"/>
                    </a:lnTo>
                    <a:lnTo>
                      <a:pt x="3308" y="4416"/>
                    </a:lnTo>
                    <a:lnTo>
                      <a:pt x="3310" y="4412"/>
                    </a:lnTo>
                    <a:lnTo>
                      <a:pt x="3312" y="4406"/>
                    </a:lnTo>
                    <a:lnTo>
                      <a:pt x="3308" y="4400"/>
                    </a:lnTo>
                    <a:lnTo>
                      <a:pt x="3306" y="4396"/>
                    </a:lnTo>
                    <a:lnTo>
                      <a:pt x="3306" y="4390"/>
                    </a:lnTo>
                    <a:lnTo>
                      <a:pt x="3306" y="4386"/>
                    </a:lnTo>
                    <a:lnTo>
                      <a:pt x="3302" y="4388"/>
                    </a:lnTo>
                    <a:lnTo>
                      <a:pt x="3300" y="4388"/>
                    </a:lnTo>
                    <a:lnTo>
                      <a:pt x="3298" y="4384"/>
                    </a:lnTo>
                    <a:lnTo>
                      <a:pt x="3296" y="4380"/>
                    </a:lnTo>
                    <a:lnTo>
                      <a:pt x="3292" y="4376"/>
                    </a:lnTo>
                    <a:lnTo>
                      <a:pt x="3288" y="4374"/>
                    </a:lnTo>
                    <a:lnTo>
                      <a:pt x="3284" y="4372"/>
                    </a:lnTo>
                    <a:lnTo>
                      <a:pt x="3282" y="4368"/>
                    </a:lnTo>
                    <a:lnTo>
                      <a:pt x="3282" y="4366"/>
                    </a:lnTo>
                    <a:lnTo>
                      <a:pt x="3278" y="4364"/>
                    </a:lnTo>
                    <a:close/>
                    <a:moveTo>
                      <a:pt x="3136" y="4268"/>
                    </a:moveTo>
                    <a:lnTo>
                      <a:pt x="3136" y="4268"/>
                    </a:lnTo>
                    <a:lnTo>
                      <a:pt x="3138" y="4270"/>
                    </a:lnTo>
                    <a:lnTo>
                      <a:pt x="3140" y="4272"/>
                    </a:lnTo>
                    <a:lnTo>
                      <a:pt x="3140" y="4278"/>
                    </a:lnTo>
                    <a:lnTo>
                      <a:pt x="3138" y="4286"/>
                    </a:lnTo>
                    <a:lnTo>
                      <a:pt x="3138" y="4296"/>
                    </a:lnTo>
                    <a:lnTo>
                      <a:pt x="3140" y="4302"/>
                    </a:lnTo>
                    <a:lnTo>
                      <a:pt x="3136" y="4306"/>
                    </a:lnTo>
                    <a:lnTo>
                      <a:pt x="3134" y="4312"/>
                    </a:lnTo>
                    <a:lnTo>
                      <a:pt x="3134" y="4324"/>
                    </a:lnTo>
                    <a:lnTo>
                      <a:pt x="3134" y="4328"/>
                    </a:lnTo>
                    <a:lnTo>
                      <a:pt x="3136" y="4330"/>
                    </a:lnTo>
                    <a:lnTo>
                      <a:pt x="3138" y="4330"/>
                    </a:lnTo>
                    <a:lnTo>
                      <a:pt x="3140" y="4328"/>
                    </a:lnTo>
                    <a:lnTo>
                      <a:pt x="3146" y="4324"/>
                    </a:lnTo>
                    <a:lnTo>
                      <a:pt x="3148" y="4320"/>
                    </a:lnTo>
                    <a:lnTo>
                      <a:pt x="3152" y="4320"/>
                    </a:lnTo>
                    <a:lnTo>
                      <a:pt x="3158" y="4318"/>
                    </a:lnTo>
                    <a:lnTo>
                      <a:pt x="3166" y="4312"/>
                    </a:lnTo>
                    <a:lnTo>
                      <a:pt x="3178" y="4298"/>
                    </a:lnTo>
                    <a:lnTo>
                      <a:pt x="3182" y="4296"/>
                    </a:lnTo>
                    <a:lnTo>
                      <a:pt x="3182" y="4292"/>
                    </a:lnTo>
                    <a:lnTo>
                      <a:pt x="3184" y="4282"/>
                    </a:lnTo>
                    <a:lnTo>
                      <a:pt x="3182" y="4276"/>
                    </a:lnTo>
                    <a:lnTo>
                      <a:pt x="3180" y="4276"/>
                    </a:lnTo>
                    <a:lnTo>
                      <a:pt x="3178" y="4276"/>
                    </a:lnTo>
                    <a:lnTo>
                      <a:pt x="3176" y="4278"/>
                    </a:lnTo>
                    <a:lnTo>
                      <a:pt x="3172" y="4276"/>
                    </a:lnTo>
                    <a:lnTo>
                      <a:pt x="3168" y="4274"/>
                    </a:lnTo>
                    <a:lnTo>
                      <a:pt x="3166" y="4274"/>
                    </a:lnTo>
                    <a:lnTo>
                      <a:pt x="3164" y="4274"/>
                    </a:lnTo>
                    <a:lnTo>
                      <a:pt x="3162" y="4276"/>
                    </a:lnTo>
                    <a:lnTo>
                      <a:pt x="3160" y="4274"/>
                    </a:lnTo>
                    <a:lnTo>
                      <a:pt x="3154" y="4270"/>
                    </a:lnTo>
                    <a:lnTo>
                      <a:pt x="3146" y="4264"/>
                    </a:lnTo>
                    <a:lnTo>
                      <a:pt x="3138" y="4258"/>
                    </a:lnTo>
                    <a:lnTo>
                      <a:pt x="3132" y="4258"/>
                    </a:lnTo>
                    <a:lnTo>
                      <a:pt x="3130" y="4260"/>
                    </a:lnTo>
                    <a:lnTo>
                      <a:pt x="3130" y="4264"/>
                    </a:lnTo>
                    <a:lnTo>
                      <a:pt x="3136" y="4268"/>
                    </a:lnTo>
                    <a:close/>
                    <a:moveTo>
                      <a:pt x="3270" y="4928"/>
                    </a:moveTo>
                    <a:lnTo>
                      <a:pt x="3270" y="4928"/>
                    </a:lnTo>
                    <a:lnTo>
                      <a:pt x="3268" y="4926"/>
                    </a:lnTo>
                    <a:lnTo>
                      <a:pt x="3264" y="4924"/>
                    </a:lnTo>
                    <a:lnTo>
                      <a:pt x="3250" y="4920"/>
                    </a:lnTo>
                    <a:lnTo>
                      <a:pt x="3244" y="4920"/>
                    </a:lnTo>
                    <a:lnTo>
                      <a:pt x="3238" y="4920"/>
                    </a:lnTo>
                    <a:lnTo>
                      <a:pt x="3232" y="4924"/>
                    </a:lnTo>
                    <a:lnTo>
                      <a:pt x="3230" y="4930"/>
                    </a:lnTo>
                    <a:lnTo>
                      <a:pt x="3232" y="4934"/>
                    </a:lnTo>
                    <a:lnTo>
                      <a:pt x="3236" y="4936"/>
                    </a:lnTo>
                    <a:lnTo>
                      <a:pt x="3242" y="4936"/>
                    </a:lnTo>
                    <a:lnTo>
                      <a:pt x="3250" y="4936"/>
                    </a:lnTo>
                    <a:lnTo>
                      <a:pt x="3264" y="4934"/>
                    </a:lnTo>
                    <a:lnTo>
                      <a:pt x="3268" y="4932"/>
                    </a:lnTo>
                    <a:lnTo>
                      <a:pt x="3270" y="4928"/>
                    </a:lnTo>
                    <a:close/>
                    <a:moveTo>
                      <a:pt x="3148" y="4520"/>
                    </a:moveTo>
                    <a:lnTo>
                      <a:pt x="3148" y="4520"/>
                    </a:lnTo>
                    <a:lnTo>
                      <a:pt x="3146" y="4516"/>
                    </a:lnTo>
                    <a:lnTo>
                      <a:pt x="3138" y="4512"/>
                    </a:lnTo>
                    <a:lnTo>
                      <a:pt x="3136" y="4512"/>
                    </a:lnTo>
                    <a:lnTo>
                      <a:pt x="3132" y="4512"/>
                    </a:lnTo>
                    <a:lnTo>
                      <a:pt x="3130" y="4516"/>
                    </a:lnTo>
                    <a:lnTo>
                      <a:pt x="3130" y="4520"/>
                    </a:lnTo>
                    <a:lnTo>
                      <a:pt x="3130" y="4524"/>
                    </a:lnTo>
                    <a:lnTo>
                      <a:pt x="3132" y="4526"/>
                    </a:lnTo>
                    <a:lnTo>
                      <a:pt x="3136" y="4528"/>
                    </a:lnTo>
                    <a:lnTo>
                      <a:pt x="3140" y="4526"/>
                    </a:lnTo>
                    <a:lnTo>
                      <a:pt x="3146" y="4524"/>
                    </a:lnTo>
                    <a:lnTo>
                      <a:pt x="3148" y="4520"/>
                    </a:lnTo>
                    <a:close/>
                    <a:moveTo>
                      <a:pt x="3204" y="4288"/>
                    </a:moveTo>
                    <a:lnTo>
                      <a:pt x="3204" y="4288"/>
                    </a:lnTo>
                    <a:lnTo>
                      <a:pt x="3204" y="4290"/>
                    </a:lnTo>
                    <a:lnTo>
                      <a:pt x="3204" y="4294"/>
                    </a:lnTo>
                    <a:lnTo>
                      <a:pt x="3206" y="4296"/>
                    </a:lnTo>
                    <a:lnTo>
                      <a:pt x="3208" y="4296"/>
                    </a:lnTo>
                    <a:lnTo>
                      <a:pt x="3208" y="4294"/>
                    </a:lnTo>
                    <a:lnTo>
                      <a:pt x="3208" y="4292"/>
                    </a:lnTo>
                    <a:lnTo>
                      <a:pt x="3206" y="4288"/>
                    </a:lnTo>
                    <a:lnTo>
                      <a:pt x="3204" y="4288"/>
                    </a:lnTo>
                    <a:close/>
                    <a:moveTo>
                      <a:pt x="3186" y="4210"/>
                    </a:moveTo>
                    <a:lnTo>
                      <a:pt x="3186" y="4210"/>
                    </a:lnTo>
                    <a:lnTo>
                      <a:pt x="3184" y="4208"/>
                    </a:lnTo>
                    <a:lnTo>
                      <a:pt x="3182" y="4204"/>
                    </a:lnTo>
                    <a:lnTo>
                      <a:pt x="3178" y="4200"/>
                    </a:lnTo>
                    <a:lnTo>
                      <a:pt x="3174" y="4198"/>
                    </a:lnTo>
                    <a:lnTo>
                      <a:pt x="3174" y="4200"/>
                    </a:lnTo>
                    <a:lnTo>
                      <a:pt x="3174" y="4202"/>
                    </a:lnTo>
                    <a:lnTo>
                      <a:pt x="3178" y="4206"/>
                    </a:lnTo>
                    <a:lnTo>
                      <a:pt x="3180" y="4212"/>
                    </a:lnTo>
                    <a:lnTo>
                      <a:pt x="3184" y="4214"/>
                    </a:lnTo>
                    <a:lnTo>
                      <a:pt x="3190" y="4220"/>
                    </a:lnTo>
                    <a:lnTo>
                      <a:pt x="3192" y="4220"/>
                    </a:lnTo>
                    <a:lnTo>
                      <a:pt x="3190" y="4216"/>
                    </a:lnTo>
                    <a:lnTo>
                      <a:pt x="3188" y="4212"/>
                    </a:lnTo>
                    <a:lnTo>
                      <a:pt x="3186" y="4210"/>
                    </a:lnTo>
                    <a:close/>
                    <a:moveTo>
                      <a:pt x="3250" y="5238"/>
                    </a:moveTo>
                    <a:lnTo>
                      <a:pt x="3250" y="5238"/>
                    </a:lnTo>
                    <a:lnTo>
                      <a:pt x="3240" y="5236"/>
                    </a:lnTo>
                    <a:lnTo>
                      <a:pt x="3236" y="5234"/>
                    </a:lnTo>
                    <a:lnTo>
                      <a:pt x="3234" y="5234"/>
                    </a:lnTo>
                    <a:lnTo>
                      <a:pt x="3232" y="5242"/>
                    </a:lnTo>
                    <a:lnTo>
                      <a:pt x="3230" y="5250"/>
                    </a:lnTo>
                    <a:lnTo>
                      <a:pt x="3232" y="5250"/>
                    </a:lnTo>
                    <a:lnTo>
                      <a:pt x="3234" y="5250"/>
                    </a:lnTo>
                    <a:lnTo>
                      <a:pt x="3244" y="5248"/>
                    </a:lnTo>
                    <a:lnTo>
                      <a:pt x="3256" y="5248"/>
                    </a:lnTo>
                    <a:lnTo>
                      <a:pt x="3260" y="5246"/>
                    </a:lnTo>
                    <a:lnTo>
                      <a:pt x="3262" y="5246"/>
                    </a:lnTo>
                    <a:lnTo>
                      <a:pt x="3264" y="5244"/>
                    </a:lnTo>
                    <a:lnTo>
                      <a:pt x="3262" y="5242"/>
                    </a:lnTo>
                    <a:lnTo>
                      <a:pt x="3258" y="5238"/>
                    </a:lnTo>
                    <a:lnTo>
                      <a:pt x="3254" y="5236"/>
                    </a:lnTo>
                    <a:lnTo>
                      <a:pt x="3250" y="5238"/>
                    </a:lnTo>
                    <a:close/>
                    <a:moveTo>
                      <a:pt x="3160" y="4332"/>
                    </a:moveTo>
                    <a:lnTo>
                      <a:pt x="3160" y="4332"/>
                    </a:lnTo>
                    <a:lnTo>
                      <a:pt x="3162" y="4332"/>
                    </a:lnTo>
                    <a:lnTo>
                      <a:pt x="3166" y="4328"/>
                    </a:lnTo>
                    <a:lnTo>
                      <a:pt x="3168" y="4322"/>
                    </a:lnTo>
                    <a:lnTo>
                      <a:pt x="3166" y="4318"/>
                    </a:lnTo>
                    <a:lnTo>
                      <a:pt x="3164" y="4318"/>
                    </a:lnTo>
                    <a:lnTo>
                      <a:pt x="3162" y="4320"/>
                    </a:lnTo>
                    <a:lnTo>
                      <a:pt x="3160" y="4322"/>
                    </a:lnTo>
                    <a:lnTo>
                      <a:pt x="3160" y="4326"/>
                    </a:lnTo>
                    <a:lnTo>
                      <a:pt x="3160" y="4328"/>
                    </a:lnTo>
                    <a:lnTo>
                      <a:pt x="3158" y="4328"/>
                    </a:lnTo>
                    <a:lnTo>
                      <a:pt x="3158" y="4330"/>
                    </a:lnTo>
                    <a:lnTo>
                      <a:pt x="3160" y="4332"/>
                    </a:lnTo>
                    <a:close/>
                    <a:moveTo>
                      <a:pt x="3190" y="5244"/>
                    </a:moveTo>
                    <a:lnTo>
                      <a:pt x="3190" y="5244"/>
                    </a:lnTo>
                    <a:lnTo>
                      <a:pt x="3188" y="5242"/>
                    </a:lnTo>
                    <a:lnTo>
                      <a:pt x="3186" y="5240"/>
                    </a:lnTo>
                    <a:lnTo>
                      <a:pt x="3182" y="5242"/>
                    </a:lnTo>
                    <a:lnTo>
                      <a:pt x="3178" y="5244"/>
                    </a:lnTo>
                    <a:lnTo>
                      <a:pt x="3176" y="5248"/>
                    </a:lnTo>
                    <a:lnTo>
                      <a:pt x="3178" y="5248"/>
                    </a:lnTo>
                    <a:lnTo>
                      <a:pt x="3184" y="5248"/>
                    </a:lnTo>
                    <a:lnTo>
                      <a:pt x="3188" y="5248"/>
                    </a:lnTo>
                    <a:lnTo>
                      <a:pt x="3190" y="5244"/>
                    </a:lnTo>
                    <a:close/>
                    <a:moveTo>
                      <a:pt x="3176" y="5252"/>
                    </a:moveTo>
                    <a:lnTo>
                      <a:pt x="3176" y="5252"/>
                    </a:lnTo>
                    <a:lnTo>
                      <a:pt x="3172" y="5254"/>
                    </a:lnTo>
                    <a:lnTo>
                      <a:pt x="3172" y="5256"/>
                    </a:lnTo>
                    <a:lnTo>
                      <a:pt x="3176" y="5258"/>
                    </a:lnTo>
                    <a:lnTo>
                      <a:pt x="3180" y="5254"/>
                    </a:lnTo>
                    <a:lnTo>
                      <a:pt x="3182" y="5252"/>
                    </a:lnTo>
                    <a:lnTo>
                      <a:pt x="3182" y="5250"/>
                    </a:lnTo>
                    <a:lnTo>
                      <a:pt x="3176" y="5252"/>
                    </a:lnTo>
                    <a:close/>
                    <a:moveTo>
                      <a:pt x="3224" y="5242"/>
                    </a:moveTo>
                    <a:lnTo>
                      <a:pt x="3224" y="5242"/>
                    </a:lnTo>
                    <a:lnTo>
                      <a:pt x="3220" y="5246"/>
                    </a:lnTo>
                    <a:lnTo>
                      <a:pt x="3218" y="5246"/>
                    </a:lnTo>
                    <a:lnTo>
                      <a:pt x="3216" y="5244"/>
                    </a:lnTo>
                    <a:lnTo>
                      <a:pt x="3214" y="5248"/>
                    </a:lnTo>
                    <a:lnTo>
                      <a:pt x="3214" y="5250"/>
                    </a:lnTo>
                    <a:lnTo>
                      <a:pt x="3216" y="5254"/>
                    </a:lnTo>
                    <a:lnTo>
                      <a:pt x="3220" y="5256"/>
                    </a:lnTo>
                    <a:lnTo>
                      <a:pt x="3222" y="5254"/>
                    </a:lnTo>
                    <a:lnTo>
                      <a:pt x="3224" y="5252"/>
                    </a:lnTo>
                    <a:lnTo>
                      <a:pt x="3228" y="5246"/>
                    </a:lnTo>
                    <a:lnTo>
                      <a:pt x="3228" y="5240"/>
                    </a:lnTo>
                    <a:lnTo>
                      <a:pt x="3228" y="5238"/>
                    </a:lnTo>
                    <a:lnTo>
                      <a:pt x="3226" y="5238"/>
                    </a:lnTo>
                    <a:lnTo>
                      <a:pt x="3224" y="5242"/>
                    </a:lnTo>
                    <a:close/>
                    <a:moveTo>
                      <a:pt x="3202" y="5252"/>
                    </a:moveTo>
                    <a:lnTo>
                      <a:pt x="3202" y="5252"/>
                    </a:lnTo>
                    <a:lnTo>
                      <a:pt x="3204" y="5250"/>
                    </a:lnTo>
                    <a:lnTo>
                      <a:pt x="3206" y="5248"/>
                    </a:lnTo>
                    <a:lnTo>
                      <a:pt x="3206" y="5246"/>
                    </a:lnTo>
                    <a:lnTo>
                      <a:pt x="3210" y="5244"/>
                    </a:lnTo>
                    <a:lnTo>
                      <a:pt x="3212" y="5240"/>
                    </a:lnTo>
                    <a:lnTo>
                      <a:pt x="3208" y="5240"/>
                    </a:lnTo>
                    <a:lnTo>
                      <a:pt x="3198" y="5240"/>
                    </a:lnTo>
                    <a:lnTo>
                      <a:pt x="3194" y="5242"/>
                    </a:lnTo>
                    <a:lnTo>
                      <a:pt x="3194" y="5246"/>
                    </a:lnTo>
                    <a:lnTo>
                      <a:pt x="3194" y="5248"/>
                    </a:lnTo>
                    <a:lnTo>
                      <a:pt x="3188" y="5254"/>
                    </a:lnTo>
                    <a:lnTo>
                      <a:pt x="3184" y="5256"/>
                    </a:lnTo>
                    <a:lnTo>
                      <a:pt x="3186" y="5256"/>
                    </a:lnTo>
                    <a:lnTo>
                      <a:pt x="3196" y="5258"/>
                    </a:lnTo>
                    <a:lnTo>
                      <a:pt x="3200" y="5256"/>
                    </a:lnTo>
                    <a:lnTo>
                      <a:pt x="3200" y="5254"/>
                    </a:lnTo>
                    <a:lnTo>
                      <a:pt x="3202" y="5252"/>
                    </a:lnTo>
                    <a:close/>
                    <a:moveTo>
                      <a:pt x="3244" y="4390"/>
                    </a:moveTo>
                    <a:lnTo>
                      <a:pt x="3244" y="4390"/>
                    </a:lnTo>
                    <a:lnTo>
                      <a:pt x="3242" y="4392"/>
                    </a:lnTo>
                    <a:lnTo>
                      <a:pt x="3242" y="4394"/>
                    </a:lnTo>
                    <a:lnTo>
                      <a:pt x="3246" y="4396"/>
                    </a:lnTo>
                    <a:lnTo>
                      <a:pt x="3250" y="4396"/>
                    </a:lnTo>
                    <a:lnTo>
                      <a:pt x="3252" y="4394"/>
                    </a:lnTo>
                    <a:lnTo>
                      <a:pt x="3250" y="4392"/>
                    </a:lnTo>
                    <a:lnTo>
                      <a:pt x="3246" y="4390"/>
                    </a:lnTo>
                    <a:lnTo>
                      <a:pt x="3244" y="4390"/>
                    </a:lnTo>
                    <a:close/>
                    <a:moveTo>
                      <a:pt x="3228" y="4278"/>
                    </a:moveTo>
                    <a:lnTo>
                      <a:pt x="3228" y="4278"/>
                    </a:lnTo>
                    <a:lnTo>
                      <a:pt x="3228" y="4280"/>
                    </a:lnTo>
                    <a:lnTo>
                      <a:pt x="3230" y="4284"/>
                    </a:lnTo>
                    <a:lnTo>
                      <a:pt x="3234" y="4290"/>
                    </a:lnTo>
                    <a:lnTo>
                      <a:pt x="3234" y="4294"/>
                    </a:lnTo>
                    <a:lnTo>
                      <a:pt x="3232" y="4298"/>
                    </a:lnTo>
                    <a:lnTo>
                      <a:pt x="3234" y="4300"/>
                    </a:lnTo>
                    <a:lnTo>
                      <a:pt x="3234" y="4302"/>
                    </a:lnTo>
                    <a:lnTo>
                      <a:pt x="3232" y="4304"/>
                    </a:lnTo>
                    <a:lnTo>
                      <a:pt x="3232" y="4306"/>
                    </a:lnTo>
                    <a:lnTo>
                      <a:pt x="3234" y="4308"/>
                    </a:lnTo>
                    <a:lnTo>
                      <a:pt x="3238" y="4308"/>
                    </a:lnTo>
                    <a:lnTo>
                      <a:pt x="3240" y="4306"/>
                    </a:lnTo>
                    <a:lnTo>
                      <a:pt x="3240" y="4304"/>
                    </a:lnTo>
                    <a:lnTo>
                      <a:pt x="3242" y="4304"/>
                    </a:lnTo>
                    <a:lnTo>
                      <a:pt x="3246" y="4308"/>
                    </a:lnTo>
                    <a:lnTo>
                      <a:pt x="3248" y="4314"/>
                    </a:lnTo>
                    <a:lnTo>
                      <a:pt x="3248" y="4318"/>
                    </a:lnTo>
                    <a:lnTo>
                      <a:pt x="3248" y="4322"/>
                    </a:lnTo>
                    <a:lnTo>
                      <a:pt x="3246" y="4328"/>
                    </a:lnTo>
                    <a:lnTo>
                      <a:pt x="3248" y="4332"/>
                    </a:lnTo>
                    <a:lnTo>
                      <a:pt x="3248" y="4334"/>
                    </a:lnTo>
                    <a:lnTo>
                      <a:pt x="3248" y="4338"/>
                    </a:lnTo>
                    <a:lnTo>
                      <a:pt x="3246" y="4342"/>
                    </a:lnTo>
                    <a:lnTo>
                      <a:pt x="3248" y="4344"/>
                    </a:lnTo>
                    <a:lnTo>
                      <a:pt x="3256" y="4348"/>
                    </a:lnTo>
                    <a:lnTo>
                      <a:pt x="3258" y="4350"/>
                    </a:lnTo>
                    <a:lnTo>
                      <a:pt x="3258" y="4344"/>
                    </a:lnTo>
                    <a:lnTo>
                      <a:pt x="3256" y="4338"/>
                    </a:lnTo>
                    <a:lnTo>
                      <a:pt x="3256" y="4336"/>
                    </a:lnTo>
                    <a:lnTo>
                      <a:pt x="3256" y="4334"/>
                    </a:lnTo>
                    <a:lnTo>
                      <a:pt x="3258" y="4336"/>
                    </a:lnTo>
                    <a:lnTo>
                      <a:pt x="3260" y="4342"/>
                    </a:lnTo>
                    <a:lnTo>
                      <a:pt x="3262" y="4348"/>
                    </a:lnTo>
                    <a:lnTo>
                      <a:pt x="3266" y="4354"/>
                    </a:lnTo>
                    <a:lnTo>
                      <a:pt x="3270" y="4356"/>
                    </a:lnTo>
                    <a:lnTo>
                      <a:pt x="3270" y="4354"/>
                    </a:lnTo>
                    <a:lnTo>
                      <a:pt x="3266" y="4344"/>
                    </a:lnTo>
                    <a:lnTo>
                      <a:pt x="3264" y="4342"/>
                    </a:lnTo>
                    <a:lnTo>
                      <a:pt x="3266" y="4342"/>
                    </a:lnTo>
                    <a:lnTo>
                      <a:pt x="3268" y="4340"/>
                    </a:lnTo>
                    <a:lnTo>
                      <a:pt x="3270" y="4338"/>
                    </a:lnTo>
                    <a:lnTo>
                      <a:pt x="3268" y="4332"/>
                    </a:lnTo>
                    <a:lnTo>
                      <a:pt x="3266" y="4330"/>
                    </a:lnTo>
                    <a:lnTo>
                      <a:pt x="3266" y="4326"/>
                    </a:lnTo>
                    <a:lnTo>
                      <a:pt x="3264" y="4322"/>
                    </a:lnTo>
                    <a:lnTo>
                      <a:pt x="3260" y="4318"/>
                    </a:lnTo>
                    <a:lnTo>
                      <a:pt x="3260" y="4316"/>
                    </a:lnTo>
                    <a:lnTo>
                      <a:pt x="3258" y="4312"/>
                    </a:lnTo>
                    <a:lnTo>
                      <a:pt x="3258" y="4304"/>
                    </a:lnTo>
                    <a:lnTo>
                      <a:pt x="3258" y="4296"/>
                    </a:lnTo>
                    <a:lnTo>
                      <a:pt x="3258" y="4294"/>
                    </a:lnTo>
                    <a:lnTo>
                      <a:pt x="3256" y="4292"/>
                    </a:lnTo>
                    <a:lnTo>
                      <a:pt x="3254" y="4290"/>
                    </a:lnTo>
                    <a:lnTo>
                      <a:pt x="3256" y="4288"/>
                    </a:lnTo>
                    <a:lnTo>
                      <a:pt x="3256" y="4284"/>
                    </a:lnTo>
                    <a:lnTo>
                      <a:pt x="3252" y="4284"/>
                    </a:lnTo>
                    <a:lnTo>
                      <a:pt x="3248" y="4284"/>
                    </a:lnTo>
                    <a:lnTo>
                      <a:pt x="3246" y="4286"/>
                    </a:lnTo>
                    <a:lnTo>
                      <a:pt x="3244" y="4288"/>
                    </a:lnTo>
                    <a:lnTo>
                      <a:pt x="3240" y="4286"/>
                    </a:lnTo>
                    <a:lnTo>
                      <a:pt x="3234" y="4280"/>
                    </a:lnTo>
                    <a:lnTo>
                      <a:pt x="3230" y="4278"/>
                    </a:lnTo>
                    <a:lnTo>
                      <a:pt x="3228" y="4278"/>
                    </a:lnTo>
                    <a:close/>
                    <a:moveTo>
                      <a:pt x="3292" y="3100"/>
                    </a:moveTo>
                    <a:lnTo>
                      <a:pt x="3292" y="3100"/>
                    </a:lnTo>
                    <a:lnTo>
                      <a:pt x="3294" y="3100"/>
                    </a:lnTo>
                    <a:lnTo>
                      <a:pt x="3296" y="3094"/>
                    </a:lnTo>
                    <a:lnTo>
                      <a:pt x="3296" y="3092"/>
                    </a:lnTo>
                    <a:lnTo>
                      <a:pt x="3294" y="3094"/>
                    </a:lnTo>
                    <a:lnTo>
                      <a:pt x="3292" y="3096"/>
                    </a:lnTo>
                    <a:lnTo>
                      <a:pt x="3292" y="3100"/>
                    </a:lnTo>
                    <a:close/>
                    <a:moveTo>
                      <a:pt x="3208" y="4238"/>
                    </a:moveTo>
                    <a:lnTo>
                      <a:pt x="3208" y="4238"/>
                    </a:lnTo>
                    <a:lnTo>
                      <a:pt x="3210" y="4234"/>
                    </a:lnTo>
                    <a:lnTo>
                      <a:pt x="3208" y="4228"/>
                    </a:lnTo>
                    <a:lnTo>
                      <a:pt x="3204" y="4224"/>
                    </a:lnTo>
                    <a:lnTo>
                      <a:pt x="3202" y="4222"/>
                    </a:lnTo>
                    <a:lnTo>
                      <a:pt x="3200" y="4222"/>
                    </a:lnTo>
                    <a:lnTo>
                      <a:pt x="3200" y="4224"/>
                    </a:lnTo>
                    <a:lnTo>
                      <a:pt x="3204" y="4230"/>
                    </a:lnTo>
                    <a:lnTo>
                      <a:pt x="3208" y="4238"/>
                    </a:lnTo>
                    <a:close/>
                    <a:moveTo>
                      <a:pt x="3164" y="4238"/>
                    </a:moveTo>
                    <a:lnTo>
                      <a:pt x="3164" y="4238"/>
                    </a:lnTo>
                    <a:lnTo>
                      <a:pt x="3164" y="4232"/>
                    </a:lnTo>
                    <a:lnTo>
                      <a:pt x="3162" y="4230"/>
                    </a:lnTo>
                    <a:lnTo>
                      <a:pt x="3158" y="4230"/>
                    </a:lnTo>
                    <a:lnTo>
                      <a:pt x="3154" y="4232"/>
                    </a:lnTo>
                    <a:lnTo>
                      <a:pt x="3152" y="4232"/>
                    </a:lnTo>
                    <a:lnTo>
                      <a:pt x="3154" y="4234"/>
                    </a:lnTo>
                    <a:lnTo>
                      <a:pt x="3156" y="4236"/>
                    </a:lnTo>
                    <a:lnTo>
                      <a:pt x="3160" y="4240"/>
                    </a:lnTo>
                    <a:lnTo>
                      <a:pt x="3162" y="4240"/>
                    </a:lnTo>
                    <a:lnTo>
                      <a:pt x="3164" y="4238"/>
                    </a:lnTo>
                    <a:close/>
                    <a:moveTo>
                      <a:pt x="3196" y="4228"/>
                    </a:moveTo>
                    <a:lnTo>
                      <a:pt x="3196" y="4228"/>
                    </a:lnTo>
                    <a:lnTo>
                      <a:pt x="3192" y="4228"/>
                    </a:lnTo>
                    <a:lnTo>
                      <a:pt x="3190" y="4228"/>
                    </a:lnTo>
                    <a:lnTo>
                      <a:pt x="3188" y="4228"/>
                    </a:lnTo>
                    <a:lnTo>
                      <a:pt x="3186" y="4232"/>
                    </a:lnTo>
                    <a:lnTo>
                      <a:pt x="3188" y="4238"/>
                    </a:lnTo>
                    <a:lnTo>
                      <a:pt x="3186" y="4242"/>
                    </a:lnTo>
                    <a:lnTo>
                      <a:pt x="3182" y="4256"/>
                    </a:lnTo>
                    <a:lnTo>
                      <a:pt x="3182" y="4258"/>
                    </a:lnTo>
                    <a:lnTo>
                      <a:pt x="3184" y="4258"/>
                    </a:lnTo>
                    <a:lnTo>
                      <a:pt x="3186" y="4254"/>
                    </a:lnTo>
                    <a:lnTo>
                      <a:pt x="3196" y="4244"/>
                    </a:lnTo>
                    <a:lnTo>
                      <a:pt x="3198" y="4244"/>
                    </a:lnTo>
                    <a:lnTo>
                      <a:pt x="3200" y="4244"/>
                    </a:lnTo>
                    <a:lnTo>
                      <a:pt x="3202" y="4250"/>
                    </a:lnTo>
                    <a:lnTo>
                      <a:pt x="3204" y="4256"/>
                    </a:lnTo>
                    <a:lnTo>
                      <a:pt x="3206" y="4258"/>
                    </a:lnTo>
                    <a:lnTo>
                      <a:pt x="3208" y="4260"/>
                    </a:lnTo>
                    <a:lnTo>
                      <a:pt x="3212" y="4262"/>
                    </a:lnTo>
                    <a:lnTo>
                      <a:pt x="3218" y="4266"/>
                    </a:lnTo>
                    <a:lnTo>
                      <a:pt x="3222" y="4268"/>
                    </a:lnTo>
                    <a:lnTo>
                      <a:pt x="3220" y="4264"/>
                    </a:lnTo>
                    <a:lnTo>
                      <a:pt x="3218" y="4258"/>
                    </a:lnTo>
                    <a:lnTo>
                      <a:pt x="3216" y="4252"/>
                    </a:lnTo>
                    <a:lnTo>
                      <a:pt x="3214" y="4246"/>
                    </a:lnTo>
                    <a:lnTo>
                      <a:pt x="3210" y="4242"/>
                    </a:lnTo>
                    <a:lnTo>
                      <a:pt x="3206" y="4240"/>
                    </a:lnTo>
                    <a:lnTo>
                      <a:pt x="3202" y="4234"/>
                    </a:lnTo>
                    <a:lnTo>
                      <a:pt x="3198" y="4230"/>
                    </a:lnTo>
                    <a:lnTo>
                      <a:pt x="3196" y="4228"/>
                    </a:lnTo>
                    <a:close/>
                    <a:moveTo>
                      <a:pt x="3152" y="5104"/>
                    </a:moveTo>
                    <a:lnTo>
                      <a:pt x="3152" y="5104"/>
                    </a:lnTo>
                    <a:lnTo>
                      <a:pt x="3160" y="5100"/>
                    </a:lnTo>
                    <a:lnTo>
                      <a:pt x="3162" y="5098"/>
                    </a:lnTo>
                    <a:lnTo>
                      <a:pt x="3162" y="5094"/>
                    </a:lnTo>
                    <a:lnTo>
                      <a:pt x="3160" y="5090"/>
                    </a:lnTo>
                    <a:lnTo>
                      <a:pt x="3162" y="5084"/>
                    </a:lnTo>
                    <a:lnTo>
                      <a:pt x="3164" y="5078"/>
                    </a:lnTo>
                    <a:lnTo>
                      <a:pt x="3166" y="5070"/>
                    </a:lnTo>
                    <a:lnTo>
                      <a:pt x="3164" y="5066"/>
                    </a:lnTo>
                    <a:lnTo>
                      <a:pt x="3164" y="5064"/>
                    </a:lnTo>
                    <a:lnTo>
                      <a:pt x="3160" y="5064"/>
                    </a:lnTo>
                    <a:lnTo>
                      <a:pt x="3158" y="5064"/>
                    </a:lnTo>
                    <a:lnTo>
                      <a:pt x="3152" y="5070"/>
                    </a:lnTo>
                    <a:lnTo>
                      <a:pt x="3150" y="5074"/>
                    </a:lnTo>
                    <a:lnTo>
                      <a:pt x="3150" y="5078"/>
                    </a:lnTo>
                    <a:lnTo>
                      <a:pt x="3150" y="5090"/>
                    </a:lnTo>
                    <a:lnTo>
                      <a:pt x="3148" y="5098"/>
                    </a:lnTo>
                    <a:lnTo>
                      <a:pt x="3148" y="5104"/>
                    </a:lnTo>
                    <a:lnTo>
                      <a:pt x="3148" y="5106"/>
                    </a:lnTo>
                    <a:lnTo>
                      <a:pt x="3152" y="5104"/>
                    </a:lnTo>
                    <a:close/>
                    <a:moveTo>
                      <a:pt x="3192" y="4332"/>
                    </a:moveTo>
                    <a:lnTo>
                      <a:pt x="3192" y="4332"/>
                    </a:lnTo>
                    <a:lnTo>
                      <a:pt x="3198" y="4322"/>
                    </a:lnTo>
                    <a:lnTo>
                      <a:pt x="3198" y="4314"/>
                    </a:lnTo>
                    <a:lnTo>
                      <a:pt x="3196" y="4308"/>
                    </a:lnTo>
                    <a:lnTo>
                      <a:pt x="3196" y="4306"/>
                    </a:lnTo>
                    <a:lnTo>
                      <a:pt x="3192" y="4306"/>
                    </a:lnTo>
                    <a:lnTo>
                      <a:pt x="3190" y="4304"/>
                    </a:lnTo>
                    <a:lnTo>
                      <a:pt x="3186" y="4304"/>
                    </a:lnTo>
                    <a:lnTo>
                      <a:pt x="3184" y="4304"/>
                    </a:lnTo>
                    <a:lnTo>
                      <a:pt x="3178" y="4306"/>
                    </a:lnTo>
                    <a:lnTo>
                      <a:pt x="3176" y="4310"/>
                    </a:lnTo>
                    <a:lnTo>
                      <a:pt x="3174" y="4312"/>
                    </a:lnTo>
                    <a:lnTo>
                      <a:pt x="3174" y="4316"/>
                    </a:lnTo>
                    <a:lnTo>
                      <a:pt x="3176" y="4320"/>
                    </a:lnTo>
                    <a:lnTo>
                      <a:pt x="3174" y="4322"/>
                    </a:lnTo>
                    <a:lnTo>
                      <a:pt x="3172" y="4324"/>
                    </a:lnTo>
                    <a:lnTo>
                      <a:pt x="3170" y="4326"/>
                    </a:lnTo>
                    <a:lnTo>
                      <a:pt x="3170" y="4330"/>
                    </a:lnTo>
                    <a:lnTo>
                      <a:pt x="3172" y="4336"/>
                    </a:lnTo>
                    <a:lnTo>
                      <a:pt x="3172" y="4344"/>
                    </a:lnTo>
                    <a:lnTo>
                      <a:pt x="3172" y="4348"/>
                    </a:lnTo>
                    <a:lnTo>
                      <a:pt x="3168" y="4352"/>
                    </a:lnTo>
                    <a:lnTo>
                      <a:pt x="3164" y="4354"/>
                    </a:lnTo>
                    <a:lnTo>
                      <a:pt x="3162" y="4354"/>
                    </a:lnTo>
                    <a:lnTo>
                      <a:pt x="3158" y="4352"/>
                    </a:lnTo>
                    <a:lnTo>
                      <a:pt x="3154" y="4352"/>
                    </a:lnTo>
                    <a:lnTo>
                      <a:pt x="3152" y="4358"/>
                    </a:lnTo>
                    <a:lnTo>
                      <a:pt x="3152" y="4364"/>
                    </a:lnTo>
                    <a:lnTo>
                      <a:pt x="3156" y="4372"/>
                    </a:lnTo>
                    <a:lnTo>
                      <a:pt x="3162" y="4380"/>
                    </a:lnTo>
                    <a:lnTo>
                      <a:pt x="3166" y="4382"/>
                    </a:lnTo>
                    <a:lnTo>
                      <a:pt x="3170" y="4384"/>
                    </a:lnTo>
                    <a:lnTo>
                      <a:pt x="3172" y="4392"/>
                    </a:lnTo>
                    <a:lnTo>
                      <a:pt x="3176" y="4398"/>
                    </a:lnTo>
                    <a:lnTo>
                      <a:pt x="3178" y="4400"/>
                    </a:lnTo>
                    <a:lnTo>
                      <a:pt x="3180" y="4400"/>
                    </a:lnTo>
                    <a:lnTo>
                      <a:pt x="3184" y="4396"/>
                    </a:lnTo>
                    <a:lnTo>
                      <a:pt x="3188" y="4392"/>
                    </a:lnTo>
                    <a:lnTo>
                      <a:pt x="3190" y="4388"/>
                    </a:lnTo>
                    <a:lnTo>
                      <a:pt x="3190" y="4384"/>
                    </a:lnTo>
                    <a:lnTo>
                      <a:pt x="3186" y="4376"/>
                    </a:lnTo>
                    <a:lnTo>
                      <a:pt x="3182" y="4364"/>
                    </a:lnTo>
                    <a:lnTo>
                      <a:pt x="3182" y="4360"/>
                    </a:lnTo>
                    <a:lnTo>
                      <a:pt x="3184" y="4356"/>
                    </a:lnTo>
                    <a:lnTo>
                      <a:pt x="3188" y="4348"/>
                    </a:lnTo>
                    <a:lnTo>
                      <a:pt x="3188" y="4344"/>
                    </a:lnTo>
                    <a:lnTo>
                      <a:pt x="3190" y="4338"/>
                    </a:lnTo>
                    <a:lnTo>
                      <a:pt x="3192" y="4332"/>
                    </a:lnTo>
                    <a:close/>
                    <a:moveTo>
                      <a:pt x="3202" y="4390"/>
                    </a:moveTo>
                    <a:lnTo>
                      <a:pt x="3202" y="4390"/>
                    </a:lnTo>
                    <a:lnTo>
                      <a:pt x="3200" y="4392"/>
                    </a:lnTo>
                    <a:lnTo>
                      <a:pt x="3196" y="4392"/>
                    </a:lnTo>
                    <a:lnTo>
                      <a:pt x="3198" y="4394"/>
                    </a:lnTo>
                    <a:lnTo>
                      <a:pt x="3202" y="4396"/>
                    </a:lnTo>
                    <a:lnTo>
                      <a:pt x="3204" y="4396"/>
                    </a:lnTo>
                    <a:lnTo>
                      <a:pt x="3206" y="4394"/>
                    </a:lnTo>
                    <a:lnTo>
                      <a:pt x="3204" y="4390"/>
                    </a:lnTo>
                    <a:lnTo>
                      <a:pt x="3202" y="4388"/>
                    </a:lnTo>
                    <a:lnTo>
                      <a:pt x="3202" y="4390"/>
                    </a:lnTo>
                    <a:close/>
                    <a:moveTo>
                      <a:pt x="3218" y="4324"/>
                    </a:moveTo>
                    <a:lnTo>
                      <a:pt x="3218" y="4324"/>
                    </a:lnTo>
                    <a:lnTo>
                      <a:pt x="3218" y="4318"/>
                    </a:lnTo>
                    <a:lnTo>
                      <a:pt x="3220" y="4314"/>
                    </a:lnTo>
                    <a:lnTo>
                      <a:pt x="3222" y="4310"/>
                    </a:lnTo>
                    <a:lnTo>
                      <a:pt x="3222" y="4308"/>
                    </a:lnTo>
                    <a:lnTo>
                      <a:pt x="3220" y="4300"/>
                    </a:lnTo>
                    <a:lnTo>
                      <a:pt x="3220" y="4292"/>
                    </a:lnTo>
                    <a:lnTo>
                      <a:pt x="3218" y="4290"/>
                    </a:lnTo>
                    <a:lnTo>
                      <a:pt x="3216" y="4298"/>
                    </a:lnTo>
                    <a:lnTo>
                      <a:pt x="3210" y="4312"/>
                    </a:lnTo>
                    <a:lnTo>
                      <a:pt x="3208" y="4316"/>
                    </a:lnTo>
                    <a:lnTo>
                      <a:pt x="3206" y="4324"/>
                    </a:lnTo>
                    <a:lnTo>
                      <a:pt x="3204" y="4334"/>
                    </a:lnTo>
                    <a:lnTo>
                      <a:pt x="3198" y="4342"/>
                    </a:lnTo>
                    <a:lnTo>
                      <a:pt x="3194" y="4348"/>
                    </a:lnTo>
                    <a:lnTo>
                      <a:pt x="3192" y="4354"/>
                    </a:lnTo>
                    <a:lnTo>
                      <a:pt x="3192" y="4362"/>
                    </a:lnTo>
                    <a:lnTo>
                      <a:pt x="3190" y="4374"/>
                    </a:lnTo>
                    <a:lnTo>
                      <a:pt x="3190" y="4380"/>
                    </a:lnTo>
                    <a:lnTo>
                      <a:pt x="3192" y="4380"/>
                    </a:lnTo>
                    <a:lnTo>
                      <a:pt x="3194" y="4376"/>
                    </a:lnTo>
                    <a:lnTo>
                      <a:pt x="3198" y="4368"/>
                    </a:lnTo>
                    <a:lnTo>
                      <a:pt x="3200" y="4362"/>
                    </a:lnTo>
                    <a:lnTo>
                      <a:pt x="3202" y="4360"/>
                    </a:lnTo>
                    <a:lnTo>
                      <a:pt x="3204" y="4358"/>
                    </a:lnTo>
                    <a:lnTo>
                      <a:pt x="3204" y="4352"/>
                    </a:lnTo>
                    <a:lnTo>
                      <a:pt x="3204" y="4348"/>
                    </a:lnTo>
                    <a:lnTo>
                      <a:pt x="3206" y="4344"/>
                    </a:lnTo>
                    <a:lnTo>
                      <a:pt x="3212" y="4340"/>
                    </a:lnTo>
                    <a:lnTo>
                      <a:pt x="3218" y="4332"/>
                    </a:lnTo>
                    <a:lnTo>
                      <a:pt x="3220" y="4328"/>
                    </a:lnTo>
                    <a:lnTo>
                      <a:pt x="3218" y="4324"/>
                    </a:lnTo>
                    <a:close/>
                    <a:moveTo>
                      <a:pt x="3226" y="4342"/>
                    </a:moveTo>
                    <a:lnTo>
                      <a:pt x="3226" y="4342"/>
                    </a:lnTo>
                    <a:lnTo>
                      <a:pt x="3222" y="4350"/>
                    </a:lnTo>
                    <a:lnTo>
                      <a:pt x="3216" y="4354"/>
                    </a:lnTo>
                    <a:lnTo>
                      <a:pt x="3214" y="4356"/>
                    </a:lnTo>
                    <a:lnTo>
                      <a:pt x="3210" y="4360"/>
                    </a:lnTo>
                    <a:lnTo>
                      <a:pt x="3210" y="4364"/>
                    </a:lnTo>
                    <a:lnTo>
                      <a:pt x="3212" y="4368"/>
                    </a:lnTo>
                    <a:lnTo>
                      <a:pt x="3214" y="4370"/>
                    </a:lnTo>
                    <a:lnTo>
                      <a:pt x="3216" y="4372"/>
                    </a:lnTo>
                    <a:lnTo>
                      <a:pt x="3224" y="4372"/>
                    </a:lnTo>
                    <a:lnTo>
                      <a:pt x="3230" y="4370"/>
                    </a:lnTo>
                    <a:lnTo>
                      <a:pt x="3234" y="4368"/>
                    </a:lnTo>
                    <a:lnTo>
                      <a:pt x="3236" y="4366"/>
                    </a:lnTo>
                    <a:lnTo>
                      <a:pt x="3240" y="4366"/>
                    </a:lnTo>
                    <a:lnTo>
                      <a:pt x="3240" y="4364"/>
                    </a:lnTo>
                    <a:lnTo>
                      <a:pt x="3240" y="4362"/>
                    </a:lnTo>
                    <a:lnTo>
                      <a:pt x="3240" y="4356"/>
                    </a:lnTo>
                    <a:lnTo>
                      <a:pt x="3242" y="4352"/>
                    </a:lnTo>
                    <a:lnTo>
                      <a:pt x="3242" y="4346"/>
                    </a:lnTo>
                    <a:lnTo>
                      <a:pt x="3242" y="4344"/>
                    </a:lnTo>
                    <a:lnTo>
                      <a:pt x="3240" y="4344"/>
                    </a:lnTo>
                    <a:lnTo>
                      <a:pt x="3238" y="4346"/>
                    </a:lnTo>
                    <a:lnTo>
                      <a:pt x="3238" y="4348"/>
                    </a:lnTo>
                    <a:lnTo>
                      <a:pt x="3234" y="4348"/>
                    </a:lnTo>
                    <a:lnTo>
                      <a:pt x="3232" y="4346"/>
                    </a:lnTo>
                    <a:lnTo>
                      <a:pt x="3228" y="4342"/>
                    </a:lnTo>
                    <a:lnTo>
                      <a:pt x="3228" y="4340"/>
                    </a:lnTo>
                    <a:lnTo>
                      <a:pt x="3226" y="4342"/>
                    </a:lnTo>
                    <a:close/>
                    <a:moveTo>
                      <a:pt x="3240" y="4278"/>
                    </a:moveTo>
                    <a:lnTo>
                      <a:pt x="3240" y="4278"/>
                    </a:lnTo>
                    <a:lnTo>
                      <a:pt x="3242" y="4278"/>
                    </a:lnTo>
                    <a:lnTo>
                      <a:pt x="3242" y="4274"/>
                    </a:lnTo>
                    <a:lnTo>
                      <a:pt x="3240" y="4270"/>
                    </a:lnTo>
                    <a:lnTo>
                      <a:pt x="3236" y="4270"/>
                    </a:lnTo>
                    <a:lnTo>
                      <a:pt x="3234" y="4270"/>
                    </a:lnTo>
                    <a:lnTo>
                      <a:pt x="3234" y="4274"/>
                    </a:lnTo>
                    <a:lnTo>
                      <a:pt x="3236" y="4278"/>
                    </a:lnTo>
                    <a:lnTo>
                      <a:pt x="3240" y="4278"/>
                    </a:lnTo>
                    <a:close/>
                    <a:moveTo>
                      <a:pt x="3164" y="5116"/>
                    </a:moveTo>
                    <a:lnTo>
                      <a:pt x="3164" y="5116"/>
                    </a:lnTo>
                    <a:lnTo>
                      <a:pt x="3166" y="5118"/>
                    </a:lnTo>
                    <a:lnTo>
                      <a:pt x="3168" y="5116"/>
                    </a:lnTo>
                    <a:lnTo>
                      <a:pt x="3172" y="5110"/>
                    </a:lnTo>
                    <a:lnTo>
                      <a:pt x="3174" y="5106"/>
                    </a:lnTo>
                    <a:lnTo>
                      <a:pt x="3176" y="5104"/>
                    </a:lnTo>
                    <a:lnTo>
                      <a:pt x="3182" y="5102"/>
                    </a:lnTo>
                    <a:lnTo>
                      <a:pt x="3184" y="5102"/>
                    </a:lnTo>
                    <a:lnTo>
                      <a:pt x="3186" y="5100"/>
                    </a:lnTo>
                    <a:lnTo>
                      <a:pt x="3180" y="5092"/>
                    </a:lnTo>
                    <a:lnTo>
                      <a:pt x="3176" y="5086"/>
                    </a:lnTo>
                    <a:lnTo>
                      <a:pt x="3176" y="5082"/>
                    </a:lnTo>
                    <a:lnTo>
                      <a:pt x="3176" y="5078"/>
                    </a:lnTo>
                    <a:lnTo>
                      <a:pt x="3178" y="5076"/>
                    </a:lnTo>
                    <a:lnTo>
                      <a:pt x="3184" y="5070"/>
                    </a:lnTo>
                    <a:lnTo>
                      <a:pt x="3184" y="5064"/>
                    </a:lnTo>
                    <a:lnTo>
                      <a:pt x="3182" y="5058"/>
                    </a:lnTo>
                    <a:lnTo>
                      <a:pt x="3180" y="5054"/>
                    </a:lnTo>
                    <a:lnTo>
                      <a:pt x="3178" y="5052"/>
                    </a:lnTo>
                    <a:lnTo>
                      <a:pt x="3174" y="5054"/>
                    </a:lnTo>
                    <a:lnTo>
                      <a:pt x="3172" y="5058"/>
                    </a:lnTo>
                    <a:lnTo>
                      <a:pt x="3170" y="5070"/>
                    </a:lnTo>
                    <a:lnTo>
                      <a:pt x="3168" y="5086"/>
                    </a:lnTo>
                    <a:lnTo>
                      <a:pt x="3166" y="5094"/>
                    </a:lnTo>
                    <a:lnTo>
                      <a:pt x="3164" y="5100"/>
                    </a:lnTo>
                    <a:lnTo>
                      <a:pt x="3160" y="5108"/>
                    </a:lnTo>
                    <a:lnTo>
                      <a:pt x="3158" y="5110"/>
                    </a:lnTo>
                    <a:lnTo>
                      <a:pt x="3158" y="5112"/>
                    </a:lnTo>
                    <a:lnTo>
                      <a:pt x="3164" y="5116"/>
                    </a:lnTo>
                    <a:close/>
                    <a:moveTo>
                      <a:pt x="3346" y="4866"/>
                    </a:moveTo>
                    <a:lnTo>
                      <a:pt x="3346" y="4866"/>
                    </a:lnTo>
                    <a:lnTo>
                      <a:pt x="3348" y="4862"/>
                    </a:lnTo>
                    <a:lnTo>
                      <a:pt x="3348" y="4858"/>
                    </a:lnTo>
                    <a:lnTo>
                      <a:pt x="3348" y="4852"/>
                    </a:lnTo>
                    <a:lnTo>
                      <a:pt x="3346" y="4852"/>
                    </a:lnTo>
                    <a:lnTo>
                      <a:pt x="3344" y="4852"/>
                    </a:lnTo>
                    <a:lnTo>
                      <a:pt x="3342" y="4856"/>
                    </a:lnTo>
                    <a:lnTo>
                      <a:pt x="3342" y="4860"/>
                    </a:lnTo>
                    <a:lnTo>
                      <a:pt x="3342" y="4864"/>
                    </a:lnTo>
                    <a:lnTo>
                      <a:pt x="3344" y="4866"/>
                    </a:lnTo>
                    <a:lnTo>
                      <a:pt x="3346" y="4866"/>
                    </a:lnTo>
                    <a:close/>
                    <a:moveTo>
                      <a:pt x="3342" y="4998"/>
                    </a:moveTo>
                    <a:lnTo>
                      <a:pt x="3342" y="4998"/>
                    </a:lnTo>
                    <a:lnTo>
                      <a:pt x="3336" y="4992"/>
                    </a:lnTo>
                    <a:lnTo>
                      <a:pt x="3330" y="4990"/>
                    </a:lnTo>
                    <a:lnTo>
                      <a:pt x="3324" y="4986"/>
                    </a:lnTo>
                    <a:lnTo>
                      <a:pt x="3316" y="4986"/>
                    </a:lnTo>
                    <a:lnTo>
                      <a:pt x="3310" y="4986"/>
                    </a:lnTo>
                    <a:lnTo>
                      <a:pt x="3304" y="4988"/>
                    </a:lnTo>
                    <a:lnTo>
                      <a:pt x="3300" y="4992"/>
                    </a:lnTo>
                    <a:lnTo>
                      <a:pt x="3298" y="4996"/>
                    </a:lnTo>
                    <a:lnTo>
                      <a:pt x="3298" y="5002"/>
                    </a:lnTo>
                    <a:lnTo>
                      <a:pt x="3304" y="5010"/>
                    </a:lnTo>
                    <a:lnTo>
                      <a:pt x="3312" y="5016"/>
                    </a:lnTo>
                    <a:lnTo>
                      <a:pt x="3320" y="5024"/>
                    </a:lnTo>
                    <a:lnTo>
                      <a:pt x="3326" y="5026"/>
                    </a:lnTo>
                    <a:lnTo>
                      <a:pt x="3332" y="5026"/>
                    </a:lnTo>
                    <a:lnTo>
                      <a:pt x="3336" y="5024"/>
                    </a:lnTo>
                    <a:lnTo>
                      <a:pt x="3342" y="5020"/>
                    </a:lnTo>
                    <a:lnTo>
                      <a:pt x="3344" y="5016"/>
                    </a:lnTo>
                    <a:lnTo>
                      <a:pt x="3346" y="5010"/>
                    </a:lnTo>
                    <a:lnTo>
                      <a:pt x="3344" y="5004"/>
                    </a:lnTo>
                    <a:lnTo>
                      <a:pt x="3342" y="4998"/>
                    </a:lnTo>
                    <a:close/>
                    <a:moveTo>
                      <a:pt x="3330" y="5214"/>
                    </a:moveTo>
                    <a:lnTo>
                      <a:pt x="3330" y="5214"/>
                    </a:lnTo>
                    <a:lnTo>
                      <a:pt x="3328" y="5212"/>
                    </a:lnTo>
                    <a:lnTo>
                      <a:pt x="3326" y="5210"/>
                    </a:lnTo>
                    <a:lnTo>
                      <a:pt x="3314" y="5210"/>
                    </a:lnTo>
                    <a:lnTo>
                      <a:pt x="3302" y="5214"/>
                    </a:lnTo>
                    <a:lnTo>
                      <a:pt x="3296" y="5216"/>
                    </a:lnTo>
                    <a:lnTo>
                      <a:pt x="3290" y="5220"/>
                    </a:lnTo>
                    <a:lnTo>
                      <a:pt x="3290" y="5224"/>
                    </a:lnTo>
                    <a:lnTo>
                      <a:pt x="3292" y="5224"/>
                    </a:lnTo>
                    <a:lnTo>
                      <a:pt x="3306" y="5224"/>
                    </a:lnTo>
                    <a:lnTo>
                      <a:pt x="3322" y="5220"/>
                    </a:lnTo>
                    <a:lnTo>
                      <a:pt x="3328" y="5216"/>
                    </a:lnTo>
                    <a:lnTo>
                      <a:pt x="3330" y="5214"/>
                    </a:lnTo>
                    <a:close/>
                    <a:moveTo>
                      <a:pt x="3294" y="4936"/>
                    </a:moveTo>
                    <a:lnTo>
                      <a:pt x="3294" y="4936"/>
                    </a:lnTo>
                    <a:lnTo>
                      <a:pt x="3292" y="4938"/>
                    </a:lnTo>
                    <a:lnTo>
                      <a:pt x="3292" y="4942"/>
                    </a:lnTo>
                    <a:lnTo>
                      <a:pt x="3296" y="4956"/>
                    </a:lnTo>
                    <a:lnTo>
                      <a:pt x="3298" y="4960"/>
                    </a:lnTo>
                    <a:lnTo>
                      <a:pt x="3300" y="4960"/>
                    </a:lnTo>
                    <a:lnTo>
                      <a:pt x="3300" y="4956"/>
                    </a:lnTo>
                    <a:lnTo>
                      <a:pt x="3298" y="4950"/>
                    </a:lnTo>
                    <a:lnTo>
                      <a:pt x="3298" y="4944"/>
                    </a:lnTo>
                    <a:lnTo>
                      <a:pt x="3296" y="4938"/>
                    </a:lnTo>
                    <a:lnTo>
                      <a:pt x="3296" y="4936"/>
                    </a:lnTo>
                    <a:lnTo>
                      <a:pt x="3294" y="4936"/>
                    </a:lnTo>
                    <a:close/>
                    <a:moveTo>
                      <a:pt x="3344" y="5246"/>
                    </a:moveTo>
                    <a:lnTo>
                      <a:pt x="3344" y="5246"/>
                    </a:lnTo>
                    <a:lnTo>
                      <a:pt x="3340" y="5244"/>
                    </a:lnTo>
                    <a:lnTo>
                      <a:pt x="3336" y="5244"/>
                    </a:lnTo>
                    <a:lnTo>
                      <a:pt x="3330" y="5248"/>
                    </a:lnTo>
                    <a:lnTo>
                      <a:pt x="3322" y="5250"/>
                    </a:lnTo>
                    <a:lnTo>
                      <a:pt x="3316" y="5250"/>
                    </a:lnTo>
                    <a:lnTo>
                      <a:pt x="3312" y="5250"/>
                    </a:lnTo>
                    <a:lnTo>
                      <a:pt x="3306" y="5252"/>
                    </a:lnTo>
                    <a:lnTo>
                      <a:pt x="3300" y="5254"/>
                    </a:lnTo>
                    <a:lnTo>
                      <a:pt x="3296" y="5254"/>
                    </a:lnTo>
                    <a:lnTo>
                      <a:pt x="3292" y="5254"/>
                    </a:lnTo>
                    <a:lnTo>
                      <a:pt x="3286" y="5254"/>
                    </a:lnTo>
                    <a:lnTo>
                      <a:pt x="3268" y="5258"/>
                    </a:lnTo>
                    <a:lnTo>
                      <a:pt x="3260" y="5262"/>
                    </a:lnTo>
                    <a:lnTo>
                      <a:pt x="3258" y="5266"/>
                    </a:lnTo>
                    <a:lnTo>
                      <a:pt x="3256" y="5272"/>
                    </a:lnTo>
                    <a:lnTo>
                      <a:pt x="3248" y="5278"/>
                    </a:lnTo>
                    <a:lnTo>
                      <a:pt x="3240" y="5284"/>
                    </a:lnTo>
                    <a:lnTo>
                      <a:pt x="3234" y="5286"/>
                    </a:lnTo>
                    <a:lnTo>
                      <a:pt x="3226" y="5290"/>
                    </a:lnTo>
                    <a:lnTo>
                      <a:pt x="3216" y="5296"/>
                    </a:lnTo>
                    <a:lnTo>
                      <a:pt x="3206" y="5304"/>
                    </a:lnTo>
                    <a:lnTo>
                      <a:pt x="3202" y="5310"/>
                    </a:lnTo>
                    <a:lnTo>
                      <a:pt x="3200" y="5322"/>
                    </a:lnTo>
                    <a:lnTo>
                      <a:pt x="3198" y="5326"/>
                    </a:lnTo>
                    <a:lnTo>
                      <a:pt x="3200" y="5328"/>
                    </a:lnTo>
                    <a:lnTo>
                      <a:pt x="3202" y="5330"/>
                    </a:lnTo>
                    <a:lnTo>
                      <a:pt x="3204" y="5330"/>
                    </a:lnTo>
                    <a:lnTo>
                      <a:pt x="3202" y="5332"/>
                    </a:lnTo>
                    <a:lnTo>
                      <a:pt x="3198" y="5336"/>
                    </a:lnTo>
                    <a:lnTo>
                      <a:pt x="3194" y="5340"/>
                    </a:lnTo>
                    <a:lnTo>
                      <a:pt x="3194" y="5342"/>
                    </a:lnTo>
                    <a:lnTo>
                      <a:pt x="3194" y="5344"/>
                    </a:lnTo>
                    <a:lnTo>
                      <a:pt x="3202" y="5346"/>
                    </a:lnTo>
                    <a:lnTo>
                      <a:pt x="3206" y="5346"/>
                    </a:lnTo>
                    <a:lnTo>
                      <a:pt x="3210" y="5344"/>
                    </a:lnTo>
                    <a:lnTo>
                      <a:pt x="3216" y="5340"/>
                    </a:lnTo>
                    <a:lnTo>
                      <a:pt x="3220" y="5336"/>
                    </a:lnTo>
                    <a:lnTo>
                      <a:pt x="3222" y="5336"/>
                    </a:lnTo>
                    <a:lnTo>
                      <a:pt x="3226" y="5336"/>
                    </a:lnTo>
                    <a:lnTo>
                      <a:pt x="3230" y="5336"/>
                    </a:lnTo>
                    <a:lnTo>
                      <a:pt x="3234" y="5334"/>
                    </a:lnTo>
                    <a:lnTo>
                      <a:pt x="3244" y="5320"/>
                    </a:lnTo>
                    <a:lnTo>
                      <a:pt x="3252" y="5312"/>
                    </a:lnTo>
                    <a:lnTo>
                      <a:pt x="3256" y="5306"/>
                    </a:lnTo>
                    <a:lnTo>
                      <a:pt x="3260" y="5300"/>
                    </a:lnTo>
                    <a:lnTo>
                      <a:pt x="3268" y="5294"/>
                    </a:lnTo>
                    <a:lnTo>
                      <a:pt x="3280" y="5288"/>
                    </a:lnTo>
                    <a:lnTo>
                      <a:pt x="3288" y="5286"/>
                    </a:lnTo>
                    <a:lnTo>
                      <a:pt x="3294" y="5284"/>
                    </a:lnTo>
                    <a:lnTo>
                      <a:pt x="3300" y="5280"/>
                    </a:lnTo>
                    <a:lnTo>
                      <a:pt x="3304" y="5278"/>
                    </a:lnTo>
                    <a:lnTo>
                      <a:pt x="3308" y="5278"/>
                    </a:lnTo>
                    <a:lnTo>
                      <a:pt x="3314" y="5276"/>
                    </a:lnTo>
                    <a:lnTo>
                      <a:pt x="3318" y="5272"/>
                    </a:lnTo>
                    <a:lnTo>
                      <a:pt x="3324" y="5266"/>
                    </a:lnTo>
                    <a:lnTo>
                      <a:pt x="3328" y="5266"/>
                    </a:lnTo>
                    <a:lnTo>
                      <a:pt x="3334" y="5264"/>
                    </a:lnTo>
                    <a:lnTo>
                      <a:pt x="3340" y="5260"/>
                    </a:lnTo>
                    <a:lnTo>
                      <a:pt x="3348" y="5252"/>
                    </a:lnTo>
                    <a:lnTo>
                      <a:pt x="3348" y="5248"/>
                    </a:lnTo>
                    <a:lnTo>
                      <a:pt x="3344" y="5246"/>
                    </a:lnTo>
                    <a:close/>
                    <a:moveTo>
                      <a:pt x="3328" y="4618"/>
                    </a:moveTo>
                    <a:lnTo>
                      <a:pt x="3328" y="4618"/>
                    </a:lnTo>
                    <a:lnTo>
                      <a:pt x="3326" y="4622"/>
                    </a:lnTo>
                    <a:lnTo>
                      <a:pt x="3326" y="4628"/>
                    </a:lnTo>
                    <a:lnTo>
                      <a:pt x="3326" y="4630"/>
                    </a:lnTo>
                    <a:lnTo>
                      <a:pt x="3328" y="4632"/>
                    </a:lnTo>
                    <a:lnTo>
                      <a:pt x="3328" y="4634"/>
                    </a:lnTo>
                    <a:lnTo>
                      <a:pt x="3326" y="4638"/>
                    </a:lnTo>
                    <a:lnTo>
                      <a:pt x="3324" y="4642"/>
                    </a:lnTo>
                    <a:lnTo>
                      <a:pt x="3326" y="4644"/>
                    </a:lnTo>
                    <a:lnTo>
                      <a:pt x="3330" y="4642"/>
                    </a:lnTo>
                    <a:lnTo>
                      <a:pt x="3330" y="4640"/>
                    </a:lnTo>
                    <a:lnTo>
                      <a:pt x="3332" y="4636"/>
                    </a:lnTo>
                    <a:lnTo>
                      <a:pt x="3332" y="4632"/>
                    </a:lnTo>
                    <a:lnTo>
                      <a:pt x="3334" y="4630"/>
                    </a:lnTo>
                    <a:lnTo>
                      <a:pt x="3334" y="4628"/>
                    </a:lnTo>
                    <a:lnTo>
                      <a:pt x="3332" y="4624"/>
                    </a:lnTo>
                    <a:lnTo>
                      <a:pt x="3332" y="4620"/>
                    </a:lnTo>
                    <a:lnTo>
                      <a:pt x="3332" y="4618"/>
                    </a:lnTo>
                    <a:lnTo>
                      <a:pt x="3328" y="4618"/>
                    </a:lnTo>
                    <a:close/>
                    <a:moveTo>
                      <a:pt x="3302" y="3114"/>
                    </a:moveTo>
                    <a:lnTo>
                      <a:pt x="3302" y="3114"/>
                    </a:lnTo>
                    <a:lnTo>
                      <a:pt x="3304" y="3116"/>
                    </a:lnTo>
                    <a:lnTo>
                      <a:pt x="3308" y="3114"/>
                    </a:lnTo>
                    <a:lnTo>
                      <a:pt x="3310" y="3112"/>
                    </a:lnTo>
                    <a:lnTo>
                      <a:pt x="3310" y="3108"/>
                    </a:lnTo>
                    <a:lnTo>
                      <a:pt x="3306" y="3108"/>
                    </a:lnTo>
                    <a:lnTo>
                      <a:pt x="3302" y="3110"/>
                    </a:lnTo>
                    <a:lnTo>
                      <a:pt x="3300" y="3112"/>
                    </a:lnTo>
                    <a:lnTo>
                      <a:pt x="3302" y="3114"/>
                    </a:lnTo>
                    <a:close/>
                    <a:moveTo>
                      <a:pt x="3298" y="3086"/>
                    </a:moveTo>
                    <a:lnTo>
                      <a:pt x="3298" y="3086"/>
                    </a:lnTo>
                    <a:lnTo>
                      <a:pt x="3296" y="3088"/>
                    </a:lnTo>
                    <a:lnTo>
                      <a:pt x="3298" y="3090"/>
                    </a:lnTo>
                    <a:lnTo>
                      <a:pt x="3302" y="3096"/>
                    </a:lnTo>
                    <a:lnTo>
                      <a:pt x="3302" y="3098"/>
                    </a:lnTo>
                    <a:lnTo>
                      <a:pt x="3304" y="3094"/>
                    </a:lnTo>
                    <a:lnTo>
                      <a:pt x="3302" y="3088"/>
                    </a:lnTo>
                    <a:lnTo>
                      <a:pt x="3300" y="3086"/>
                    </a:lnTo>
                    <a:lnTo>
                      <a:pt x="3298" y="3086"/>
                    </a:lnTo>
                    <a:close/>
                    <a:moveTo>
                      <a:pt x="3298" y="4354"/>
                    </a:moveTo>
                    <a:lnTo>
                      <a:pt x="3298" y="4354"/>
                    </a:lnTo>
                    <a:lnTo>
                      <a:pt x="3296" y="4358"/>
                    </a:lnTo>
                    <a:lnTo>
                      <a:pt x="3296" y="4362"/>
                    </a:lnTo>
                    <a:lnTo>
                      <a:pt x="3298" y="4362"/>
                    </a:lnTo>
                    <a:lnTo>
                      <a:pt x="3300" y="4364"/>
                    </a:lnTo>
                    <a:lnTo>
                      <a:pt x="3304" y="4362"/>
                    </a:lnTo>
                    <a:lnTo>
                      <a:pt x="3304" y="4360"/>
                    </a:lnTo>
                    <a:lnTo>
                      <a:pt x="3302" y="4356"/>
                    </a:lnTo>
                    <a:lnTo>
                      <a:pt x="3300" y="4348"/>
                    </a:lnTo>
                    <a:lnTo>
                      <a:pt x="3298" y="4354"/>
                    </a:lnTo>
                    <a:close/>
                    <a:moveTo>
                      <a:pt x="3274" y="4930"/>
                    </a:moveTo>
                    <a:lnTo>
                      <a:pt x="3274" y="4930"/>
                    </a:lnTo>
                    <a:lnTo>
                      <a:pt x="3274" y="4932"/>
                    </a:lnTo>
                    <a:lnTo>
                      <a:pt x="3278" y="4934"/>
                    </a:lnTo>
                    <a:lnTo>
                      <a:pt x="3288" y="4934"/>
                    </a:lnTo>
                    <a:lnTo>
                      <a:pt x="3310" y="4928"/>
                    </a:lnTo>
                    <a:lnTo>
                      <a:pt x="3312" y="4926"/>
                    </a:lnTo>
                    <a:lnTo>
                      <a:pt x="3310" y="4926"/>
                    </a:lnTo>
                    <a:lnTo>
                      <a:pt x="3296" y="4924"/>
                    </a:lnTo>
                    <a:lnTo>
                      <a:pt x="3282" y="4924"/>
                    </a:lnTo>
                    <a:lnTo>
                      <a:pt x="3276" y="4926"/>
                    </a:lnTo>
                    <a:lnTo>
                      <a:pt x="3274" y="4930"/>
                    </a:lnTo>
                    <a:close/>
                    <a:moveTo>
                      <a:pt x="3132" y="5104"/>
                    </a:moveTo>
                    <a:lnTo>
                      <a:pt x="3132" y="5104"/>
                    </a:lnTo>
                    <a:lnTo>
                      <a:pt x="3136" y="5106"/>
                    </a:lnTo>
                    <a:lnTo>
                      <a:pt x="3138" y="5104"/>
                    </a:lnTo>
                    <a:lnTo>
                      <a:pt x="3136" y="5096"/>
                    </a:lnTo>
                    <a:lnTo>
                      <a:pt x="3134" y="5090"/>
                    </a:lnTo>
                    <a:lnTo>
                      <a:pt x="3132" y="5086"/>
                    </a:lnTo>
                    <a:lnTo>
                      <a:pt x="3130" y="5088"/>
                    </a:lnTo>
                    <a:lnTo>
                      <a:pt x="3130" y="5096"/>
                    </a:lnTo>
                    <a:lnTo>
                      <a:pt x="3132" y="5104"/>
                    </a:lnTo>
                    <a:close/>
                    <a:moveTo>
                      <a:pt x="3196" y="4912"/>
                    </a:moveTo>
                    <a:lnTo>
                      <a:pt x="3196" y="4912"/>
                    </a:lnTo>
                    <a:lnTo>
                      <a:pt x="3198" y="4908"/>
                    </a:lnTo>
                    <a:lnTo>
                      <a:pt x="3198" y="4904"/>
                    </a:lnTo>
                    <a:lnTo>
                      <a:pt x="3196" y="4900"/>
                    </a:lnTo>
                    <a:lnTo>
                      <a:pt x="3192" y="4900"/>
                    </a:lnTo>
                    <a:lnTo>
                      <a:pt x="3190" y="4902"/>
                    </a:lnTo>
                    <a:lnTo>
                      <a:pt x="3188" y="4904"/>
                    </a:lnTo>
                    <a:lnTo>
                      <a:pt x="3188" y="4908"/>
                    </a:lnTo>
                    <a:lnTo>
                      <a:pt x="3192" y="4912"/>
                    </a:lnTo>
                    <a:lnTo>
                      <a:pt x="3194" y="4912"/>
                    </a:lnTo>
                    <a:lnTo>
                      <a:pt x="3196" y="4912"/>
                    </a:lnTo>
                    <a:close/>
                    <a:moveTo>
                      <a:pt x="3180" y="4896"/>
                    </a:moveTo>
                    <a:lnTo>
                      <a:pt x="3180" y="4896"/>
                    </a:lnTo>
                    <a:lnTo>
                      <a:pt x="3176" y="4896"/>
                    </a:lnTo>
                    <a:lnTo>
                      <a:pt x="3172" y="4900"/>
                    </a:lnTo>
                    <a:lnTo>
                      <a:pt x="3170" y="4906"/>
                    </a:lnTo>
                    <a:lnTo>
                      <a:pt x="3172" y="4916"/>
                    </a:lnTo>
                    <a:lnTo>
                      <a:pt x="3174" y="4916"/>
                    </a:lnTo>
                    <a:lnTo>
                      <a:pt x="3180" y="4908"/>
                    </a:lnTo>
                    <a:lnTo>
                      <a:pt x="3184" y="4900"/>
                    </a:lnTo>
                    <a:lnTo>
                      <a:pt x="3182" y="4898"/>
                    </a:lnTo>
                    <a:lnTo>
                      <a:pt x="3180" y="4896"/>
                    </a:lnTo>
                    <a:close/>
                    <a:moveTo>
                      <a:pt x="3184" y="5356"/>
                    </a:moveTo>
                    <a:lnTo>
                      <a:pt x="3184" y="5356"/>
                    </a:lnTo>
                    <a:lnTo>
                      <a:pt x="3180" y="5360"/>
                    </a:lnTo>
                    <a:lnTo>
                      <a:pt x="3174" y="5364"/>
                    </a:lnTo>
                    <a:lnTo>
                      <a:pt x="3170" y="5366"/>
                    </a:lnTo>
                    <a:lnTo>
                      <a:pt x="3168" y="5370"/>
                    </a:lnTo>
                    <a:lnTo>
                      <a:pt x="3168" y="5372"/>
                    </a:lnTo>
                    <a:lnTo>
                      <a:pt x="3170" y="5372"/>
                    </a:lnTo>
                    <a:lnTo>
                      <a:pt x="3178" y="5370"/>
                    </a:lnTo>
                    <a:lnTo>
                      <a:pt x="3190" y="5362"/>
                    </a:lnTo>
                    <a:lnTo>
                      <a:pt x="3194" y="5358"/>
                    </a:lnTo>
                    <a:lnTo>
                      <a:pt x="3192" y="5352"/>
                    </a:lnTo>
                    <a:lnTo>
                      <a:pt x="3192" y="5350"/>
                    </a:lnTo>
                    <a:lnTo>
                      <a:pt x="3190" y="5350"/>
                    </a:lnTo>
                    <a:lnTo>
                      <a:pt x="3188" y="5352"/>
                    </a:lnTo>
                    <a:lnTo>
                      <a:pt x="3184" y="5356"/>
                    </a:lnTo>
                    <a:close/>
                    <a:moveTo>
                      <a:pt x="3074" y="5152"/>
                    </a:moveTo>
                    <a:lnTo>
                      <a:pt x="3074" y="5152"/>
                    </a:lnTo>
                    <a:lnTo>
                      <a:pt x="3076" y="5154"/>
                    </a:lnTo>
                    <a:lnTo>
                      <a:pt x="3078" y="5144"/>
                    </a:lnTo>
                    <a:lnTo>
                      <a:pt x="3076" y="5132"/>
                    </a:lnTo>
                    <a:lnTo>
                      <a:pt x="3076" y="5122"/>
                    </a:lnTo>
                    <a:lnTo>
                      <a:pt x="3074" y="5122"/>
                    </a:lnTo>
                    <a:lnTo>
                      <a:pt x="3074" y="5124"/>
                    </a:lnTo>
                    <a:lnTo>
                      <a:pt x="3072" y="5130"/>
                    </a:lnTo>
                    <a:lnTo>
                      <a:pt x="3072" y="5142"/>
                    </a:lnTo>
                    <a:lnTo>
                      <a:pt x="3074" y="5152"/>
                    </a:lnTo>
                    <a:close/>
                    <a:moveTo>
                      <a:pt x="3070" y="5308"/>
                    </a:moveTo>
                    <a:lnTo>
                      <a:pt x="3070" y="5308"/>
                    </a:lnTo>
                    <a:lnTo>
                      <a:pt x="3066" y="5308"/>
                    </a:lnTo>
                    <a:lnTo>
                      <a:pt x="3066" y="5306"/>
                    </a:lnTo>
                    <a:lnTo>
                      <a:pt x="3064" y="5304"/>
                    </a:lnTo>
                    <a:lnTo>
                      <a:pt x="3060" y="5298"/>
                    </a:lnTo>
                    <a:lnTo>
                      <a:pt x="3054" y="5294"/>
                    </a:lnTo>
                    <a:lnTo>
                      <a:pt x="3048" y="5294"/>
                    </a:lnTo>
                    <a:lnTo>
                      <a:pt x="3046" y="5296"/>
                    </a:lnTo>
                    <a:lnTo>
                      <a:pt x="3042" y="5296"/>
                    </a:lnTo>
                    <a:lnTo>
                      <a:pt x="3036" y="5294"/>
                    </a:lnTo>
                    <a:lnTo>
                      <a:pt x="3026" y="5294"/>
                    </a:lnTo>
                    <a:lnTo>
                      <a:pt x="3020" y="5296"/>
                    </a:lnTo>
                    <a:lnTo>
                      <a:pt x="3016" y="5298"/>
                    </a:lnTo>
                    <a:lnTo>
                      <a:pt x="3014" y="5302"/>
                    </a:lnTo>
                    <a:lnTo>
                      <a:pt x="3012" y="5306"/>
                    </a:lnTo>
                    <a:lnTo>
                      <a:pt x="3014" y="5310"/>
                    </a:lnTo>
                    <a:lnTo>
                      <a:pt x="3016" y="5312"/>
                    </a:lnTo>
                    <a:lnTo>
                      <a:pt x="3026" y="5316"/>
                    </a:lnTo>
                    <a:lnTo>
                      <a:pt x="3036" y="5318"/>
                    </a:lnTo>
                    <a:lnTo>
                      <a:pt x="3046" y="5322"/>
                    </a:lnTo>
                    <a:lnTo>
                      <a:pt x="3054" y="5328"/>
                    </a:lnTo>
                    <a:lnTo>
                      <a:pt x="3058" y="5334"/>
                    </a:lnTo>
                    <a:lnTo>
                      <a:pt x="3060" y="5338"/>
                    </a:lnTo>
                    <a:lnTo>
                      <a:pt x="3064" y="5340"/>
                    </a:lnTo>
                    <a:lnTo>
                      <a:pt x="3068" y="5340"/>
                    </a:lnTo>
                    <a:lnTo>
                      <a:pt x="3070" y="5342"/>
                    </a:lnTo>
                    <a:lnTo>
                      <a:pt x="3074" y="5342"/>
                    </a:lnTo>
                    <a:lnTo>
                      <a:pt x="3076" y="5340"/>
                    </a:lnTo>
                    <a:lnTo>
                      <a:pt x="3078" y="5338"/>
                    </a:lnTo>
                    <a:lnTo>
                      <a:pt x="3080" y="5338"/>
                    </a:lnTo>
                    <a:lnTo>
                      <a:pt x="3082" y="5336"/>
                    </a:lnTo>
                    <a:lnTo>
                      <a:pt x="3086" y="5332"/>
                    </a:lnTo>
                    <a:lnTo>
                      <a:pt x="3086" y="5330"/>
                    </a:lnTo>
                    <a:lnTo>
                      <a:pt x="3086" y="5326"/>
                    </a:lnTo>
                    <a:lnTo>
                      <a:pt x="3082" y="5320"/>
                    </a:lnTo>
                    <a:lnTo>
                      <a:pt x="3076" y="5312"/>
                    </a:lnTo>
                    <a:lnTo>
                      <a:pt x="3070" y="5308"/>
                    </a:lnTo>
                    <a:close/>
                    <a:moveTo>
                      <a:pt x="3176" y="5238"/>
                    </a:moveTo>
                    <a:lnTo>
                      <a:pt x="3176" y="5238"/>
                    </a:lnTo>
                    <a:lnTo>
                      <a:pt x="3174" y="5234"/>
                    </a:lnTo>
                    <a:lnTo>
                      <a:pt x="3172" y="5234"/>
                    </a:lnTo>
                    <a:lnTo>
                      <a:pt x="3168" y="5234"/>
                    </a:lnTo>
                    <a:lnTo>
                      <a:pt x="3166" y="5238"/>
                    </a:lnTo>
                    <a:lnTo>
                      <a:pt x="3166" y="5240"/>
                    </a:lnTo>
                    <a:lnTo>
                      <a:pt x="3168" y="5240"/>
                    </a:lnTo>
                    <a:lnTo>
                      <a:pt x="3170" y="5242"/>
                    </a:lnTo>
                    <a:lnTo>
                      <a:pt x="3168" y="5246"/>
                    </a:lnTo>
                    <a:lnTo>
                      <a:pt x="3160" y="5248"/>
                    </a:lnTo>
                    <a:lnTo>
                      <a:pt x="3156" y="5252"/>
                    </a:lnTo>
                    <a:lnTo>
                      <a:pt x="3156" y="5256"/>
                    </a:lnTo>
                    <a:lnTo>
                      <a:pt x="3156" y="5258"/>
                    </a:lnTo>
                    <a:lnTo>
                      <a:pt x="3152" y="5260"/>
                    </a:lnTo>
                    <a:lnTo>
                      <a:pt x="3148" y="5260"/>
                    </a:lnTo>
                    <a:lnTo>
                      <a:pt x="3146" y="5260"/>
                    </a:lnTo>
                    <a:lnTo>
                      <a:pt x="3142" y="5256"/>
                    </a:lnTo>
                    <a:lnTo>
                      <a:pt x="3136" y="5252"/>
                    </a:lnTo>
                    <a:lnTo>
                      <a:pt x="3134" y="5250"/>
                    </a:lnTo>
                    <a:lnTo>
                      <a:pt x="3132" y="5252"/>
                    </a:lnTo>
                    <a:lnTo>
                      <a:pt x="3128" y="5254"/>
                    </a:lnTo>
                    <a:lnTo>
                      <a:pt x="3124" y="5254"/>
                    </a:lnTo>
                    <a:lnTo>
                      <a:pt x="3120" y="5254"/>
                    </a:lnTo>
                    <a:lnTo>
                      <a:pt x="3116" y="5256"/>
                    </a:lnTo>
                    <a:lnTo>
                      <a:pt x="3114" y="5258"/>
                    </a:lnTo>
                    <a:lnTo>
                      <a:pt x="3112" y="5256"/>
                    </a:lnTo>
                    <a:lnTo>
                      <a:pt x="3106" y="5254"/>
                    </a:lnTo>
                    <a:lnTo>
                      <a:pt x="3100" y="5250"/>
                    </a:lnTo>
                    <a:lnTo>
                      <a:pt x="3092" y="5246"/>
                    </a:lnTo>
                    <a:lnTo>
                      <a:pt x="3076" y="5242"/>
                    </a:lnTo>
                    <a:lnTo>
                      <a:pt x="3068" y="5242"/>
                    </a:lnTo>
                    <a:lnTo>
                      <a:pt x="3064" y="5242"/>
                    </a:lnTo>
                    <a:lnTo>
                      <a:pt x="3060" y="5246"/>
                    </a:lnTo>
                    <a:lnTo>
                      <a:pt x="3056" y="5250"/>
                    </a:lnTo>
                    <a:lnTo>
                      <a:pt x="3050" y="5252"/>
                    </a:lnTo>
                    <a:lnTo>
                      <a:pt x="3048" y="5256"/>
                    </a:lnTo>
                    <a:lnTo>
                      <a:pt x="3048" y="5262"/>
                    </a:lnTo>
                    <a:lnTo>
                      <a:pt x="3050" y="5270"/>
                    </a:lnTo>
                    <a:lnTo>
                      <a:pt x="3050" y="5272"/>
                    </a:lnTo>
                    <a:lnTo>
                      <a:pt x="3052" y="5272"/>
                    </a:lnTo>
                    <a:lnTo>
                      <a:pt x="3056" y="5270"/>
                    </a:lnTo>
                    <a:lnTo>
                      <a:pt x="3062" y="5268"/>
                    </a:lnTo>
                    <a:lnTo>
                      <a:pt x="3078" y="5270"/>
                    </a:lnTo>
                    <a:lnTo>
                      <a:pt x="3086" y="5272"/>
                    </a:lnTo>
                    <a:lnTo>
                      <a:pt x="3092" y="5274"/>
                    </a:lnTo>
                    <a:lnTo>
                      <a:pt x="3096" y="5278"/>
                    </a:lnTo>
                    <a:lnTo>
                      <a:pt x="3098" y="5276"/>
                    </a:lnTo>
                    <a:lnTo>
                      <a:pt x="3102" y="5274"/>
                    </a:lnTo>
                    <a:lnTo>
                      <a:pt x="3106" y="5274"/>
                    </a:lnTo>
                    <a:lnTo>
                      <a:pt x="3108" y="5274"/>
                    </a:lnTo>
                    <a:lnTo>
                      <a:pt x="3110" y="5272"/>
                    </a:lnTo>
                    <a:lnTo>
                      <a:pt x="3112" y="5270"/>
                    </a:lnTo>
                    <a:lnTo>
                      <a:pt x="3120" y="5272"/>
                    </a:lnTo>
                    <a:lnTo>
                      <a:pt x="3124" y="5272"/>
                    </a:lnTo>
                    <a:lnTo>
                      <a:pt x="3128" y="5272"/>
                    </a:lnTo>
                    <a:lnTo>
                      <a:pt x="3134" y="5270"/>
                    </a:lnTo>
                    <a:lnTo>
                      <a:pt x="3138" y="5268"/>
                    </a:lnTo>
                    <a:lnTo>
                      <a:pt x="3142" y="5266"/>
                    </a:lnTo>
                    <a:lnTo>
                      <a:pt x="3150" y="5266"/>
                    </a:lnTo>
                    <a:lnTo>
                      <a:pt x="3158" y="5264"/>
                    </a:lnTo>
                    <a:lnTo>
                      <a:pt x="3166" y="5260"/>
                    </a:lnTo>
                    <a:lnTo>
                      <a:pt x="3168" y="5258"/>
                    </a:lnTo>
                    <a:lnTo>
                      <a:pt x="3170" y="5254"/>
                    </a:lnTo>
                    <a:lnTo>
                      <a:pt x="3170" y="5252"/>
                    </a:lnTo>
                    <a:lnTo>
                      <a:pt x="3174" y="5248"/>
                    </a:lnTo>
                    <a:lnTo>
                      <a:pt x="3176" y="5244"/>
                    </a:lnTo>
                    <a:lnTo>
                      <a:pt x="3176" y="5238"/>
                    </a:lnTo>
                    <a:close/>
                    <a:moveTo>
                      <a:pt x="3042" y="5268"/>
                    </a:moveTo>
                    <a:lnTo>
                      <a:pt x="3042" y="5268"/>
                    </a:lnTo>
                    <a:lnTo>
                      <a:pt x="3044" y="5266"/>
                    </a:lnTo>
                    <a:lnTo>
                      <a:pt x="3046" y="5264"/>
                    </a:lnTo>
                    <a:lnTo>
                      <a:pt x="3044" y="5262"/>
                    </a:lnTo>
                    <a:lnTo>
                      <a:pt x="3042" y="5260"/>
                    </a:lnTo>
                    <a:lnTo>
                      <a:pt x="3040" y="5262"/>
                    </a:lnTo>
                    <a:lnTo>
                      <a:pt x="3040" y="5266"/>
                    </a:lnTo>
                    <a:lnTo>
                      <a:pt x="3040" y="5268"/>
                    </a:lnTo>
                    <a:lnTo>
                      <a:pt x="3042" y="5268"/>
                    </a:lnTo>
                    <a:close/>
                    <a:moveTo>
                      <a:pt x="3038" y="5258"/>
                    </a:moveTo>
                    <a:lnTo>
                      <a:pt x="3038" y="5258"/>
                    </a:lnTo>
                    <a:lnTo>
                      <a:pt x="3040" y="5256"/>
                    </a:lnTo>
                    <a:lnTo>
                      <a:pt x="3040" y="5254"/>
                    </a:lnTo>
                    <a:lnTo>
                      <a:pt x="3038" y="5252"/>
                    </a:lnTo>
                    <a:lnTo>
                      <a:pt x="3034" y="5250"/>
                    </a:lnTo>
                    <a:lnTo>
                      <a:pt x="3032" y="5250"/>
                    </a:lnTo>
                    <a:lnTo>
                      <a:pt x="3032" y="5252"/>
                    </a:lnTo>
                    <a:lnTo>
                      <a:pt x="3032" y="5258"/>
                    </a:lnTo>
                    <a:lnTo>
                      <a:pt x="3030" y="5262"/>
                    </a:lnTo>
                    <a:lnTo>
                      <a:pt x="3032" y="5266"/>
                    </a:lnTo>
                    <a:lnTo>
                      <a:pt x="3032" y="5264"/>
                    </a:lnTo>
                    <a:lnTo>
                      <a:pt x="3034" y="5260"/>
                    </a:lnTo>
                    <a:lnTo>
                      <a:pt x="3038" y="5258"/>
                    </a:lnTo>
                    <a:close/>
                    <a:moveTo>
                      <a:pt x="2740" y="626"/>
                    </a:moveTo>
                    <a:lnTo>
                      <a:pt x="2740" y="626"/>
                    </a:lnTo>
                    <a:lnTo>
                      <a:pt x="2756" y="630"/>
                    </a:lnTo>
                    <a:lnTo>
                      <a:pt x="2768" y="628"/>
                    </a:lnTo>
                    <a:lnTo>
                      <a:pt x="2778" y="624"/>
                    </a:lnTo>
                    <a:lnTo>
                      <a:pt x="2784" y="618"/>
                    </a:lnTo>
                    <a:lnTo>
                      <a:pt x="2786" y="612"/>
                    </a:lnTo>
                    <a:lnTo>
                      <a:pt x="2786" y="608"/>
                    </a:lnTo>
                    <a:lnTo>
                      <a:pt x="2784" y="604"/>
                    </a:lnTo>
                    <a:lnTo>
                      <a:pt x="2782" y="602"/>
                    </a:lnTo>
                    <a:lnTo>
                      <a:pt x="2776" y="600"/>
                    </a:lnTo>
                    <a:lnTo>
                      <a:pt x="2764" y="598"/>
                    </a:lnTo>
                    <a:lnTo>
                      <a:pt x="2748" y="598"/>
                    </a:lnTo>
                    <a:lnTo>
                      <a:pt x="2736" y="598"/>
                    </a:lnTo>
                    <a:lnTo>
                      <a:pt x="2726" y="600"/>
                    </a:lnTo>
                    <a:lnTo>
                      <a:pt x="2720" y="604"/>
                    </a:lnTo>
                    <a:lnTo>
                      <a:pt x="2716" y="608"/>
                    </a:lnTo>
                    <a:lnTo>
                      <a:pt x="2720" y="614"/>
                    </a:lnTo>
                    <a:lnTo>
                      <a:pt x="2726" y="618"/>
                    </a:lnTo>
                    <a:lnTo>
                      <a:pt x="2740" y="626"/>
                    </a:lnTo>
                    <a:close/>
                    <a:moveTo>
                      <a:pt x="162" y="3354"/>
                    </a:moveTo>
                    <a:lnTo>
                      <a:pt x="162" y="3354"/>
                    </a:lnTo>
                    <a:lnTo>
                      <a:pt x="160" y="3358"/>
                    </a:lnTo>
                    <a:lnTo>
                      <a:pt x="162" y="3364"/>
                    </a:lnTo>
                    <a:lnTo>
                      <a:pt x="164" y="3366"/>
                    </a:lnTo>
                    <a:lnTo>
                      <a:pt x="166" y="3368"/>
                    </a:lnTo>
                    <a:lnTo>
                      <a:pt x="168" y="3366"/>
                    </a:lnTo>
                    <a:lnTo>
                      <a:pt x="168" y="3362"/>
                    </a:lnTo>
                    <a:lnTo>
                      <a:pt x="166" y="3356"/>
                    </a:lnTo>
                    <a:lnTo>
                      <a:pt x="164" y="3352"/>
                    </a:lnTo>
                    <a:lnTo>
                      <a:pt x="162" y="3352"/>
                    </a:lnTo>
                    <a:lnTo>
                      <a:pt x="162" y="3354"/>
                    </a:lnTo>
                    <a:close/>
                    <a:moveTo>
                      <a:pt x="3766" y="1952"/>
                    </a:moveTo>
                    <a:lnTo>
                      <a:pt x="3766" y="1952"/>
                    </a:lnTo>
                    <a:lnTo>
                      <a:pt x="3772" y="1954"/>
                    </a:lnTo>
                    <a:lnTo>
                      <a:pt x="3776" y="1954"/>
                    </a:lnTo>
                    <a:lnTo>
                      <a:pt x="3780" y="1950"/>
                    </a:lnTo>
                    <a:lnTo>
                      <a:pt x="3782" y="1944"/>
                    </a:lnTo>
                    <a:lnTo>
                      <a:pt x="3784" y="1940"/>
                    </a:lnTo>
                    <a:lnTo>
                      <a:pt x="3782" y="1934"/>
                    </a:lnTo>
                    <a:lnTo>
                      <a:pt x="3780" y="1930"/>
                    </a:lnTo>
                    <a:lnTo>
                      <a:pt x="3774" y="1928"/>
                    </a:lnTo>
                    <a:lnTo>
                      <a:pt x="3768" y="1928"/>
                    </a:lnTo>
                    <a:lnTo>
                      <a:pt x="3764" y="1930"/>
                    </a:lnTo>
                    <a:lnTo>
                      <a:pt x="3760" y="1932"/>
                    </a:lnTo>
                    <a:lnTo>
                      <a:pt x="3758" y="1936"/>
                    </a:lnTo>
                    <a:lnTo>
                      <a:pt x="3758" y="1938"/>
                    </a:lnTo>
                    <a:lnTo>
                      <a:pt x="3760" y="1944"/>
                    </a:lnTo>
                    <a:lnTo>
                      <a:pt x="3762" y="1948"/>
                    </a:lnTo>
                    <a:lnTo>
                      <a:pt x="3766" y="1952"/>
                    </a:lnTo>
                    <a:close/>
                    <a:moveTo>
                      <a:pt x="3314" y="2942"/>
                    </a:moveTo>
                    <a:lnTo>
                      <a:pt x="3314" y="2942"/>
                    </a:lnTo>
                    <a:lnTo>
                      <a:pt x="3316" y="2940"/>
                    </a:lnTo>
                    <a:lnTo>
                      <a:pt x="3318" y="2936"/>
                    </a:lnTo>
                    <a:lnTo>
                      <a:pt x="3316" y="2932"/>
                    </a:lnTo>
                    <a:lnTo>
                      <a:pt x="3312" y="2930"/>
                    </a:lnTo>
                    <a:lnTo>
                      <a:pt x="3310" y="2930"/>
                    </a:lnTo>
                    <a:lnTo>
                      <a:pt x="3310" y="2932"/>
                    </a:lnTo>
                    <a:lnTo>
                      <a:pt x="3310" y="2936"/>
                    </a:lnTo>
                    <a:lnTo>
                      <a:pt x="3312" y="2940"/>
                    </a:lnTo>
                    <a:lnTo>
                      <a:pt x="3314" y="2942"/>
                    </a:lnTo>
                    <a:close/>
                    <a:moveTo>
                      <a:pt x="3310" y="2998"/>
                    </a:moveTo>
                    <a:lnTo>
                      <a:pt x="3310" y="2998"/>
                    </a:lnTo>
                    <a:lnTo>
                      <a:pt x="3308" y="2998"/>
                    </a:lnTo>
                    <a:lnTo>
                      <a:pt x="3308" y="3002"/>
                    </a:lnTo>
                    <a:lnTo>
                      <a:pt x="3310" y="3004"/>
                    </a:lnTo>
                    <a:lnTo>
                      <a:pt x="3312" y="3006"/>
                    </a:lnTo>
                    <a:lnTo>
                      <a:pt x="3314" y="3006"/>
                    </a:lnTo>
                    <a:lnTo>
                      <a:pt x="3314" y="3002"/>
                    </a:lnTo>
                    <a:lnTo>
                      <a:pt x="3312" y="2998"/>
                    </a:lnTo>
                    <a:lnTo>
                      <a:pt x="3310" y="2998"/>
                    </a:lnTo>
                    <a:close/>
                    <a:moveTo>
                      <a:pt x="468" y="3506"/>
                    </a:moveTo>
                    <a:lnTo>
                      <a:pt x="468" y="3506"/>
                    </a:lnTo>
                    <a:lnTo>
                      <a:pt x="468" y="3508"/>
                    </a:lnTo>
                    <a:lnTo>
                      <a:pt x="466" y="3510"/>
                    </a:lnTo>
                    <a:lnTo>
                      <a:pt x="458" y="3514"/>
                    </a:lnTo>
                    <a:lnTo>
                      <a:pt x="452" y="3518"/>
                    </a:lnTo>
                    <a:lnTo>
                      <a:pt x="450" y="3520"/>
                    </a:lnTo>
                    <a:lnTo>
                      <a:pt x="450" y="3522"/>
                    </a:lnTo>
                    <a:lnTo>
                      <a:pt x="452" y="3524"/>
                    </a:lnTo>
                    <a:lnTo>
                      <a:pt x="456" y="3524"/>
                    </a:lnTo>
                    <a:lnTo>
                      <a:pt x="464" y="3520"/>
                    </a:lnTo>
                    <a:lnTo>
                      <a:pt x="476" y="3514"/>
                    </a:lnTo>
                    <a:lnTo>
                      <a:pt x="484" y="3504"/>
                    </a:lnTo>
                    <a:lnTo>
                      <a:pt x="486" y="3502"/>
                    </a:lnTo>
                    <a:lnTo>
                      <a:pt x="486" y="3500"/>
                    </a:lnTo>
                    <a:lnTo>
                      <a:pt x="480" y="3502"/>
                    </a:lnTo>
                    <a:lnTo>
                      <a:pt x="468" y="3506"/>
                    </a:lnTo>
                    <a:close/>
                    <a:moveTo>
                      <a:pt x="1966" y="4176"/>
                    </a:moveTo>
                    <a:lnTo>
                      <a:pt x="1966" y="4176"/>
                    </a:lnTo>
                    <a:lnTo>
                      <a:pt x="1964" y="4176"/>
                    </a:lnTo>
                    <a:lnTo>
                      <a:pt x="1960" y="4184"/>
                    </a:lnTo>
                    <a:lnTo>
                      <a:pt x="1958" y="4200"/>
                    </a:lnTo>
                    <a:lnTo>
                      <a:pt x="1956" y="4222"/>
                    </a:lnTo>
                    <a:lnTo>
                      <a:pt x="1954" y="4242"/>
                    </a:lnTo>
                    <a:lnTo>
                      <a:pt x="1952" y="4252"/>
                    </a:lnTo>
                    <a:lnTo>
                      <a:pt x="1950" y="4260"/>
                    </a:lnTo>
                    <a:lnTo>
                      <a:pt x="1952" y="4272"/>
                    </a:lnTo>
                    <a:lnTo>
                      <a:pt x="1954" y="4278"/>
                    </a:lnTo>
                    <a:lnTo>
                      <a:pt x="1956" y="4280"/>
                    </a:lnTo>
                    <a:lnTo>
                      <a:pt x="1958" y="4274"/>
                    </a:lnTo>
                    <a:lnTo>
                      <a:pt x="1962" y="4248"/>
                    </a:lnTo>
                    <a:lnTo>
                      <a:pt x="1962" y="4240"/>
                    </a:lnTo>
                    <a:lnTo>
                      <a:pt x="1962" y="4236"/>
                    </a:lnTo>
                    <a:lnTo>
                      <a:pt x="1962" y="4234"/>
                    </a:lnTo>
                    <a:lnTo>
                      <a:pt x="1964" y="4232"/>
                    </a:lnTo>
                    <a:lnTo>
                      <a:pt x="1966" y="4228"/>
                    </a:lnTo>
                    <a:lnTo>
                      <a:pt x="1966" y="4226"/>
                    </a:lnTo>
                    <a:lnTo>
                      <a:pt x="1964" y="4218"/>
                    </a:lnTo>
                    <a:lnTo>
                      <a:pt x="1964" y="4210"/>
                    </a:lnTo>
                    <a:lnTo>
                      <a:pt x="1964" y="4206"/>
                    </a:lnTo>
                    <a:lnTo>
                      <a:pt x="1964" y="4204"/>
                    </a:lnTo>
                    <a:lnTo>
                      <a:pt x="1968" y="4200"/>
                    </a:lnTo>
                    <a:lnTo>
                      <a:pt x="1970" y="4192"/>
                    </a:lnTo>
                    <a:lnTo>
                      <a:pt x="1970" y="4182"/>
                    </a:lnTo>
                    <a:lnTo>
                      <a:pt x="1966" y="4176"/>
                    </a:lnTo>
                    <a:close/>
                    <a:moveTo>
                      <a:pt x="1508" y="4454"/>
                    </a:moveTo>
                    <a:lnTo>
                      <a:pt x="1508" y="4454"/>
                    </a:lnTo>
                    <a:lnTo>
                      <a:pt x="1504" y="4444"/>
                    </a:lnTo>
                    <a:lnTo>
                      <a:pt x="1498" y="4430"/>
                    </a:lnTo>
                    <a:lnTo>
                      <a:pt x="1492" y="4416"/>
                    </a:lnTo>
                    <a:lnTo>
                      <a:pt x="1484" y="4404"/>
                    </a:lnTo>
                    <a:lnTo>
                      <a:pt x="1478" y="4396"/>
                    </a:lnTo>
                    <a:lnTo>
                      <a:pt x="1474" y="4388"/>
                    </a:lnTo>
                    <a:lnTo>
                      <a:pt x="1472" y="4380"/>
                    </a:lnTo>
                    <a:lnTo>
                      <a:pt x="1464" y="4372"/>
                    </a:lnTo>
                    <a:lnTo>
                      <a:pt x="1456" y="4364"/>
                    </a:lnTo>
                    <a:lnTo>
                      <a:pt x="1448" y="4360"/>
                    </a:lnTo>
                    <a:lnTo>
                      <a:pt x="1442" y="4360"/>
                    </a:lnTo>
                    <a:lnTo>
                      <a:pt x="1438" y="4362"/>
                    </a:lnTo>
                    <a:lnTo>
                      <a:pt x="1438" y="4364"/>
                    </a:lnTo>
                    <a:lnTo>
                      <a:pt x="1440" y="4368"/>
                    </a:lnTo>
                    <a:lnTo>
                      <a:pt x="1444" y="4372"/>
                    </a:lnTo>
                    <a:lnTo>
                      <a:pt x="1446" y="4382"/>
                    </a:lnTo>
                    <a:lnTo>
                      <a:pt x="1446" y="4392"/>
                    </a:lnTo>
                    <a:lnTo>
                      <a:pt x="1444" y="4398"/>
                    </a:lnTo>
                    <a:lnTo>
                      <a:pt x="1440" y="4404"/>
                    </a:lnTo>
                    <a:lnTo>
                      <a:pt x="1440" y="4410"/>
                    </a:lnTo>
                    <a:lnTo>
                      <a:pt x="1440" y="4420"/>
                    </a:lnTo>
                    <a:lnTo>
                      <a:pt x="1438" y="4430"/>
                    </a:lnTo>
                    <a:lnTo>
                      <a:pt x="1436" y="4438"/>
                    </a:lnTo>
                    <a:lnTo>
                      <a:pt x="1436" y="4436"/>
                    </a:lnTo>
                    <a:lnTo>
                      <a:pt x="1434" y="4432"/>
                    </a:lnTo>
                    <a:lnTo>
                      <a:pt x="1432" y="4432"/>
                    </a:lnTo>
                    <a:lnTo>
                      <a:pt x="1430" y="4440"/>
                    </a:lnTo>
                    <a:lnTo>
                      <a:pt x="1432" y="4456"/>
                    </a:lnTo>
                    <a:lnTo>
                      <a:pt x="1434" y="4476"/>
                    </a:lnTo>
                    <a:lnTo>
                      <a:pt x="1434" y="4500"/>
                    </a:lnTo>
                    <a:lnTo>
                      <a:pt x="1436" y="4512"/>
                    </a:lnTo>
                    <a:lnTo>
                      <a:pt x="1438" y="4524"/>
                    </a:lnTo>
                    <a:lnTo>
                      <a:pt x="1442" y="4534"/>
                    </a:lnTo>
                    <a:lnTo>
                      <a:pt x="1450" y="4544"/>
                    </a:lnTo>
                    <a:lnTo>
                      <a:pt x="1458" y="4548"/>
                    </a:lnTo>
                    <a:lnTo>
                      <a:pt x="1464" y="4550"/>
                    </a:lnTo>
                    <a:lnTo>
                      <a:pt x="1470" y="4550"/>
                    </a:lnTo>
                    <a:lnTo>
                      <a:pt x="1476" y="4548"/>
                    </a:lnTo>
                    <a:lnTo>
                      <a:pt x="1488" y="4540"/>
                    </a:lnTo>
                    <a:lnTo>
                      <a:pt x="1502" y="4532"/>
                    </a:lnTo>
                    <a:lnTo>
                      <a:pt x="1508" y="4526"/>
                    </a:lnTo>
                    <a:lnTo>
                      <a:pt x="1512" y="4520"/>
                    </a:lnTo>
                    <a:lnTo>
                      <a:pt x="1516" y="4510"/>
                    </a:lnTo>
                    <a:lnTo>
                      <a:pt x="1518" y="4502"/>
                    </a:lnTo>
                    <a:lnTo>
                      <a:pt x="1518" y="4484"/>
                    </a:lnTo>
                    <a:lnTo>
                      <a:pt x="1516" y="4476"/>
                    </a:lnTo>
                    <a:lnTo>
                      <a:pt x="1514" y="4472"/>
                    </a:lnTo>
                    <a:lnTo>
                      <a:pt x="1512" y="4466"/>
                    </a:lnTo>
                    <a:lnTo>
                      <a:pt x="1512" y="4462"/>
                    </a:lnTo>
                    <a:lnTo>
                      <a:pt x="1510" y="4458"/>
                    </a:lnTo>
                    <a:lnTo>
                      <a:pt x="1508" y="4454"/>
                    </a:lnTo>
                    <a:close/>
                    <a:moveTo>
                      <a:pt x="1946" y="4308"/>
                    </a:moveTo>
                    <a:lnTo>
                      <a:pt x="1946" y="4308"/>
                    </a:lnTo>
                    <a:lnTo>
                      <a:pt x="1942" y="4310"/>
                    </a:lnTo>
                    <a:lnTo>
                      <a:pt x="1940" y="4316"/>
                    </a:lnTo>
                    <a:lnTo>
                      <a:pt x="1940" y="4322"/>
                    </a:lnTo>
                    <a:lnTo>
                      <a:pt x="1942" y="4328"/>
                    </a:lnTo>
                    <a:lnTo>
                      <a:pt x="1944" y="4328"/>
                    </a:lnTo>
                    <a:lnTo>
                      <a:pt x="1946" y="4326"/>
                    </a:lnTo>
                    <a:lnTo>
                      <a:pt x="1948" y="4320"/>
                    </a:lnTo>
                    <a:lnTo>
                      <a:pt x="1950" y="4312"/>
                    </a:lnTo>
                    <a:lnTo>
                      <a:pt x="1948" y="4310"/>
                    </a:lnTo>
                    <a:lnTo>
                      <a:pt x="1946" y="4308"/>
                    </a:lnTo>
                    <a:close/>
                    <a:moveTo>
                      <a:pt x="1996" y="4488"/>
                    </a:moveTo>
                    <a:lnTo>
                      <a:pt x="1996" y="4488"/>
                    </a:lnTo>
                    <a:lnTo>
                      <a:pt x="1994" y="4492"/>
                    </a:lnTo>
                    <a:lnTo>
                      <a:pt x="1994" y="4496"/>
                    </a:lnTo>
                    <a:lnTo>
                      <a:pt x="1994" y="4504"/>
                    </a:lnTo>
                    <a:lnTo>
                      <a:pt x="1998" y="4508"/>
                    </a:lnTo>
                    <a:lnTo>
                      <a:pt x="2000" y="4510"/>
                    </a:lnTo>
                    <a:lnTo>
                      <a:pt x="2002" y="4508"/>
                    </a:lnTo>
                    <a:lnTo>
                      <a:pt x="2004" y="4506"/>
                    </a:lnTo>
                    <a:lnTo>
                      <a:pt x="2004" y="4502"/>
                    </a:lnTo>
                    <a:lnTo>
                      <a:pt x="2004" y="4494"/>
                    </a:lnTo>
                    <a:lnTo>
                      <a:pt x="2000" y="4488"/>
                    </a:lnTo>
                    <a:lnTo>
                      <a:pt x="1998" y="4488"/>
                    </a:lnTo>
                    <a:lnTo>
                      <a:pt x="1996" y="4488"/>
                    </a:lnTo>
                    <a:close/>
                    <a:moveTo>
                      <a:pt x="1980" y="4454"/>
                    </a:moveTo>
                    <a:lnTo>
                      <a:pt x="1980" y="4454"/>
                    </a:lnTo>
                    <a:lnTo>
                      <a:pt x="1982" y="4454"/>
                    </a:lnTo>
                    <a:lnTo>
                      <a:pt x="1984" y="4454"/>
                    </a:lnTo>
                    <a:lnTo>
                      <a:pt x="1982" y="4448"/>
                    </a:lnTo>
                    <a:lnTo>
                      <a:pt x="1980" y="4448"/>
                    </a:lnTo>
                    <a:lnTo>
                      <a:pt x="1978" y="4448"/>
                    </a:lnTo>
                    <a:lnTo>
                      <a:pt x="1978" y="4450"/>
                    </a:lnTo>
                    <a:lnTo>
                      <a:pt x="1980" y="4454"/>
                    </a:lnTo>
                    <a:close/>
                    <a:moveTo>
                      <a:pt x="1954" y="4386"/>
                    </a:moveTo>
                    <a:lnTo>
                      <a:pt x="1954" y="4386"/>
                    </a:lnTo>
                    <a:lnTo>
                      <a:pt x="1952" y="4390"/>
                    </a:lnTo>
                    <a:lnTo>
                      <a:pt x="1952" y="4394"/>
                    </a:lnTo>
                    <a:lnTo>
                      <a:pt x="1954" y="4396"/>
                    </a:lnTo>
                    <a:lnTo>
                      <a:pt x="1958" y="4396"/>
                    </a:lnTo>
                    <a:lnTo>
                      <a:pt x="1960" y="4394"/>
                    </a:lnTo>
                    <a:lnTo>
                      <a:pt x="1958" y="4390"/>
                    </a:lnTo>
                    <a:lnTo>
                      <a:pt x="1958" y="4386"/>
                    </a:lnTo>
                    <a:lnTo>
                      <a:pt x="1956" y="4386"/>
                    </a:lnTo>
                    <a:lnTo>
                      <a:pt x="1954" y="4386"/>
                    </a:lnTo>
                    <a:close/>
                    <a:moveTo>
                      <a:pt x="2078" y="4702"/>
                    </a:moveTo>
                    <a:lnTo>
                      <a:pt x="2078" y="4702"/>
                    </a:lnTo>
                    <a:lnTo>
                      <a:pt x="2078" y="4706"/>
                    </a:lnTo>
                    <a:lnTo>
                      <a:pt x="2080" y="4710"/>
                    </a:lnTo>
                    <a:lnTo>
                      <a:pt x="2084" y="4714"/>
                    </a:lnTo>
                    <a:lnTo>
                      <a:pt x="2090" y="4720"/>
                    </a:lnTo>
                    <a:lnTo>
                      <a:pt x="2102" y="4728"/>
                    </a:lnTo>
                    <a:lnTo>
                      <a:pt x="2106" y="4730"/>
                    </a:lnTo>
                    <a:lnTo>
                      <a:pt x="2106" y="4726"/>
                    </a:lnTo>
                    <a:lnTo>
                      <a:pt x="2102" y="4716"/>
                    </a:lnTo>
                    <a:lnTo>
                      <a:pt x="2094" y="4706"/>
                    </a:lnTo>
                    <a:lnTo>
                      <a:pt x="2084" y="4700"/>
                    </a:lnTo>
                    <a:lnTo>
                      <a:pt x="2080" y="4700"/>
                    </a:lnTo>
                    <a:lnTo>
                      <a:pt x="2078" y="4702"/>
                    </a:lnTo>
                    <a:close/>
                    <a:moveTo>
                      <a:pt x="2508" y="4960"/>
                    </a:moveTo>
                    <a:lnTo>
                      <a:pt x="2508" y="4960"/>
                    </a:lnTo>
                    <a:lnTo>
                      <a:pt x="2502" y="4956"/>
                    </a:lnTo>
                    <a:lnTo>
                      <a:pt x="2500" y="4950"/>
                    </a:lnTo>
                    <a:lnTo>
                      <a:pt x="2496" y="4932"/>
                    </a:lnTo>
                    <a:lnTo>
                      <a:pt x="2494" y="4924"/>
                    </a:lnTo>
                    <a:lnTo>
                      <a:pt x="2490" y="4918"/>
                    </a:lnTo>
                    <a:lnTo>
                      <a:pt x="2484" y="4914"/>
                    </a:lnTo>
                    <a:lnTo>
                      <a:pt x="2476" y="4912"/>
                    </a:lnTo>
                    <a:lnTo>
                      <a:pt x="2466" y="4916"/>
                    </a:lnTo>
                    <a:lnTo>
                      <a:pt x="2464" y="4920"/>
                    </a:lnTo>
                    <a:lnTo>
                      <a:pt x="2464" y="4926"/>
                    </a:lnTo>
                    <a:lnTo>
                      <a:pt x="2462" y="4928"/>
                    </a:lnTo>
                    <a:lnTo>
                      <a:pt x="2460" y="4932"/>
                    </a:lnTo>
                    <a:lnTo>
                      <a:pt x="2456" y="4936"/>
                    </a:lnTo>
                    <a:lnTo>
                      <a:pt x="2454" y="4938"/>
                    </a:lnTo>
                    <a:lnTo>
                      <a:pt x="2454" y="4940"/>
                    </a:lnTo>
                    <a:lnTo>
                      <a:pt x="2456" y="4942"/>
                    </a:lnTo>
                    <a:lnTo>
                      <a:pt x="2464" y="4944"/>
                    </a:lnTo>
                    <a:lnTo>
                      <a:pt x="2474" y="4942"/>
                    </a:lnTo>
                    <a:lnTo>
                      <a:pt x="2478" y="4944"/>
                    </a:lnTo>
                    <a:lnTo>
                      <a:pt x="2480" y="4948"/>
                    </a:lnTo>
                    <a:lnTo>
                      <a:pt x="2484" y="4958"/>
                    </a:lnTo>
                    <a:lnTo>
                      <a:pt x="2488" y="4972"/>
                    </a:lnTo>
                    <a:lnTo>
                      <a:pt x="2490" y="4976"/>
                    </a:lnTo>
                    <a:lnTo>
                      <a:pt x="2494" y="4978"/>
                    </a:lnTo>
                    <a:lnTo>
                      <a:pt x="2502" y="4984"/>
                    </a:lnTo>
                    <a:lnTo>
                      <a:pt x="2508" y="4988"/>
                    </a:lnTo>
                    <a:lnTo>
                      <a:pt x="2512" y="4990"/>
                    </a:lnTo>
                    <a:lnTo>
                      <a:pt x="2516" y="4990"/>
                    </a:lnTo>
                    <a:lnTo>
                      <a:pt x="2518" y="4990"/>
                    </a:lnTo>
                    <a:lnTo>
                      <a:pt x="2520" y="4988"/>
                    </a:lnTo>
                    <a:lnTo>
                      <a:pt x="2518" y="4984"/>
                    </a:lnTo>
                    <a:lnTo>
                      <a:pt x="2516" y="4978"/>
                    </a:lnTo>
                    <a:lnTo>
                      <a:pt x="2514" y="4976"/>
                    </a:lnTo>
                    <a:lnTo>
                      <a:pt x="2516" y="4974"/>
                    </a:lnTo>
                    <a:lnTo>
                      <a:pt x="2518" y="4970"/>
                    </a:lnTo>
                    <a:lnTo>
                      <a:pt x="2518" y="4966"/>
                    </a:lnTo>
                    <a:lnTo>
                      <a:pt x="2514" y="4964"/>
                    </a:lnTo>
                    <a:lnTo>
                      <a:pt x="2508" y="4960"/>
                    </a:lnTo>
                    <a:close/>
                    <a:moveTo>
                      <a:pt x="2428" y="4870"/>
                    </a:moveTo>
                    <a:lnTo>
                      <a:pt x="2428" y="4870"/>
                    </a:lnTo>
                    <a:lnTo>
                      <a:pt x="2432" y="4868"/>
                    </a:lnTo>
                    <a:lnTo>
                      <a:pt x="2434" y="4862"/>
                    </a:lnTo>
                    <a:lnTo>
                      <a:pt x="2434" y="4858"/>
                    </a:lnTo>
                    <a:lnTo>
                      <a:pt x="2432" y="4856"/>
                    </a:lnTo>
                    <a:lnTo>
                      <a:pt x="2430" y="4856"/>
                    </a:lnTo>
                    <a:lnTo>
                      <a:pt x="2426" y="4858"/>
                    </a:lnTo>
                    <a:lnTo>
                      <a:pt x="2424" y="4860"/>
                    </a:lnTo>
                    <a:lnTo>
                      <a:pt x="2420" y="4866"/>
                    </a:lnTo>
                    <a:lnTo>
                      <a:pt x="2420" y="4868"/>
                    </a:lnTo>
                    <a:lnTo>
                      <a:pt x="2420" y="4872"/>
                    </a:lnTo>
                    <a:lnTo>
                      <a:pt x="2424" y="4872"/>
                    </a:lnTo>
                    <a:lnTo>
                      <a:pt x="2428" y="4870"/>
                    </a:lnTo>
                    <a:close/>
                    <a:moveTo>
                      <a:pt x="2450" y="4852"/>
                    </a:moveTo>
                    <a:lnTo>
                      <a:pt x="2450" y="4852"/>
                    </a:lnTo>
                    <a:lnTo>
                      <a:pt x="2444" y="4848"/>
                    </a:lnTo>
                    <a:lnTo>
                      <a:pt x="2434" y="4840"/>
                    </a:lnTo>
                    <a:lnTo>
                      <a:pt x="2430" y="4836"/>
                    </a:lnTo>
                    <a:lnTo>
                      <a:pt x="2428" y="4838"/>
                    </a:lnTo>
                    <a:lnTo>
                      <a:pt x="2428" y="4846"/>
                    </a:lnTo>
                    <a:lnTo>
                      <a:pt x="2430" y="4848"/>
                    </a:lnTo>
                    <a:lnTo>
                      <a:pt x="2432" y="4850"/>
                    </a:lnTo>
                    <a:lnTo>
                      <a:pt x="2438" y="4854"/>
                    </a:lnTo>
                    <a:lnTo>
                      <a:pt x="2446" y="4854"/>
                    </a:lnTo>
                    <a:lnTo>
                      <a:pt x="2450" y="4852"/>
                    </a:lnTo>
                    <a:close/>
                    <a:moveTo>
                      <a:pt x="2378" y="4806"/>
                    </a:moveTo>
                    <a:lnTo>
                      <a:pt x="2378" y="4806"/>
                    </a:lnTo>
                    <a:lnTo>
                      <a:pt x="2376" y="4806"/>
                    </a:lnTo>
                    <a:lnTo>
                      <a:pt x="2376" y="4810"/>
                    </a:lnTo>
                    <a:lnTo>
                      <a:pt x="2376" y="4812"/>
                    </a:lnTo>
                    <a:lnTo>
                      <a:pt x="2378" y="4814"/>
                    </a:lnTo>
                    <a:lnTo>
                      <a:pt x="2382" y="4814"/>
                    </a:lnTo>
                    <a:lnTo>
                      <a:pt x="2382" y="4810"/>
                    </a:lnTo>
                    <a:lnTo>
                      <a:pt x="2380" y="4806"/>
                    </a:lnTo>
                    <a:lnTo>
                      <a:pt x="2378" y="4806"/>
                    </a:lnTo>
                    <a:close/>
                    <a:moveTo>
                      <a:pt x="2422" y="4774"/>
                    </a:moveTo>
                    <a:lnTo>
                      <a:pt x="2422" y="4774"/>
                    </a:lnTo>
                    <a:lnTo>
                      <a:pt x="2414" y="4778"/>
                    </a:lnTo>
                    <a:lnTo>
                      <a:pt x="2412" y="4782"/>
                    </a:lnTo>
                    <a:lnTo>
                      <a:pt x="2410" y="4784"/>
                    </a:lnTo>
                    <a:lnTo>
                      <a:pt x="2406" y="4788"/>
                    </a:lnTo>
                    <a:lnTo>
                      <a:pt x="2406" y="4790"/>
                    </a:lnTo>
                    <a:lnTo>
                      <a:pt x="2410" y="4792"/>
                    </a:lnTo>
                    <a:lnTo>
                      <a:pt x="2414" y="4790"/>
                    </a:lnTo>
                    <a:lnTo>
                      <a:pt x="2420" y="4796"/>
                    </a:lnTo>
                    <a:lnTo>
                      <a:pt x="2416" y="4796"/>
                    </a:lnTo>
                    <a:lnTo>
                      <a:pt x="2414" y="4796"/>
                    </a:lnTo>
                    <a:lnTo>
                      <a:pt x="2414" y="4798"/>
                    </a:lnTo>
                    <a:lnTo>
                      <a:pt x="2414" y="4800"/>
                    </a:lnTo>
                    <a:lnTo>
                      <a:pt x="2418" y="4804"/>
                    </a:lnTo>
                    <a:lnTo>
                      <a:pt x="2420" y="4804"/>
                    </a:lnTo>
                    <a:lnTo>
                      <a:pt x="2422" y="4802"/>
                    </a:lnTo>
                    <a:lnTo>
                      <a:pt x="2420" y="4798"/>
                    </a:lnTo>
                    <a:lnTo>
                      <a:pt x="2432" y="4808"/>
                    </a:lnTo>
                    <a:lnTo>
                      <a:pt x="2436" y="4808"/>
                    </a:lnTo>
                    <a:lnTo>
                      <a:pt x="2438" y="4804"/>
                    </a:lnTo>
                    <a:lnTo>
                      <a:pt x="2438" y="4798"/>
                    </a:lnTo>
                    <a:lnTo>
                      <a:pt x="2438" y="4790"/>
                    </a:lnTo>
                    <a:lnTo>
                      <a:pt x="2436" y="4782"/>
                    </a:lnTo>
                    <a:lnTo>
                      <a:pt x="2434" y="4776"/>
                    </a:lnTo>
                    <a:lnTo>
                      <a:pt x="2428" y="4774"/>
                    </a:lnTo>
                    <a:lnTo>
                      <a:pt x="2422" y="4774"/>
                    </a:lnTo>
                    <a:close/>
                    <a:moveTo>
                      <a:pt x="2384" y="4796"/>
                    </a:moveTo>
                    <a:lnTo>
                      <a:pt x="2384" y="4796"/>
                    </a:lnTo>
                    <a:lnTo>
                      <a:pt x="2384" y="4798"/>
                    </a:lnTo>
                    <a:lnTo>
                      <a:pt x="2384" y="4802"/>
                    </a:lnTo>
                    <a:lnTo>
                      <a:pt x="2386" y="4806"/>
                    </a:lnTo>
                    <a:lnTo>
                      <a:pt x="2390" y="4806"/>
                    </a:lnTo>
                    <a:lnTo>
                      <a:pt x="2392" y="4806"/>
                    </a:lnTo>
                    <a:lnTo>
                      <a:pt x="2390" y="4802"/>
                    </a:lnTo>
                    <a:lnTo>
                      <a:pt x="2388" y="4798"/>
                    </a:lnTo>
                    <a:lnTo>
                      <a:pt x="2384" y="4796"/>
                    </a:lnTo>
                    <a:close/>
                    <a:moveTo>
                      <a:pt x="2578" y="4662"/>
                    </a:moveTo>
                    <a:lnTo>
                      <a:pt x="2578" y="4662"/>
                    </a:lnTo>
                    <a:lnTo>
                      <a:pt x="2580" y="4662"/>
                    </a:lnTo>
                    <a:lnTo>
                      <a:pt x="2584" y="4660"/>
                    </a:lnTo>
                    <a:lnTo>
                      <a:pt x="2584" y="4650"/>
                    </a:lnTo>
                    <a:lnTo>
                      <a:pt x="2584" y="4640"/>
                    </a:lnTo>
                    <a:lnTo>
                      <a:pt x="2582" y="4634"/>
                    </a:lnTo>
                    <a:lnTo>
                      <a:pt x="2578" y="4634"/>
                    </a:lnTo>
                    <a:lnTo>
                      <a:pt x="2574" y="4640"/>
                    </a:lnTo>
                    <a:lnTo>
                      <a:pt x="2570" y="4646"/>
                    </a:lnTo>
                    <a:lnTo>
                      <a:pt x="2572" y="4650"/>
                    </a:lnTo>
                    <a:lnTo>
                      <a:pt x="2574" y="4652"/>
                    </a:lnTo>
                    <a:lnTo>
                      <a:pt x="2578" y="4656"/>
                    </a:lnTo>
                    <a:lnTo>
                      <a:pt x="2576" y="4658"/>
                    </a:lnTo>
                    <a:lnTo>
                      <a:pt x="2574" y="4660"/>
                    </a:lnTo>
                    <a:lnTo>
                      <a:pt x="2578" y="4662"/>
                    </a:lnTo>
                    <a:close/>
                    <a:moveTo>
                      <a:pt x="2136" y="4766"/>
                    </a:moveTo>
                    <a:lnTo>
                      <a:pt x="2136" y="4766"/>
                    </a:lnTo>
                    <a:lnTo>
                      <a:pt x="2134" y="4768"/>
                    </a:lnTo>
                    <a:lnTo>
                      <a:pt x="2134" y="4772"/>
                    </a:lnTo>
                    <a:lnTo>
                      <a:pt x="2138" y="4782"/>
                    </a:lnTo>
                    <a:lnTo>
                      <a:pt x="2154" y="4806"/>
                    </a:lnTo>
                    <a:lnTo>
                      <a:pt x="2158" y="4812"/>
                    </a:lnTo>
                    <a:lnTo>
                      <a:pt x="2162" y="4812"/>
                    </a:lnTo>
                    <a:lnTo>
                      <a:pt x="2164" y="4810"/>
                    </a:lnTo>
                    <a:lnTo>
                      <a:pt x="2166" y="4806"/>
                    </a:lnTo>
                    <a:lnTo>
                      <a:pt x="2166" y="4794"/>
                    </a:lnTo>
                    <a:lnTo>
                      <a:pt x="2164" y="4790"/>
                    </a:lnTo>
                    <a:lnTo>
                      <a:pt x="2160" y="4786"/>
                    </a:lnTo>
                    <a:lnTo>
                      <a:pt x="2154" y="4780"/>
                    </a:lnTo>
                    <a:lnTo>
                      <a:pt x="2150" y="4772"/>
                    </a:lnTo>
                    <a:lnTo>
                      <a:pt x="2144" y="4768"/>
                    </a:lnTo>
                    <a:lnTo>
                      <a:pt x="2140" y="4766"/>
                    </a:lnTo>
                    <a:lnTo>
                      <a:pt x="2136" y="4766"/>
                    </a:lnTo>
                    <a:close/>
                    <a:moveTo>
                      <a:pt x="2832" y="5258"/>
                    </a:moveTo>
                    <a:lnTo>
                      <a:pt x="2832" y="5258"/>
                    </a:lnTo>
                    <a:lnTo>
                      <a:pt x="2828" y="5254"/>
                    </a:lnTo>
                    <a:lnTo>
                      <a:pt x="2828" y="5248"/>
                    </a:lnTo>
                    <a:lnTo>
                      <a:pt x="2832" y="5234"/>
                    </a:lnTo>
                    <a:lnTo>
                      <a:pt x="2832" y="5226"/>
                    </a:lnTo>
                    <a:lnTo>
                      <a:pt x="2832" y="5220"/>
                    </a:lnTo>
                    <a:lnTo>
                      <a:pt x="2828" y="5214"/>
                    </a:lnTo>
                    <a:lnTo>
                      <a:pt x="2820" y="5212"/>
                    </a:lnTo>
                    <a:lnTo>
                      <a:pt x="2808" y="5212"/>
                    </a:lnTo>
                    <a:lnTo>
                      <a:pt x="2798" y="5214"/>
                    </a:lnTo>
                    <a:lnTo>
                      <a:pt x="2786" y="5216"/>
                    </a:lnTo>
                    <a:lnTo>
                      <a:pt x="2780" y="5216"/>
                    </a:lnTo>
                    <a:lnTo>
                      <a:pt x="2772" y="5212"/>
                    </a:lnTo>
                    <a:lnTo>
                      <a:pt x="2762" y="5208"/>
                    </a:lnTo>
                    <a:lnTo>
                      <a:pt x="2762" y="5206"/>
                    </a:lnTo>
                    <a:lnTo>
                      <a:pt x="2762" y="5204"/>
                    </a:lnTo>
                    <a:lnTo>
                      <a:pt x="2762" y="5196"/>
                    </a:lnTo>
                    <a:lnTo>
                      <a:pt x="2762" y="5190"/>
                    </a:lnTo>
                    <a:lnTo>
                      <a:pt x="2758" y="5184"/>
                    </a:lnTo>
                    <a:lnTo>
                      <a:pt x="2754" y="5178"/>
                    </a:lnTo>
                    <a:lnTo>
                      <a:pt x="2752" y="5174"/>
                    </a:lnTo>
                    <a:lnTo>
                      <a:pt x="2748" y="5174"/>
                    </a:lnTo>
                    <a:lnTo>
                      <a:pt x="2746" y="5176"/>
                    </a:lnTo>
                    <a:lnTo>
                      <a:pt x="2740" y="5178"/>
                    </a:lnTo>
                    <a:lnTo>
                      <a:pt x="2738" y="5178"/>
                    </a:lnTo>
                    <a:lnTo>
                      <a:pt x="2734" y="5174"/>
                    </a:lnTo>
                    <a:lnTo>
                      <a:pt x="2730" y="5168"/>
                    </a:lnTo>
                    <a:lnTo>
                      <a:pt x="2728" y="5170"/>
                    </a:lnTo>
                    <a:lnTo>
                      <a:pt x="2726" y="5170"/>
                    </a:lnTo>
                    <a:lnTo>
                      <a:pt x="2720" y="5166"/>
                    </a:lnTo>
                    <a:lnTo>
                      <a:pt x="2718" y="5164"/>
                    </a:lnTo>
                    <a:lnTo>
                      <a:pt x="2714" y="5162"/>
                    </a:lnTo>
                    <a:lnTo>
                      <a:pt x="2708" y="5164"/>
                    </a:lnTo>
                    <a:lnTo>
                      <a:pt x="2704" y="5166"/>
                    </a:lnTo>
                    <a:lnTo>
                      <a:pt x="2700" y="5166"/>
                    </a:lnTo>
                    <a:lnTo>
                      <a:pt x="2698" y="5162"/>
                    </a:lnTo>
                    <a:lnTo>
                      <a:pt x="2694" y="5154"/>
                    </a:lnTo>
                    <a:lnTo>
                      <a:pt x="2692" y="5150"/>
                    </a:lnTo>
                    <a:lnTo>
                      <a:pt x="2688" y="5148"/>
                    </a:lnTo>
                    <a:lnTo>
                      <a:pt x="2686" y="5150"/>
                    </a:lnTo>
                    <a:lnTo>
                      <a:pt x="2682" y="5152"/>
                    </a:lnTo>
                    <a:lnTo>
                      <a:pt x="2680" y="5156"/>
                    </a:lnTo>
                    <a:lnTo>
                      <a:pt x="2676" y="5166"/>
                    </a:lnTo>
                    <a:lnTo>
                      <a:pt x="2670" y="5178"/>
                    </a:lnTo>
                    <a:lnTo>
                      <a:pt x="2668" y="5180"/>
                    </a:lnTo>
                    <a:lnTo>
                      <a:pt x="2666" y="5180"/>
                    </a:lnTo>
                    <a:lnTo>
                      <a:pt x="2660" y="5176"/>
                    </a:lnTo>
                    <a:lnTo>
                      <a:pt x="2654" y="5174"/>
                    </a:lnTo>
                    <a:lnTo>
                      <a:pt x="2646" y="5172"/>
                    </a:lnTo>
                    <a:lnTo>
                      <a:pt x="2634" y="5174"/>
                    </a:lnTo>
                    <a:lnTo>
                      <a:pt x="2630" y="5174"/>
                    </a:lnTo>
                    <a:lnTo>
                      <a:pt x="2626" y="5176"/>
                    </a:lnTo>
                    <a:lnTo>
                      <a:pt x="2620" y="5174"/>
                    </a:lnTo>
                    <a:lnTo>
                      <a:pt x="2612" y="5172"/>
                    </a:lnTo>
                    <a:lnTo>
                      <a:pt x="2604" y="5172"/>
                    </a:lnTo>
                    <a:lnTo>
                      <a:pt x="2600" y="5170"/>
                    </a:lnTo>
                    <a:lnTo>
                      <a:pt x="2596" y="5168"/>
                    </a:lnTo>
                    <a:lnTo>
                      <a:pt x="2594" y="5162"/>
                    </a:lnTo>
                    <a:lnTo>
                      <a:pt x="2590" y="5154"/>
                    </a:lnTo>
                    <a:lnTo>
                      <a:pt x="2588" y="5148"/>
                    </a:lnTo>
                    <a:lnTo>
                      <a:pt x="2586" y="5144"/>
                    </a:lnTo>
                    <a:lnTo>
                      <a:pt x="2584" y="5144"/>
                    </a:lnTo>
                    <a:lnTo>
                      <a:pt x="2582" y="5144"/>
                    </a:lnTo>
                    <a:lnTo>
                      <a:pt x="2576" y="5146"/>
                    </a:lnTo>
                    <a:lnTo>
                      <a:pt x="2574" y="5146"/>
                    </a:lnTo>
                    <a:lnTo>
                      <a:pt x="2570" y="5142"/>
                    </a:lnTo>
                    <a:lnTo>
                      <a:pt x="2566" y="5140"/>
                    </a:lnTo>
                    <a:lnTo>
                      <a:pt x="2564" y="5140"/>
                    </a:lnTo>
                    <a:lnTo>
                      <a:pt x="2558" y="5140"/>
                    </a:lnTo>
                    <a:lnTo>
                      <a:pt x="2554" y="5142"/>
                    </a:lnTo>
                    <a:lnTo>
                      <a:pt x="2552" y="5140"/>
                    </a:lnTo>
                    <a:lnTo>
                      <a:pt x="2550" y="5138"/>
                    </a:lnTo>
                    <a:lnTo>
                      <a:pt x="2544" y="5132"/>
                    </a:lnTo>
                    <a:lnTo>
                      <a:pt x="2538" y="5128"/>
                    </a:lnTo>
                    <a:lnTo>
                      <a:pt x="2532" y="5128"/>
                    </a:lnTo>
                    <a:lnTo>
                      <a:pt x="2530" y="5130"/>
                    </a:lnTo>
                    <a:lnTo>
                      <a:pt x="2530" y="5132"/>
                    </a:lnTo>
                    <a:lnTo>
                      <a:pt x="2528" y="5136"/>
                    </a:lnTo>
                    <a:lnTo>
                      <a:pt x="2526" y="5136"/>
                    </a:lnTo>
                    <a:lnTo>
                      <a:pt x="2520" y="5136"/>
                    </a:lnTo>
                    <a:lnTo>
                      <a:pt x="2512" y="5132"/>
                    </a:lnTo>
                    <a:lnTo>
                      <a:pt x="2498" y="5130"/>
                    </a:lnTo>
                    <a:lnTo>
                      <a:pt x="2492" y="5130"/>
                    </a:lnTo>
                    <a:lnTo>
                      <a:pt x="2488" y="5132"/>
                    </a:lnTo>
                    <a:lnTo>
                      <a:pt x="2486" y="5136"/>
                    </a:lnTo>
                    <a:lnTo>
                      <a:pt x="2484" y="5140"/>
                    </a:lnTo>
                    <a:lnTo>
                      <a:pt x="2482" y="5150"/>
                    </a:lnTo>
                    <a:lnTo>
                      <a:pt x="2480" y="5152"/>
                    </a:lnTo>
                    <a:lnTo>
                      <a:pt x="2478" y="5154"/>
                    </a:lnTo>
                    <a:lnTo>
                      <a:pt x="2474" y="5156"/>
                    </a:lnTo>
                    <a:lnTo>
                      <a:pt x="2472" y="5160"/>
                    </a:lnTo>
                    <a:lnTo>
                      <a:pt x="2472" y="5164"/>
                    </a:lnTo>
                    <a:lnTo>
                      <a:pt x="2464" y="5164"/>
                    </a:lnTo>
                    <a:lnTo>
                      <a:pt x="2460" y="5166"/>
                    </a:lnTo>
                    <a:lnTo>
                      <a:pt x="2458" y="5168"/>
                    </a:lnTo>
                    <a:lnTo>
                      <a:pt x="2460" y="5172"/>
                    </a:lnTo>
                    <a:lnTo>
                      <a:pt x="2464" y="5174"/>
                    </a:lnTo>
                    <a:lnTo>
                      <a:pt x="2474" y="5174"/>
                    </a:lnTo>
                    <a:lnTo>
                      <a:pt x="2482" y="5174"/>
                    </a:lnTo>
                    <a:lnTo>
                      <a:pt x="2490" y="5174"/>
                    </a:lnTo>
                    <a:lnTo>
                      <a:pt x="2494" y="5174"/>
                    </a:lnTo>
                    <a:lnTo>
                      <a:pt x="2496" y="5178"/>
                    </a:lnTo>
                    <a:lnTo>
                      <a:pt x="2500" y="5180"/>
                    </a:lnTo>
                    <a:lnTo>
                      <a:pt x="2504" y="5180"/>
                    </a:lnTo>
                    <a:lnTo>
                      <a:pt x="2510" y="5180"/>
                    </a:lnTo>
                    <a:lnTo>
                      <a:pt x="2512" y="5180"/>
                    </a:lnTo>
                    <a:lnTo>
                      <a:pt x="2508" y="5188"/>
                    </a:lnTo>
                    <a:lnTo>
                      <a:pt x="2506" y="5194"/>
                    </a:lnTo>
                    <a:lnTo>
                      <a:pt x="2508" y="5198"/>
                    </a:lnTo>
                    <a:lnTo>
                      <a:pt x="2510" y="5200"/>
                    </a:lnTo>
                    <a:lnTo>
                      <a:pt x="2516" y="5200"/>
                    </a:lnTo>
                    <a:lnTo>
                      <a:pt x="2536" y="5204"/>
                    </a:lnTo>
                    <a:lnTo>
                      <a:pt x="2550" y="5210"/>
                    </a:lnTo>
                    <a:lnTo>
                      <a:pt x="2570" y="5218"/>
                    </a:lnTo>
                    <a:lnTo>
                      <a:pt x="2576" y="5220"/>
                    </a:lnTo>
                    <a:lnTo>
                      <a:pt x="2584" y="5220"/>
                    </a:lnTo>
                    <a:lnTo>
                      <a:pt x="2588" y="5220"/>
                    </a:lnTo>
                    <a:lnTo>
                      <a:pt x="2594" y="5218"/>
                    </a:lnTo>
                    <a:lnTo>
                      <a:pt x="2602" y="5214"/>
                    </a:lnTo>
                    <a:lnTo>
                      <a:pt x="2606" y="5214"/>
                    </a:lnTo>
                    <a:lnTo>
                      <a:pt x="2608" y="5214"/>
                    </a:lnTo>
                    <a:lnTo>
                      <a:pt x="2614" y="5218"/>
                    </a:lnTo>
                    <a:lnTo>
                      <a:pt x="2620" y="5216"/>
                    </a:lnTo>
                    <a:lnTo>
                      <a:pt x="2628" y="5216"/>
                    </a:lnTo>
                    <a:lnTo>
                      <a:pt x="2642" y="5218"/>
                    </a:lnTo>
                    <a:lnTo>
                      <a:pt x="2648" y="5220"/>
                    </a:lnTo>
                    <a:lnTo>
                      <a:pt x="2654" y="5224"/>
                    </a:lnTo>
                    <a:lnTo>
                      <a:pt x="2662" y="5230"/>
                    </a:lnTo>
                    <a:lnTo>
                      <a:pt x="2668" y="5234"/>
                    </a:lnTo>
                    <a:lnTo>
                      <a:pt x="2676" y="5238"/>
                    </a:lnTo>
                    <a:lnTo>
                      <a:pt x="2690" y="5242"/>
                    </a:lnTo>
                    <a:lnTo>
                      <a:pt x="2706" y="5246"/>
                    </a:lnTo>
                    <a:lnTo>
                      <a:pt x="2722" y="5248"/>
                    </a:lnTo>
                    <a:lnTo>
                      <a:pt x="2726" y="5246"/>
                    </a:lnTo>
                    <a:lnTo>
                      <a:pt x="2728" y="5244"/>
                    </a:lnTo>
                    <a:lnTo>
                      <a:pt x="2732" y="5244"/>
                    </a:lnTo>
                    <a:lnTo>
                      <a:pt x="2752" y="5248"/>
                    </a:lnTo>
                    <a:lnTo>
                      <a:pt x="2764" y="5250"/>
                    </a:lnTo>
                    <a:lnTo>
                      <a:pt x="2770" y="5248"/>
                    </a:lnTo>
                    <a:lnTo>
                      <a:pt x="2772" y="5246"/>
                    </a:lnTo>
                    <a:lnTo>
                      <a:pt x="2774" y="5244"/>
                    </a:lnTo>
                    <a:lnTo>
                      <a:pt x="2774" y="5242"/>
                    </a:lnTo>
                    <a:lnTo>
                      <a:pt x="2776" y="5242"/>
                    </a:lnTo>
                    <a:lnTo>
                      <a:pt x="2794" y="5250"/>
                    </a:lnTo>
                    <a:lnTo>
                      <a:pt x="2806" y="5256"/>
                    </a:lnTo>
                    <a:lnTo>
                      <a:pt x="2814" y="5258"/>
                    </a:lnTo>
                    <a:lnTo>
                      <a:pt x="2820" y="5260"/>
                    </a:lnTo>
                    <a:lnTo>
                      <a:pt x="2828" y="5264"/>
                    </a:lnTo>
                    <a:lnTo>
                      <a:pt x="2834" y="5268"/>
                    </a:lnTo>
                    <a:lnTo>
                      <a:pt x="2836" y="5268"/>
                    </a:lnTo>
                    <a:lnTo>
                      <a:pt x="2836" y="5266"/>
                    </a:lnTo>
                    <a:lnTo>
                      <a:pt x="2836" y="5262"/>
                    </a:lnTo>
                    <a:lnTo>
                      <a:pt x="2832" y="5258"/>
                    </a:lnTo>
                    <a:close/>
                    <a:moveTo>
                      <a:pt x="2398" y="4778"/>
                    </a:moveTo>
                    <a:lnTo>
                      <a:pt x="2398" y="4778"/>
                    </a:lnTo>
                    <a:lnTo>
                      <a:pt x="2400" y="4780"/>
                    </a:lnTo>
                    <a:lnTo>
                      <a:pt x="2402" y="4780"/>
                    </a:lnTo>
                    <a:lnTo>
                      <a:pt x="2406" y="4780"/>
                    </a:lnTo>
                    <a:lnTo>
                      <a:pt x="2410" y="4776"/>
                    </a:lnTo>
                    <a:lnTo>
                      <a:pt x="2410" y="4774"/>
                    </a:lnTo>
                    <a:lnTo>
                      <a:pt x="2408" y="4772"/>
                    </a:lnTo>
                    <a:lnTo>
                      <a:pt x="2402" y="4772"/>
                    </a:lnTo>
                    <a:lnTo>
                      <a:pt x="2398" y="4774"/>
                    </a:lnTo>
                    <a:lnTo>
                      <a:pt x="2398" y="4776"/>
                    </a:lnTo>
                    <a:lnTo>
                      <a:pt x="2398" y="4778"/>
                    </a:lnTo>
                    <a:close/>
                    <a:moveTo>
                      <a:pt x="2330" y="4760"/>
                    </a:moveTo>
                    <a:lnTo>
                      <a:pt x="2330" y="4760"/>
                    </a:lnTo>
                    <a:lnTo>
                      <a:pt x="2330" y="4762"/>
                    </a:lnTo>
                    <a:lnTo>
                      <a:pt x="2332" y="4764"/>
                    </a:lnTo>
                    <a:lnTo>
                      <a:pt x="2340" y="4770"/>
                    </a:lnTo>
                    <a:lnTo>
                      <a:pt x="2348" y="4774"/>
                    </a:lnTo>
                    <a:lnTo>
                      <a:pt x="2350" y="4774"/>
                    </a:lnTo>
                    <a:lnTo>
                      <a:pt x="2350" y="4770"/>
                    </a:lnTo>
                    <a:lnTo>
                      <a:pt x="2350" y="4768"/>
                    </a:lnTo>
                    <a:lnTo>
                      <a:pt x="2346" y="4764"/>
                    </a:lnTo>
                    <a:lnTo>
                      <a:pt x="2340" y="4760"/>
                    </a:lnTo>
                    <a:lnTo>
                      <a:pt x="2334" y="4758"/>
                    </a:lnTo>
                    <a:lnTo>
                      <a:pt x="2332" y="4758"/>
                    </a:lnTo>
                    <a:lnTo>
                      <a:pt x="2330" y="4760"/>
                    </a:lnTo>
                    <a:close/>
                    <a:moveTo>
                      <a:pt x="2230" y="4942"/>
                    </a:moveTo>
                    <a:lnTo>
                      <a:pt x="2230" y="4942"/>
                    </a:lnTo>
                    <a:lnTo>
                      <a:pt x="2230" y="4944"/>
                    </a:lnTo>
                    <a:lnTo>
                      <a:pt x="2230" y="4946"/>
                    </a:lnTo>
                    <a:lnTo>
                      <a:pt x="2234" y="4952"/>
                    </a:lnTo>
                    <a:lnTo>
                      <a:pt x="2238" y="4956"/>
                    </a:lnTo>
                    <a:lnTo>
                      <a:pt x="2242" y="4956"/>
                    </a:lnTo>
                    <a:lnTo>
                      <a:pt x="2244" y="4954"/>
                    </a:lnTo>
                    <a:lnTo>
                      <a:pt x="2244" y="4952"/>
                    </a:lnTo>
                    <a:lnTo>
                      <a:pt x="2244" y="4950"/>
                    </a:lnTo>
                    <a:lnTo>
                      <a:pt x="2240" y="4944"/>
                    </a:lnTo>
                    <a:lnTo>
                      <a:pt x="2236" y="4940"/>
                    </a:lnTo>
                    <a:lnTo>
                      <a:pt x="2232" y="4940"/>
                    </a:lnTo>
                    <a:lnTo>
                      <a:pt x="2230" y="4942"/>
                    </a:lnTo>
                    <a:close/>
                    <a:moveTo>
                      <a:pt x="2194" y="4886"/>
                    </a:moveTo>
                    <a:lnTo>
                      <a:pt x="2194" y="4886"/>
                    </a:lnTo>
                    <a:lnTo>
                      <a:pt x="2192" y="4890"/>
                    </a:lnTo>
                    <a:lnTo>
                      <a:pt x="2192" y="4896"/>
                    </a:lnTo>
                    <a:lnTo>
                      <a:pt x="2194" y="4904"/>
                    </a:lnTo>
                    <a:lnTo>
                      <a:pt x="2198" y="4910"/>
                    </a:lnTo>
                    <a:lnTo>
                      <a:pt x="2208" y="4920"/>
                    </a:lnTo>
                    <a:lnTo>
                      <a:pt x="2214" y="4924"/>
                    </a:lnTo>
                    <a:lnTo>
                      <a:pt x="2218" y="4924"/>
                    </a:lnTo>
                    <a:lnTo>
                      <a:pt x="2220" y="4920"/>
                    </a:lnTo>
                    <a:lnTo>
                      <a:pt x="2220" y="4914"/>
                    </a:lnTo>
                    <a:lnTo>
                      <a:pt x="2214" y="4900"/>
                    </a:lnTo>
                    <a:lnTo>
                      <a:pt x="2210" y="4894"/>
                    </a:lnTo>
                    <a:lnTo>
                      <a:pt x="2204" y="4888"/>
                    </a:lnTo>
                    <a:lnTo>
                      <a:pt x="2200" y="4886"/>
                    </a:lnTo>
                    <a:lnTo>
                      <a:pt x="2194" y="4886"/>
                    </a:lnTo>
                    <a:close/>
                    <a:moveTo>
                      <a:pt x="2182" y="4866"/>
                    </a:moveTo>
                    <a:lnTo>
                      <a:pt x="2182" y="4866"/>
                    </a:lnTo>
                    <a:lnTo>
                      <a:pt x="2184" y="4868"/>
                    </a:lnTo>
                    <a:lnTo>
                      <a:pt x="2186" y="4866"/>
                    </a:lnTo>
                    <a:lnTo>
                      <a:pt x="2188" y="4862"/>
                    </a:lnTo>
                    <a:lnTo>
                      <a:pt x="2188" y="4856"/>
                    </a:lnTo>
                    <a:lnTo>
                      <a:pt x="2186" y="4850"/>
                    </a:lnTo>
                    <a:lnTo>
                      <a:pt x="2184" y="4850"/>
                    </a:lnTo>
                    <a:lnTo>
                      <a:pt x="2182" y="4850"/>
                    </a:lnTo>
                    <a:lnTo>
                      <a:pt x="2180" y="4854"/>
                    </a:lnTo>
                    <a:lnTo>
                      <a:pt x="2180" y="4860"/>
                    </a:lnTo>
                    <a:lnTo>
                      <a:pt x="2180" y="4864"/>
                    </a:lnTo>
                    <a:lnTo>
                      <a:pt x="2182" y="4866"/>
                    </a:lnTo>
                    <a:close/>
                    <a:moveTo>
                      <a:pt x="2248" y="4964"/>
                    </a:moveTo>
                    <a:lnTo>
                      <a:pt x="2248" y="4964"/>
                    </a:lnTo>
                    <a:lnTo>
                      <a:pt x="2246" y="4968"/>
                    </a:lnTo>
                    <a:lnTo>
                      <a:pt x="2246" y="4974"/>
                    </a:lnTo>
                    <a:lnTo>
                      <a:pt x="2248" y="4976"/>
                    </a:lnTo>
                    <a:lnTo>
                      <a:pt x="2252" y="4978"/>
                    </a:lnTo>
                    <a:lnTo>
                      <a:pt x="2254" y="4978"/>
                    </a:lnTo>
                    <a:lnTo>
                      <a:pt x="2256" y="4980"/>
                    </a:lnTo>
                    <a:lnTo>
                      <a:pt x="2260" y="4990"/>
                    </a:lnTo>
                    <a:lnTo>
                      <a:pt x="2262" y="4996"/>
                    </a:lnTo>
                    <a:lnTo>
                      <a:pt x="2264" y="4996"/>
                    </a:lnTo>
                    <a:lnTo>
                      <a:pt x="2266" y="4994"/>
                    </a:lnTo>
                    <a:lnTo>
                      <a:pt x="2266" y="4990"/>
                    </a:lnTo>
                    <a:lnTo>
                      <a:pt x="2266" y="4984"/>
                    </a:lnTo>
                    <a:lnTo>
                      <a:pt x="2260" y="4974"/>
                    </a:lnTo>
                    <a:lnTo>
                      <a:pt x="2254" y="4964"/>
                    </a:lnTo>
                    <a:lnTo>
                      <a:pt x="2250" y="4964"/>
                    </a:lnTo>
                    <a:lnTo>
                      <a:pt x="2248" y="4964"/>
                    </a:lnTo>
                    <a:close/>
                    <a:moveTo>
                      <a:pt x="2354" y="4788"/>
                    </a:moveTo>
                    <a:lnTo>
                      <a:pt x="2354" y="4788"/>
                    </a:lnTo>
                    <a:lnTo>
                      <a:pt x="2352" y="4784"/>
                    </a:lnTo>
                    <a:lnTo>
                      <a:pt x="2350" y="4792"/>
                    </a:lnTo>
                    <a:lnTo>
                      <a:pt x="2348" y="4796"/>
                    </a:lnTo>
                    <a:lnTo>
                      <a:pt x="2348" y="4800"/>
                    </a:lnTo>
                    <a:lnTo>
                      <a:pt x="2352" y="4800"/>
                    </a:lnTo>
                    <a:lnTo>
                      <a:pt x="2358" y="4802"/>
                    </a:lnTo>
                    <a:lnTo>
                      <a:pt x="2364" y="4802"/>
                    </a:lnTo>
                    <a:lnTo>
                      <a:pt x="2370" y="4804"/>
                    </a:lnTo>
                    <a:lnTo>
                      <a:pt x="2372" y="4804"/>
                    </a:lnTo>
                    <a:lnTo>
                      <a:pt x="2372" y="4800"/>
                    </a:lnTo>
                    <a:lnTo>
                      <a:pt x="2372" y="4798"/>
                    </a:lnTo>
                    <a:lnTo>
                      <a:pt x="2370" y="4796"/>
                    </a:lnTo>
                    <a:lnTo>
                      <a:pt x="2364" y="4794"/>
                    </a:lnTo>
                    <a:lnTo>
                      <a:pt x="2358" y="4792"/>
                    </a:lnTo>
                    <a:lnTo>
                      <a:pt x="2354" y="4788"/>
                    </a:lnTo>
                    <a:close/>
                    <a:moveTo>
                      <a:pt x="2484" y="5128"/>
                    </a:moveTo>
                    <a:lnTo>
                      <a:pt x="2484" y="5128"/>
                    </a:lnTo>
                    <a:lnTo>
                      <a:pt x="2486" y="5124"/>
                    </a:lnTo>
                    <a:lnTo>
                      <a:pt x="2486" y="5120"/>
                    </a:lnTo>
                    <a:lnTo>
                      <a:pt x="2488" y="5108"/>
                    </a:lnTo>
                    <a:lnTo>
                      <a:pt x="2486" y="5092"/>
                    </a:lnTo>
                    <a:lnTo>
                      <a:pt x="2488" y="5076"/>
                    </a:lnTo>
                    <a:lnTo>
                      <a:pt x="2488" y="5062"/>
                    </a:lnTo>
                    <a:lnTo>
                      <a:pt x="2486" y="5056"/>
                    </a:lnTo>
                    <a:lnTo>
                      <a:pt x="2484" y="5050"/>
                    </a:lnTo>
                    <a:lnTo>
                      <a:pt x="2486" y="5038"/>
                    </a:lnTo>
                    <a:lnTo>
                      <a:pt x="2488" y="5028"/>
                    </a:lnTo>
                    <a:lnTo>
                      <a:pt x="2488" y="5020"/>
                    </a:lnTo>
                    <a:lnTo>
                      <a:pt x="2486" y="5014"/>
                    </a:lnTo>
                    <a:lnTo>
                      <a:pt x="2492" y="5004"/>
                    </a:lnTo>
                    <a:lnTo>
                      <a:pt x="2494" y="4998"/>
                    </a:lnTo>
                    <a:lnTo>
                      <a:pt x="2496" y="4994"/>
                    </a:lnTo>
                    <a:lnTo>
                      <a:pt x="2494" y="4990"/>
                    </a:lnTo>
                    <a:lnTo>
                      <a:pt x="2492" y="4988"/>
                    </a:lnTo>
                    <a:lnTo>
                      <a:pt x="2486" y="4982"/>
                    </a:lnTo>
                    <a:lnTo>
                      <a:pt x="2482" y="4978"/>
                    </a:lnTo>
                    <a:lnTo>
                      <a:pt x="2480" y="4972"/>
                    </a:lnTo>
                    <a:lnTo>
                      <a:pt x="2476" y="4962"/>
                    </a:lnTo>
                    <a:lnTo>
                      <a:pt x="2472" y="4956"/>
                    </a:lnTo>
                    <a:lnTo>
                      <a:pt x="2468" y="4954"/>
                    </a:lnTo>
                    <a:lnTo>
                      <a:pt x="2460" y="4956"/>
                    </a:lnTo>
                    <a:lnTo>
                      <a:pt x="2456" y="4958"/>
                    </a:lnTo>
                    <a:lnTo>
                      <a:pt x="2452" y="4956"/>
                    </a:lnTo>
                    <a:lnTo>
                      <a:pt x="2450" y="4956"/>
                    </a:lnTo>
                    <a:lnTo>
                      <a:pt x="2446" y="4958"/>
                    </a:lnTo>
                    <a:lnTo>
                      <a:pt x="2440" y="4962"/>
                    </a:lnTo>
                    <a:lnTo>
                      <a:pt x="2442" y="4956"/>
                    </a:lnTo>
                    <a:lnTo>
                      <a:pt x="2446" y="4946"/>
                    </a:lnTo>
                    <a:lnTo>
                      <a:pt x="2446" y="4942"/>
                    </a:lnTo>
                    <a:lnTo>
                      <a:pt x="2442" y="4940"/>
                    </a:lnTo>
                    <a:lnTo>
                      <a:pt x="2438" y="4938"/>
                    </a:lnTo>
                    <a:lnTo>
                      <a:pt x="2436" y="4932"/>
                    </a:lnTo>
                    <a:lnTo>
                      <a:pt x="2430" y="4914"/>
                    </a:lnTo>
                    <a:lnTo>
                      <a:pt x="2428" y="4904"/>
                    </a:lnTo>
                    <a:lnTo>
                      <a:pt x="2426" y="4898"/>
                    </a:lnTo>
                    <a:lnTo>
                      <a:pt x="2422" y="4892"/>
                    </a:lnTo>
                    <a:lnTo>
                      <a:pt x="2420" y="4890"/>
                    </a:lnTo>
                    <a:lnTo>
                      <a:pt x="2416" y="4890"/>
                    </a:lnTo>
                    <a:lnTo>
                      <a:pt x="2410" y="4890"/>
                    </a:lnTo>
                    <a:lnTo>
                      <a:pt x="2404" y="4890"/>
                    </a:lnTo>
                    <a:lnTo>
                      <a:pt x="2394" y="4884"/>
                    </a:lnTo>
                    <a:lnTo>
                      <a:pt x="2390" y="4880"/>
                    </a:lnTo>
                    <a:lnTo>
                      <a:pt x="2388" y="4876"/>
                    </a:lnTo>
                    <a:lnTo>
                      <a:pt x="2388" y="4872"/>
                    </a:lnTo>
                    <a:lnTo>
                      <a:pt x="2388" y="4868"/>
                    </a:lnTo>
                    <a:lnTo>
                      <a:pt x="2390" y="4862"/>
                    </a:lnTo>
                    <a:lnTo>
                      <a:pt x="2392" y="4858"/>
                    </a:lnTo>
                    <a:lnTo>
                      <a:pt x="2390" y="4852"/>
                    </a:lnTo>
                    <a:lnTo>
                      <a:pt x="2390" y="4848"/>
                    </a:lnTo>
                    <a:lnTo>
                      <a:pt x="2392" y="4846"/>
                    </a:lnTo>
                    <a:lnTo>
                      <a:pt x="2396" y="4844"/>
                    </a:lnTo>
                    <a:lnTo>
                      <a:pt x="2400" y="4842"/>
                    </a:lnTo>
                    <a:lnTo>
                      <a:pt x="2402" y="4836"/>
                    </a:lnTo>
                    <a:lnTo>
                      <a:pt x="2402" y="4832"/>
                    </a:lnTo>
                    <a:lnTo>
                      <a:pt x="2400" y="4826"/>
                    </a:lnTo>
                    <a:lnTo>
                      <a:pt x="2396" y="4822"/>
                    </a:lnTo>
                    <a:lnTo>
                      <a:pt x="2392" y="4818"/>
                    </a:lnTo>
                    <a:lnTo>
                      <a:pt x="2386" y="4816"/>
                    </a:lnTo>
                    <a:lnTo>
                      <a:pt x="2380" y="4818"/>
                    </a:lnTo>
                    <a:lnTo>
                      <a:pt x="2376" y="4820"/>
                    </a:lnTo>
                    <a:lnTo>
                      <a:pt x="2374" y="4820"/>
                    </a:lnTo>
                    <a:lnTo>
                      <a:pt x="2372" y="4814"/>
                    </a:lnTo>
                    <a:lnTo>
                      <a:pt x="2372" y="4812"/>
                    </a:lnTo>
                    <a:lnTo>
                      <a:pt x="2368" y="4808"/>
                    </a:lnTo>
                    <a:lnTo>
                      <a:pt x="2364" y="4806"/>
                    </a:lnTo>
                    <a:lnTo>
                      <a:pt x="2356" y="4804"/>
                    </a:lnTo>
                    <a:lnTo>
                      <a:pt x="2348" y="4802"/>
                    </a:lnTo>
                    <a:lnTo>
                      <a:pt x="2342" y="4796"/>
                    </a:lnTo>
                    <a:lnTo>
                      <a:pt x="2340" y="4790"/>
                    </a:lnTo>
                    <a:lnTo>
                      <a:pt x="2338" y="4784"/>
                    </a:lnTo>
                    <a:lnTo>
                      <a:pt x="2336" y="4776"/>
                    </a:lnTo>
                    <a:lnTo>
                      <a:pt x="2332" y="4768"/>
                    </a:lnTo>
                    <a:lnTo>
                      <a:pt x="2324" y="4762"/>
                    </a:lnTo>
                    <a:lnTo>
                      <a:pt x="2314" y="4758"/>
                    </a:lnTo>
                    <a:lnTo>
                      <a:pt x="2308" y="4756"/>
                    </a:lnTo>
                    <a:lnTo>
                      <a:pt x="2304" y="4754"/>
                    </a:lnTo>
                    <a:lnTo>
                      <a:pt x="2302" y="4748"/>
                    </a:lnTo>
                    <a:lnTo>
                      <a:pt x="2300" y="4740"/>
                    </a:lnTo>
                    <a:lnTo>
                      <a:pt x="2298" y="4738"/>
                    </a:lnTo>
                    <a:lnTo>
                      <a:pt x="2296" y="4734"/>
                    </a:lnTo>
                    <a:lnTo>
                      <a:pt x="2288" y="4728"/>
                    </a:lnTo>
                    <a:lnTo>
                      <a:pt x="2284" y="4728"/>
                    </a:lnTo>
                    <a:lnTo>
                      <a:pt x="2282" y="4730"/>
                    </a:lnTo>
                    <a:lnTo>
                      <a:pt x="2282" y="4732"/>
                    </a:lnTo>
                    <a:lnTo>
                      <a:pt x="2282" y="4740"/>
                    </a:lnTo>
                    <a:lnTo>
                      <a:pt x="2282" y="4742"/>
                    </a:lnTo>
                    <a:lnTo>
                      <a:pt x="2280" y="4740"/>
                    </a:lnTo>
                    <a:lnTo>
                      <a:pt x="2274" y="4736"/>
                    </a:lnTo>
                    <a:lnTo>
                      <a:pt x="2270" y="4732"/>
                    </a:lnTo>
                    <a:lnTo>
                      <a:pt x="2266" y="4728"/>
                    </a:lnTo>
                    <a:lnTo>
                      <a:pt x="2262" y="4718"/>
                    </a:lnTo>
                    <a:lnTo>
                      <a:pt x="2258" y="4710"/>
                    </a:lnTo>
                    <a:lnTo>
                      <a:pt x="2254" y="4708"/>
                    </a:lnTo>
                    <a:lnTo>
                      <a:pt x="2252" y="4708"/>
                    </a:lnTo>
                    <a:lnTo>
                      <a:pt x="2248" y="4702"/>
                    </a:lnTo>
                    <a:lnTo>
                      <a:pt x="2242" y="4692"/>
                    </a:lnTo>
                    <a:lnTo>
                      <a:pt x="2234" y="4680"/>
                    </a:lnTo>
                    <a:lnTo>
                      <a:pt x="2222" y="4670"/>
                    </a:lnTo>
                    <a:lnTo>
                      <a:pt x="2214" y="4666"/>
                    </a:lnTo>
                    <a:lnTo>
                      <a:pt x="2208" y="4664"/>
                    </a:lnTo>
                    <a:lnTo>
                      <a:pt x="2204" y="4662"/>
                    </a:lnTo>
                    <a:lnTo>
                      <a:pt x="2200" y="4658"/>
                    </a:lnTo>
                    <a:lnTo>
                      <a:pt x="2196" y="4652"/>
                    </a:lnTo>
                    <a:lnTo>
                      <a:pt x="2192" y="4646"/>
                    </a:lnTo>
                    <a:lnTo>
                      <a:pt x="2190" y="4644"/>
                    </a:lnTo>
                    <a:lnTo>
                      <a:pt x="2186" y="4642"/>
                    </a:lnTo>
                    <a:lnTo>
                      <a:pt x="2182" y="4640"/>
                    </a:lnTo>
                    <a:lnTo>
                      <a:pt x="2180" y="4638"/>
                    </a:lnTo>
                    <a:lnTo>
                      <a:pt x="2180" y="4632"/>
                    </a:lnTo>
                    <a:lnTo>
                      <a:pt x="2178" y="4626"/>
                    </a:lnTo>
                    <a:lnTo>
                      <a:pt x="2176" y="4624"/>
                    </a:lnTo>
                    <a:lnTo>
                      <a:pt x="2174" y="4622"/>
                    </a:lnTo>
                    <a:lnTo>
                      <a:pt x="2170" y="4620"/>
                    </a:lnTo>
                    <a:lnTo>
                      <a:pt x="2168" y="4618"/>
                    </a:lnTo>
                    <a:lnTo>
                      <a:pt x="2166" y="4612"/>
                    </a:lnTo>
                    <a:lnTo>
                      <a:pt x="2166" y="4604"/>
                    </a:lnTo>
                    <a:lnTo>
                      <a:pt x="2162" y="4598"/>
                    </a:lnTo>
                    <a:lnTo>
                      <a:pt x="2158" y="4592"/>
                    </a:lnTo>
                    <a:lnTo>
                      <a:pt x="2150" y="4582"/>
                    </a:lnTo>
                    <a:lnTo>
                      <a:pt x="2146" y="4582"/>
                    </a:lnTo>
                    <a:lnTo>
                      <a:pt x="2146" y="4584"/>
                    </a:lnTo>
                    <a:lnTo>
                      <a:pt x="2142" y="4586"/>
                    </a:lnTo>
                    <a:lnTo>
                      <a:pt x="2138" y="4586"/>
                    </a:lnTo>
                    <a:lnTo>
                      <a:pt x="2134" y="4584"/>
                    </a:lnTo>
                    <a:lnTo>
                      <a:pt x="2130" y="4582"/>
                    </a:lnTo>
                    <a:lnTo>
                      <a:pt x="2128" y="4580"/>
                    </a:lnTo>
                    <a:lnTo>
                      <a:pt x="2122" y="4582"/>
                    </a:lnTo>
                    <a:lnTo>
                      <a:pt x="2114" y="4584"/>
                    </a:lnTo>
                    <a:lnTo>
                      <a:pt x="2108" y="4584"/>
                    </a:lnTo>
                    <a:lnTo>
                      <a:pt x="2098" y="4584"/>
                    </a:lnTo>
                    <a:lnTo>
                      <a:pt x="2088" y="4580"/>
                    </a:lnTo>
                    <a:lnTo>
                      <a:pt x="2086" y="4578"/>
                    </a:lnTo>
                    <a:lnTo>
                      <a:pt x="2084" y="4576"/>
                    </a:lnTo>
                    <a:lnTo>
                      <a:pt x="2082" y="4572"/>
                    </a:lnTo>
                    <a:lnTo>
                      <a:pt x="2078" y="4568"/>
                    </a:lnTo>
                    <a:lnTo>
                      <a:pt x="2070" y="4566"/>
                    </a:lnTo>
                    <a:lnTo>
                      <a:pt x="2062" y="4564"/>
                    </a:lnTo>
                    <a:lnTo>
                      <a:pt x="2058" y="4566"/>
                    </a:lnTo>
                    <a:lnTo>
                      <a:pt x="2056" y="4570"/>
                    </a:lnTo>
                    <a:lnTo>
                      <a:pt x="2056" y="4576"/>
                    </a:lnTo>
                    <a:lnTo>
                      <a:pt x="2058" y="4584"/>
                    </a:lnTo>
                    <a:lnTo>
                      <a:pt x="2060" y="4594"/>
                    </a:lnTo>
                    <a:lnTo>
                      <a:pt x="2070" y="4612"/>
                    </a:lnTo>
                    <a:lnTo>
                      <a:pt x="2080" y="4626"/>
                    </a:lnTo>
                    <a:lnTo>
                      <a:pt x="2086" y="4634"/>
                    </a:lnTo>
                    <a:lnTo>
                      <a:pt x="2094" y="4640"/>
                    </a:lnTo>
                    <a:lnTo>
                      <a:pt x="2102" y="4650"/>
                    </a:lnTo>
                    <a:lnTo>
                      <a:pt x="2104" y="4654"/>
                    </a:lnTo>
                    <a:lnTo>
                      <a:pt x="2108" y="4658"/>
                    </a:lnTo>
                    <a:lnTo>
                      <a:pt x="2114" y="4658"/>
                    </a:lnTo>
                    <a:lnTo>
                      <a:pt x="2116" y="4658"/>
                    </a:lnTo>
                    <a:lnTo>
                      <a:pt x="2120" y="4660"/>
                    </a:lnTo>
                    <a:lnTo>
                      <a:pt x="2124" y="4664"/>
                    </a:lnTo>
                    <a:lnTo>
                      <a:pt x="2130" y="4672"/>
                    </a:lnTo>
                    <a:lnTo>
                      <a:pt x="2138" y="4686"/>
                    </a:lnTo>
                    <a:lnTo>
                      <a:pt x="2138" y="4690"/>
                    </a:lnTo>
                    <a:lnTo>
                      <a:pt x="2138" y="4692"/>
                    </a:lnTo>
                    <a:lnTo>
                      <a:pt x="2146" y="4698"/>
                    </a:lnTo>
                    <a:lnTo>
                      <a:pt x="2152" y="4702"/>
                    </a:lnTo>
                    <a:lnTo>
                      <a:pt x="2154" y="4706"/>
                    </a:lnTo>
                    <a:lnTo>
                      <a:pt x="2154" y="4716"/>
                    </a:lnTo>
                    <a:lnTo>
                      <a:pt x="2156" y="4720"/>
                    </a:lnTo>
                    <a:lnTo>
                      <a:pt x="2158" y="4724"/>
                    </a:lnTo>
                    <a:lnTo>
                      <a:pt x="2162" y="4730"/>
                    </a:lnTo>
                    <a:lnTo>
                      <a:pt x="2172" y="4736"/>
                    </a:lnTo>
                    <a:lnTo>
                      <a:pt x="2182" y="4742"/>
                    </a:lnTo>
                    <a:lnTo>
                      <a:pt x="2192" y="4748"/>
                    </a:lnTo>
                    <a:lnTo>
                      <a:pt x="2198" y="4756"/>
                    </a:lnTo>
                    <a:lnTo>
                      <a:pt x="2200" y="4760"/>
                    </a:lnTo>
                    <a:lnTo>
                      <a:pt x="2200" y="4762"/>
                    </a:lnTo>
                    <a:lnTo>
                      <a:pt x="2198" y="4766"/>
                    </a:lnTo>
                    <a:lnTo>
                      <a:pt x="2198" y="4772"/>
                    </a:lnTo>
                    <a:lnTo>
                      <a:pt x="2206" y="4794"/>
                    </a:lnTo>
                    <a:lnTo>
                      <a:pt x="2214" y="4820"/>
                    </a:lnTo>
                    <a:lnTo>
                      <a:pt x="2218" y="4828"/>
                    </a:lnTo>
                    <a:lnTo>
                      <a:pt x="2226" y="4834"/>
                    </a:lnTo>
                    <a:lnTo>
                      <a:pt x="2234" y="4838"/>
                    </a:lnTo>
                    <a:lnTo>
                      <a:pt x="2236" y="4844"/>
                    </a:lnTo>
                    <a:lnTo>
                      <a:pt x="2240" y="4854"/>
                    </a:lnTo>
                    <a:lnTo>
                      <a:pt x="2254" y="4870"/>
                    </a:lnTo>
                    <a:lnTo>
                      <a:pt x="2260" y="4876"/>
                    </a:lnTo>
                    <a:lnTo>
                      <a:pt x="2262" y="4882"/>
                    </a:lnTo>
                    <a:lnTo>
                      <a:pt x="2264" y="4886"/>
                    </a:lnTo>
                    <a:lnTo>
                      <a:pt x="2264" y="4890"/>
                    </a:lnTo>
                    <a:lnTo>
                      <a:pt x="2262" y="4898"/>
                    </a:lnTo>
                    <a:lnTo>
                      <a:pt x="2264" y="4900"/>
                    </a:lnTo>
                    <a:lnTo>
                      <a:pt x="2266" y="4904"/>
                    </a:lnTo>
                    <a:lnTo>
                      <a:pt x="2274" y="4912"/>
                    </a:lnTo>
                    <a:lnTo>
                      <a:pt x="2278" y="4922"/>
                    </a:lnTo>
                    <a:lnTo>
                      <a:pt x="2282" y="4934"/>
                    </a:lnTo>
                    <a:lnTo>
                      <a:pt x="2284" y="4946"/>
                    </a:lnTo>
                    <a:lnTo>
                      <a:pt x="2290" y="4960"/>
                    </a:lnTo>
                    <a:lnTo>
                      <a:pt x="2300" y="4976"/>
                    </a:lnTo>
                    <a:lnTo>
                      <a:pt x="2312" y="4992"/>
                    </a:lnTo>
                    <a:lnTo>
                      <a:pt x="2326" y="5008"/>
                    </a:lnTo>
                    <a:lnTo>
                      <a:pt x="2336" y="5018"/>
                    </a:lnTo>
                    <a:lnTo>
                      <a:pt x="2342" y="5028"/>
                    </a:lnTo>
                    <a:lnTo>
                      <a:pt x="2350" y="5038"/>
                    </a:lnTo>
                    <a:lnTo>
                      <a:pt x="2364" y="5054"/>
                    </a:lnTo>
                    <a:lnTo>
                      <a:pt x="2380" y="5072"/>
                    </a:lnTo>
                    <a:lnTo>
                      <a:pt x="2394" y="5084"/>
                    </a:lnTo>
                    <a:lnTo>
                      <a:pt x="2404" y="5094"/>
                    </a:lnTo>
                    <a:lnTo>
                      <a:pt x="2416" y="5108"/>
                    </a:lnTo>
                    <a:lnTo>
                      <a:pt x="2426" y="5122"/>
                    </a:lnTo>
                    <a:lnTo>
                      <a:pt x="2434" y="5132"/>
                    </a:lnTo>
                    <a:lnTo>
                      <a:pt x="2436" y="5134"/>
                    </a:lnTo>
                    <a:lnTo>
                      <a:pt x="2438" y="5134"/>
                    </a:lnTo>
                    <a:lnTo>
                      <a:pt x="2434" y="5120"/>
                    </a:lnTo>
                    <a:lnTo>
                      <a:pt x="2434" y="5112"/>
                    </a:lnTo>
                    <a:lnTo>
                      <a:pt x="2434" y="5110"/>
                    </a:lnTo>
                    <a:lnTo>
                      <a:pt x="2438" y="5112"/>
                    </a:lnTo>
                    <a:lnTo>
                      <a:pt x="2444" y="5114"/>
                    </a:lnTo>
                    <a:lnTo>
                      <a:pt x="2450" y="5118"/>
                    </a:lnTo>
                    <a:lnTo>
                      <a:pt x="2454" y="5120"/>
                    </a:lnTo>
                    <a:lnTo>
                      <a:pt x="2458" y="5118"/>
                    </a:lnTo>
                    <a:lnTo>
                      <a:pt x="2460" y="5114"/>
                    </a:lnTo>
                    <a:lnTo>
                      <a:pt x="2462" y="5108"/>
                    </a:lnTo>
                    <a:lnTo>
                      <a:pt x="2464" y="5108"/>
                    </a:lnTo>
                    <a:lnTo>
                      <a:pt x="2470" y="5116"/>
                    </a:lnTo>
                    <a:lnTo>
                      <a:pt x="2476" y="5126"/>
                    </a:lnTo>
                    <a:lnTo>
                      <a:pt x="2480" y="5128"/>
                    </a:lnTo>
                    <a:lnTo>
                      <a:pt x="2484" y="5128"/>
                    </a:lnTo>
                    <a:close/>
                    <a:moveTo>
                      <a:pt x="2344" y="4774"/>
                    </a:moveTo>
                    <a:lnTo>
                      <a:pt x="2344" y="4774"/>
                    </a:lnTo>
                    <a:lnTo>
                      <a:pt x="2340" y="4772"/>
                    </a:lnTo>
                    <a:lnTo>
                      <a:pt x="2338" y="4772"/>
                    </a:lnTo>
                    <a:lnTo>
                      <a:pt x="2338" y="4774"/>
                    </a:lnTo>
                    <a:lnTo>
                      <a:pt x="2338" y="4776"/>
                    </a:lnTo>
                    <a:lnTo>
                      <a:pt x="2340" y="4784"/>
                    </a:lnTo>
                    <a:lnTo>
                      <a:pt x="2344" y="4792"/>
                    </a:lnTo>
                    <a:lnTo>
                      <a:pt x="2346" y="4792"/>
                    </a:lnTo>
                    <a:lnTo>
                      <a:pt x="2348" y="4788"/>
                    </a:lnTo>
                    <a:lnTo>
                      <a:pt x="2348" y="4780"/>
                    </a:lnTo>
                    <a:lnTo>
                      <a:pt x="2346" y="4776"/>
                    </a:lnTo>
                    <a:lnTo>
                      <a:pt x="2344" y="4774"/>
                    </a:lnTo>
                    <a:close/>
                    <a:moveTo>
                      <a:pt x="2374" y="4792"/>
                    </a:moveTo>
                    <a:lnTo>
                      <a:pt x="2374" y="4792"/>
                    </a:lnTo>
                    <a:lnTo>
                      <a:pt x="2372" y="4786"/>
                    </a:lnTo>
                    <a:lnTo>
                      <a:pt x="2366" y="4784"/>
                    </a:lnTo>
                    <a:lnTo>
                      <a:pt x="2360" y="4782"/>
                    </a:lnTo>
                    <a:lnTo>
                      <a:pt x="2358" y="4782"/>
                    </a:lnTo>
                    <a:lnTo>
                      <a:pt x="2358" y="4784"/>
                    </a:lnTo>
                    <a:lnTo>
                      <a:pt x="2358" y="4788"/>
                    </a:lnTo>
                    <a:lnTo>
                      <a:pt x="2364" y="4790"/>
                    </a:lnTo>
                    <a:lnTo>
                      <a:pt x="2372" y="4794"/>
                    </a:lnTo>
                    <a:lnTo>
                      <a:pt x="2374" y="4794"/>
                    </a:lnTo>
                    <a:lnTo>
                      <a:pt x="2374" y="4792"/>
                    </a:lnTo>
                    <a:close/>
                    <a:moveTo>
                      <a:pt x="2316" y="4736"/>
                    </a:moveTo>
                    <a:lnTo>
                      <a:pt x="2316" y="4736"/>
                    </a:lnTo>
                    <a:lnTo>
                      <a:pt x="2312" y="4736"/>
                    </a:lnTo>
                    <a:lnTo>
                      <a:pt x="2310" y="4736"/>
                    </a:lnTo>
                    <a:lnTo>
                      <a:pt x="2306" y="4740"/>
                    </a:lnTo>
                    <a:lnTo>
                      <a:pt x="2306" y="4746"/>
                    </a:lnTo>
                    <a:lnTo>
                      <a:pt x="2308" y="4750"/>
                    </a:lnTo>
                    <a:lnTo>
                      <a:pt x="2310" y="4752"/>
                    </a:lnTo>
                    <a:lnTo>
                      <a:pt x="2312" y="4752"/>
                    </a:lnTo>
                    <a:lnTo>
                      <a:pt x="2314" y="4752"/>
                    </a:lnTo>
                    <a:lnTo>
                      <a:pt x="2318" y="4746"/>
                    </a:lnTo>
                    <a:lnTo>
                      <a:pt x="2318" y="4740"/>
                    </a:lnTo>
                    <a:lnTo>
                      <a:pt x="2318" y="4736"/>
                    </a:lnTo>
                    <a:lnTo>
                      <a:pt x="2316" y="4736"/>
                    </a:lnTo>
                    <a:close/>
                    <a:moveTo>
                      <a:pt x="36" y="5458"/>
                    </a:moveTo>
                    <a:lnTo>
                      <a:pt x="36" y="5458"/>
                    </a:lnTo>
                    <a:lnTo>
                      <a:pt x="32" y="5458"/>
                    </a:lnTo>
                    <a:lnTo>
                      <a:pt x="30" y="5460"/>
                    </a:lnTo>
                    <a:lnTo>
                      <a:pt x="32" y="5464"/>
                    </a:lnTo>
                    <a:lnTo>
                      <a:pt x="36" y="5470"/>
                    </a:lnTo>
                    <a:lnTo>
                      <a:pt x="38" y="5472"/>
                    </a:lnTo>
                    <a:lnTo>
                      <a:pt x="40" y="5472"/>
                    </a:lnTo>
                    <a:lnTo>
                      <a:pt x="40" y="5468"/>
                    </a:lnTo>
                    <a:lnTo>
                      <a:pt x="40" y="5462"/>
                    </a:lnTo>
                    <a:lnTo>
                      <a:pt x="36" y="5458"/>
                    </a:lnTo>
                    <a:close/>
                    <a:moveTo>
                      <a:pt x="2554" y="4992"/>
                    </a:moveTo>
                    <a:lnTo>
                      <a:pt x="2554" y="4992"/>
                    </a:lnTo>
                    <a:lnTo>
                      <a:pt x="2558" y="4998"/>
                    </a:lnTo>
                    <a:lnTo>
                      <a:pt x="2560" y="4998"/>
                    </a:lnTo>
                    <a:lnTo>
                      <a:pt x="2562" y="4996"/>
                    </a:lnTo>
                    <a:lnTo>
                      <a:pt x="2564" y="4994"/>
                    </a:lnTo>
                    <a:lnTo>
                      <a:pt x="2566" y="4994"/>
                    </a:lnTo>
                    <a:lnTo>
                      <a:pt x="2570" y="4994"/>
                    </a:lnTo>
                    <a:lnTo>
                      <a:pt x="2574" y="4994"/>
                    </a:lnTo>
                    <a:lnTo>
                      <a:pt x="2578" y="4988"/>
                    </a:lnTo>
                    <a:lnTo>
                      <a:pt x="2582" y="4980"/>
                    </a:lnTo>
                    <a:lnTo>
                      <a:pt x="2582" y="4976"/>
                    </a:lnTo>
                    <a:lnTo>
                      <a:pt x="2580" y="4974"/>
                    </a:lnTo>
                    <a:lnTo>
                      <a:pt x="2576" y="4968"/>
                    </a:lnTo>
                    <a:lnTo>
                      <a:pt x="2568" y="4964"/>
                    </a:lnTo>
                    <a:lnTo>
                      <a:pt x="2562" y="4962"/>
                    </a:lnTo>
                    <a:lnTo>
                      <a:pt x="2558" y="4964"/>
                    </a:lnTo>
                    <a:lnTo>
                      <a:pt x="2556" y="4968"/>
                    </a:lnTo>
                    <a:lnTo>
                      <a:pt x="2554" y="4972"/>
                    </a:lnTo>
                    <a:lnTo>
                      <a:pt x="2552" y="4982"/>
                    </a:lnTo>
                    <a:lnTo>
                      <a:pt x="2552" y="4988"/>
                    </a:lnTo>
                    <a:lnTo>
                      <a:pt x="2554" y="4992"/>
                    </a:lnTo>
                    <a:close/>
                    <a:moveTo>
                      <a:pt x="8" y="5430"/>
                    </a:moveTo>
                    <a:lnTo>
                      <a:pt x="8" y="5430"/>
                    </a:lnTo>
                    <a:lnTo>
                      <a:pt x="6" y="5434"/>
                    </a:lnTo>
                    <a:lnTo>
                      <a:pt x="6" y="5436"/>
                    </a:lnTo>
                    <a:lnTo>
                      <a:pt x="6" y="5440"/>
                    </a:lnTo>
                    <a:lnTo>
                      <a:pt x="10" y="5444"/>
                    </a:lnTo>
                    <a:lnTo>
                      <a:pt x="14" y="5442"/>
                    </a:lnTo>
                    <a:lnTo>
                      <a:pt x="14" y="5438"/>
                    </a:lnTo>
                    <a:lnTo>
                      <a:pt x="14" y="5434"/>
                    </a:lnTo>
                    <a:lnTo>
                      <a:pt x="12" y="5430"/>
                    </a:lnTo>
                    <a:lnTo>
                      <a:pt x="10" y="5430"/>
                    </a:lnTo>
                    <a:lnTo>
                      <a:pt x="8" y="5430"/>
                    </a:lnTo>
                    <a:close/>
                    <a:moveTo>
                      <a:pt x="3222" y="4178"/>
                    </a:moveTo>
                    <a:lnTo>
                      <a:pt x="3222" y="4178"/>
                    </a:lnTo>
                    <a:lnTo>
                      <a:pt x="3224" y="4178"/>
                    </a:lnTo>
                    <a:lnTo>
                      <a:pt x="3228" y="4176"/>
                    </a:lnTo>
                    <a:lnTo>
                      <a:pt x="3232" y="4172"/>
                    </a:lnTo>
                    <a:lnTo>
                      <a:pt x="3234" y="4166"/>
                    </a:lnTo>
                    <a:lnTo>
                      <a:pt x="3232" y="4162"/>
                    </a:lnTo>
                    <a:lnTo>
                      <a:pt x="3232" y="4160"/>
                    </a:lnTo>
                    <a:lnTo>
                      <a:pt x="3230" y="4160"/>
                    </a:lnTo>
                    <a:lnTo>
                      <a:pt x="3228" y="4156"/>
                    </a:lnTo>
                    <a:lnTo>
                      <a:pt x="3226" y="4152"/>
                    </a:lnTo>
                    <a:lnTo>
                      <a:pt x="3224" y="4150"/>
                    </a:lnTo>
                    <a:lnTo>
                      <a:pt x="3222" y="4154"/>
                    </a:lnTo>
                    <a:lnTo>
                      <a:pt x="3222" y="4160"/>
                    </a:lnTo>
                    <a:lnTo>
                      <a:pt x="3222" y="4168"/>
                    </a:lnTo>
                    <a:lnTo>
                      <a:pt x="3220" y="4172"/>
                    </a:lnTo>
                    <a:lnTo>
                      <a:pt x="3218" y="4174"/>
                    </a:lnTo>
                    <a:lnTo>
                      <a:pt x="3222" y="4178"/>
                    </a:lnTo>
                    <a:close/>
                    <a:moveTo>
                      <a:pt x="3526" y="3176"/>
                    </a:moveTo>
                    <a:lnTo>
                      <a:pt x="3526" y="3176"/>
                    </a:lnTo>
                    <a:lnTo>
                      <a:pt x="3522" y="3176"/>
                    </a:lnTo>
                    <a:lnTo>
                      <a:pt x="3520" y="3174"/>
                    </a:lnTo>
                    <a:lnTo>
                      <a:pt x="3522" y="3168"/>
                    </a:lnTo>
                    <a:lnTo>
                      <a:pt x="3526" y="3162"/>
                    </a:lnTo>
                    <a:lnTo>
                      <a:pt x="3526" y="3158"/>
                    </a:lnTo>
                    <a:lnTo>
                      <a:pt x="3526" y="3154"/>
                    </a:lnTo>
                    <a:lnTo>
                      <a:pt x="3522" y="3152"/>
                    </a:lnTo>
                    <a:lnTo>
                      <a:pt x="3518" y="3152"/>
                    </a:lnTo>
                    <a:lnTo>
                      <a:pt x="3510" y="3156"/>
                    </a:lnTo>
                    <a:lnTo>
                      <a:pt x="3506" y="3156"/>
                    </a:lnTo>
                    <a:lnTo>
                      <a:pt x="3504" y="3156"/>
                    </a:lnTo>
                    <a:lnTo>
                      <a:pt x="3500" y="3154"/>
                    </a:lnTo>
                    <a:lnTo>
                      <a:pt x="3500" y="3148"/>
                    </a:lnTo>
                    <a:lnTo>
                      <a:pt x="3498" y="3146"/>
                    </a:lnTo>
                    <a:lnTo>
                      <a:pt x="3496" y="3142"/>
                    </a:lnTo>
                    <a:lnTo>
                      <a:pt x="3490" y="3140"/>
                    </a:lnTo>
                    <a:lnTo>
                      <a:pt x="3486" y="3140"/>
                    </a:lnTo>
                    <a:lnTo>
                      <a:pt x="3482" y="3140"/>
                    </a:lnTo>
                    <a:lnTo>
                      <a:pt x="3478" y="3144"/>
                    </a:lnTo>
                    <a:lnTo>
                      <a:pt x="3476" y="3148"/>
                    </a:lnTo>
                    <a:lnTo>
                      <a:pt x="3474" y="3154"/>
                    </a:lnTo>
                    <a:lnTo>
                      <a:pt x="3470" y="3154"/>
                    </a:lnTo>
                    <a:lnTo>
                      <a:pt x="3466" y="3154"/>
                    </a:lnTo>
                    <a:lnTo>
                      <a:pt x="3464" y="3160"/>
                    </a:lnTo>
                    <a:lnTo>
                      <a:pt x="3462" y="3164"/>
                    </a:lnTo>
                    <a:lnTo>
                      <a:pt x="3460" y="3164"/>
                    </a:lnTo>
                    <a:lnTo>
                      <a:pt x="3456" y="3160"/>
                    </a:lnTo>
                    <a:lnTo>
                      <a:pt x="3454" y="3158"/>
                    </a:lnTo>
                    <a:lnTo>
                      <a:pt x="3452" y="3164"/>
                    </a:lnTo>
                    <a:lnTo>
                      <a:pt x="3452" y="3168"/>
                    </a:lnTo>
                    <a:lnTo>
                      <a:pt x="3448" y="3170"/>
                    </a:lnTo>
                    <a:lnTo>
                      <a:pt x="3444" y="3168"/>
                    </a:lnTo>
                    <a:lnTo>
                      <a:pt x="3440" y="3168"/>
                    </a:lnTo>
                    <a:lnTo>
                      <a:pt x="3442" y="3174"/>
                    </a:lnTo>
                    <a:lnTo>
                      <a:pt x="3444" y="3182"/>
                    </a:lnTo>
                    <a:lnTo>
                      <a:pt x="3444" y="3186"/>
                    </a:lnTo>
                    <a:lnTo>
                      <a:pt x="3444" y="3190"/>
                    </a:lnTo>
                    <a:lnTo>
                      <a:pt x="3446" y="3196"/>
                    </a:lnTo>
                    <a:lnTo>
                      <a:pt x="3448" y="3200"/>
                    </a:lnTo>
                    <a:lnTo>
                      <a:pt x="3450" y="3204"/>
                    </a:lnTo>
                    <a:lnTo>
                      <a:pt x="3450" y="3210"/>
                    </a:lnTo>
                    <a:lnTo>
                      <a:pt x="3456" y="3204"/>
                    </a:lnTo>
                    <a:lnTo>
                      <a:pt x="3460" y="3202"/>
                    </a:lnTo>
                    <a:lnTo>
                      <a:pt x="3464" y="3200"/>
                    </a:lnTo>
                    <a:lnTo>
                      <a:pt x="3464" y="3202"/>
                    </a:lnTo>
                    <a:lnTo>
                      <a:pt x="3464" y="3204"/>
                    </a:lnTo>
                    <a:lnTo>
                      <a:pt x="3466" y="3208"/>
                    </a:lnTo>
                    <a:lnTo>
                      <a:pt x="3468" y="3208"/>
                    </a:lnTo>
                    <a:lnTo>
                      <a:pt x="3472" y="3206"/>
                    </a:lnTo>
                    <a:lnTo>
                      <a:pt x="3474" y="3204"/>
                    </a:lnTo>
                    <a:lnTo>
                      <a:pt x="3474" y="3200"/>
                    </a:lnTo>
                    <a:lnTo>
                      <a:pt x="3472" y="3198"/>
                    </a:lnTo>
                    <a:lnTo>
                      <a:pt x="3468" y="3194"/>
                    </a:lnTo>
                    <a:lnTo>
                      <a:pt x="3466" y="3192"/>
                    </a:lnTo>
                    <a:lnTo>
                      <a:pt x="3464" y="3188"/>
                    </a:lnTo>
                    <a:lnTo>
                      <a:pt x="3466" y="3182"/>
                    </a:lnTo>
                    <a:lnTo>
                      <a:pt x="3466" y="3180"/>
                    </a:lnTo>
                    <a:lnTo>
                      <a:pt x="3468" y="3180"/>
                    </a:lnTo>
                    <a:lnTo>
                      <a:pt x="3470" y="3182"/>
                    </a:lnTo>
                    <a:lnTo>
                      <a:pt x="3474" y="3186"/>
                    </a:lnTo>
                    <a:lnTo>
                      <a:pt x="3480" y="3196"/>
                    </a:lnTo>
                    <a:lnTo>
                      <a:pt x="3482" y="3208"/>
                    </a:lnTo>
                    <a:lnTo>
                      <a:pt x="3480" y="3218"/>
                    </a:lnTo>
                    <a:lnTo>
                      <a:pt x="3474" y="3228"/>
                    </a:lnTo>
                    <a:lnTo>
                      <a:pt x="3468" y="3236"/>
                    </a:lnTo>
                    <a:lnTo>
                      <a:pt x="3466" y="3242"/>
                    </a:lnTo>
                    <a:lnTo>
                      <a:pt x="3470" y="3258"/>
                    </a:lnTo>
                    <a:lnTo>
                      <a:pt x="3470" y="3266"/>
                    </a:lnTo>
                    <a:lnTo>
                      <a:pt x="3468" y="3270"/>
                    </a:lnTo>
                    <a:lnTo>
                      <a:pt x="3466" y="3274"/>
                    </a:lnTo>
                    <a:lnTo>
                      <a:pt x="3466" y="3276"/>
                    </a:lnTo>
                    <a:lnTo>
                      <a:pt x="3476" y="3280"/>
                    </a:lnTo>
                    <a:lnTo>
                      <a:pt x="3482" y="3282"/>
                    </a:lnTo>
                    <a:lnTo>
                      <a:pt x="3486" y="3286"/>
                    </a:lnTo>
                    <a:lnTo>
                      <a:pt x="3486" y="3290"/>
                    </a:lnTo>
                    <a:lnTo>
                      <a:pt x="3486" y="3292"/>
                    </a:lnTo>
                    <a:lnTo>
                      <a:pt x="3488" y="3292"/>
                    </a:lnTo>
                    <a:lnTo>
                      <a:pt x="3496" y="3288"/>
                    </a:lnTo>
                    <a:lnTo>
                      <a:pt x="3500" y="3284"/>
                    </a:lnTo>
                    <a:lnTo>
                      <a:pt x="3502" y="3280"/>
                    </a:lnTo>
                    <a:lnTo>
                      <a:pt x="3502" y="3278"/>
                    </a:lnTo>
                    <a:lnTo>
                      <a:pt x="3502" y="3276"/>
                    </a:lnTo>
                    <a:lnTo>
                      <a:pt x="3500" y="3272"/>
                    </a:lnTo>
                    <a:lnTo>
                      <a:pt x="3502" y="3270"/>
                    </a:lnTo>
                    <a:lnTo>
                      <a:pt x="3506" y="3268"/>
                    </a:lnTo>
                    <a:lnTo>
                      <a:pt x="3508" y="3270"/>
                    </a:lnTo>
                    <a:lnTo>
                      <a:pt x="3510" y="3274"/>
                    </a:lnTo>
                    <a:lnTo>
                      <a:pt x="3514" y="3272"/>
                    </a:lnTo>
                    <a:lnTo>
                      <a:pt x="3516" y="3268"/>
                    </a:lnTo>
                    <a:lnTo>
                      <a:pt x="3518" y="3260"/>
                    </a:lnTo>
                    <a:lnTo>
                      <a:pt x="3522" y="3236"/>
                    </a:lnTo>
                    <a:lnTo>
                      <a:pt x="3528" y="3212"/>
                    </a:lnTo>
                    <a:lnTo>
                      <a:pt x="3532" y="3202"/>
                    </a:lnTo>
                    <a:lnTo>
                      <a:pt x="3534" y="3200"/>
                    </a:lnTo>
                    <a:lnTo>
                      <a:pt x="3538" y="3198"/>
                    </a:lnTo>
                    <a:lnTo>
                      <a:pt x="3540" y="3196"/>
                    </a:lnTo>
                    <a:lnTo>
                      <a:pt x="3542" y="3194"/>
                    </a:lnTo>
                    <a:lnTo>
                      <a:pt x="3540" y="3186"/>
                    </a:lnTo>
                    <a:lnTo>
                      <a:pt x="3534" y="3180"/>
                    </a:lnTo>
                    <a:lnTo>
                      <a:pt x="3530" y="3178"/>
                    </a:lnTo>
                    <a:lnTo>
                      <a:pt x="3526" y="3176"/>
                    </a:lnTo>
                    <a:close/>
                    <a:moveTo>
                      <a:pt x="3432" y="3438"/>
                    </a:moveTo>
                    <a:lnTo>
                      <a:pt x="3432" y="3438"/>
                    </a:lnTo>
                    <a:lnTo>
                      <a:pt x="3432" y="3442"/>
                    </a:lnTo>
                    <a:lnTo>
                      <a:pt x="3434" y="3442"/>
                    </a:lnTo>
                    <a:lnTo>
                      <a:pt x="3440" y="3436"/>
                    </a:lnTo>
                    <a:lnTo>
                      <a:pt x="3446" y="3428"/>
                    </a:lnTo>
                    <a:lnTo>
                      <a:pt x="3448" y="3424"/>
                    </a:lnTo>
                    <a:lnTo>
                      <a:pt x="3448" y="3422"/>
                    </a:lnTo>
                    <a:lnTo>
                      <a:pt x="3444" y="3422"/>
                    </a:lnTo>
                    <a:lnTo>
                      <a:pt x="3438" y="3424"/>
                    </a:lnTo>
                    <a:lnTo>
                      <a:pt x="3434" y="3430"/>
                    </a:lnTo>
                    <a:lnTo>
                      <a:pt x="3432" y="3434"/>
                    </a:lnTo>
                    <a:lnTo>
                      <a:pt x="3432" y="3438"/>
                    </a:lnTo>
                    <a:close/>
                    <a:moveTo>
                      <a:pt x="3434" y="3100"/>
                    </a:moveTo>
                    <a:lnTo>
                      <a:pt x="3434" y="3100"/>
                    </a:lnTo>
                    <a:lnTo>
                      <a:pt x="3432" y="3102"/>
                    </a:lnTo>
                    <a:lnTo>
                      <a:pt x="3430" y="3106"/>
                    </a:lnTo>
                    <a:lnTo>
                      <a:pt x="3430" y="3110"/>
                    </a:lnTo>
                    <a:lnTo>
                      <a:pt x="3428" y="3116"/>
                    </a:lnTo>
                    <a:lnTo>
                      <a:pt x="3426" y="3126"/>
                    </a:lnTo>
                    <a:lnTo>
                      <a:pt x="3426" y="3130"/>
                    </a:lnTo>
                    <a:lnTo>
                      <a:pt x="3428" y="3128"/>
                    </a:lnTo>
                    <a:lnTo>
                      <a:pt x="3430" y="3124"/>
                    </a:lnTo>
                    <a:lnTo>
                      <a:pt x="3432" y="3120"/>
                    </a:lnTo>
                    <a:lnTo>
                      <a:pt x="3434" y="3114"/>
                    </a:lnTo>
                    <a:lnTo>
                      <a:pt x="3436" y="3110"/>
                    </a:lnTo>
                    <a:lnTo>
                      <a:pt x="3438" y="3104"/>
                    </a:lnTo>
                    <a:lnTo>
                      <a:pt x="3438" y="3100"/>
                    </a:lnTo>
                    <a:lnTo>
                      <a:pt x="3436" y="3100"/>
                    </a:lnTo>
                    <a:lnTo>
                      <a:pt x="3434" y="3100"/>
                    </a:lnTo>
                    <a:close/>
                    <a:moveTo>
                      <a:pt x="4106" y="2564"/>
                    </a:moveTo>
                    <a:lnTo>
                      <a:pt x="4106" y="2564"/>
                    </a:lnTo>
                    <a:lnTo>
                      <a:pt x="4098" y="2576"/>
                    </a:lnTo>
                    <a:lnTo>
                      <a:pt x="4088" y="2586"/>
                    </a:lnTo>
                    <a:lnTo>
                      <a:pt x="4084" y="2594"/>
                    </a:lnTo>
                    <a:lnTo>
                      <a:pt x="4082" y="2598"/>
                    </a:lnTo>
                    <a:lnTo>
                      <a:pt x="4084" y="2604"/>
                    </a:lnTo>
                    <a:lnTo>
                      <a:pt x="4086" y="2604"/>
                    </a:lnTo>
                    <a:lnTo>
                      <a:pt x="4088" y="2602"/>
                    </a:lnTo>
                    <a:lnTo>
                      <a:pt x="4094" y="2592"/>
                    </a:lnTo>
                    <a:lnTo>
                      <a:pt x="4098" y="2586"/>
                    </a:lnTo>
                    <a:lnTo>
                      <a:pt x="4104" y="2580"/>
                    </a:lnTo>
                    <a:lnTo>
                      <a:pt x="4112" y="2574"/>
                    </a:lnTo>
                    <a:lnTo>
                      <a:pt x="4122" y="2570"/>
                    </a:lnTo>
                    <a:lnTo>
                      <a:pt x="4126" y="2568"/>
                    </a:lnTo>
                    <a:lnTo>
                      <a:pt x="4126" y="2566"/>
                    </a:lnTo>
                    <a:lnTo>
                      <a:pt x="4120" y="2562"/>
                    </a:lnTo>
                    <a:lnTo>
                      <a:pt x="4112" y="2562"/>
                    </a:lnTo>
                    <a:lnTo>
                      <a:pt x="4108" y="2562"/>
                    </a:lnTo>
                    <a:lnTo>
                      <a:pt x="4106" y="2564"/>
                    </a:lnTo>
                    <a:close/>
                    <a:moveTo>
                      <a:pt x="3472" y="4884"/>
                    </a:moveTo>
                    <a:lnTo>
                      <a:pt x="3472" y="4884"/>
                    </a:lnTo>
                    <a:lnTo>
                      <a:pt x="3474" y="4884"/>
                    </a:lnTo>
                    <a:lnTo>
                      <a:pt x="3476" y="4884"/>
                    </a:lnTo>
                    <a:lnTo>
                      <a:pt x="3484" y="4882"/>
                    </a:lnTo>
                    <a:lnTo>
                      <a:pt x="3488" y="4880"/>
                    </a:lnTo>
                    <a:lnTo>
                      <a:pt x="3490" y="4878"/>
                    </a:lnTo>
                    <a:lnTo>
                      <a:pt x="3488" y="4878"/>
                    </a:lnTo>
                    <a:lnTo>
                      <a:pt x="3478" y="4878"/>
                    </a:lnTo>
                    <a:lnTo>
                      <a:pt x="3472" y="4880"/>
                    </a:lnTo>
                    <a:lnTo>
                      <a:pt x="3472" y="4882"/>
                    </a:lnTo>
                    <a:lnTo>
                      <a:pt x="3472" y="4884"/>
                    </a:lnTo>
                    <a:close/>
                    <a:moveTo>
                      <a:pt x="3468" y="3214"/>
                    </a:moveTo>
                    <a:lnTo>
                      <a:pt x="3468" y="3214"/>
                    </a:lnTo>
                    <a:lnTo>
                      <a:pt x="3468" y="3212"/>
                    </a:lnTo>
                    <a:lnTo>
                      <a:pt x="3466" y="3212"/>
                    </a:lnTo>
                    <a:lnTo>
                      <a:pt x="3462" y="3212"/>
                    </a:lnTo>
                    <a:lnTo>
                      <a:pt x="3460" y="3218"/>
                    </a:lnTo>
                    <a:lnTo>
                      <a:pt x="3460" y="3224"/>
                    </a:lnTo>
                    <a:lnTo>
                      <a:pt x="3460" y="3226"/>
                    </a:lnTo>
                    <a:lnTo>
                      <a:pt x="3462" y="3226"/>
                    </a:lnTo>
                    <a:lnTo>
                      <a:pt x="3464" y="3224"/>
                    </a:lnTo>
                    <a:lnTo>
                      <a:pt x="3468" y="3220"/>
                    </a:lnTo>
                    <a:lnTo>
                      <a:pt x="3468" y="3214"/>
                    </a:lnTo>
                    <a:close/>
                    <a:moveTo>
                      <a:pt x="3482" y="3322"/>
                    </a:moveTo>
                    <a:lnTo>
                      <a:pt x="3482" y="3322"/>
                    </a:lnTo>
                    <a:lnTo>
                      <a:pt x="3478" y="3322"/>
                    </a:lnTo>
                    <a:lnTo>
                      <a:pt x="3476" y="3326"/>
                    </a:lnTo>
                    <a:lnTo>
                      <a:pt x="3478" y="3330"/>
                    </a:lnTo>
                    <a:lnTo>
                      <a:pt x="3482" y="3332"/>
                    </a:lnTo>
                    <a:lnTo>
                      <a:pt x="3486" y="3332"/>
                    </a:lnTo>
                    <a:lnTo>
                      <a:pt x="3486" y="3328"/>
                    </a:lnTo>
                    <a:lnTo>
                      <a:pt x="3484" y="3324"/>
                    </a:lnTo>
                    <a:lnTo>
                      <a:pt x="3482" y="3322"/>
                    </a:lnTo>
                    <a:close/>
                    <a:moveTo>
                      <a:pt x="3652" y="3124"/>
                    </a:moveTo>
                    <a:lnTo>
                      <a:pt x="3652" y="3124"/>
                    </a:lnTo>
                    <a:lnTo>
                      <a:pt x="3654" y="3126"/>
                    </a:lnTo>
                    <a:lnTo>
                      <a:pt x="3656" y="3124"/>
                    </a:lnTo>
                    <a:lnTo>
                      <a:pt x="3658" y="3118"/>
                    </a:lnTo>
                    <a:lnTo>
                      <a:pt x="3662" y="3112"/>
                    </a:lnTo>
                    <a:lnTo>
                      <a:pt x="3662" y="3106"/>
                    </a:lnTo>
                    <a:lnTo>
                      <a:pt x="3662" y="3104"/>
                    </a:lnTo>
                    <a:lnTo>
                      <a:pt x="3660" y="3104"/>
                    </a:lnTo>
                    <a:lnTo>
                      <a:pt x="3656" y="3110"/>
                    </a:lnTo>
                    <a:lnTo>
                      <a:pt x="3652" y="3116"/>
                    </a:lnTo>
                    <a:lnTo>
                      <a:pt x="3652" y="3120"/>
                    </a:lnTo>
                    <a:lnTo>
                      <a:pt x="3652" y="3124"/>
                    </a:lnTo>
                    <a:close/>
                    <a:moveTo>
                      <a:pt x="3482" y="4890"/>
                    </a:moveTo>
                    <a:lnTo>
                      <a:pt x="3482" y="4890"/>
                    </a:lnTo>
                    <a:lnTo>
                      <a:pt x="3486" y="4896"/>
                    </a:lnTo>
                    <a:lnTo>
                      <a:pt x="3492" y="4904"/>
                    </a:lnTo>
                    <a:lnTo>
                      <a:pt x="3494" y="4904"/>
                    </a:lnTo>
                    <a:lnTo>
                      <a:pt x="3498" y="4898"/>
                    </a:lnTo>
                    <a:lnTo>
                      <a:pt x="3498" y="4890"/>
                    </a:lnTo>
                    <a:lnTo>
                      <a:pt x="3498" y="4888"/>
                    </a:lnTo>
                    <a:lnTo>
                      <a:pt x="3496" y="4886"/>
                    </a:lnTo>
                    <a:lnTo>
                      <a:pt x="3492" y="4884"/>
                    </a:lnTo>
                    <a:lnTo>
                      <a:pt x="3486" y="4884"/>
                    </a:lnTo>
                    <a:lnTo>
                      <a:pt x="3482" y="4886"/>
                    </a:lnTo>
                    <a:lnTo>
                      <a:pt x="3482" y="4888"/>
                    </a:lnTo>
                    <a:lnTo>
                      <a:pt x="3482" y="4890"/>
                    </a:lnTo>
                    <a:close/>
                    <a:moveTo>
                      <a:pt x="3640" y="3122"/>
                    </a:moveTo>
                    <a:lnTo>
                      <a:pt x="3640" y="3122"/>
                    </a:lnTo>
                    <a:lnTo>
                      <a:pt x="3634" y="3120"/>
                    </a:lnTo>
                    <a:lnTo>
                      <a:pt x="3628" y="3116"/>
                    </a:lnTo>
                    <a:lnTo>
                      <a:pt x="3620" y="3116"/>
                    </a:lnTo>
                    <a:lnTo>
                      <a:pt x="3612" y="3120"/>
                    </a:lnTo>
                    <a:lnTo>
                      <a:pt x="3608" y="3122"/>
                    </a:lnTo>
                    <a:lnTo>
                      <a:pt x="3604" y="3126"/>
                    </a:lnTo>
                    <a:lnTo>
                      <a:pt x="3602" y="3132"/>
                    </a:lnTo>
                    <a:lnTo>
                      <a:pt x="3600" y="3136"/>
                    </a:lnTo>
                    <a:lnTo>
                      <a:pt x="3598" y="3138"/>
                    </a:lnTo>
                    <a:lnTo>
                      <a:pt x="3596" y="3136"/>
                    </a:lnTo>
                    <a:lnTo>
                      <a:pt x="3592" y="3136"/>
                    </a:lnTo>
                    <a:lnTo>
                      <a:pt x="3590" y="3136"/>
                    </a:lnTo>
                    <a:lnTo>
                      <a:pt x="3586" y="3138"/>
                    </a:lnTo>
                    <a:lnTo>
                      <a:pt x="3582" y="3140"/>
                    </a:lnTo>
                    <a:lnTo>
                      <a:pt x="3580" y="3136"/>
                    </a:lnTo>
                    <a:lnTo>
                      <a:pt x="3580" y="3130"/>
                    </a:lnTo>
                    <a:lnTo>
                      <a:pt x="3578" y="3128"/>
                    </a:lnTo>
                    <a:lnTo>
                      <a:pt x="3576" y="3128"/>
                    </a:lnTo>
                    <a:lnTo>
                      <a:pt x="3574" y="3132"/>
                    </a:lnTo>
                    <a:lnTo>
                      <a:pt x="3568" y="3144"/>
                    </a:lnTo>
                    <a:lnTo>
                      <a:pt x="3564" y="3150"/>
                    </a:lnTo>
                    <a:lnTo>
                      <a:pt x="3560" y="3156"/>
                    </a:lnTo>
                    <a:lnTo>
                      <a:pt x="3550" y="3164"/>
                    </a:lnTo>
                    <a:lnTo>
                      <a:pt x="3544" y="3168"/>
                    </a:lnTo>
                    <a:lnTo>
                      <a:pt x="3548" y="3168"/>
                    </a:lnTo>
                    <a:lnTo>
                      <a:pt x="3554" y="3168"/>
                    </a:lnTo>
                    <a:lnTo>
                      <a:pt x="3556" y="3170"/>
                    </a:lnTo>
                    <a:lnTo>
                      <a:pt x="3558" y="3172"/>
                    </a:lnTo>
                    <a:lnTo>
                      <a:pt x="3558" y="3174"/>
                    </a:lnTo>
                    <a:lnTo>
                      <a:pt x="3558" y="3182"/>
                    </a:lnTo>
                    <a:lnTo>
                      <a:pt x="3558" y="3186"/>
                    </a:lnTo>
                    <a:lnTo>
                      <a:pt x="3562" y="3190"/>
                    </a:lnTo>
                    <a:lnTo>
                      <a:pt x="3564" y="3192"/>
                    </a:lnTo>
                    <a:lnTo>
                      <a:pt x="3564" y="3196"/>
                    </a:lnTo>
                    <a:lnTo>
                      <a:pt x="3564" y="3198"/>
                    </a:lnTo>
                    <a:lnTo>
                      <a:pt x="3562" y="3200"/>
                    </a:lnTo>
                    <a:lnTo>
                      <a:pt x="3564" y="3200"/>
                    </a:lnTo>
                    <a:lnTo>
                      <a:pt x="3574" y="3202"/>
                    </a:lnTo>
                    <a:lnTo>
                      <a:pt x="3578" y="3202"/>
                    </a:lnTo>
                    <a:lnTo>
                      <a:pt x="3580" y="3198"/>
                    </a:lnTo>
                    <a:lnTo>
                      <a:pt x="3584" y="3186"/>
                    </a:lnTo>
                    <a:lnTo>
                      <a:pt x="3588" y="3178"/>
                    </a:lnTo>
                    <a:lnTo>
                      <a:pt x="3590" y="3172"/>
                    </a:lnTo>
                    <a:lnTo>
                      <a:pt x="3594" y="3166"/>
                    </a:lnTo>
                    <a:lnTo>
                      <a:pt x="3602" y="3164"/>
                    </a:lnTo>
                    <a:lnTo>
                      <a:pt x="3608" y="3162"/>
                    </a:lnTo>
                    <a:lnTo>
                      <a:pt x="3614" y="3164"/>
                    </a:lnTo>
                    <a:lnTo>
                      <a:pt x="3620" y="3170"/>
                    </a:lnTo>
                    <a:lnTo>
                      <a:pt x="3624" y="3172"/>
                    </a:lnTo>
                    <a:lnTo>
                      <a:pt x="3626" y="3172"/>
                    </a:lnTo>
                    <a:lnTo>
                      <a:pt x="3628" y="3170"/>
                    </a:lnTo>
                    <a:lnTo>
                      <a:pt x="3630" y="3166"/>
                    </a:lnTo>
                    <a:lnTo>
                      <a:pt x="3632" y="3160"/>
                    </a:lnTo>
                    <a:lnTo>
                      <a:pt x="3636" y="3156"/>
                    </a:lnTo>
                    <a:lnTo>
                      <a:pt x="3642" y="3150"/>
                    </a:lnTo>
                    <a:lnTo>
                      <a:pt x="3646" y="3148"/>
                    </a:lnTo>
                    <a:lnTo>
                      <a:pt x="3648" y="3144"/>
                    </a:lnTo>
                    <a:lnTo>
                      <a:pt x="3646" y="3140"/>
                    </a:lnTo>
                    <a:lnTo>
                      <a:pt x="3644" y="3132"/>
                    </a:lnTo>
                    <a:lnTo>
                      <a:pt x="3644" y="3128"/>
                    </a:lnTo>
                    <a:lnTo>
                      <a:pt x="3644" y="3126"/>
                    </a:lnTo>
                    <a:lnTo>
                      <a:pt x="3640" y="3122"/>
                    </a:lnTo>
                    <a:close/>
                    <a:moveTo>
                      <a:pt x="3450" y="4936"/>
                    </a:moveTo>
                    <a:lnTo>
                      <a:pt x="3450" y="4936"/>
                    </a:lnTo>
                    <a:lnTo>
                      <a:pt x="3456" y="4938"/>
                    </a:lnTo>
                    <a:lnTo>
                      <a:pt x="3462" y="4940"/>
                    </a:lnTo>
                    <a:lnTo>
                      <a:pt x="3468" y="4940"/>
                    </a:lnTo>
                    <a:lnTo>
                      <a:pt x="3470" y="4938"/>
                    </a:lnTo>
                    <a:lnTo>
                      <a:pt x="3472" y="4934"/>
                    </a:lnTo>
                    <a:lnTo>
                      <a:pt x="3474" y="4926"/>
                    </a:lnTo>
                    <a:lnTo>
                      <a:pt x="3472" y="4922"/>
                    </a:lnTo>
                    <a:lnTo>
                      <a:pt x="3466" y="4922"/>
                    </a:lnTo>
                    <a:lnTo>
                      <a:pt x="3458" y="4924"/>
                    </a:lnTo>
                    <a:lnTo>
                      <a:pt x="3448" y="4930"/>
                    </a:lnTo>
                    <a:lnTo>
                      <a:pt x="3448" y="4932"/>
                    </a:lnTo>
                    <a:lnTo>
                      <a:pt x="3450" y="4936"/>
                    </a:lnTo>
                    <a:close/>
                    <a:moveTo>
                      <a:pt x="3012" y="5270"/>
                    </a:moveTo>
                    <a:lnTo>
                      <a:pt x="3012" y="5270"/>
                    </a:lnTo>
                    <a:lnTo>
                      <a:pt x="3008" y="5266"/>
                    </a:lnTo>
                    <a:lnTo>
                      <a:pt x="3006" y="5264"/>
                    </a:lnTo>
                    <a:lnTo>
                      <a:pt x="3008" y="5262"/>
                    </a:lnTo>
                    <a:lnTo>
                      <a:pt x="3012" y="5264"/>
                    </a:lnTo>
                    <a:lnTo>
                      <a:pt x="3020" y="5266"/>
                    </a:lnTo>
                    <a:lnTo>
                      <a:pt x="3022" y="5266"/>
                    </a:lnTo>
                    <a:lnTo>
                      <a:pt x="3022" y="5264"/>
                    </a:lnTo>
                    <a:lnTo>
                      <a:pt x="3022" y="5258"/>
                    </a:lnTo>
                    <a:lnTo>
                      <a:pt x="3020" y="5250"/>
                    </a:lnTo>
                    <a:lnTo>
                      <a:pt x="3014" y="5244"/>
                    </a:lnTo>
                    <a:lnTo>
                      <a:pt x="3010" y="5242"/>
                    </a:lnTo>
                    <a:lnTo>
                      <a:pt x="3008" y="5244"/>
                    </a:lnTo>
                    <a:lnTo>
                      <a:pt x="3006" y="5246"/>
                    </a:lnTo>
                    <a:lnTo>
                      <a:pt x="3004" y="5246"/>
                    </a:lnTo>
                    <a:lnTo>
                      <a:pt x="3000" y="5242"/>
                    </a:lnTo>
                    <a:lnTo>
                      <a:pt x="2998" y="5240"/>
                    </a:lnTo>
                    <a:lnTo>
                      <a:pt x="2994" y="5240"/>
                    </a:lnTo>
                    <a:lnTo>
                      <a:pt x="2992" y="5242"/>
                    </a:lnTo>
                    <a:lnTo>
                      <a:pt x="2988" y="5244"/>
                    </a:lnTo>
                    <a:lnTo>
                      <a:pt x="2986" y="5244"/>
                    </a:lnTo>
                    <a:lnTo>
                      <a:pt x="2982" y="5240"/>
                    </a:lnTo>
                    <a:lnTo>
                      <a:pt x="2978" y="5236"/>
                    </a:lnTo>
                    <a:lnTo>
                      <a:pt x="2974" y="5234"/>
                    </a:lnTo>
                    <a:lnTo>
                      <a:pt x="2970" y="5234"/>
                    </a:lnTo>
                    <a:lnTo>
                      <a:pt x="2966" y="5236"/>
                    </a:lnTo>
                    <a:lnTo>
                      <a:pt x="2964" y="5238"/>
                    </a:lnTo>
                    <a:lnTo>
                      <a:pt x="2964" y="5240"/>
                    </a:lnTo>
                    <a:lnTo>
                      <a:pt x="2966" y="5244"/>
                    </a:lnTo>
                    <a:lnTo>
                      <a:pt x="2970" y="5250"/>
                    </a:lnTo>
                    <a:lnTo>
                      <a:pt x="2974" y="5252"/>
                    </a:lnTo>
                    <a:lnTo>
                      <a:pt x="2978" y="5252"/>
                    </a:lnTo>
                    <a:lnTo>
                      <a:pt x="2984" y="5256"/>
                    </a:lnTo>
                    <a:lnTo>
                      <a:pt x="2986" y="5260"/>
                    </a:lnTo>
                    <a:lnTo>
                      <a:pt x="2984" y="5260"/>
                    </a:lnTo>
                    <a:lnTo>
                      <a:pt x="2982" y="5260"/>
                    </a:lnTo>
                    <a:lnTo>
                      <a:pt x="2976" y="5262"/>
                    </a:lnTo>
                    <a:lnTo>
                      <a:pt x="2972" y="5264"/>
                    </a:lnTo>
                    <a:lnTo>
                      <a:pt x="2970" y="5264"/>
                    </a:lnTo>
                    <a:lnTo>
                      <a:pt x="2966" y="5260"/>
                    </a:lnTo>
                    <a:lnTo>
                      <a:pt x="2960" y="5252"/>
                    </a:lnTo>
                    <a:lnTo>
                      <a:pt x="2956" y="5252"/>
                    </a:lnTo>
                    <a:lnTo>
                      <a:pt x="2954" y="5252"/>
                    </a:lnTo>
                    <a:lnTo>
                      <a:pt x="2948" y="5250"/>
                    </a:lnTo>
                    <a:lnTo>
                      <a:pt x="2944" y="5248"/>
                    </a:lnTo>
                    <a:lnTo>
                      <a:pt x="2940" y="5246"/>
                    </a:lnTo>
                    <a:lnTo>
                      <a:pt x="2938" y="5248"/>
                    </a:lnTo>
                    <a:lnTo>
                      <a:pt x="2936" y="5250"/>
                    </a:lnTo>
                    <a:lnTo>
                      <a:pt x="2932" y="5254"/>
                    </a:lnTo>
                    <a:lnTo>
                      <a:pt x="2928" y="5256"/>
                    </a:lnTo>
                    <a:lnTo>
                      <a:pt x="2926" y="5258"/>
                    </a:lnTo>
                    <a:lnTo>
                      <a:pt x="2926" y="5266"/>
                    </a:lnTo>
                    <a:lnTo>
                      <a:pt x="2926" y="5270"/>
                    </a:lnTo>
                    <a:lnTo>
                      <a:pt x="2926" y="5276"/>
                    </a:lnTo>
                    <a:lnTo>
                      <a:pt x="2926" y="5278"/>
                    </a:lnTo>
                    <a:lnTo>
                      <a:pt x="2928" y="5280"/>
                    </a:lnTo>
                    <a:lnTo>
                      <a:pt x="2938" y="5282"/>
                    </a:lnTo>
                    <a:lnTo>
                      <a:pt x="2948" y="5282"/>
                    </a:lnTo>
                    <a:lnTo>
                      <a:pt x="2960" y="5278"/>
                    </a:lnTo>
                    <a:lnTo>
                      <a:pt x="2970" y="5274"/>
                    </a:lnTo>
                    <a:lnTo>
                      <a:pt x="2978" y="5272"/>
                    </a:lnTo>
                    <a:lnTo>
                      <a:pt x="2984" y="5272"/>
                    </a:lnTo>
                    <a:lnTo>
                      <a:pt x="2986" y="5268"/>
                    </a:lnTo>
                    <a:lnTo>
                      <a:pt x="2988" y="5268"/>
                    </a:lnTo>
                    <a:lnTo>
                      <a:pt x="2990" y="5270"/>
                    </a:lnTo>
                    <a:lnTo>
                      <a:pt x="2992" y="5272"/>
                    </a:lnTo>
                    <a:lnTo>
                      <a:pt x="2994" y="5270"/>
                    </a:lnTo>
                    <a:lnTo>
                      <a:pt x="2998" y="5270"/>
                    </a:lnTo>
                    <a:lnTo>
                      <a:pt x="3004" y="5270"/>
                    </a:lnTo>
                    <a:lnTo>
                      <a:pt x="3014" y="5272"/>
                    </a:lnTo>
                    <a:lnTo>
                      <a:pt x="3016" y="5272"/>
                    </a:lnTo>
                    <a:lnTo>
                      <a:pt x="3012" y="5270"/>
                    </a:lnTo>
                    <a:close/>
                    <a:moveTo>
                      <a:pt x="3240" y="4810"/>
                    </a:moveTo>
                    <a:lnTo>
                      <a:pt x="3240" y="4810"/>
                    </a:lnTo>
                    <a:lnTo>
                      <a:pt x="3258" y="4782"/>
                    </a:lnTo>
                    <a:lnTo>
                      <a:pt x="3262" y="4776"/>
                    </a:lnTo>
                    <a:lnTo>
                      <a:pt x="3264" y="4770"/>
                    </a:lnTo>
                    <a:lnTo>
                      <a:pt x="3264" y="4764"/>
                    </a:lnTo>
                    <a:lnTo>
                      <a:pt x="3262" y="4760"/>
                    </a:lnTo>
                    <a:lnTo>
                      <a:pt x="3258" y="4756"/>
                    </a:lnTo>
                    <a:lnTo>
                      <a:pt x="3254" y="4756"/>
                    </a:lnTo>
                    <a:lnTo>
                      <a:pt x="3250" y="4758"/>
                    </a:lnTo>
                    <a:lnTo>
                      <a:pt x="3246" y="4764"/>
                    </a:lnTo>
                    <a:lnTo>
                      <a:pt x="3236" y="4776"/>
                    </a:lnTo>
                    <a:lnTo>
                      <a:pt x="3228" y="4792"/>
                    </a:lnTo>
                    <a:lnTo>
                      <a:pt x="3222" y="4796"/>
                    </a:lnTo>
                    <a:lnTo>
                      <a:pt x="3216" y="4798"/>
                    </a:lnTo>
                    <a:lnTo>
                      <a:pt x="3208" y="4798"/>
                    </a:lnTo>
                    <a:lnTo>
                      <a:pt x="3198" y="4798"/>
                    </a:lnTo>
                    <a:lnTo>
                      <a:pt x="3182" y="4794"/>
                    </a:lnTo>
                    <a:lnTo>
                      <a:pt x="3176" y="4794"/>
                    </a:lnTo>
                    <a:lnTo>
                      <a:pt x="3174" y="4796"/>
                    </a:lnTo>
                    <a:lnTo>
                      <a:pt x="3170" y="4798"/>
                    </a:lnTo>
                    <a:lnTo>
                      <a:pt x="3168" y="4798"/>
                    </a:lnTo>
                    <a:lnTo>
                      <a:pt x="3158" y="4794"/>
                    </a:lnTo>
                    <a:lnTo>
                      <a:pt x="3146" y="4792"/>
                    </a:lnTo>
                    <a:lnTo>
                      <a:pt x="3138" y="4790"/>
                    </a:lnTo>
                    <a:lnTo>
                      <a:pt x="3130" y="4790"/>
                    </a:lnTo>
                    <a:lnTo>
                      <a:pt x="3122" y="4790"/>
                    </a:lnTo>
                    <a:lnTo>
                      <a:pt x="3118" y="4788"/>
                    </a:lnTo>
                    <a:lnTo>
                      <a:pt x="3116" y="4786"/>
                    </a:lnTo>
                    <a:lnTo>
                      <a:pt x="3114" y="4784"/>
                    </a:lnTo>
                    <a:lnTo>
                      <a:pt x="3114" y="4780"/>
                    </a:lnTo>
                    <a:lnTo>
                      <a:pt x="3114" y="4778"/>
                    </a:lnTo>
                    <a:lnTo>
                      <a:pt x="3112" y="4778"/>
                    </a:lnTo>
                    <a:lnTo>
                      <a:pt x="3104" y="4778"/>
                    </a:lnTo>
                    <a:lnTo>
                      <a:pt x="3098" y="4776"/>
                    </a:lnTo>
                    <a:lnTo>
                      <a:pt x="3092" y="4776"/>
                    </a:lnTo>
                    <a:lnTo>
                      <a:pt x="3090" y="4778"/>
                    </a:lnTo>
                    <a:lnTo>
                      <a:pt x="3088" y="4780"/>
                    </a:lnTo>
                    <a:lnTo>
                      <a:pt x="3084" y="4788"/>
                    </a:lnTo>
                    <a:lnTo>
                      <a:pt x="3080" y="4796"/>
                    </a:lnTo>
                    <a:lnTo>
                      <a:pt x="3078" y="4800"/>
                    </a:lnTo>
                    <a:lnTo>
                      <a:pt x="3074" y="4800"/>
                    </a:lnTo>
                    <a:lnTo>
                      <a:pt x="3072" y="4800"/>
                    </a:lnTo>
                    <a:lnTo>
                      <a:pt x="3068" y="4796"/>
                    </a:lnTo>
                    <a:lnTo>
                      <a:pt x="3066" y="4792"/>
                    </a:lnTo>
                    <a:lnTo>
                      <a:pt x="3064" y="4792"/>
                    </a:lnTo>
                    <a:lnTo>
                      <a:pt x="3060" y="4798"/>
                    </a:lnTo>
                    <a:lnTo>
                      <a:pt x="3056" y="4810"/>
                    </a:lnTo>
                    <a:lnTo>
                      <a:pt x="3052" y="4820"/>
                    </a:lnTo>
                    <a:lnTo>
                      <a:pt x="3048" y="4824"/>
                    </a:lnTo>
                    <a:lnTo>
                      <a:pt x="3048" y="4828"/>
                    </a:lnTo>
                    <a:lnTo>
                      <a:pt x="3048" y="4834"/>
                    </a:lnTo>
                    <a:lnTo>
                      <a:pt x="3048" y="4838"/>
                    </a:lnTo>
                    <a:lnTo>
                      <a:pt x="3046" y="4840"/>
                    </a:lnTo>
                    <a:lnTo>
                      <a:pt x="3044" y="4842"/>
                    </a:lnTo>
                    <a:lnTo>
                      <a:pt x="3040" y="4844"/>
                    </a:lnTo>
                    <a:lnTo>
                      <a:pt x="3040" y="4848"/>
                    </a:lnTo>
                    <a:lnTo>
                      <a:pt x="3042" y="4854"/>
                    </a:lnTo>
                    <a:lnTo>
                      <a:pt x="3044" y="4864"/>
                    </a:lnTo>
                    <a:lnTo>
                      <a:pt x="3040" y="4876"/>
                    </a:lnTo>
                    <a:lnTo>
                      <a:pt x="3034" y="4886"/>
                    </a:lnTo>
                    <a:lnTo>
                      <a:pt x="3030" y="4900"/>
                    </a:lnTo>
                    <a:lnTo>
                      <a:pt x="3030" y="4908"/>
                    </a:lnTo>
                    <a:lnTo>
                      <a:pt x="3030" y="4918"/>
                    </a:lnTo>
                    <a:lnTo>
                      <a:pt x="3030" y="4932"/>
                    </a:lnTo>
                    <a:lnTo>
                      <a:pt x="3028" y="4934"/>
                    </a:lnTo>
                    <a:lnTo>
                      <a:pt x="3026" y="4936"/>
                    </a:lnTo>
                    <a:lnTo>
                      <a:pt x="3024" y="4936"/>
                    </a:lnTo>
                    <a:lnTo>
                      <a:pt x="3024" y="4938"/>
                    </a:lnTo>
                    <a:lnTo>
                      <a:pt x="3022" y="4944"/>
                    </a:lnTo>
                    <a:lnTo>
                      <a:pt x="3020" y="4952"/>
                    </a:lnTo>
                    <a:lnTo>
                      <a:pt x="3020" y="4960"/>
                    </a:lnTo>
                    <a:lnTo>
                      <a:pt x="3016" y="4964"/>
                    </a:lnTo>
                    <a:lnTo>
                      <a:pt x="3014" y="4968"/>
                    </a:lnTo>
                    <a:lnTo>
                      <a:pt x="3010" y="4968"/>
                    </a:lnTo>
                    <a:lnTo>
                      <a:pt x="3006" y="4970"/>
                    </a:lnTo>
                    <a:lnTo>
                      <a:pt x="3006" y="4972"/>
                    </a:lnTo>
                    <a:lnTo>
                      <a:pt x="3008" y="4976"/>
                    </a:lnTo>
                    <a:lnTo>
                      <a:pt x="3010" y="4984"/>
                    </a:lnTo>
                    <a:lnTo>
                      <a:pt x="3008" y="4986"/>
                    </a:lnTo>
                    <a:lnTo>
                      <a:pt x="3006" y="4990"/>
                    </a:lnTo>
                    <a:lnTo>
                      <a:pt x="3008" y="5002"/>
                    </a:lnTo>
                    <a:lnTo>
                      <a:pt x="3012" y="5008"/>
                    </a:lnTo>
                    <a:lnTo>
                      <a:pt x="3014" y="5010"/>
                    </a:lnTo>
                    <a:lnTo>
                      <a:pt x="3018" y="5010"/>
                    </a:lnTo>
                    <a:lnTo>
                      <a:pt x="3020" y="5010"/>
                    </a:lnTo>
                    <a:lnTo>
                      <a:pt x="3024" y="5010"/>
                    </a:lnTo>
                    <a:lnTo>
                      <a:pt x="3028" y="5010"/>
                    </a:lnTo>
                    <a:lnTo>
                      <a:pt x="3032" y="5014"/>
                    </a:lnTo>
                    <a:lnTo>
                      <a:pt x="3036" y="5022"/>
                    </a:lnTo>
                    <a:lnTo>
                      <a:pt x="3040" y="5034"/>
                    </a:lnTo>
                    <a:lnTo>
                      <a:pt x="3040" y="5046"/>
                    </a:lnTo>
                    <a:lnTo>
                      <a:pt x="3038" y="5058"/>
                    </a:lnTo>
                    <a:lnTo>
                      <a:pt x="3036" y="5070"/>
                    </a:lnTo>
                    <a:lnTo>
                      <a:pt x="3032" y="5082"/>
                    </a:lnTo>
                    <a:lnTo>
                      <a:pt x="3030" y="5092"/>
                    </a:lnTo>
                    <a:lnTo>
                      <a:pt x="3030" y="5102"/>
                    </a:lnTo>
                    <a:lnTo>
                      <a:pt x="3034" y="5112"/>
                    </a:lnTo>
                    <a:lnTo>
                      <a:pt x="3038" y="5116"/>
                    </a:lnTo>
                    <a:lnTo>
                      <a:pt x="3042" y="5118"/>
                    </a:lnTo>
                    <a:lnTo>
                      <a:pt x="3046" y="5118"/>
                    </a:lnTo>
                    <a:lnTo>
                      <a:pt x="3050" y="5116"/>
                    </a:lnTo>
                    <a:lnTo>
                      <a:pt x="3058" y="5114"/>
                    </a:lnTo>
                    <a:lnTo>
                      <a:pt x="3068" y="5112"/>
                    </a:lnTo>
                    <a:lnTo>
                      <a:pt x="3072" y="5112"/>
                    </a:lnTo>
                    <a:lnTo>
                      <a:pt x="3072" y="5110"/>
                    </a:lnTo>
                    <a:lnTo>
                      <a:pt x="3070" y="5100"/>
                    </a:lnTo>
                    <a:lnTo>
                      <a:pt x="3068" y="5088"/>
                    </a:lnTo>
                    <a:lnTo>
                      <a:pt x="3068" y="5082"/>
                    </a:lnTo>
                    <a:lnTo>
                      <a:pt x="3070" y="5076"/>
                    </a:lnTo>
                    <a:lnTo>
                      <a:pt x="3072" y="5070"/>
                    </a:lnTo>
                    <a:lnTo>
                      <a:pt x="3074" y="5064"/>
                    </a:lnTo>
                    <a:lnTo>
                      <a:pt x="3072" y="5050"/>
                    </a:lnTo>
                    <a:lnTo>
                      <a:pt x="3072" y="5034"/>
                    </a:lnTo>
                    <a:lnTo>
                      <a:pt x="3072" y="5014"/>
                    </a:lnTo>
                    <a:lnTo>
                      <a:pt x="3074" y="5004"/>
                    </a:lnTo>
                    <a:lnTo>
                      <a:pt x="3072" y="4998"/>
                    </a:lnTo>
                    <a:lnTo>
                      <a:pt x="3068" y="4990"/>
                    </a:lnTo>
                    <a:lnTo>
                      <a:pt x="3068" y="4988"/>
                    </a:lnTo>
                    <a:lnTo>
                      <a:pt x="3068" y="4984"/>
                    </a:lnTo>
                    <a:lnTo>
                      <a:pt x="3076" y="4974"/>
                    </a:lnTo>
                    <a:lnTo>
                      <a:pt x="3084" y="4970"/>
                    </a:lnTo>
                    <a:lnTo>
                      <a:pt x="3090" y="4968"/>
                    </a:lnTo>
                    <a:lnTo>
                      <a:pt x="3094" y="4968"/>
                    </a:lnTo>
                    <a:lnTo>
                      <a:pt x="3098" y="4972"/>
                    </a:lnTo>
                    <a:lnTo>
                      <a:pt x="3100" y="4976"/>
                    </a:lnTo>
                    <a:lnTo>
                      <a:pt x="3100" y="4982"/>
                    </a:lnTo>
                    <a:lnTo>
                      <a:pt x="3098" y="4990"/>
                    </a:lnTo>
                    <a:lnTo>
                      <a:pt x="3094" y="4996"/>
                    </a:lnTo>
                    <a:lnTo>
                      <a:pt x="3092" y="5002"/>
                    </a:lnTo>
                    <a:lnTo>
                      <a:pt x="3090" y="5008"/>
                    </a:lnTo>
                    <a:lnTo>
                      <a:pt x="3092" y="5012"/>
                    </a:lnTo>
                    <a:lnTo>
                      <a:pt x="3094" y="5016"/>
                    </a:lnTo>
                    <a:lnTo>
                      <a:pt x="3102" y="5024"/>
                    </a:lnTo>
                    <a:lnTo>
                      <a:pt x="3112" y="5034"/>
                    </a:lnTo>
                    <a:lnTo>
                      <a:pt x="3116" y="5040"/>
                    </a:lnTo>
                    <a:lnTo>
                      <a:pt x="3116" y="5046"/>
                    </a:lnTo>
                    <a:lnTo>
                      <a:pt x="3114" y="5062"/>
                    </a:lnTo>
                    <a:lnTo>
                      <a:pt x="3114" y="5068"/>
                    </a:lnTo>
                    <a:lnTo>
                      <a:pt x="3116" y="5074"/>
                    </a:lnTo>
                    <a:lnTo>
                      <a:pt x="3120" y="5076"/>
                    </a:lnTo>
                    <a:lnTo>
                      <a:pt x="3130" y="5078"/>
                    </a:lnTo>
                    <a:lnTo>
                      <a:pt x="3136" y="5076"/>
                    </a:lnTo>
                    <a:lnTo>
                      <a:pt x="3138" y="5076"/>
                    </a:lnTo>
                    <a:lnTo>
                      <a:pt x="3140" y="5072"/>
                    </a:lnTo>
                    <a:lnTo>
                      <a:pt x="3140" y="5070"/>
                    </a:lnTo>
                    <a:lnTo>
                      <a:pt x="3140" y="5062"/>
                    </a:lnTo>
                    <a:lnTo>
                      <a:pt x="3142" y="5060"/>
                    </a:lnTo>
                    <a:lnTo>
                      <a:pt x="3148" y="5056"/>
                    </a:lnTo>
                    <a:lnTo>
                      <a:pt x="3152" y="5056"/>
                    </a:lnTo>
                    <a:lnTo>
                      <a:pt x="3156" y="5054"/>
                    </a:lnTo>
                    <a:lnTo>
                      <a:pt x="3164" y="5056"/>
                    </a:lnTo>
                    <a:lnTo>
                      <a:pt x="3166" y="5056"/>
                    </a:lnTo>
                    <a:lnTo>
                      <a:pt x="3168" y="5056"/>
                    </a:lnTo>
                    <a:lnTo>
                      <a:pt x="3172" y="5048"/>
                    </a:lnTo>
                    <a:lnTo>
                      <a:pt x="3172" y="5042"/>
                    </a:lnTo>
                    <a:lnTo>
                      <a:pt x="3170" y="5036"/>
                    </a:lnTo>
                    <a:lnTo>
                      <a:pt x="3164" y="5032"/>
                    </a:lnTo>
                    <a:lnTo>
                      <a:pt x="3158" y="5028"/>
                    </a:lnTo>
                    <a:lnTo>
                      <a:pt x="3152" y="5026"/>
                    </a:lnTo>
                    <a:lnTo>
                      <a:pt x="3148" y="5022"/>
                    </a:lnTo>
                    <a:lnTo>
                      <a:pt x="3146" y="5016"/>
                    </a:lnTo>
                    <a:lnTo>
                      <a:pt x="3148" y="5012"/>
                    </a:lnTo>
                    <a:lnTo>
                      <a:pt x="3152" y="5006"/>
                    </a:lnTo>
                    <a:lnTo>
                      <a:pt x="3152" y="4998"/>
                    </a:lnTo>
                    <a:lnTo>
                      <a:pt x="3150" y="4990"/>
                    </a:lnTo>
                    <a:lnTo>
                      <a:pt x="3148" y="4980"/>
                    </a:lnTo>
                    <a:lnTo>
                      <a:pt x="3136" y="4962"/>
                    </a:lnTo>
                    <a:lnTo>
                      <a:pt x="3122" y="4946"/>
                    </a:lnTo>
                    <a:lnTo>
                      <a:pt x="3118" y="4940"/>
                    </a:lnTo>
                    <a:lnTo>
                      <a:pt x="3118" y="4934"/>
                    </a:lnTo>
                    <a:lnTo>
                      <a:pt x="3122" y="4930"/>
                    </a:lnTo>
                    <a:lnTo>
                      <a:pt x="3128" y="4926"/>
                    </a:lnTo>
                    <a:lnTo>
                      <a:pt x="3146" y="4916"/>
                    </a:lnTo>
                    <a:lnTo>
                      <a:pt x="3154" y="4908"/>
                    </a:lnTo>
                    <a:lnTo>
                      <a:pt x="3162" y="4898"/>
                    </a:lnTo>
                    <a:lnTo>
                      <a:pt x="3168" y="4888"/>
                    </a:lnTo>
                    <a:lnTo>
                      <a:pt x="3172" y="4884"/>
                    </a:lnTo>
                    <a:lnTo>
                      <a:pt x="3176" y="4884"/>
                    </a:lnTo>
                    <a:lnTo>
                      <a:pt x="3180" y="4886"/>
                    </a:lnTo>
                    <a:lnTo>
                      <a:pt x="3186" y="4890"/>
                    </a:lnTo>
                    <a:lnTo>
                      <a:pt x="3190" y="4890"/>
                    </a:lnTo>
                    <a:lnTo>
                      <a:pt x="3192" y="4888"/>
                    </a:lnTo>
                    <a:lnTo>
                      <a:pt x="3196" y="4880"/>
                    </a:lnTo>
                    <a:lnTo>
                      <a:pt x="3196" y="4876"/>
                    </a:lnTo>
                    <a:lnTo>
                      <a:pt x="3194" y="4874"/>
                    </a:lnTo>
                    <a:lnTo>
                      <a:pt x="3192" y="4872"/>
                    </a:lnTo>
                    <a:lnTo>
                      <a:pt x="3188" y="4870"/>
                    </a:lnTo>
                    <a:lnTo>
                      <a:pt x="3170" y="4870"/>
                    </a:lnTo>
                    <a:lnTo>
                      <a:pt x="3160" y="4872"/>
                    </a:lnTo>
                    <a:lnTo>
                      <a:pt x="3152" y="4874"/>
                    </a:lnTo>
                    <a:lnTo>
                      <a:pt x="3144" y="4880"/>
                    </a:lnTo>
                    <a:lnTo>
                      <a:pt x="3136" y="4884"/>
                    </a:lnTo>
                    <a:lnTo>
                      <a:pt x="3130" y="4884"/>
                    </a:lnTo>
                    <a:lnTo>
                      <a:pt x="3124" y="4884"/>
                    </a:lnTo>
                    <a:lnTo>
                      <a:pt x="3116" y="4882"/>
                    </a:lnTo>
                    <a:lnTo>
                      <a:pt x="3112" y="4886"/>
                    </a:lnTo>
                    <a:lnTo>
                      <a:pt x="3108" y="4890"/>
                    </a:lnTo>
                    <a:lnTo>
                      <a:pt x="3106" y="4894"/>
                    </a:lnTo>
                    <a:lnTo>
                      <a:pt x="3104" y="4900"/>
                    </a:lnTo>
                    <a:lnTo>
                      <a:pt x="3100" y="4904"/>
                    </a:lnTo>
                    <a:lnTo>
                      <a:pt x="3096" y="4908"/>
                    </a:lnTo>
                    <a:lnTo>
                      <a:pt x="3088" y="4908"/>
                    </a:lnTo>
                    <a:lnTo>
                      <a:pt x="3082" y="4906"/>
                    </a:lnTo>
                    <a:lnTo>
                      <a:pt x="3078" y="4904"/>
                    </a:lnTo>
                    <a:lnTo>
                      <a:pt x="3078" y="4902"/>
                    </a:lnTo>
                    <a:lnTo>
                      <a:pt x="3078" y="4898"/>
                    </a:lnTo>
                    <a:lnTo>
                      <a:pt x="3076" y="4892"/>
                    </a:lnTo>
                    <a:lnTo>
                      <a:pt x="3074" y="4888"/>
                    </a:lnTo>
                    <a:lnTo>
                      <a:pt x="3068" y="4882"/>
                    </a:lnTo>
                    <a:lnTo>
                      <a:pt x="3064" y="4880"/>
                    </a:lnTo>
                    <a:lnTo>
                      <a:pt x="3062" y="4876"/>
                    </a:lnTo>
                    <a:lnTo>
                      <a:pt x="3058" y="4866"/>
                    </a:lnTo>
                    <a:lnTo>
                      <a:pt x="3058" y="4852"/>
                    </a:lnTo>
                    <a:lnTo>
                      <a:pt x="3060" y="4840"/>
                    </a:lnTo>
                    <a:lnTo>
                      <a:pt x="3066" y="4828"/>
                    </a:lnTo>
                    <a:lnTo>
                      <a:pt x="3072" y="4818"/>
                    </a:lnTo>
                    <a:lnTo>
                      <a:pt x="3074" y="4816"/>
                    </a:lnTo>
                    <a:lnTo>
                      <a:pt x="3078" y="4814"/>
                    </a:lnTo>
                    <a:lnTo>
                      <a:pt x="3082" y="4814"/>
                    </a:lnTo>
                    <a:lnTo>
                      <a:pt x="3086" y="4816"/>
                    </a:lnTo>
                    <a:lnTo>
                      <a:pt x="3092" y="4818"/>
                    </a:lnTo>
                    <a:lnTo>
                      <a:pt x="3096" y="4820"/>
                    </a:lnTo>
                    <a:lnTo>
                      <a:pt x="3106" y="4818"/>
                    </a:lnTo>
                    <a:lnTo>
                      <a:pt x="3116" y="4818"/>
                    </a:lnTo>
                    <a:lnTo>
                      <a:pt x="3122" y="4818"/>
                    </a:lnTo>
                    <a:lnTo>
                      <a:pt x="3126" y="4818"/>
                    </a:lnTo>
                    <a:lnTo>
                      <a:pt x="3132" y="4820"/>
                    </a:lnTo>
                    <a:lnTo>
                      <a:pt x="3140" y="4820"/>
                    </a:lnTo>
                    <a:lnTo>
                      <a:pt x="3156" y="4818"/>
                    </a:lnTo>
                    <a:lnTo>
                      <a:pt x="3172" y="4816"/>
                    </a:lnTo>
                    <a:lnTo>
                      <a:pt x="3178" y="4818"/>
                    </a:lnTo>
                    <a:lnTo>
                      <a:pt x="3182" y="4820"/>
                    </a:lnTo>
                    <a:lnTo>
                      <a:pt x="3186" y="4822"/>
                    </a:lnTo>
                    <a:lnTo>
                      <a:pt x="3192" y="4824"/>
                    </a:lnTo>
                    <a:lnTo>
                      <a:pt x="3200" y="4826"/>
                    </a:lnTo>
                    <a:lnTo>
                      <a:pt x="3208" y="4826"/>
                    </a:lnTo>
                    <a:lnTo>
                      <a:pt x="3218" y="4824"/>
                    </a:lnTo>
                    <a:lnTo>
                      <a:pt x="3226" y="4822"/>
                    </a:lnTo>
                    <a:lnTo>
                      <a:pt x="3234" y="4816"/>
                    </a:lnTo>
                    <a:lnTo>
                      <a:pt x="3240" y="4810"/>
                    </a:lnTo>
                    <a:close/>
                    <a:moveTo>
                      <a:pt x="2954" y="5244"/>
                    </a:moveTo>
                    <a:lnTo>
                      <a:pt x="2954" y="5244"/>
                    </a:lnTo>
                    <a:lnTo>
                      <a:pt x="2954" y="5248"/>
                    </a:lnTo>
                    <a:lnTo>
                      <a:pt x="2956" y="5246"/>
                    </a:lnTo>
                    <a:lnTo>
                      <a:pt x="2960" y="5240"/>
                    </a:lnTo>
                    <a:lnTo>
                      <a:pt x="2962" y="5238"/>
                    </a:lnTo>
                    <a:lnTo>
                      <a:pt x="2960" y="5236"/>
                    </a:lnTo>
                    <a:lnTo>
                      <a:pt x="2958" y="5236"/>
                    </a:lnTo>
                    <a:lnTo>
                      <a:pt x="2954" y="5240"/>
                    </a:lnTo>
                    <a:lnTo>
                      <a:pt x="2954" y="5244"/>
                    </a:lnTo>
                    <a:close/>
                    <a:moveTo>
                      <a:pt x="3346" y="4878"/>
                    </a:moveTo>
                    <a:lnTo>
                      <a:pt x="3346" y="4878"/>
                    </a:lnTo>
                    <a:lnTo>
                      <a:pt x="3350" y="4878"/>
                    </a:lnTo>
                    <a:lnTo>
                      <a:pt x="3352" y="4876"/>
                    </a:lnTo>
                    <a:lnTo>
                      <a:pt x="3350" y="4874"/>
                    </a:lnTo>
                    <a:lnTo>
                      <a:pt x="3348" y="4872"/>
                    </a:lnTo>
                    <a:lnTo>
                      <a:pt x="3346" y="4872"/>
                    </a:lnTo>
                    <a:lnTo>
                      <a:pt x="3344" y="4874"/>
                    </a:lnTo>
                    <a:lnTo>
                      <a:pt x="3344" y="4876"/>
                    </a:lnTo>
                    <a:lnTo>
                      <a:pt x="3346" y="4878"/>
                    </a:lnTo>
                    <a:close/>
                    <a:moveTo>
                      <a:pt x="3352" y="4858"/>
                    </a:moveTo>
                    <a:lnTo>
                      <a:pt x="3352" y="4858"/>
                    </a:lnTo>
                    <a:lnTo>
                      <a:pt x="3350" y="4862"/>
                    </a:lnTo>
                    <a:lnTo>
                      <a:pt x="3354" y="4868"/>
                    </a:lnTo>
                    <a:lnTo>
                      <a:pt x="3358" y="4874"/>
                    </a:lnTo>
                    <a:lnTo>
                      <a:pt x="3360" y="4876"/>
                    </a:lnTo>
                    <a:lnTo>
                      <a:pt x="3364" y="4874"/>
                    </a:lnTo>
                    <a:lnTo>
                      <a:pt x="3364" y="4866"/>
                    </a:lnTo>
                    <a:lnTo>
                      <a:pt x="3362" y="4858"/>
                    </a:lnTo>
                    <a:lnTo>
                      <a:pt x="3360" y="4854"/>
                    </a:lnTo>
                    <a:lnTo>
                      <a:pt x="3356" y="4854"/>
                    </a:lnTo>
                    <a:lnTo>
                      <a:pt x="3352" y="4858"/>
                    </a:lnTo>
                    <a:close/>
                    <a:moveTo>
                      <a:pt x="3452" y="4980"/>
                    </a:moveTo>
                    <a:lnTo>
                      <a:pt x="3452" y="4980"/>
                    </a:lnTo>
                    <a:lnTo>
                      <a:pt x="3440" y="4974"/>
                    </a:lnTo>
                    <a:lnTo>
                      <a:pt x="3438" y="4974"/>
                    </a:lnTo>
                    <a:lnTo>
                      <a:pt x="3436" y="4976"/>
                    </a:lnTo>
                    <a:lnTo>
                      <a:pt x="3428" y="4978"/>
                    </a:lnTo>
                    <a:lnTo>
                      <a:pt x="3422" y="4980"/>
                    </a:lnTo>
                    <a:lnTo>
                      <a:pt x="3414" y="4978"/>
                    </a:lnTo>
                    <a:lnTo>
                      <a:pt x="3404" y="4978"/>
                    </a:lnTo>
                    <a:lnTo>
                      <a:pt x="3396" y="4978"/>
                    </a:lnTo>
                    <a:lnTo>
                      <a:pt x="3390" y="4980"/>
                    </a:lnTo>
                    <a:lnTo>
                      <a:pt x="3384" y="4982"/>
                    </a:lnTo>
                    <a:lnTo>
                      <a:pt x="3378" y="4986"/>
                    </a:lnTo>
                    <a:lnTo>
                      <a:pt x="3376" y="4990"/>
                    </a:lnTo>
                    <a:lnTo>
                      <a:pt x="3374" y="4996"/>
                    </a:lnTo>
                    <a:lnTo>
                      <a:pt x="3374" y="5002"/>
                    </a:lnTo>
                    <a:lnTo>
                      <a:pt x="3376" y="5010"/>
                    </a:lnTo>
                    <a:lnTo>
                      <a:pt x="3378" y="5006"/>
                    </a:lnTo>
                    <a:lnTo>
                      <a:pt x="3380" y="4998"/>
                    </a:lnTo>
                    <a:lnTo>
                      <a:pt x="3382" y="4994"/>
                    </a:lnTo>
                    <a:lnTo>
                      <a:pt x="3384" y="4992"/>
                    </a:lnTo>
                    <a:lnTo>
                      <a:pt x="3386" y="4992"/>
                    </a:lnTo>
                    <a:lnTo>
                      <a:pt x="3388" y="4994"/>
                    </a:lnTo>
                    <a:lnTo>
                      <a:pt x="3392" y="5000"/>
                    </a:lnTo>
                    <a:lnTo>
                      <a:pt x="3396" y="5002"/>
                    </a:lnTo>
                    <a:lnTo>
                      <a:pt x="3400" y="5004"/>
                    </a:lnTo>
                    <a:lnTo>
                      <a:pt x="3404" y="5004"/>
                    </a:lnTo>
                    <a:lnTo>
                      <a:pt x="3408" y="5000"/>
                    </a:lnTo>
                    <a:lnTo>
                      <a:pt x="3414" y="4998"/>
                    </a:lnTo>
                    <a:lnTo>
                      <a:pt x="3418" y="4998"/>
                    </a:lnTo>
                    <a:lnTo>
                      <a:pt x="3428" y="5002"/>
                    </a:lnTo>
                    <a:lnTo>
                      <a:pt x="3436" y="5006"/>
                    </a:lnTo>
                    <a:lnTo>
                      <a:pt x="3438" y="5008"/>
                    </a:lnTo>
                    <a:lnTo>
                      <a:pt x="3440" y="5006"/>
                    </a:lnTo>
                    <a:lnTo>
                      <a:pt x="3442" y="5002"/>
                    </a:lnTo>
                    <a:lnTo>
                      <a:pt x="3446" y="5002"/>
                    </a:lnTo>
                    <a:lnTo>
                      <a:pt x="3456" y="5006"/>
                    </a:lnTo>
                    <a:lnTo>
                      <a:pt x="3468" y="5014"/>
                    </a:lnTo>
                    <a:lnTo>
                      <a:pt x="3482" y="5022"/>
                    </a:lnTo>
                    <a:lnTo>
                      <a:pt x="3488" y="5026"/>
                    </a:lnTo>
                    <a:lnTo>
                      <a:pt x="3492" y="5028"/>
                    </a:lnTo>
                    <a:lnTo>
                      <a:pt x="3494" y="5026"/>
                    </a:lnTo>
                    <a:lnTo>
                      <a:pt x="3496" y="5024"/>
                    </a:lnTo>
                    <a:lnTo>
                      <a:pt x="3494" y="5012"/>
                    </a:lnTo>
                    <a:lnTo>
                      <a:pt x="3484" y="4994"/>
                    </a:lnTo>
                    <a:lnTo>
                      <a:pt x="3478" y="4988"/>
                    </a:lnTo>
                    <a:lnTo>
                      <a:pt x="3476" y="4984"/>
                    </a:lnTo>
                    <a:lnTo>
                      <a:pt x="3472" y="4982"/>
                    </a:lnTo>
                    <a:lnTo>
                      <a:pt x="3470" y="4984"/>
                    </a:lnTo>
                    <a:lnTo>
                      <a:pt x="3464" y="4984"/>
                    </a:lnTo>
                    <a:lnTo>
                      <a:pt x="3458" y="4984"/>
                    </a:lnTo>
                    <a:lnTo>
                      <a:pt x="3452" y="4980"/>
                    </a:lnTo>
                    <a:close/>
                    <a:moveTo>
                      <a:pt x="3092" y="4546"/>
                    </a:moveTo>
                    <a:lnTo>
                      <a:pt x="3092" y="4546"/>
                    </a:lnTo>
                    <a:lnTo>
                      <a:pt x="3090" y="4552"/>
                    </a:lnTo>
                    <a:lnTo>
                      <a:pt x="3092" y="4552"/>
                    </a:lnTo>
                    <a:lnTo>
                      <a:pt x="3094" y="4552"/>
                    </a:lnTo>
                    <a:lnTo>
                      <a:pt x="3098" y="4552"/>
                    </a:lnTo>
                    <a:lnTo>
                      <a:pt x="3104" y="4552"/>
                    </a:lnTo>
                    <a:lnTo>
                      <a:pt x="3108" y="4554"/>
                    </a:lnTo>
                    <a:lnTo>
                      <a:pt x="3112" y="4552"/>
                    </a:lnTo>
                    <a:lnTo>
                      <a:pt x="3112" y="4548"/>
                    </a:lnTo>
                    <a:lnTo>
                      <a:pt x="3110" y="4548"/>
                    </a:lnTo>
                    <a:lnTo>
                      <a:pt x="3106" y="4546"/>
                    </a:lnTo>
                    <a:lnTo>
                      <a:pt x="3102" y="4542"/>
                    </a:lnTo>
                    <a:lnTo>
                      <a:pt x="3100" y="4540"/>
                    </a:lnTo>
                    <a:lnTo>
                      <a:pt x="3098" y="4540"/>
                    </a:lnTo>
                    <a:lnTo>
                      <a:pt x="3096" y="4542"/>
                    </a:lnTo>
                    <a:lnTo>
                      <a:pt x="3092" y="4546"/>
                    </a:lnTo>
                    <a:close/>
                    <a:moveTo>
                      <a:pt x="3058" y="4324"/>
                    </a:moveTo>
                    <a:lnTo>
                      <a:pt x="3058" y="4324"/>
                    </a:lnTo>
                    <a:lnTo>
                      <a:pt x="3056" y="4322"/>
                    </a:lnTo>
                    <a:lnTo>
                      <a:pt x="3052" y="4322"/>
                    </a:lnTo>
                    <a:lnTo>
                      <a:pt x="3048" y="4326"/>
                    </a:lnTo>
                    <a:lnTo>
                      <a:pt x="3048" y="4330"/>
                    </a:lnTo>
                    <a:lnTo>
                      <a:pt x="3050" y="4330"/>
                    </a:lnTo>
                    <a:lnTo>
                      <a:pt x="3058" y="4324"/>
                    </a:lnTo>
                    <a:close/>
                    <a:moveTo>
                      <a:pt x="3358" y="4790"/>
                    </a:moveTo>
                    <a:lnTo>
                      <a:pt x="3358" y="4790"/>
                    </a:lnTo>
                    <a:lnTo>
                      <a:pt x="3360" y="4800"/>
                    </a:lnTo>
                    <a:lnTo>
                      <a:pt x="3358" y="4806"/>
                    </a:lnTo>
                    <a:lnTo>
                      <a:pt x="3358" y="4812"/>
                    </a:lnTo>
                    <a:lnTo>
                      <a:pt x="3358" y="4816"/>
                    </a:lnTo>
                    <a:lnTo>
                      <a:pt x="3362" y="4820"/>
                    </a:lnTo>
                    <a:lnTo>
                      <a:pt x="3364" y="4826"/>
                    </a:lnTo>
                    <a:lnTo>
                      <a:pt x="3364" y="4830"/>
                    </a:lnTo>
                    <a:lnTo>
                      <a:pt x="3364" y="4838"/>
                    </a:lnTo>
                    <a:lnTo>
                      <a:pt x="3364" y="4846"/>
                    </a:lnTo>
                    <a:lnTo>
                      <a:pt x="3364" y="4850"/>
                    </a:lnTo>
                    <a:lnTo>
                      <a:pt x="3368" y="4856"/>
                    </a:lnTo>
                    <a:lnTo>
                      <a:pt x="3382" y="4876"/>
                    </a:lnTo>
                    <a:lnTo>
                      <a:pt x="3388" y="4882"/>
                    </a:lnTo>
                    <a:lnTo>
                      <a:pt x="3390" y="4884"/>
                    </a:lnTo>
                    <a:lnTo>
                      <a:pt x="3394" y="4884"/>
                    </a:lnTo>
                    <a:lnTo>
                      <a:pt x="3394" y="4882"/>
                    </a:lnTo>
                    <a:lnTo>
                      <a:pt x="3394" y="4880"/>
                    </a:lnTo>
                    <a:lnTo>
                      <a:pt x="3390" y="4876"/>
                    </a:lnTo>
                    <a:lnTo>
                      <a:pt x="3384" y="4868"/>
                    </a:lnTo>
                    <a:lnTo>
                      <a:pt x="3380" y="4860"/>
                    </a:lnTo>
                    <a:lnTo>
                      <a:pt x="3376" y="4848"/>
                    </a:lnTo>
                    <a:lnTo>
                      <a:pt x="3374" y="4836"/>
                    </a:lnTo>
                    <a:lnTo>
                      <a:pt x="3374" y="4826"/>
                    </a:lnTo>
                    <a:lnTo>
                      <a:pt x="3376" y="4820"/>
                    </a:lnTo>
                    <a:lnTo>
                      <a:pt x="3380" y="4818"/>
                    </a:lnTo>
                    <a:lnTo>
                      <a:pt x="3382" y="4818"/>
                    </a:lnTo>
                    <a:lnTo>
                      <a:pt x="3390" y="4820"/>
                    </a:lnTo>
                    <a:lnTo>
                      <a:pt x="3402" y="4824"/>
                    </a:lnTo>
                    <a:lnTo>
                      <a:pt x="3406" y="4826"/>
                    </a:lnTo>
                    <a:lnTo>
                      <a:pt x="3410" y="4826"/>
                    </a:lnTo>
                    <a:lnTo>
                      <a:pt x="3410" y="4822"/>
                    </a:lnTo>
                    <a:lnTo>
                      <a:pt x="3406" y="4816"/>
                    </a:lnTo>
                    <a:lnTo>
                      <a:pt x="3400" y="4812"/>
                    </a:lnTo>
                    <a:lnTo>
                      <a:pt x="3394" y="4810"/>
                    </a:lnTo>
                    <a:lnTo>
                      <a:pt x="3390" y="4806"/>
                    </a:lnTo>
                    <a:lnTo>
                      <a:pt x="3386" y="4804"/>
                    </a:lnTo>
                    <a:lnTo>
                      <a:pt x="3386" y="4802"/>
                    </a:lnTo>
                    <a:lnTo>
                      <a:pt x="3388" y="4800"/>
                    </a:lnTo>
                    <a:lnTo>
                      <a:pt x="3394" y="4796"/>
                    </a:lnTo>
                    <a:lnTo>
                      <a:pt x="3400" y="4792"/>
                    </a:lnTo>
                    <a:lnTo>
                      <a:pt x="3404" y="4788"/>
                    </a:lnTo>
                    <a:lnTo>
                      <a:pt x="3406" y="4784"/>
                    </a:lnTo>
                    <a:lnTo>
                      <a:pt x="3408" y="4774"/>
                    </a:lnTo>
                    <a:lnTo>
                      <a:pt x="3406" y="4770"/>
                    </a:lnTo>
                    <a:lnTo>
                      <a:pt x="3404" y="4766"/>
                    </a:lnTo>
                    <a:lnTo>
                      <a:pt x="3400" y="4766"/>
                    </a:lnTo>
                    <a:lnTo>
                      <a:pt x="3396" y="4766"/>
                    </a:lnTo>
                    <a:lnTo>
                      <a:pt x="3390" y="4770"/>
                    </a:lnTo>
                    <a:lnTo>
                      <a:pt x="3386" y="4774"/>
                    </a:lnTo>
                    <a:lnTo>
                      <a:pt x="3378" y="4788"/>
                    </a:lnTo>
                    <a:lnTo>
                      <a:pt x="3372" y="4800"/>
                    </a:lnTo>
                    <a:lnTo>
                      <a:pt x="3370" y="4800"/>
                    </a:lnTo>
                    <a:lnTo>
                      <a:pt x="3368" y="4798"/>
                    </a:lnTo>
                    <a:lnTo>
                      <a:pt x="3366" y="4792"/>
                    </a:lnTo>
                    <a:lnTo>
                      <a:pt x="3368" y="4788"/>
                    </a:lnTo>
                    <a:lnTo>
                      <a:pt x="3372" y="4782"/>
                    </a:lnTo>
                    <a:lnTo>
                      <a:pt x="3378" y="4772"/>
                    </a:lnTo>
                    <a:lnTo>
                      <a:pt x="3378" y="4766"/>
                    </a:lnTo>
                    <a:lnTo>
                      <a:pt x="3378" y="4762"/>
                    </a:lnTo>
                    <a:lnTo>
                      <a:pt x="3376" y="4754"/>
                    </a:lnTo>
                    <a:lnTo>
                      <a:pt x="3374" y="4750"/>
                    </a:lnTo>
                    <a:lnTo>
                      <a:pt x="3374" y="4748"/>
                    </a:lnTo>
                    <a:lnTo>
                      <a:pt x="3374" y="4744"/>
                    </a:lnTo>
                    <a:lnTo>
                      <a:pt x="3378" y="4734"/>
                    </a:lnTo>
                    <a:lnTo>
                      <a:pt x="3378" y="4732"/>
                    </a:lnTo>
                    <a:lnTo>
                      <a:pt x="3376" y="4732"/>
                    </a:lnTo>
                    <a:lnTo>
                      <a:pt x="3370" y="4736"/>
                    </a:lnTo>
                    <a:lnTo>
                      <a:pt x="3366" y="4740"/>
                    </a:lnTo>
                    <a:lnTo>
                      <a:pt x="3362" y="4746"/>
                    </a:lnTo>
                    <a:lnTo>
                      <a:pt x="3356" y="4760"/>
                    </a:lnTo>
                    <a:lnTo>
                      <a:pt x="3356" y="4776"/>
                    </a:lnTo>
                    <a:lnTo>
                      <a:pt x="3356" y="4784"/>
                    </a:lnTo>
                    <a:lnTo>
                      <a:pt x="3358" y="4790"/>
                    </a:lnTo>
                    <a:close/>
                    <a:moveTo>
                      <a:pt x="3086" y="4178"/>
                    </a:moveTo>
                    <a:lnTo>
                      <a:pt x="3086" y="4178"/>
                    </a:lnTo>
                    <a:lnTo>
                      <a:pt x="3076" y="4178"/>
                    </a:lnTo>
                    <a:lnTo>
                      <a:pt x="3070" y="4180"/>
                    </a:lnTo>
                    <a:lnTo>
                      <a:pt x="3068" y="4184"/>
                    </a:lnTo>
                    <a:lnTo>
                      <a:pt x="3072" y="4186"/>
                    </a:lnTo>
                    <a:lnTo>
                      <a:pt x="3076" y="4188"/>
                    </a:lnTo>
                    <a:lnTo>
                      <a:pt x="3076" y="4190"/>
                    </a:lnTo>
                    <a:lnTo>
                      <a:pt x="3078" y="4194"/>
                    </a:lnTo>
                    <a:lnTo>
                      <a:pt x="3080" y="4196"/>
                    </a:lnTo>
                    <a:lnTo>
                      <a:pt x="3084" y="4202"/>
                    </a:lnTo>
                    <a:lnTo>
                      <a:pt x="3088" y="4212"/>
                    </a:lnTo>
                    <a:lnTo>
                      <a:pt x="3092" y="4224"/>
                    </a:lnTo>
                    <a:lnTo>
                      <a:pt x="3098" y="4238"/>
                    </a:lnTo>
                    <a:lnTo>
                      <a:pt x="3102" y="4244"/>
                    </a:lnTo>
                    <a:lnTo>
                      <a:pt x="3104" y="4244"/>
                    </a:lnTo>
                    <a:lnTo>
                      <a:pt x="3106" y="4244"/>
                    </a:lnTo>
                    <a:lnTo>
                      <a:pt x="3112" y="4240"/>
                    </a:lnTo>
                    <a:lnTo>
                      <a:pt x="3116" y="4232"/>
                    </a:lnTo>
                    <a:lnTo>
                      <a:pt x="3118" y="4224"/>
                    </a:lnTo>
                    <a:lnTo>
                      <a:pt x="3118" y="4220"/>
                    </a:lnTo>
                    <a:lnTo>
                      <a:pt x="3116" y="4216"/>
                    </a:lnTo>
                    <a:lnTo>
                      <a:pt x="3116" y="4208"/>
                    </a:lnTo>
                    <a:lnTo>
                      <a:pt x="3118" y="4204"/>
                    </a:lnTo>
                    <a:lnTo>
                      <a:pt x="3116" y="4198"/>
                    </a:lnTo>
                    <a:lnTo>
                      <a:pt x="3114" y="4194"/>
                    </a:lnTo>
                    <a:lnTo>
                      <a:pt x="3110" y="4190"/>
                    </a:lnTo>
                    <a:lnTo>
                      <a:pt x="3100" y="4184"/>
                    </a:lnTo>
                    <a:lnTo>
                      <a:pt x="3086" y="4178"/>
                    </a:lnTo>
                    <a:close/>
                    <a:moveTo>
                      <a:pt x="3138" y="4192"/>
                    </a:moveTo>
                    <a:lnTo>
                      <a:pt x="3138" y="4192"/>
                    </a:lnTo>
                    <a:lnTo>
                      <a:pt x="3140" y="4190"/>
                    </a:lnTo>
                    <a:lnTo>
                      <a:pt x="3142" y="4186"/>
                    </a:lnTo>
                    <a:lnTo>
                      <a:pt x="3140" y="4180"/>
                    </a:lnTo>
                    <a:lnTo>
                      <a:pt x="3138" y="4178"/>
                    </a:lnTo>
                    <a:lnTo>
                      <a:pt x="3134" y="4178"/>
                    </a:lnTo>
                    <a:lnTo>
                      <a:pt x="3132" y="4178"/>
                    </a:lnTo>
                    <a:lnTo>
                      <a:pt x="3130" y="4178"/>
                    </a:lnTo>
                    <a:lnTo>
                      <a:pt x="3130" y="4184"/>
                    </a:lnTo>
                    <a:lnTo>
                      <a:pt x="3130" y="4188"/>
                    </a:lnTo>
                    <a:lnTo>
                      <a:pt x="3132" y="4192"/>
                    </a:lnTo>
                    <a:lnTo>
                      <a:pt x="3134" y="4194"/>
                    </a:lnTo>
                    <a:lnTo>
                      <a:pt x="3138" y="4192"/>
                    </a:lnTo>
                    <a:close/>
                    <a:moveTo>
                      <a:pt x="3386" y="4736"/>
                    </a:moveTo>
                    <a:lnTo>
                      <a:pt x="3386" y="4736"/>
                    </a:lnTo>
                    <a:lnTo>
                      <a:pt x="3388" y="4742"/>
                    </a:lnTo>
                    <a:lnTo>
                      <a:pt x="3392" y="4742"/>
                    </a:lnTo>
                    <a:lnTo>
                      <a:pt x="3396" y="4740"/>
                    </a:lnTo>
                    <a:lnTo>
                      <a:pt x="3398" y="4736"/>
                    </a:lnTo>
                    <a:lnTo>
                      <a:pt x="3402" y="4732"/>
                    </a:lnTo>
                    <a:lnTo>
                      <a:pt x="3404" y="4726"/>
                    </a:lnTo>
                    <a:lnTo>
                      <a:pt x="3404" y="4720"/>
                    </a:lnTo>
                    <a:lnTo>
                      <a:pt x="3404" y="4714"/>
                    </a:lnTo>
                    <a:lnTo>
                      <a:pt x="3400" y="4712"/>
                    </a:lnTo>
                    <a:lnTo>
                      <a:pt x="3398" y="4712"/>
                    </a:lnTo>
                    <a:lnTo>
                      <a:pt x="3394" y="4714"/>
                    </a:lnTo>
                    <a:lnTo>
                      <a:pt x="3392" y="4718"/>
                    </a:lnTo>
                    <a:lnTo>
                      <a:pt x="3388" y="4726"/>
                    </a:lnTo>
                    <a:lnTo>
                      <a:pt x="3386" y="4736"/>
                    </a:lnTo>
                    <a:close/>
                    <a:moveTo>
                      <a:pt x="3378" y="4912"/>
                    </a:moveTo>
                    <a:lnTo>
                      <a:pt x="3378" y="4912"/>
                    </a:lnTo>
                    <a:lnTo>
                      <a:pt x="3374" y="4908"/>
                    </a:lnTo>
                    <a:lnTo>
                      <a:pt x="3370" y="4906"/>
                    </a:lnTo>
                    <a:lnTo>
                      <a:pt x="3364" y="4904"/>
                    </a:lnTo>
                    <a:lnTo>
                      <a:pt x="3362" y="4904"/>
                    </a:lnTo>
                    <a:lnTo>
                      <a:pt x="3358" y="4906"/>
                    </a:lnTo>
                    <a:lnTo>
                      <a:pt x="3356" y="4908"/>
                    </a:lnTo>
                    <a:lnTo>
                      <a:pt x="3354" y="4912"/>
                    </a:lnTo>
                    <a:lnTo>
                      <a:pt x="3354" y="4916"/>
                    </a:lnTo>
                    <a:lnTo>
                      <a:pt x="3354" y="4922"/>
                    </a:lnTo>
                    <a:lnTo>
                      <a:pt x="3358" y="4924"/>
                    </a:lnTo>
                    <a:lnTo>
                      <a:pt x="3366" y="4922"/>
                    </a:lnTo>
                    <a:lnTo>
                      <a:pt x="3382" y="4922"/>
                    </a:lnTo>
                    <a:lnTo>
                      <a:pt x="3384" y="4922"/>
                    </a:lnTo>
                    <a:lnTo>
                      <a:pt x="3384" y="4920"/>
                    </a:lnTo>
                    <a:lnTo>
                      <a:pt x="3378" y="4912"/>
                    </a:lnTo>
                    <a:close/>
                    <a:moveTo>
                      <a:pt x="3378" y="5236"/>
                    </a:moveTo>
                    <a:lnTo>
                      <a:pt x="3378" y="5236"/>
                    </a:lnTo>
                    <a:lnTo>
                      <a:pt x="3374" y="5234"/>
                    </a:lnTo>
                    <a:lnTo>
                      <a:pt x="3370" y="5234"/>
                    </a:lnTo>
                    <a:lnTo>
                      <a:pt x="3368" y="5236"/>
                    </a:lnTo>
                    <a:lnTo>
                      <a:pt x="3372" y="5240"/>
                    </a:lnTo>
                    <a:lnTo>
                      <a:pt x="3376" y="5242"/>
                    </a:lnTo>
                    <a:lnTo>
                      <a:pt x="3380" y="5240"/>
                    </a:lnTo>
                    <a:lnTo>
                      <a:pt x="3380" y="5238"/>
                    </a:lnTo>
                    <a:lnTo>
                      <a:pt x="3378" y="5236"/>
                    </a:lnTo>
                    <a:close/>
                    <a:moveTo>
                      <a:pt x="3444" y="5230"/>
                    </a:moveTo>
                    <a:lnTo>
                      <a:pt x="3444" y="5230"/>
                    </a:lnTo>
                    <a:lnTo>
                      <a:pt x="3448" y="5232"/>
                    </a:lnTo>
                    <a:lnTo>
                      <a:pt x="3450" y="5230"/>
                    </a:lnTo>
                    <a:lnTo>
                      <a:pt x="3452" y="5228"/>
                    </a:lnTo>
                    <a:lnTo>
                      <a:pt x="3452" y="5224"/>
                    </a:lnTo>
                    <a:lnTo>
                      <a:pt x="3448" y="5220"/>
                    </a:lnTo>
                    <a:lnTo>
                      <a:pt x="3442" y="5218"/>
                    </a:lnTo>
                    <a:lnTo>
                      <a:pt x="3440" y="5220"/>
                    </a:lnTo>
                    <a:lnTo>
                      <a:pt x="3442" y="5224"/>
                    </a:lnTo>
                    <a:lnTo>
                      <a:pt x="3444" y="5230"/>
                    </a:lnTo>
                    <a:close/>
                    <a:moveTo>
                      <a:pt x="3364" y="4876"/>
                    </a:moveTo>
                    <a:lnTo>
                      <a:pt x="3364" y="4876"/>
                    </a:lnTo>
                    <a:lnTo>
                      <a:pt x="3364" y="4878"/>
                    </a:lnTo>
                    <a:lnTo>
                      <a:pt x="3366" y="4880"/>
                    </a:lnTo>
                    <a:lnTo>
                      <a:pt x="3370" y="4882"/>
                    </a:lnTo>
                    <a:lnTo>
                      <a:pt x="3372" y="4880"/>
                    </a:lnTo>
                    <a:lnTo>
                      <a:pt x="3374" y="4876"/>
                    </a:lnTo>
                    <a:lnTo>
                      <a:pt x="3372" y="4874"/>
                    </a:lnTo>
                    <a:lnTo>
                      <a:pt x="3368" y="4874"/>
                    </a:lnTo>
                    <a:lnTo>
                      <a:pt x="3364" y="4876"/>
                    </a:lnTo>
                    <a:close/>
                    <a:moveTo>
                      <a:pt x="3374" y="5022"/>
                    </a:moveTo>
                    <a:lnTo>
                      <a:pt x="3374" y="5022"/>
                    </a:lnTo>
                    <a:lnTo>
                      <a:pt x="3378" y="5024"/>
                    </a:lnTo>
                    <a:lnTo>
                      <a:pt x="3384" y="5022"/>
                    </a:lnTo>
                    <a:lnTo>
                      <a:pt x="3388" y="5018"/>
                    </a:lnTo>
                    <a:lnTo>
                      <a:pt x="3390" y="5012"/>
                    </a:lnTo>
                    <a:lnTo>
                      <a:pt x="3390" y="5010"/>
                    </a:lnTo>
                    <a:lnTo>
                      <a:pt x="3388" y="5010"/>
                    </a:lnTo>
                    <a:lnTo>
                      <a:pt x="3382" y="5012"/>
                    </a:lnTo>
                    <a:lnTo>
                      <a:pt x="3376" y="5018"/>
                    </a:lnTo>
                    <a:lnTo>
                      <a:pt x="3374" y="5020"/>
                    </a:lnTo>
                    <a:lnTo>
                      <a:pt x="3374" y="5022"/>
                    </a:lnTo>
                    <a:close/>
                    <a:moveTo>
                      <a:pt x="3412" y="3200"/>
                    </a:moveTo>
                    <a:lnTo>
                      <a:pt x="3412" y="3200"/>
                    </a:lnTo>
                    <a:lnTo>
                      <a:pt x="3408" y="3200"/>
                    </a:lnTo>
                    <a:lnTo>
                      <a:pt x="3406" y="3202"/>
                    </a:lnTo>
                    <a:lnTo>
                      <a:pt x="3404" y="3206"/>
                    </a:lnTo>
                    <a:lnTo>
                      <a:pt x="3406" y="3208"/>
                    </a:lnTo>
                    <a:lnTo>
                      <a:pt x="3408" y="3208"/>
                    </a:lnTo>
                    <a:lnTo>
                      <a:pt x="3414" y="3206"/>
                    </a:lnTo>
                    <a:lnTo>
                      <a:pt x="3416" y="3204"/>
                    </a:lnTo>
                    <a:lnTo>
                      <a:pt x="3416" y="3202"/>
                    </a:lnTo>
                    <a:lnTo>
                      <a:pt x="3412" y="3200"/>
                    </a:lnTo>
                    <a:close/>
                    <a:moveTo>
                      <a:pt x="3402" y="3084"/>
                    </a:moveTo>
                    <a:lnTo>
                      <a:pt x="3402" y="3084"/>
                    </a:lnTo>
                    <a:lnTo>
                      <a:pt x="3400" y="3088"/>
                    </a:lnTo>
                    <a:lnTo>
                      <a:pt x="3398" y="3092"/>
                    </a:lnTo>
                    <a:lnTo>
                      <a:pt x="3400" y="3096"/>
                    </a:lnTo>
                    <a:lnTo>
                      <a:pt x="3402" y="3098"/>
                    </a:lnTo>
                    <a:lnTo>
                      <a:pt x="3404" y="3096"/>
                    </a:lnTo>
                    <a:lnTo>
                      <a:pt x="3406" y="3092"/>
                    </a:lnTo>
                    <a:lnTo>
                      <a:pt x="3406" y="3088"/>
                    </a:lnTo>
                    <a:lnTo>
                      <a:pt x="3406" y="3084"/>
                    </a:lnTo>
                    <a:lnTo>
                      <a:pt x="3404" y="3084"/>
                    </a:lnTo>
                    <a:lnTo>
                      <a:pt x="3402" y="3084"/>
                    </a:lnTo>
                    <a:close/>
                    <a:moveTo>
                      <a:pt x="3416" y="3464"/>
                    </a:moveTo>
                    <a:lnTo>
                      <a:pt x="3416" y="3464"/>
                    </a:lnTo>
                    <a:lnTo>
                      <a:pt x="3420" y="3466"/>
                    </a:lnTo>
                    <a:lnTo>
                      <a:pt x="3422" y="3464"/>
                    </a:lnTo>
                    <a:lnTo>
                      <a:pt x="3422" y="3460"/>
                    </a:lnTo>
                    <a:lnTo>
                      <a:pt x="3420" y="3454"/>
                    </a:lnTo>
                    <a:lnTo>
                      <a:pt x="3418" y="3452"/>
                    </a:lnTo>
                    <a:lnTo>
                      <a:pt x="3416" y="3454"/>
                    </a:lnTo>
                    <a:lnTo>
                      <a:pt x="3414" y="3458"/>
                    </a:lnTo>
                    <a:lnTo>
                      <a:pt x="3416" y="3464"/>
                    </a:lnTo>
                    <a:close/>
                    <a:moveTo>
                      <a:pt x="2806" y="3776"/>
                    </a:moveTo>
                    <a:lnTo>
                      <a:pt x="2806" y="3776"/>
                    </a:lnTo>
                    <a:lnTo>
                      <a:pt x="2810" y="3778"/>
                    </a:lnTo>
                    <a:lnTo>
                      <a:pt x="2814" y="3778"/>
                    </a:lnTo>
                    <a:lnTo>
                      <a:pt x="2816" y="3776"/>
                    </a:lnTo>
                    <a:lnTo>
                      <a:pt x="2818" y="3774"/>
                    </a:lnTo>
                    <a:lnTo>
                      <a:pt x="2820" y="3768"/>
                    </a:lnTo>
                    <a:lnTo>
                      <a:pt x="2818" y="3762"/>
                    </a:lnTo>
                    <a:lnTo>
                      <a:pt x="2820" y="3758"/>
                    </a:lnTo>
                    <a:lnTo>
                      <a:pt x="2820" y="3754"/>
                    </a:lnTo>
                    <a:lnTo>
                      <a:pt x="2820" y="3752"/>
                    </a:lnTo>
                    <a:lnTo>
                      <a:pt x="2818" y="3752"/>
                    </a:lnTo>
                    <a:lnTo>
                      <a:pt x="2814" y="3752"/>
                    </a:lnTo>
                    <a:lnTo>
                      <a:pt x="2812" y="3752"/>
                    </a:lnTo>
                    <a:lnTo>
                      <a:pt x="2814" y="3752"/>
                    </a:lnTo>
                    <a:lnTo>
                      <a:pt x="2814" y="3750"/>
                    </a:lnTo>
                    <a:lnTo>
                      <a:pt x="2812" y="3748"/>
                    </a:lnTo>
                    <a:lnTo>
                      <a:pt x="2810" y="3750"/>
                    </a:lnTo>
                    <a:lnTo>
                      <a:pt x="2808" y="3752"/>
                    </a:lnTo>
                    <a:lnTo>
                      <a:pt x="2808" y="3756"/>
                    </a:lnTo>
                    <a:lnTo>
                      <a:pt x="2806" y="3758"/>
                    </a:lnTo>
                    <a:lnTo>
                      <a:pt x="2802" y="3760"/>
                    </a:lnTo>
                    <a:lnTo>
                      <a:pt x="2802" y="3766"/>
                    </a:lnTo>
                    <a:lnTo>
                      <a:pt x="2802" y="3774"/>
                    </a:lnTo>
                    <a:lnTo>
                      <a:pt x="2800" y="3774"/>
                    </a:lnTo>
                    <a:lnTo>
                      <a:pt x="2802" y="3774"/>
                    </a:lnTo>
                    <a:lnTo>
                      <a:pt x="2804" y="3774"/>
                    </a:lnTo>
                    <a:lnTo>
                      <a:pt x="2806" y="3776"/>
                    </a:lnTo>
                    <a:close/>
                    <a:moveTo>
                      <a:pt x="3380" y="3090"/>
                    </a:moveTo>
                    <a:lnTo>
                      <a:pt x="3380" y="3090"/>
                    </a:lnTo>
                    <a:lnTo>
                      <a:pt x="3378" y="3088"/>
                    </a:lnTo>
                    <a:lnTo>
                      <a:pt x="3376" y="3086"/>
                    </a:lnTo>
                    <a:lnTo>
                      <a:pt x="3372" y="3088"/>
                    </a:lnTo>
                    <a:lnTo>
                      <a:pt x="3370" y="3090"/>
                    </a:lnTo>
                    <a:lnTo>
                      <a:pt x="3370" y="3092"/>
                    </a:lnTo>
                    <a:lnTo>
                      <a:pt x="3376" y="3096"/>
                    </a:lnTo>
                    <a:lnTo>
                      <a:pt x="3378" y="3096"/>
                    </a:lnTo>
                    <a:lnTo>
                      <a:pt x="3380" y="3096"/>
                    </a:lnTo>
                    <a:lnTo>
                      <a:pt x="3380" y="3090"/>
                    </a:lnTo>
                    <a:close/>
                    <a:moveTo>
                      <a:pt x="3918" y="2740"/>
                    </a:moveTo>
                    <a:lnTo>
                      <a:pt x="3918" y="2740"/>
                    </a:lnTo>
                    <a:lnTo>
                      <a:pt x="3918" y="2736"/>
                    </a:lnTo>
                    <a:lnTo>
                      <a:pt x="3918" y="2734"/>
                    </a:lnTo>
                    <a:lnTo>
                      <a:pt x="3914" y="2732"/>
                    </a:lnTo>
                    <a:lnTo>
                      <a:pt x="3908" y="2730"/>
                    </a:lnTo>
                    <a:lnTo>
                      <a:pt x="3902" y="2728"/>
                    </a:lnTo>
                    <a:lnTo>
                      <a:pt x="3900" y="2726"/>
                    </a:lnTo>
                    <a:lnTo>
                      <a:pt x="3898" y="2728"/>
                    </a:lnTo>
                    <a:lnTo>
                      <a:pt x="3894" y="2736"/>
                    </a:lnTo>
                    <a:lnTo>
                      <a:pt x="3894" y="2740"/>
                    </a:lnTo>
                    <a:lnTo>
                      <a:pt x="3894" y="2744"/>
                    </a:lnTo>
                    <a:lnTo>
                      <a:pt x="3898" y="2746"/>
                    </a:lnTo>
                    <a:lnTo>
                      <a:pt x="3902" y="2744"/>
                    </a:lnTo>
                    <a:lnTo>
                      <a:pt x="3906" y="2744"/>
                    </a:lnTo>
                    <a:lnTo>
                      <a:pt x="3910" y="2746"/>
                    </a:lnTo>
                    <a:lnTo>
                      <a:pt x="3910" y="2748"/>
                    </a:lnTo>
                    <a:lnTo>
                      <a:pt x="3912" y="2752"/>
                    </a:lnTo>
                    <a:lnTo>
                      <a:pt x="3908" y="2760"/>
                    </a:lnTo>
                    <a:lnTo>
                      <a:pt x="3906" y="2762"/>
                    </a:lnTo>
                    <a:lnTo>
                      <a:pt x="3904" y="2760"/>
                    </a:lnTo>
                    <a:lnTo>
                      <a:pt x="3900" y="2758"/>
                    </a:lnTo>
                    <a:lnTo>
                      <a:pt x="3898" y="2760"/>
                    </a:lnTo>
                    <a:lnTo>
                      <a:pt x="3894" y="2762"/>
                    </a:lnTo>
                    <a:lnTo>
                      <a:pt x="3890" y="2764"/>
                    </a:lnTo>
                    <a:lnTo>
                      <a:pt x="3888" y="2762"/>
                    </a:lnTo>
                    <a:lnTo>
                      <a:pt x="3888" y="2756"/>
                    </a:lnTo>
                    <a:lnTo>
                      <a:pt x="3886" y="2746"/>
                    </a:lnTo>
                    <a:lnTo>
                      <a:pt x="3884" y="2742"/>
                    </a:lnTo>
                    <a:lnTo>
                      <a:pt x="3880" y="2740"/>
                    </a:lnTo>
                    <a:lnTo>
                      <a:pt x="3878" y="2742"/>
                    </a:lnTo>
                    <a:lnTo>
                      <a:pt x="3876" y="2744"/>
                    </a:lnTo>
                    <a:lnTo>
                      <a:pt x="3874" y="2750"/>
                    </a:lnTo>
                    <a:lnTo>
                      <a:pt x="3874" y="2758"/>
                    </a:lnTo>
                    <a:lnTo>
                      <a:pt x="3872" y="2764"/>
                    </a:lnTo>
                    <a:lnTo>
                      <a:pt x="3870" y="2768"/>
                    </a:lnTo>
                    <a:lnTo>
                      <a:pt x="3866" y="2768"/>
                    </a:lnTo>
                    <a:lnTo>
                      <a:pt x="3862" y="2770"/>
                    </a:lnTo>
                    <a:lnTo>
                      <a:pt x="3858" y="2770"/>
                    </a:lnTo>
                    <a:lnTo>
                      <a:pt x="3856" y="2772"/>
                    </a:lnTo>
                    <a:lnTo>
                      <a:pt x="3856" y="2776"/>
                    </a:lnTo>
                    <a:lnTo>
                      <a:pt x="3856" y="2786"/>
                    </a:lnTo>
                    <a:lnTo>
                      <a:pt x="3858" y="2796"/>
                    </a:lnTo>
                    <a:lnTo>
                      <a:pt x="3860" y="2802"/>
                    </a:lnTo>
                    <a:lnTo>
                      <a:pt x="3858" y="2806"/>
                    </a:lnTo>
                    <a:lnTo>
                      <a:pt x="3856" y="2808"/>
                    </a:lnTo>
                    <a:lnTo>
                      <a:pt x="3852" y="2810"/>
                    </a:lnTo>
                    <a:lnTo>
                      <a:pt x="3850" y="2812"/>
                    </a:lnTo>
                    <a:lnTo>
                      <a:pt x="3850" y="2814"/>
                    </a:lnTo>
                    <a:lnTo>
                      <a:pt x="3850" y="2816"/>
                    </a:lnTo>
                    <a:lnTo>
                      <a:pt x="3852" y="2818"/>
                    </a:lnTo>
                    <a:lnTo>
                      <a:pt x="3854" y="2818"/>
                    </a:lnTo>
                    <a:lnTo>
                      <a:pt x="3858" y="2820"/>
                    </a:lnTo>
                    <a:lnTo>
                      <a:pt x="3860" y="2824"/>
                    </a:lnTo>
                    <a:lnTo>
                      <a:pt x="3860" y="2832"/>
                    </a:lnTo>
                    <a:lnTo>
                      <a:pt x="3858" y="2846"/>
                    </a:lnTo>
                    <a:lnTo>
                      <a:pt x="3854" y="2866"/>
                    </a:lnTo>
                    <a:lnTo>
                      <a:pt x="3850" y="2884"/>
                    </a:lnTo>
                    <a:lnTo>
                      <a:pt x="3844" y="2896"/>
                    </a:lnTo>
                    <a:lnTo>
                      <a:pt x="3840" y="2904"/>
                    </a:lnTo>
                    <a:lnTo>
                      <a:pt x="3834" y="2912"/>
                    </a:lnTo>
                    <a:lnTo>
                      <a:pt x="3822" y="2926"/>
                    </a:lnTo>
                    <a:lnTo>
                      <a:pt x="3808" y="2942"/>
                    </a:lnTo>
                    <a:lnTo>
                      <a:pt x="3802" y="2952"/>
                    </a:lnTo>
                    <a:lnTo>
                      <a:pt x="3794" y="2960"/>
                    </a:lnTo>
                    <a:lnTo>
                      <a:pt x="3788" y="2964"/>
                    </a:lnTo>
                    <a:lnTo>
                      <a:pt x="3782" y="2968"/>
                    </a:lnTo>
                    <a:lnTo>
                      <a:pt x="3768" y="2974"/>
                    </a:lnTo>
                    <a:lnTo>
                      <a:pt x="3760" y="2978"/>
                    </a:lnTo>
                    <a:lnTo>
                      <a:pt x="3752" y="2984"/>
                    </a:lnTo>
                    <a:lnTo>
                      <a:pt x="3742" y="2990"/>
                    </a:lnTo>
                    <a:lnTo>
                      <a:pt x="3742" y="2988"/>
                    </a:lnTo>
                    <a:lnTo>
                      <a:pt x="3742" y="2986"/>
                    </a:lnTo>
                    <a:lnTo>
                      <a:pt x="3744" y="2978"/>
                    </a:lnTo>
                    <a:lnTo>
                      <a:pt x="3744" y="2974"/>
                    </a:lnTo>
                    <a:lnTo>
                      <a:pt x="3740" y="2970"/>
                    </a:lnTo>
                    <a:lnTo>
                      <a:pt x="3740" y="2968"/>
                    </a:lnTo>
                    <a:lnTo>
                      <a:pt x="3740" y="2966"/>
                    </a:lnTo>
                    <a:lnTo>
                      <a:pt x="3748" y="2960"/>
                    </a:lnTo>
                    <a:lnTo>
                      <a:pt x="3754" y="2952"/>
                    </a:lnTo>
                    <a:lnTo>
                      <a:pt x="3756" y="2948"/>
                    </a:lnTo>
                    <a:lnTo>
                      <a:pt x="3754" y="2944"/>
                    </a:lnTo>
                    <a:lnTo>
                      <a:pt x="3752" y="2944"/>
                    </a:lnTo>
                    <a:lnTo>
                      <a:pt x="3748" y="2944"/>
                    </a:lnTo>
                    <a:lnTo>
                      <a:pt x="3738" y="2948"/>
                    </a:lnTo>
                    <a:lnTo>
                      <a:pt x="3734" y="2952"/>
                    </a:lnTo>
                    <a:lnTo>
                      <a:pt x="3730" y="2956"/>
                    </a:lnTo>
                    <a:lnTo>
                      <a:pt x="3728" y="2962"/>
                    </a:lnTo>
                    <a:lnTo>
                      <a:pt x="3730" y="2966"/>
                    </a:lnTo>
                    <a:lnTo>
                      <a:pt x="3730" y="2976"/>
                    </a:lnTo>
                    <a:lnTo>
                      <a:pt x="3728" y="2986"/>
                    </a:lnTo>
                    <a:lnTo>
                      <a:pt x="3722" y="2996"/>
                    </a:lnTo>
                    <a:lnTo>
                      <a:pt x="3716" y="3006"/>
                    </a:lnTo>
                    <a:lnTo>
                      <a:pt x="3704" y="3022"/>
                    </a:lnTo>
                    <a:lnTo>
                      <a:pt x="3700" y="3026"/>
                    </a:lnTo>
                    <a:lnTo>
                      <a:pt x="3698" y="3030"/>
                    </a:lnTo>
                    <a:lnTo>
                      <a:pt x="3700" y="3036"/>
                    </a:lnTo>
                    <a:lnTo>
                      <a:pt x="3700" y="3044"/>
                    </a:lnTo>
                    <a:lnTo>
                      <a:pt x="3698" y="3046"/>
                    </a:lnTo>
                    <a:lnTo>
                      <a:pt x="3694" y="3050"/>
                    </a:lnTo>
                    <a:lnTo>
                      <a:pt x="3690" y="3052"/>
                    </a:lnTo>
                    <a:lnTo>
                      <a:pt x="3682" y="3054"/>
                    </a:lnTo>
                    <a:lnTo>
                      <a:pt x="3676" y="3054"/>
                    </a:lnTo>
                    <a:lnTo>
                      <a:pt x="3672" y="3052"/>
                    </a:lnTo>
                    <a:lnTo>
                      <a:pt x="3672" y="3048"/>
                    </a:lnTo>
                    <a:lnTo>
                      <a:pt x="3674" y="3044"/>
                    </a:lnTo>
                    <a:lnTo>
                      <a:pt x="3672" y="3042"/>
                    </a:lnTo>
                    <a:lnTo>
                      <a:pt x="3668" y="3040"/>
                    </a:lnTo>
                    <a:lnTo>
                      <a:pt x="3662" y="3042"/>
                    </a:lnTo>
                    <a:lnTo>
                      <a:pt x="3652" y="3044"/>
                    </a:lnTo>
                    <a:lnTo>
                      <a:pt x="3626" y="3052"/>
                    </a:lnTo>
                    <a:lnTo>
                      <a:pt x="3614" y="3056"/>
                    </a:lnTo>
                    <a:lnTo>
                      <a:pt x="3602" y="3058"/>
                    </a:lnTo>
                    <a:lnTo>
                      <a:pt x="3594" y="3058"/>
                    </a:lnTo>
                    <a:lnTo>
                      <a:pt x="3592" y="3056"/>
                    </a:lnTo>
                    <a:lnTo>
                      <a:pt x="3590" y="3054"/>
                    </a:lnTo>
                    <a:lnTo>
                      <a:pt x="3588" y="3050"/>
                    </a:lnTo>
                    <a:lnTo>
                      <a:pt x="3584" y="3050"/>
                    </a:lnTo>
                    <a:lnTo>
                      <a:pt x="3580" y="3050"/>
                    </a:lnTo>
                    <a:lnTo>
                      <a:pt x="3574" y="3052"/>
                    </a:lnTo>
                    <a:lnTo>
                      <a:pt x="3562" y="3062"/>
                    </a:lnTo>
                    <a:lnTo>
                      <a:pt x="3548" y="3080"/>
                    </a:lnTo>
                    <a:lnTo>
                      <a:pt x="3542" y="3088"/>
                    </a:lnTo>
                    <a:lnTo>
                      <a:pt x="3536" y="3092"/>
                    </a:lnTo>
                    <a:lnTo>
                      <a:pt x="3530" y="3096"/>
                    </a:lnTo>
                    <a:lnTo>
                      <a:pt x="3524" y="3098"/>
                    </a:lnTo>
                    <a:lnTo>
                      <a:pt x="3518" y="3106"/>
                    </a:lnTo>
                    <a:lnTo>
                      <a:pt x="3514" y="3112"/>
                    </a:lnTo>
                    <a:lnTo>
                      <a:pt x="3510" y="3114"/>
                    </a:lnTo>
                    <a:lnTo>
                      <a:pt x="3502" y="3114"/>
                    </a:lnTo>
                    <a:lnTo>
                      <a:pt x="3500" y="3116"/>
                    </a:lnTo>
                    <a:lnTo>
                      <a:pt x="3498" y="3116"/>
                    </a:lnTo>
                    <a:lnTo>
                      <a:pt x="3496" y="3120"/>
                    </a:lnTo>
                    <a:lnTo>
                      <a:pt x="3496" y="3126"/>
                    </a:lnTo>
                    <a:lnTo>
                      <a:pt x="3496" y="3132"/>
                    </a:lnTo>
                    <a:lnTo>
                      <a:pt x="3500" y="3136"/>
                    </a:lnTo>
                    <a:lnTo>
                      <a:pt x="3504" y="3136"/>
                    </a:lnTo>
                    <a:lnTo>
                      <a:pt x="3508" y="3136"/>
                    </a:lnTo>
                    <a:lnTo>
                      <a:pt x="3522" y="3134"/>
                    </a:lnTo>
                    <a:lnTo>
                      <a:pt x="3528" y="3134"/>
                    </a:lnTo>
                    <a:lnTo>
                      <a:pt x="3536" y="3138"/>
                    </a:lnTo>
                    <a:lnTo>
                      <a:pt x="3542" y="3140"/>
                    </a:lnTo>
                    <a:lnTo>
                      <a:pt x="3544" y="3140"/>
                    </a:lnTo>
                    <a:lnTo>
                      <a:pt x="3546" y="3138"/>
                    </a:lnTo>
                    <a:lnTo>
                      <a:pt x="3546" y="3134"/>
                    </a:lnTo>
                    <a:lnTo>
                      <a:pt x="3546" y="3124"/>
                    </a:lnTo>
                    <a:lnTo>
                      <a:pt x="3548" y="3120"/>
                    </a:lnTo>
                    <a:lnTo>
                      <a:pt x="3550" y="3118"/>
                    </a:lnTo>
                    <a:lnTo>
                      <a:pt x="3556" y="3116"/>
                    </a:lnTo>
                    <a:lnTo>
                      <a:pt x="3558" y="3118"/>
                    </a:lnTo>
                    <a:lnTo>
                      <a:pt x="3562" y="3120"/>
                    </a:lnTo>
                    <a:lnTo>
                      <a:pt x="3570" y="3120"/>
                    </a:lnTo>
                    <a:lnTo>
                      <a:pt x="3596" y="3116"/>
                    </a:lnTo>
                    <a:lnTo>
                      <a:pt x="3620" y="3108"/>
                    </a:lnTo>
                    <a:lnTo>
                      <a:pt x="3626" y="3104"/>
                    </a:lnTo>
                    <a:lnTo>
                      <a:pt x="3630" y="3102"/>
                    </a:lnTo>
                    <a:lnTo>
                      <a:pt x="3632" y="3098"/>
                    </a:lnTo>
                    <a:lnTo>
                      <a:pt x="3632" y="3096"/>
                    </a:lnTo>
                    <a:lnTo>
                      <a:pt x="3636" y="3096"/>
                    </a:lnTo>
                    <a:lnTo>
                      <a:pt x="3648" y="3098"/>
                    </a:lnTo>
                    <a:lnTo>
                      <a:pt x="3656" y="3100"/>
                    </a:lnTo>
                    <a:lnTo>
                      <a:pt x="3662" y="3100"/>
                    </a:lnTo>
                    <a:lnTo>
                      <a:pt x="3670" y="3098"/>
                    </a:lnTo>
                    <a:lnTo>
                      <a:pt x="3674" y="3098"/>
                    </a:lnTo>
                    <a:lnTo>
                      <a:pt x="3676" y="3102"/>
                    </a:lnTo>
                    <a:lnTo>
                      <a:pt x="3678" y="3106"/>
                    </a:lnTo>
                    <a:lnTo>
                      <a:pt x="3676" y="3110"/>
                    </a:lnTo>
                    <a:lnTo>
                      <a:pt x="3672" y="3114"/>
                    </a:lnTo>
                    <a:lnTo>
                      <a:pt x="3666" y="3118"/>
                    </a:lnTo>
                    <a:lnTo>
                      <a:pt x="3666" y="3120"/>
                    </a:lnTo>
                    <a:lnTo>
                      <a:pt x="3666" y="3124"/>
                    </a:lnTo>
                    <a:lnTo>
                      <a:pt x="3666" y="3130"/>
                    </a:lnTo>
                    <a:lnTo>
                      <a:pt x="3664" y="3136"/>
                    </a:lnTo>
                    <a:lnTo>
                      <a:pt x="3664" y="3142"/>
                    </a:lnTo>
                    <a:lnTo>
                      <a:pt x="3664" y="3144"/>
                    </a:lnTo>
                    <a:lnTo>
                      <a:pt x="3668" y="3146"/>
                    </a:lnTo>
                    <a:lnTo>
                      <a:pt x="3674" y="3150"/>
                    </a:lnTo>
                    <a:lnTo>
                      <a:pt x="3674" y="3152"/>
                    </a:lnTo>
                    <a:lnTo>
                      <a:pt x="3676" y="3156"/>
                    </a:lnTo>
                    <a:lnTo>
                      <a:pt x="3684" y="3162"/>
                    </a:lnTo>
                    <a:lnTo>
                      <a:pt x="3684" y="3164"/>
                    </a:lnTo>
                    <a:lnTo>
                      <a:pt x="3688" y="3166"/>
                    </a:lnTo>
                    <a:lnTo>
                      <a:pt x="3692" y="3164"/>
                    </a:lnTo>
                    <a:lnTo>
                      <a:pt x="3696" y="3160"/>
                    </a:lnTo>
                    <a:lnTo>
                      <a:pt x="3700" y="3156"/>
                    </a:lnTo>
                    <a:lnTo>
                      <a:pt x="3716" y="3130"/>
                    </a:lnTo>
                    <a:lnTo>
                      <a:pt x="3720" y="3124"/>
                    </a:lnTo>
                    <a:lnTo>
                      <a:pt x="3724" y="3122"/>
                    </a:lnTo>
                    <a:lnTo>
                      <a:pt x="3734" y="3118"/>
                    </a:lnTo>
                    <a:lnTo>
                      <a:pt x="3738" y="3116"/>
                    </a:lnTo>
                    <a:lnTo>
                      <a:pt x="3738" y="3114"/>
                    </a:lnTo>
                    <a:lnTo>
                      <a:pt x="3736" y="3112"/>
                    </a:lnTo>
                    <a:lnTo>
                      <a:pt x="3730" y="3108"/>
                    </a:lnTo>
                    <a:lnTo>
                      <a:pt x="3724" y="3104"/>
                    </a:lnTo>
                    <a:lnTo>
                      <a:pt x="3722" y="3098"/>
                    </a:lnTo>
                    <a:lnTo>
                      <a:pt x="3722" y="3090"/>
                    </a:lnTo>
                    <a:lnTo>
                      <a:pt x="3724" y="3086"/>
                    </a:lnTo>
                    <a:lnTo>
                      <a:pt x="3728" y="3082"/>
                    </a:lnTo>
                    <a:lnTo>
                      <a:pt x="3732" y="3080"/>
                    </a:lnTo>
                    <a:lnTo>
                      <a:pt x="3734" y="3082"/>
                    </a:lnTo>
                    <a:lnTo>
                      <a:pt x="3734" y="3086"/>
                    </a:lnTo>
                    <a:lnTo>
                      <a:pt x="3736" y="3092"/>
                    </a:lnTo>
                    <a:lnTo>
                      <a:pt x="3738" y="3094"/>
                    </a:lnTo>
                    <a:lnTo>
                      <a:pt x="3742" y="3096"/>
                    </a:lnTo>
                    <a:lnTo>
                      <a:pt x="3746" y="3096"/>
                    </a:lnTo>
                    <a:lnTo>
                      <a:pt x="3750" y="3096"/>
                    </a:lnTo>
                    <a:lnTo>
                      <a:pt x="3746" y="3100"/>
                    </a:lnTo>
                    <a:lnTo>
                      <a:pt x="3742" y="3104"/>
                    </a:lnTo>
                    <a:lnTo>
                      <a:pt x="3750" y="3104"/>
                    </a:lnTo>
                    <a:lnTo>
                      <a:pt x="3762" y="3102"/>
                    </a:lnTo>
                    <a:lnTo>
                      <a:pt x="3774" y="3102"/>
                    </a:lnTo>
                    <a:lnTo>
                      <a:pt x="3782" y="3104"/>
                    </a:lnTo>
                    <a:lnTo>
                      <a:pt x="3786" y="3104"/>
                    </a:lnTo>
                    <a:lnTo>
                      <a:pt x="3788" y="3100"/>
                    </a:lnTo>
                    <a:lnTo>
                      <a:pt x="3792" y="3092"/>
                    </a:lnTo>
                    <a:lnTo>
                      <a:pt x="3800" y="3082"/>
                    </a:lnTo>
                    <a:lnTo>
                      <a:pt x="3806" y="3076"/>
                    </a:lnTo>
                    <a:lnTo>
                      <a:pt x="3810" y="3076"/>
                    </a:lnTo>
                    <a:lnTo>
                      <a:pt x="3810" y="3078"/>
                    </a:lnTo>
                    <a:lnTo>
                      <a:pt x="3812" y="3082"/>
                    </a:lnTo>
                    <a:lnTo>
                      <a:pt x="3810" y="3090"/>
                    </a:lnTo>
                    <a:lnTo>
                      <a:pt x="3810" y="3096"/>
                    </a:lnTo>
                    <a:lnTo>
                      <a:pt x="3810" y="3102"/>
                    </a:lnTo>
                    <a:lnTo>
                      <a:pt x="3812" y="3104"/>
                    </a:lnTo>
                    <a:lnTo>
                      <a:pt x="3814" y="3104"/>
                    </a:lnTo>
                    <a:lnTo>
                      <a:pt x="3820" y="3098"/>
                    </a:lnTo>
                    <a:lnTo>
                      <a:pt x="3824" y="3086"/>
                    </a:lnTo>
                    <a:lnTo>
                      <a:pt x="3826" y="3076"/>
                    </a:lnTo>
                    <a:lnTo>
                      <a:pt x="3828" y="3068"/>
                    </a:lnTo>
                    <a:lnTo>
                      <a:pt x="3830" y="3066"/>
                    </a:lnTo>
                    <a:lnTo>
                      <a:pt x="3834" y="3066"/>
                    </a:lnTo>
                    <a:lnTo>
                      <a:pt x="3842" y="3070"/>
                    </a:lnTo>
                    <a:lnTo>
                      <a:pt x="3848" y="3074"/>
                    </a:lnTo>
                    <a:lnTo>
                      <a:pt x="3848" y="3072"/>
                    </a:lnTo>
                    <a:lnTo>
                      <a:pt x="3848" y="3064"/>
                    </a:lnTo>
                    <a:lnTo>
                      <a:pt x="3848" y="3060"/>
                    </a:lnTo>
                    <a:lnTo>
                      <a:pt x="3850" y="3054"/>
                    </a:lnTo>
                    <a:lnTo>
                      <a:pt x="3852" y="3050"/>
                    </a:lnTo>
                    <a:lnTo>
                      <a:pt x="3856" y="3048"/>
                    </a:lnTo>
                    <a:lnTo>
                      <a:pt x="3862" y="3046"/>
                    </a:lnTo>
                    <a:lnTo>
                      <a:pt x="3864" y="3048"/>
                    </a:lnTo>
                    <a:lnTo>
                      <a:pt x="3864" y="3050"/>
                    </a:lnTo>
                    <a:lnTo>
                      <a:pt x="3864" y="3052"/>
                    </a:lnTo>
                    <a:lnTo>
                      <a:pt x="3862" y="3056"/>
                    </a:lnTo>
                    <a:lnTo>
                      <a:pt x="3858" y="3066"/>
                    </a:lnTo>
                    <a:lnTo>
                      <a:pt x="3854" y="3080"/>
                    </a:lnTo>
                    <a:lnTo>
                      <a:pt x="3854" y="3090"/>
                    </a:lnTo>
                    <a:lnTo>
                      <a:pt x="3856" y="3090"/>
                    </a:lnTo>
                    <a:lnTo>
                      <a:pt x="3860" y="3086"/>
                    </a:lnTo>
                    <a:lnTo>
                      <a:pt x="3864" y="3080"/>
                    </a:lnTo>
                    <a:lnTo>
                      <a:pt x="3866" y="3078"/>
                    </a:lnTo>
                    <a:lnTo>
                      <a:pt x="3872" y="3076"/>
                    </a:lnTo>
                    <a:lnTo>
                      <a:pt x="3874" y="3076"/>
                    </a:lnTo>
                    <a:lnTo>
                      <a:pt x="3876" y="3072"/>
                    </a:lnTo>
                    <a:lnTo>
                      <a:pt x="3878" y="3060"/>
                    </a:lnTo>
                    <a:lnTo>
                      <a:pt x="3880" y="3052"/>
                    </a:lnTo>
                    <a:lnTo>
                      <a:pt x="3886" y="3048"/>
                    </a:lnTo>
                    <a:lnTo>
                      <a:pt x="3890" y="3048"/>
                    </a:lnTo>
                    <a:lnTo>
                      <a:pt x="3894" y="3048"/>
                    </a:lnTo>
                    <a:lnTo>
                      <a:pt x="3898" y="3048"/>
                    </a:lnTo>
                    <a:lnTo>
                      <a:pt x="3900" y="3046"/>
                    </a:lnTo>
                    <a:lnTo>
                      <a:pt x="3898" y="3042"/>
                    </a:lnTo>
                    <a:lnTo>
                      <a:pt x="3892" y="3034"/>
                    </a:lnTo>
                    <a:lnTo>
                      <a:pt x="3888" y="3028"/>
                    </a:lnTo>
                    <a:lnTo>
                      <a:pt x="3886" y="3022"/>
                    </a:lnTo>
                    <a:lnTo>
                      <a:pt x="3884" y="3010"/>
                    </a:lnTo>
                    <a:lnTo>
                      <a:pt x="3886" y="3000"/>
                    </a:lnTo>
                    <a:lnTo>
                      <a:pt x="3892" y="2988"/>
                    </a:lnTo>
                    <a:lnTo>
                      <a:pt x="3896" y="2978"/>
                    </a:lnTo>
                    <a:lnTo>
                      <a:pt x="3902" y="2966"/>
                    </a:lnTo>
                    <a:lnTo>
                      <a:pt x="3902" y="2952"/>
                    </a:lnTo>
                    <a:lnTo>
                      <a:pt x="3900" y="2938"/>
                    </a:lnTo>
                    <a:lnTo>
                      <a:pt x="3898" y="2928"/>
                    </a:lnTo>
                    <a:lnTo>
                      <a:pt x="3898" y="2920"/>
                    </a:lnTo>
                    <a:lnTo>
                      <a:pt x="3898" y="2912"/>
                    </a:lnTo>
                    <a:lnTo>
                      <a:pt x="3900" y="2906"/>
                    </a:lnTo>
                    <a:lnTo>
                      <a:pt x="3904" y="2902"/>
                    </a:lnTo>
                    <a:lnTo>
                      <a:pt x="3908" y="2900"/>
                    </a:lnTo>
                    <a:lnTo>
                      <a:pt x="3912" y="2900"/>
                    </a:lnTo>
                    <a:lnTo>
                      <a:pt x="3918" y="2902"/>
                    </a:lnTo>
                    <a:lnTo>
                      <a:pt x="3922" y="2906"/>
                    </a:lnTo>
                    <a:lnTo>
                      <a:pt x="3924" y="2906"/>
                    </a:lnTo>
                    <a:lnTo>
                      <a:pt x="3924" y="2898"/>
                    </a:lnTo>
                    <a:lnTo>
                      <a:pt x="3924" y="2884"/>
                    </a:lnTo>
                    <a:lnTo>
                      <a:pt x="3926" y="2876"/>
                    </a:lnTo>
                    <a:lnTo>
                      <a:pt x="3930" y="2868"/>
                    </a:lnTo>
                    <a:lnTo>
                      <a:pt x="3936" y="2860"/>
                    </a:lnTo>
                    <a:lnTo>
                      <a:pt x="3940" y="2850"/>
                    </a:lnTo>
                    <a:lnTo>
                      <a:pt x="3942" y="2840"/>
                    </a:lnTo>
                    <a:lnTo>
                      <a:pt x="3944" y="2830"/>
                    </a:lnTo>
                    <a:lnTo>
                      <a:pt x="3942" y="2820"/>
                    </a:lnTo>
                    <a:lnTo>
                      <a:pt x="3940" y="2810"/>
                    </a:lnTo>
                    <a:lnTo>
                      <a:pt x="3936" y="2802"/>
                    </a:lnTo>
                    <a:lnTo>
                      <a:pt x="3932" y="2794"/>
                    </a:lnTo>
                    <a:lnTo>
                      <a:pt x="3926" y="2788"/>
                    </a:lnTo>
                    <a:lnTo>
                      <a:pt x="3922" y="2780"/>
                    </a:lnTo>
                    <a:lnTo>
                      <a:pt x="3918" y="2766"/>
                    </a:lnTo>
                    <a:lnTo>
                      <a:pt x="3918" y="2752"/>
                    </a:lnTo>
                    <a:lnTo>
                      <a:pt x="3918" y="2740"/>
                    </a:lnTo>
                    <a:close/>
                    <a:moveTo>
                      <a:pt x="3276" y="3612"/>
                    </a:moveTo>
                    <a:lnTo>
                      <a:pt x="3276" y="3612"/>
                    </a:lnTo>
                    <a:lnTo>
                      <a:pt x="3274" y="3610"/>
                    </a:lnTo>
                    <a:lnTo>
                      <a:pt x="3270" y="3612"/>
                    </a:lnTo>
                    <a:lnTo>
                      <a:pt x="3268" y="3614"/>
                    </a:lnTo>
                    <a:lnTo>
                      <a:pt x="3268" y="3618"/>
                    </a:lnTo>
                    <a:lnTo>
                      <a:pt x="3272" y="3618"/>
                    </a:lnTo>
                    <a:lnTo>
                      <a:pt x="3274" y="3618"/>
                    </a:lnTo>
                    <a:lnTo>
                      <a:pt x="3276" y="3614"/>
                    </a:lnTo>
                    <a:lnTo>
                      <a:pt x="3276" y="3612"/>
                    </a:lnTo>
                    <a:close/>
                    <a:moveTo>
                      <a:pt x="3322" y="3130"/>
                    </a:moveTo>
                    <a:lnTo>
                      <a:pt x="3322" y="3130"/>
                    </a:lnTo>
                    <a:lnTo>
                      <a:pt x="3324" y="3128"/>
                    </a:lnTo>
                    <a:lnTo>
                      <a:pt x="3322" y="3126"/>
                    </a:lnTo>
                    <a:lnTo>
                      <a:pt x="3318" y="3126"/>
                    </a:lnTo>
                    <a:lnTo>
                      <a:pt x="3316" y="3128"/>
                    </a:lnTo>
                    <a:lnTo>
                      <a:pt x="3318" y="3130"/>
                    </a:lnTo>
                    <a:lnTo>
                      <a:pt x="3320" y="3130"/>
                    </a:lnTo>
                    <a:lnTo>
                      <a:pt x="3322" y="3130"/>
                    </a:lnTo>
                    <a:close/>
                    <a:moveTo>
                      <a:pt x="3302" y="3176"/>
                    </a:moveTo>
                    <a:lnTo>
                      <a:pt x="3302" y="3176"/>
                    </a:lnTo>
                    <a:lnTo>
                      <a:pt x="3304" y="3178"/>
                    </a:lnTo>
                    <a:lnTo>
                      <a:pt x="3310" y="3178"/>
                    </a:lnTo>
                    <a:lnTo>
                      <a:pt x="3320" y="3176"/>
                    </a:lnTo>
                    <a:lnTo>
                      <a:pt x="3330" y="3170"/>
                    </a:lnTo>
                    <a:lnTo>
                      <a:pt x="3334" y="3166"/>
                    </a:lnTo>
                    <a:lnTo>
                      <a:pt x="3334" y="3162"/>
                    </a:lnTo>
                    <a:lnTo>
                      <a:pt x="3332" y="3158"/>
                    </a:lnTo>
                    <a:lnTo>
                      <a:pt x="3326" y="3158"/>
                    </a:lnTo>
                    <a:lnTo>
                      <a:pt x="3322" y="3158"/>
                    </a:lnTo>
                    <a:lnTo>
                      <a:pt x="3314" y="3160"/>
                    </a:lnTo>
                    <a:lnTo>
                      <a:pt x="3310" y="3164"/>
                    </a:lnTo>
                    <a:lnTo>
                      <a:pt x="3304" y="3166"/>
                    </a:lnTo>
                    <a:lnTo>
                      <a:pt x="3302" y="3172"/>
                    </a:lnTo>
                    <a:lnTo>
                      <a:pt x="3302" y="3176"/>
                    </a:lnTo>
                    <a:close/>
                    <a:moveTo>
                      <a:pt x="3372" y="3542"/>
                    </a:moveTo>
                    <a:lnTo>
                      <a:pt x="3372" y="3542"/>
                    </a:lnTo>
                    <a:lnTo>
                      <a:pt x="3374" y="3538"/>
                    </a:lnTo>
                    <a:lnTo>
                      <a:pt x="3376" y="3534"/>
                    </a:lnTo>
                    <a:lnTo>
                      <a:pt x="3386" y="3520"/>
                    </a:lnTo>
                    <a:lnTo>
                      <a:pt x="3392" y="3512"/>
                    </a:lnTo>
                    <a:lnTo>
                      <a:pt x="3394" y="3508"/>
                    </a:lnTo>
                    <a:lnTo>
                      <a:pt x="3390" y="3508"/>
                    </a:lnTo>
                    <a:lnTo>
                      <a:pt x="3384" y="3512"/>
                    </a:lnTo>
                    <a:lnTo>
                      <a:pt x="3374" y="3522"/>
                    </a:lnTo>
                    <a:lnTo>
                      <a:pt x="3370" y="3528"/>
                    </a:lnTo>
                    <a:lnTo>
                      <a:pt x="3366" y="3538"/>
                    </a:lnTo>
                    <a:lnTo>
                      <a:pt x="3366" y="3544"/>
                    </a:lnTo>
                    <a:lnTo>
                      <a:pt x="3368" y="3546"/>
                    </a:lnTo>
                    <a:lnTo>
                      <a:pt x="3372" y="3544"/>
                    </a:lnTo>
                    <a:lnTo>
                      <a:pt x="3372" y="3542"/>
                    </a:lnTo>
                    <a:close/>
                    <a:moveTo>
                      <a:pt x="3932" y="2136"/>
                    </a:moveTo>
                    <a:lnTo>
                      <a:pt x="3932" y="2136"/>
                    </a:lnTo>
                    <a:lnTo>
                      <a:pt x="3930" y="2138"/>
                    </a:lnTo>
                    <a:lnTo>
                      <a:pt x="3932" y="2138"/>
                    </a:lnTo>
                    <a:lnTo>
                      <a:pt x="3936" y="2142"/>
                    </a:lnTo>
                    <a:lnTo>
                      <a:pt x="3942" y="2150"/>
                    </a:lnTo>
                    <a:lnTo>
                      <a:pt x="3950" y="2162"/>
                    </a:lnTo>
                    <a:lnTo>
                      <a:pt x="3952" y="2168"/>
                    </a:lnTo>
                    <a:lnTo>
                      <a:pt x="3952" y="2174"/>
                    </a:lnTo>
                    <a:lnTo>
                      <a:pt x="3948" y="2186"/>
                    </a:lnTo>
                    <a:lnTo>
                      <a:pt x="3944" y="2198"/>
                    </a:lnTo>
                    <a:lnTo>
                      <a:pt x="3944" y="2206"/>
                    </a:lnTo>
                    <a:lnTo>
                      <a:pt x="3946" y="2214"/>
                    </a:lnTo>
                    <a:lnTo>
                      <a:pt x="3948" y="2224"/>
                    </a:lnTo>
                    <a:lnTo>
                      <a:pt x="3948" y="2236"/>
                    </a:lnTo>
                    <a:lnTo>
                      <a:pt x="3948" y="2266"/>
                    </a:lnTo>
                    <a:lnTo>
                      <a:pt x="3944" y="2294"/>
                    </a:lnTo>
                    <a:lnTo>
                      <a:pt x="3940" y="2304"/>
                    </a:lnTo>
                    <a:lnTo>
                      <a:pt x="3938" y="2312"/>
                    </a:lnTo>
                    <a:lnTo>
                      <a:pt x="3936" y="2316"/>
                    </a:lnTo>
                    <a:lnTo>
                      <a:pt x="3938" y="2320"/>
                    </a:lnTo>
                    <a:lnTo>
                      <a:pt x="3944" y="2330"/>
                    </a:lnTo>
                    <a:lnTo>
                      <a:pt x="3946" y="2336"/>
                    </a:lnTo>
                    <a:lnTo>
                      <a:pt x="3948" y="2344"/>
                    </a:lnTo>
                    <a:lnTo>
                      <a:pt x="3946" y="2356"/>
                    </a:lnTo>
                    <a:lnTo>
                      <a:pt x="3942" y="2370"/>
                    </a:lnTo>
                    <a:lnTo>
                      <a:pt x="3940" y="2378"/>
                    </a:lnTo>
                    <a:lnTo>
                      <a:pt x="3940" y="2386"/>
                    </a:lnTo>
                    <a:lnTo>
                      <a:pt x="3942" y="2400"/>
                    </a:lnTo>
                    <a:lnTo>
                      <a:pt x="3944" y="2412"/>
                    </a:lnTo>
                    <a:lnTo>
                      <a:pt x="3944" y="2418"/>
                    </a:lnTo>
                    <a:lnTo>
                      <a:pt x="3940" y="2424"/>
                    </a:lnTo>
                    <a:lnTo>
                      <a:pt x="3936" y="2436"/>
                    </a:lnTo>
                    <a:lnTo>
                      <a:pt x="3934" y="2444"/>
                    </a:lnTo>
                    <a:lnTo>
                      <a:pt x="3936" y="2454"/>
                    </a:lnTo>
                    <a:lnTo>
                      <a:pt x="3938" y="2468"/>
                    </a:lnTo>
                    <a:lnTo>
                      <a:pt x="3942" y="2478"/>
                    </a:lnTo>
                    <a:lnTo>
                      <a:pt x="3944" y="2478"/>
                    </a:lnTo>
                    <a:lnTo>
                      <a:pt x="3946" y="2478"/>
                    </a:lnTo>
                    <a:lnTo>
                      <a:pt x="3950" y="2470"/>
                    </a:lnTo>
                    <a:lnTo>
                      <a:pt x="3954" y="2456"/>
                    </a:lnTo>
                    <a:lnTo>
                      <a:pt x="3958" y="2442"/>
                    </a:lnTo>
                    <a:lnTo>
                      <a:pt x="3962" y="2434"/>
                    </a:lnTo>
                    <a:lnTo>
                      <a:pt x="3966" y="2432"/>
                    </a:lnTo>
                    <a:lnTo>
                      <a:pt x="3968" y="2432"/>
                    </a:lnTo>
                    <a:lnTo>
                      <a:pt x="3972" y="2434"/>
                    </a:lnTo>
                    <a:lnTo>
                      <a:pt x="3976" y="2438"/>
                    </a:lnTo>
                    <a:lnTo>
                      <a:pt x="3980" y="2440"/>
                    </a:lnTo>
                    <a:lnTo>
                      <a:pt x="3984" y="2438"/>
                    </a:lnTo>
                    <a:lnTo>
                      <a:pt x="3990" y="2440"/>
                    </a:lnTo>
                    <a:lnTo>
                      <a:pt x="3994" y="2442"/>
                    </a:lnTo>
                    <a:lnTo>
                      <a:pt x="3996" y="2446"/>
                    </a:lnTo>
                    <a:lnTo>
                      <a:pt x="3998" y="2456"/>
                    </a:lnTo>
                    <a:lnTo>
                      <a:pt x="4000" y="2464"/>
                    </a:lnTo>
                    <a:lnTo>
                      <a:pt x="4000" y="2466"/>
                    </a:lnTo>
                    <a:lnTo>
                      <a:pt x="4002" y="2466"/>
                    </a:lnTo>
                    <a:lnTo>
                      <a:pt x="4006" y="2454"/>
                    </a:lnTo>
                    <a:lnTo>
                      <a:pt x="4006" y="2448"/>
                    </a:lnTo>
                    <a:lnTo>
                      <a:pt x="4004" y="2444"/>
                    </a:lnTo>
                    <a:lnTo>
                      <a:pt x="4002" y="2434"/>
                    </a:lnTo>
                    <a:lnTo>
                      <a:pt x="4002" y="2426"/>
                    </a:lnTo>
                    <a:lnTo>
                      <a:pt x="3998" y="2426"/>
                    </a:lnTo>
                    <a:lnTo>
                      <a:pt x="3992" y="2426"/>
                    </a:lnTo>
                    <a:lnTo>
                      <a:pt x="3990" y="2422"/>
                    </a:lnTo>
                    <a:lnTo>
                      <a:pt x="3986" y="2420"/>
                    </a:lnTo>
                    <a:lnTo>
                      <a:pt x="3984" y="2410"/>
                    </a:lnTo>
                    <a:lnTo>
                      <a:pt x="3980" y="2400"/>
                    </a:lnTo>
                    <a:lnTo>
                      <a:pt x="3976" y="2394"/>
                    </a:lnTo>
                    <a:lnTo>
                      <a:pt x="3972" y="2390"/>
                    </a:lnTo>
                    <a:lnTo>
                      <a:pt x="3966" y="2382"/>
                    </a:lnTo>
                    <a:lnTo>
                      <a:pt x="3964" y="2372"/>
                    </a:lnTo>
                    <a:lnTo>
                      <a:pt x="3964" y="2362"/>
                    </a:lnTo>
                    <a:lnTo>
                      <a:pt x="3964" y="2350"/>
                    </a:lnTo>
                    <a:lnTo>
                      <a:pt x="3970" y="2328"/>
                    </a:lnTo>
                    <a:lnTo>
                      <a:pt x="3978" y="2314"/>
                    </a:lnTo>
                    <a:lnTo>
                      <a:pt x="3980" y="2308"/>
                    </a:lnTo>
                    <a:lnTo>
                      <a:pt x="3982" y="2304"/>
                    </a:lnTo>
                    <a:lnTo>
                      <a:pt x="3982" y="2294"/>
                    </a:lnTo>
                    <a:lnTo>
                      <a:pt x="3984" y="2290"/>
                    </a:lnTo>
                    <a:lnTo>
                      <a:pt x="3984" y="2288"/>
                    </a:lnTo>
                    <a:lnTo>
                      <a:pt x="3988" y="2284"/>
                    </a:lnTo>
                    <a:lnTo>
                      <a:pt x="3994" y="2282"/>
                    </a:lnTo>
                    <a:lnTo>
                      <a:pt x="4004" y="2280"/>
                    </a:lnTo>
                    <a:lnTo>
                      <a:pt x="4014" y="2280"/>
                    </a:lnTo>
                    <a:lnTo>
                      <a:pt x="4026" y="2286"/>
                    </a:lnTo>
                    <a:lnTo>
                      <a:pt x="4036" y="2294"/>
                    </a:lnTo>
                    <a:lnTo>
                      <a:pt x="4048" y="2314"/>
                    </a:lnTo>
                    <a:lnTo>
                      <a:pt x="4052" y="2316"/>
                    </a:lnTo>
                    <a:lnTo>
                      <a:pt x="4052" y="2312"/>
                    </a:lnTo>
                    <a:lnTo>
                      <a:pt x="4048" y="2302"/>
                    </a:lnTo>
                    <a:lnTo>
                      <a:pt x="4040" y="2294"/>
                    </a:lnTo>
                    <a:lnTo>
                      <a:pt x="4034" y="2282"/>
                    </a:lnTo>
                    <a:lnTo>
                      <a:pt x="4032" y="2276"/>
                    </a:lnTo>
                    <a:lnTo>
                      <a:pt x="4030" y="2268"/>
                    </a:lnTo>
                    <a:lnTo>
                      <a:pt x="4026" y="2252"/>
                    </a:lnTo>
                    <a:lnTo>
                      <a:pt x="4020" y="2234"/>
                    </a:lnTo>
                    <a:lnTo>
                      <a:pt x="4012" y="2214"/>
                    </a:lnTo>
                    <a:lnTo>
                      <a:pt x="4010" y="2206"/>
                    </a:lnTo>
                    <a:lnTo>
                      <a:pt x="4010" y="2196"/>
                    </a:lnTo>
                    <a:lnTo>
                      <a:pt x="4008" y="2180"/>
                    </a:lnTo>
                    <a:lnTo>
                      <a:pt x="4004" y="2168"/>
                    </a:lnTo>
                    <a:lnTo>
                      <a:pt x="4002" y="2158"/>
                    </a:lnTo>
                    <a:lnTo>
                      <a:pt x="3998" y="2148"/>
                    </a:lnTo>
                    <a:lnTo>
                      <a:pt x="3998" y="2144"/>
                    </a:lnTo>
                    <a:lnTo>
                      <a:pt x="3994" y="2146"/>
                    </a:lnTo>
                    <a:lnTo>
                      <a:pt x="3992" y="2146"/>
                    </a:lnTo>
                    <a:lnTo>
                      <a:pt x="3992" y="2138"/>
                    </a:lnTo>
                    <a:lnTo>
                      <a:pt x="3994" y="2128"/>
                    </a:lnTo>
                    <a:lnTo>
                      <a:pt x="3992" y="2128"/>
                    </a:lnTo>
                    <a:lnTo>
                      <a:pt x="3990" y="2128"/>
                    </a:lnTo>
                    <a:lnTo>
                      <a:pt x="3988" y="2124"/>
                    </a:lnTo>
                    <a:lnTo>
                      <a:pt x="3988" y="2116"/>
                    </a:lnTo>
                    <a:lnTo>
                      <a:pt x="3988" y="2108"/>
                    </a:lnTo>
                    <a:lnTo>
                      <a:pt x="3992" y="2096"/>
                    </a:lnTo>
                    <a:lnTo>
                      <a:pt x="3994" y="2090"/>
                    </a:lnTo>
                    <a:lnTo>
                      <a:pt x="3996" y="2082"/>
                    </a:lnTo>
                    <a:lnTo>
                      <a:pt x="3996" y="2072"/>
                    </a:lnTo>
                    <a:lnTo>
                      <a:pt x="3994" y="2058"/>
                    </a:lnTo>
                    <a:lnTo>
                      <a:pt x="3990" y="2042"/>
                    </a:lnTo>
                    <a:lnTo>
                      <a:pt x="3988" y="2036"/>
                    </a:lnTo>
                    <a:lnTo>
                      <a:pt x="3986" y="2034"/>
                    </a:lnTo>
                    <a:lnTo>
                      <a:pt x="3988" y="2032"/>
                    </a:lnTo>
                    <a:lnTo>
                      <a:pt x="3988" y="2028"/>
                    </a:lnTo>
                    <a:lnTo>
                      <a:pt x="3986" y="2026"/>
                    </a:lnTo>
                    <a:lnTo>
                      <a:pt x="3984" y="2026"/>
                    </a:lnTo>
                    <a:lnTo>
                      <a:pt x="3982" y="2022"/>
                    </a:lnTo>
                    <a:lnTo>
                      <a:pt x="3982" y="2014"/>
                    </a:lnTo>
                    <a:lnTo>
                      <a:pt x="3978" y="2010"/>
                    </a:lnTo>
                    <a:lnTo>
                      <a:pt x="3978" y="2006"/>
                    </a:lnTo>
                    <a:lnTo>
                      <a:pt x="3980" y="2000"/>
                    </a:lnTo>
                    <a:lnTo>
                      <a:pt x="3984" y="1994"/>
                    </a:lnTo>
                    <a:lnTo>
                      <a:pt x="3982" y="1988"/>
                    </a:lnTo>
                    <a:lnTo>
                      <a:pt x="3978" y="1984"/>
                    </a:lnTo>
                    <a:lnTo>
                      <a:pt x="3974" y="1976"/>
                    </a:lnTo>
                    <a:lnTo>
                      <a:pt x="3970" y="1972"/>
                    </a:lnTo>
                    <a:lnTo>
                      <a:pt x="3970" y="1974"/>
                    </a:lnTo>
                    <a:lnTo>
                      <a:pt x="3966" y="1978"/>
                    </a:lnTo>
                    <a:lnTo>
                      <a:pt x="3962" y="1980"/>
                    </a:lnTo>
                    <a:lnTo>
                      <a:pt x="3958" y="1982"/>
                    </a:lnTo>
                    <a:lnTo>
                      <a:pt x="3954" y="1982"/>
                    </a:lnTo>
                    <a:lnTo>
                      <a:pt x="3954" y="1984"/>
                    </a:lnTo>
                    <a:lnTo>
                      <a:pt x="3960" y="1990"/>
                    </a:lnTo>
                    <a:lnTo>
                      <a:pt x="3966" y="1998"/>
                    </a:lnTo>
                    <a:lnTo>
                      <a:pt x="3968" y="2004"/>
                    </a:lnTo>
                    <a:lnTo>
                      <a:pt x="3970" y="2008"/>
                    </a:lnTo>
                    <a:lnTo>
                      <a:pt x="3966" y="2016"/>
                    </a:lnTo>
                    <a:lnTo>
                      <a:pt x="3964" y="2018"/>
                    </a:lnTo>
                    <a:lnTo>
                      <a:pt x="3962" y="2018"/>
                    </a:lnTo>
                    <a:lnTo>
                      <a:pt x="3960" y="2020"/>
                    </a:lnTo>
                    <a:lnTo>
                      <a:pt x="3960" y="2024"/>
                    </a:lnTo>
                    <a:lnTo>
                      <a:pt x="3962" y="2024"/>
                    </a:lnTo>
                    <a:lnTo>
                      <a:pt x="3964" y="2026"/>
                    </a:lnTo>
                    <a:lnTo>
                      <a:pt x="3966" y="2028"/>
                    </a:lnTo>
                    <a:lnTo>
                      <a:pt x="3966" y="2030"/>
                    </a:lnTo>
                    <a:lnTo>
                      <a:pt x="3962" y="2034"/>
                    </a:lnTo>
                    <a:lnTo>
                      <a:pt x="3958" y="2038"/>
                    </a:lnTo>
                    <a:lnTo>
                      <a:pt x="3954" y="2038"/>
                    </a:lnTo>
                    <a:lnTo>
                      <a:pt x="3954" y="2036"/>
                    </a:lnTo>
                    <a:lnTo>
                      <a:pt x="3952" y="2034"/>
                    </a:lnTo>
                    <a:lnTo>
                      <a:pt x="3952" y="2030"/>
                    </a:lnTo>
                    <a:lnTo>
                      <a:pt x="3950" y="2028"/>
                    </a:lnTo>
                    <a:lnTo>
                      <a:pt x="3946" y="2030"/>
                    </a:lnTo>
                    <a:lnTo>
                      <a:pt x="3940" y="2032"/>
                    </a:lnTo>
                    <a:lnTo>
                      <a:pt x="3936" y="2034"/>
                    </a:lnTo>
                    <a:lnTo>
                      <a:pt x="3932" y="2036"/>
                    </a:lnTo>
                    <a:lnTo>
                      <a:pt x="3934" y="2044"/>
                    </a:lnTo>
                    <a:lnTo>
                      <a:pt x="3936" y="2054"/>
                    </a:lnTo>
                    <a:lnTo>
                      <a:pt x="3938" y="2066"/>
                    </a:lnTo>
                    <a:lnTo>
                      <a:pt x="3936" y="2078"/>
                    </a:lnTo>
                    <a:lnTo>
                      <a:pt x="3930" y="2090"/>
                    </a:lnTo>
                    <a:lnTo>
                      <a:pt x="3928" y="2098"/>
                    </a:lnTo>
                    <a:lnTo>
                      <a:pt x="3928" y="2104"/>
                    </a:lnTo>
                    <a:lnTo>
                      <a:pt x="3930" y="2108"/>
                    </a:lnTo>
                    <a:lnTo>
                      <a:pt x="3928" y="2118"/>
                    </a:lnTo>
                    <a:lnTo>
                      <a:pt x="3926" y="2124"/>
                    </a:lnTo>
                    <a:lnTo>
                      <a:pt x="3928" y="2128"/>
                    </a:lnTo>
                    <a:lnTo>
                      <a:pt x="3930" y="2132"/>
                    </a:lnTo>
                    <a:lnTo>
                      <a:pt x="3934" y="2134"/>
                    </a:lnTo>
                    <a:lnTo>
                      <a:pt x="3934" y="2136"/>
                    </a:lnTo>
                    <a:lnTo>
                      <a:pt x="3932" y="2136"/>
                    </a:lnTo>
                    <a:close/>
                    <a:moveTo>
                      <a:pt x="4070" y="2610"/>
                    </a:moveTo>
                    <a:lnTo>
                      <a:pt x="4070" y="2610"/>
                    </a:lnTo>
                    <a:lnTo>
                      <a:pt x="4068" y="2602"/>
                    </a:lnTo>
                    <a:lnTo>
                      <a:pt x="4068" y="2594"/>
                    </a:lnTo>
                    <a:lnTo>
                      <a:pt x="4070" y="2586"/>
                    </a:lnTo>
                    <a:lnTo>
                      <a:pt x="4072" y="2580"/>
                    </a:lnTo>
                    <a:lnTo>
                      <a:pt x="4078" y="2572"/>
                    </a:lnTo>
                    <a:lnTo>
                      <a:pt x="4078" y="2570"/>
                    </a:lnTo>
                    <a:lnTo>
                      <a:pt x="4076" y="2568"/>
                    </a:lnTo>
                    <a:lnTo>
                      <a:pt x="4072" y="2570"/>
                    </a:lnTo>
                    <a:lnTo>
                      <a:pt x="4068" y="2572"/>
                    </a:lnTo>
                    <a:lnTo>
                      <a:pt x="4062" y="2582"/>
                    </a:lnTo>
                    <a:lnTo>
                      <a:pt x="4054" y="2590"/>
                    </a:lnTo>
                    <a:lnTo>
                      <a:pt x="4050" y="2592"/>
                    </a:lnTo>
                    <a:lnTo>
                      <a:pt x="4044" y="2592"/>
                    </a:lnTo>
                    <a:lnTo>
                      <a:pt x="4040" y="2592"/>
                    </a:lnTo>
                    <a:lnTo>
                      <a:pt x="4038" y="2590"/>
                    </a:lnTo>
                    <a:lnTo>
                      <a:pt x="4036" y="2586"/>
                    </a:lnTo>
                    <a:lnTo>
                      <a:pt x="4034" y="2582"/>
                    </a:lnTo>
                    <a:lnTo>
                      <a:pt x="4032" y="2580"/>
                    </a:lnTo>
                    <a:lnTo>
                      <a:pt x="4028" y="2578"/>
                    </a:lnTo>
                    <a:lnTo>
                      <a:pt x="4022" y="2578"/>
                    </a:lnTo>
                    <a:lnTo>
                      <a:pt x="4012" y="2576"/>
                    </a:lnTo>
                    <a:lnTo>
                      <a:pt x="4004" y="2570"/>
                    </a:lnTo>
                    <a:lnTo>
                      <a:pt x="3994" y="2562"/>
                    </a:lnTo>
                    <a:lnTo>
                      <a:pt x="3984" y="2554"/>
                    </a:lnTo>
                    <a:lnTo>
                      <a:pt x="3966" y="2534"/>
                    </a:lnTo>
                    <a:lnTo>
                      <a:pt x="3952" y="2516"/>
                    </a:lnTo>
                    <a:lnTo>
                      <a:pt x="3946" y="2510"/>
                    </a:lnTo>
                    <a:lnTo>
                      <a:pt x="3940" y="2506"/>
                    </a:lnTo>
                    <a:lnTo>
                      <a:pt x="3934" y="2504"/>
                    </a:lnTo>
                    <a:lnTo>
                      <a:pt x="3930" y="2504"/>
                    </a:lnTo>
                    <a:lnTo>
                      <a:pt x="3926" y="2508"/>
                    </a:lnTo>
                    <a:lnTo>
                      <a:pt x="3924" y="2512"/>
                    </a:lnTo>
                    <a:lnTo>
                      <a:pt x="3924" y="2520"/>
                    </a:lnTo>
                    <a:lnTo>
                      <a:pt x="3928" y="2530"/>
                    </a:lnTo>
                    <a:lnTo>
                      <a:pt x="3932" y="2540"/>
                    </a:lnTo>
                    <a:lnTo>
                      <a:pt x="3932" y="2546"/>
                    </a:lnTo>
                    <a:lnTo>
                      <a:pt x="3932" y="2552"/>
                    </a:lnTo>
                    <a:lnTo>
                      <a:pt x="3930" y="2556"/>
                    </a:lnTo>
                    <a:lnTo>
                      <a:pt x="3928" y="2564"/>
                    </a:lnTo>
                    <a:lnTo>
                      <a:pt x="3926" y="2568"/>
                    </a:lnTo>
                    <a:lnTo>
                      <a:pt x="3928" y="2574"/>
                    </a:lnTo>
                    <a:lnTo>
                      <a:pt x="3928" y="2580"/>
                    </a:lnTo>
                    <a:lnTo>
                      <a:pt x="3928" y="2584"/>
                    </a:lnTo>
                    <a:lnTo>
                      <a:pt x="3922" y="2594"/>
                    </a:lnTo>
                    <a:lnTo>
                      <a:pt x="3918" y="2602"/>
                    </a:lnTo>
                    <a:lnTo>
                      <a:pt x="3916" y="2606"/>
                    </a:lnTo>
                    <a:lnTo>
                      <a:pt x="3916" y="2610"/>
                    </a:lnTo>
                    <a:lnTo>
                      <a:pt x="3918" y="2620"/>
                    </a:lnTo>
                    <a:lnTo>
                      <a:pt x="3918" y="2630"/>
                    </a:lnTo>
                    <a:lnTo>
                      <a:pt x="3914" y="2634"/>
                    </a:lnTo>
                    <a:lnTo>
                      <a:pt x="3912" y="2636"/>
                    </a:lnTo>
                    <a:lnTo>
                      <a:pt x="3906" y="2636"/>
                    </a:lnTo>
                    <a:lnTo>
                      <a:pt x="3900" y="2632"/>
                    </a:lnTo>
                    <a:lnTo>
                      <a:pt x="3886" y="2626"/>
                    </a:lnTo>
                    <a:lnTo>
                      <a:pt x="3876" y="2624"/>
                    </a:lnTo>
                    <a:lnTo>
                      <a:pt x="3874" y="2624"/>
                    </a:lnTo>
                    <a:lnTo>
                      <a:pt x="3872" y="2628"/>
                    </a:lnTo>
                    <a:lnTo>
                      <a:pt x="3874" y="2630"/>
                    </a:lnTo>
                    <a:lnTo>
                      <a:pt x="3878" y="2636"/>
                    </a:lnTo>
                    <a:lnTo>
                      <a:pt x="3880" y="2640"/>
                    </a:lnTo>
                    <a:lnTo>
                      <a:pt x="3880" y="2642"/>
                    </a:lnTo>
                    <a:lnTo>
                      <a:pt x="3878" y="2648"/>
                    </a:lnTo>
                    <a:lnTo>
                      <a:pt x="3872" y="2656"/>
                    </a:lnTo>
                    <a:lnTo>
                      <a:pt x="3866" y="2662"/>
                    </a:lnTo>
                    <a:lnTo>
                      <a:pt x="3858" y="2670"/>
                    </a:lnTo>
                    <a:lnTo>
                      <a:pt x="3854" y="2676"/>
                    </a:lnTo>
                    <a:lnTo>
                      <a:pt x="3852" y="2680"/>
                    </a:lnTo>
                    <a:lnTo>
                      <a:pt x="3852" y="2682"/>
                    </a:lnTo>
                    <a:lnTo>
                      <a:pt x="3854" y="2686"/>
                    </a:lnTo>
                    <a:lnTo>
                      <a:pt x="3856" y="2690"/>
                    </a:lnTo>
                    <a:lnTo>
                      <a:pt x="3862" y="2694"/>
                    </a:lnTo>
                    <a:lnTo>
                      <a:pt x="3866" y="2700"/>
                    </a:lnTo>
                    <a:lnTo>
                      <a:pt x="3866" y="2706"/>
                    </a:lnTo>
                    <a:lnTo>
                      <a:pt x="3864" y="2710"/>
                    </a:lnTo>
                    <a:lnTo>
                      <a:pt x="3860" y="2722"/>
                    </a:lnTo>
                    <a:lnTo>
                      <a:pt x="3862" y="2726"/>
                    </a:lnTo>
                    <a:lnTo>
                      <a:pt x="3864" y="2732"/>
                    </a:lnTo>
                    <a:lnTo>
                      <a:pt x="3866" y="2734"/>
                    </a:lnTo>
                    <a:lnTo>
                      <a:pt x="3870" y="2736"/>
                    </a:lnTo>
                    <a:lnTo>
                      <a:pt x="3874" y="2732"/>
                    </a:lnTo>
                    <a:lnTo>
                      <a:pt x="3880" y="2720"/>
                    </a:lnTo>
                    <a:lnTo>
                      <a:pt x="3884" y="2712"/>
                    </a:lnTo>
                    <a:lnTo>
                      <a:pt x="3888" y="2710"/>
                    </a:lnTo>
                    <a:lnTo>
                      <a:pt x="3890" y="2712"/>
                    </a:lnTo>
                    <a:lnTo>
                      <a:pt x="3896" y="2714"/>
                    </a:lnTo>
                    <a:lnTo>
                      <a:pt x="3900" y="2714"/>
                    </a:lnTo>
                    <a:lnTo>
                      <a:pt x="3908" y="2712"/>
                    </a:lnTo>
                    <a:lnTo>
                      <a:pt x="3912" y="2710"/>
                    </a:lnTo>
                    <a:lnTo>
                      <a:pt x="3910" y="2706"/>
                    </a:lnTo>
                    <a:lnTo>
                      <a:pt x="3894" y="2698"/>
                    </a:lnTo>
                    <a:lnTo>
                      <a:pt x="3886" y="2692"/>
                    </a:lnTo>
                    <a:lnTo>
                      <a:pt x="3878" y="2686"/>
                    </a:lnTo>
                    <a:lnTo>
                      <a:pt x="3874" y="2680"/>
                    </a:lnTo>
                    <a:lnTo>
                      <a:pt x="3874" y="2676"/>
                    </a:lnTo>
                    <a:lnTo>
                      <a:pt x="3876" y="2672"/>
                    </a:lnTo>
                    <a:lnTo>
                      <a:pt x="3882" y="2666"/>
                    </a:lnTo>
                    <a:lnTo>
                      <a:pt x="3886" y="2666"/>
                    </a:lnTo>
                    <a:lnTo>
                      <a:pt x="3888" y="2668"/>
                    </a:lnTo>
                    <a:lnTo>
                      <a:pt x="3892" y="2670"/>
                    </a:lnTo>
                    <a:lnTo>
                      <a:pt x="3896" y="2674"/>
                    </a:lnTo>
                    <a:lnTo>
                      <a:pt x="3900" y="2676"/>
                    </a:lnTo>
                    <a:lnTo>
                      <a:pt x="3906" y="2676"/>
                    </a:lnTo>
                    <a:lnTo>
                      <a:pt x="3912" y="2674"/>
                    </a:lnTo>
                    <a:lnTo>
                      <a:pt x="3918" y="2670"/>
                    </a:lnTo>
                    <a:lnTo>
                      <a:pt x="3924" y="2668"/>
                    </a:lnTo>
                    <a:lnTo>
                      <a:pt x="3930" y="2666"/>
                    </a:lnTo>
                    <a:lnTo>
                      <a:pt x="3936" y="2668"/>
                    </a:lnTo>
                    <a:lnTo>
                      <a:pt x="3954" y="2678"/>
                    </a:lnTo>
                    <a:lnTo>
                      <a:pt x="3984" y="2698"/>
                    </a:lnTo>
                    <a:lnTo>
                      <a:pt x="3992" y="2700"/>
                    </a:lnTo>
                    <a:lnTo>
                      <a:pt x="3996" y="2698"/>
                    </a:lnTo>
                    <a:lnTo>
                      <a:pt x="4000" y="2692"/>
                    </a:lnTo>
                    <a:lnTo>
                      <a:pt x="4002" y="2684"/>
                    </a:lnTo>
                    <a:lnTo>
                      <a:pt x="4008" y="2664"/>
                    </a:lnTo>
                    <a:lnTo>
                      <a:pt x="4012" y="2656"/>
                    </a:lnTo>
                    <a:lnTo>
                      <a:pt x="4018" y="2652"/>
                    </a:lnTo>
                    <a:lnTo>
                      <a:pt x="4030" y="2648"/>
                    </a:lnTo>
                    <a:lnTo>
                      <a:pt x="4042" y="2646"/>
                    </a:lnTo>
                    <a:lnTo>
                      <a:pt x="4054" y="2644"/>
                    </a:lnTo>
                    <a:lnTo>
                      <a:pt x="4068" y="2640"/>
                    </a:lnTo>
                    <a:lnTo>
                      <a:pt x="4090" y="2630"/>
                    </a:lnTo>
                    <a:lnTo>
                      <a:pt x="4096" y="2626"/>
                    </a:lnTo>
                    <a:lnTo>
                      <a:pt x="4096" y="2624"/>
                    </a:lnTo>
                    <a:lnTo>
                      <a:pt x="4094" y="2622"/>
                    </a:lnTo>
                    <a:lnTo>
                      <a:pt x="4092" y="2620"/>
                    </a:lnTo>
                    <a:lnTo>
                      <a:pt x="4090" y="2620"/>
                    </a:lnTo>
                    <a:lnTo>
                      <a:pt x="4084" y="2622"/>
                    </a:lnTo>
                    <a:lnTo>
                      <a:pt x="4082" y="2622"/>
                    </a:lnTo>
                    <a:lnTo>
                      <a:pt x="4078" y="2622"/>
                    </a:lnTo>
                    <a:lnTo>
                      <a:pt x="4074" y="2618"/>
                    </a:lnTo>
                    <a:lnTo>
                      <a:pt x="4070" y="2610"/>
                    </a:lnTo>
                    <a:close/>
                    <a:moveTo>
                      <a:pt x="3802" y="2924"/>
                    </a:moveTo>
                    <a:lnTo>
                      <a:pt x="3802" y="2924"/>
                    </a:lnTo>
                    <a:lnTo>
                      <a:pt x="3806" y="2916"/>
                    </a:lnTo>
                    <a:lnTo>
                      <a:pt x="3806" y="2908"/>
                    </a:lnTo>
                    <a:lnTo>
                      <a:pt x="3804" y="2906"/>
                    </a:lnTo>
                    <a:lnTo>
                      <a:pt x="3802" y="2904"/>
                    </a:lnTo>
                    <a:lnTo>
                      <a:pt x="3800" y="2906"/>
                    </a:lnTo>
                    <a:lnTo>
                      <a:pt x="3796" y="2910"/>
                    </a:lnTo>
                    <a:lnTo>
                      <a:pt x="3792" y="2914"/>
                    </a:lnTo>
                    <a:lnTo>
                      <a:pt x="3792" y="2918"/>
                    </a:lnTo>
                    <a:lnTo>
                      <a:pt x="3792" y="2922"/>
                    </a:lnTo>
                    <a:lnTo>
                      <a:pt x="3792" y="2924"/>
                    </a:lnTo>
                    <a:lnTo>
                      <a:pt x="3794" y="2926"/>
                    </a:lnTo>
                    <a:lnTo>
                      <a:pt x="3798" y="2928"/>
                    </a:lnTo>
                    <a:lnTo>
                      <a:pt x="3800" y="2926"/>
                    </a:lnTo>
                    <a:lnTo>
                      <a:pt x="3802" y="2924"/>
                    </a:lnTo>
                    <a:close/>
                    <a:moveTo>
                      <a:pt x="3594" y="3018"/>
                    </a:moveTo>
                    <a:lnTo>
                      <a:pt x="3594" y="3018"/>
                    </a:lnTo>
                    <a:lnTo>
                      <a:pt x="3596" y="3016"/>
                    </a:lnTo>
                    <a:lnTo>
                      <a:pt x="3596" y="3014"/>
                    </a:lnTo>
                    <a:lnTo>
                      <a:pt x="3594" y="3010"/>
                    </a:lnTo>
                    <a:lnTo>
                      <a:pt x="3592" y="3010"/>
                    </a:lnTo>
                    <a:lnTo>
                      <a:pt x="3590" y="3012"/>
                    </a:lnTo>
                    <a:lnTo>
                      <a:pt x="3588" y="3014"/>
                    </a:lnTo>
                    <a:lnTo>
                      <a:pt x="3590" y="3018"/>
                    </a:lnTo>
                    <a:lnTo>
                      <a:pt x="3594" y="3018"/>
                    </a:lnTo>
                    <a:close/>
                    <a:moveTo>
                      <a:pt x="3048" y="4040"/>
                    </a:moveTo>
                    <a:lnTo>
                      <a:pt x="3048" y="4040"/>
                    </a:lnTo>
                    <a:lnTo>
                      <a:pt x="3046" y="4042"/>
                    </a:lnTo>
                    <a:lnTo>
                      <a:pt x="3044" y="4044"/>
                    </a:lnTo>
                    <a:lnTo>
                      <a:pt x="3042" y="4050"/>
                    </a:lnTo>
                    <a:lnTo>
                      <a:pt x="3044" y="4056"/>
                    </a:lnTo>
                    <a:lnTo>
                      <a:pt x="3046" y="4062"/>
                    </a:lnTo>
                    <a:lnTo>
                      <a:pt x="3048" y="4064"/>
                    </a:lnTo>
                    <a:lnTo>
                      <a:pt x="3050" y="4068"/>
                    </a:lnTo>
                    <a:lnTo>
                      <a:pt x="3052" y="4098"/>
                    </a:lnTo>
                    <a:lnTo>
                      <a:pt x="3054" y="4116"/>
                    </a:lnTo>
                    <a:lnTo>
                      <a:pt x="3056" y="4120"/>
                    </a:lnTo>
                    <a:lnTo>
                      <a:pt x="3058" y="4120"/>
                    </a:lnTo>
                    <a:lnTo>
                      <a:pt x="3062" y="4120"/>
                    </a:lnTo>
                    <a:lnTo>
                      <a:pt x="3064" y="4122"/>
                    </a:lnTo>
                    <a:lnTo>
                      <a:pt x="3066" y="4126"/>
                    </a:lnTo>
                    <a:lnTo>
                      <a:pt x="3070" y="4134"/>
                    </a:lnTo>
                    <a:lnTo>
                      <a:pt x="3074" y="4138"/>
                    </a:lnTo>
                    <a:lnTo>
                      <a:pt x="3076" y="4134"/>
                    </a:lnTo>
                    <a:lnTo>
                      <a:pt x="3076" y="4128"/>
                    </a:lnTo>
                    <a:lnTo>
                      <a:pt x="3078" y="4120"/>
                    </a:lnTo>
                    <a:lnTo>
                      <a:pt x="3078" y="4118"/>
                    </a:lnTo>
                    <a:lnTo>
                      <a:pt x="3082" y="4118"/>
                    </a:lnTo>
                    <a:lnTo>
                      <a:pt x="3086" y="4122"/>
                    </a:lnTo>
                    <a:lnTo>
                      <a:pt x="3090" y="4126"/>
                    </a:lnTo>
                    <a:lnTo>
                      <a:pt x="3092" y="4130"/>
                    </a:lnTo>
                    <a:lnTo>
                      <a:pt x="3090" y="4134"/>
                    </a:lnTo>
                    <a:lnTo>
                      <a:pt x="3086" y="4140"/>
                    </a:lnTo>
                    <a:lnTo>
                      <a:pt x="3080" y="4146"/>
                    </a:lnTo>
                    <a:lnTo>
                      <a:pt x="3076" y="4156"/>
                    </a:lnTo>
                    <a:lnTo>
                      <a:pt x="3078" y="4164"/>
                    </a:lnTo>
                    <a:lnTo>
                      <a:pt x="3078" y="4166"/>
                    </a:lnTo>
                    <a:lnTo>
                      <a:pt x="3082" y="4166"/>
                    </a:lnTo>
                    <a:lnTo>
                      <a:pt x="3084" y="4164"/>
                    </a:lnTo>
                    <a:lnTo>
                      <a:pt x="3088" y="4166"/>
                    </a:lnTo>
                    <a:lnTo>
                      <a:pt x="3092" y="4170"/>
                    </a:lnTo>
                    <a:lnTo>
                      <a:pt x="3096" y="4174"/>
                    </a:lnTo>
                    <a:lnTo>
                      <a:pt x="3100" y="4176"/>
                    </a:lnTo>
                    <a:lnTo>
                      <a:pt x="3104" y="4178"/>
                    </a:lnTo>
                    <a:lnTo>
                      <a:pt x="3112" y="4176"/>
                    </a:lnTo>
                    <a:lnTo>
                      <a:pt x="3112" y="4174"/>
                    </a:lnTo>
                    <a:lnTo>
                      <a:pt x="3112" y="4168"/>
                    </a:lnTo>
                    <a:lnTo>
                      <a:pt x="3112" y="4166"/>
                    </a:lnTo>
                    <a:lnTo>
                      <a:pt x="3116" y="4164"/>
                    </a:lnTo>
                    <a:lnTo>
                      <a:pt x="3120" y="4160"/>
                    </a:lnTo>
                    <a:lnTo>
                      <a:pt x="3124" y="4160"/>
                    </a:lnTo>
                    <a:lnTo>
                      <a:pt x="3138" y="4172"/>
                    </a:lnTo>
                    <a:lnTo>
                      <a:pt x="3144" y="4176"/>
                    </a:lnTo>
                    <a:lnTo>
                      <a:pt x="3148" y="4180"/>
                    </a:lnTo>
                    <a:lnTo>
                      <a:pt x="3152" y="4188"/>
                    </a:lnTo>
                    <a:lnTo>
                      <a:pt x="3154" y="4196"/>
                    </a:lnTo>
                    <a:lnTo>
                      <a:pt x="3156" y="4198"/>
                    </a:lnTo>
                    <a:lnTo>
                      <a:pt x="3158" y="4198"/>
                    </a:lnTo>
                    <a:lnTo>
                      <a:pt x="3162" y="4198"/>
                    </a:lnTo>
                    <a:lnTo>
                      <a:pt x="3162" y="4196"/>
                    </a:lnTo>
                    <a:lnTo>
                      <a:pt x="3162" y="4188"/>
                    </a:lnTo>
                    <a:lnTo>
                      <a:pt x="3154" y="4170"/>
                    </a:lnTo>
                    <a:lnTo>
                      <a:pt x="3154" y="4166"/>
                    </a:lnTo>
                    <a:lnTo>
                      <a:pt x="3154" y="4164"/>
                    </a:lnTo>
                    <a:lnTo>
                      <a:pt x="3160" y="4164"/>
                    </a:lnTo>
                    <a:lnTo>
                      <a:pt x="3164" y="4168"/>
                    </a:lnTo>
                    <a:lnTo>
                      <a:pt x="3168" y="4174"/>
                    </a:lnTo>
                    <a:lnTo>
                      <a:pt x="3172" y="4180"/>
                    </a:lnTo>
                    <a:lnTo>
                      <a:pt x="3176" y="4182"/>
                    </a:lnTo>
                    <a:lnTo>
                      <a:pt x="3180" y="4186"/>
                    </a:lnTo>
                    <a:lnTo>
                      <a:pt x="3184" y="4192"/>
                    </a:lnTo>
                    <a:lnTo>
                      <a:pt x="3186" y="4198"/>
                    </a:lnTo>
                    <a:lnTo>
                      <a:pt x="3186" y="4202"/>
                    </a:lnTo>
                    <a:lnTo>
                      <a:pt x="3188" y="4206"/>
                    </a:lnTo>
                    <a:lnTo>
                      <a:pt x="3196" y="4210"/>
                    </a:lnTo>
                    <a:lnTo>
                      <a:pt x="3206" y="4216"/>
                    </a:lnTo>
                    <a:lnTo>
                      <a:pt x="3210" y="4218"/>
                    </a:lnTo>
                    <a:lnTo>
                      <a:pt x="3212" y="4222"/>
                    </a:lnTo>
                    <a:lnTo>
                      <a:pt x="3212" y="4228"/>
                    </a:lnTo>
                    <a:lnTo>
                      <a:pt x="3216" y="4232"/>
                    </a:lnTo>
                    <a:lnTo>
                      <a:pt x="3218" y="4230"/>
                    </a:lnTo>
                    <a:lnTo>
                      <a:pt x="3220" y="4224"/>
                    </a:lnTo>
                    <a:lnTo>
                      <a:pt x="3222" y="4216"/>
                    </a:lnTo>
                    <a:lnTo>
                      <a:pt x="3222" y="4208"/>
                    </a:lnTo>
                    <a:lnTo>
                      <a:pt x="3220" y="4204"/>
                    </a:lnTo>
                    <a:lnTo>
                      <a:pt x="3218" y="4202"/>
                    </a:lnTo>
                    <a:lnTo>
                      <a:pt x="3210" y="4200"/>
                    </a:lnTo>
                    <a:lnTo>
                      <a:pt x="3206" y="4200"/>
                    </a:lnTo>
                    <a:lnTo>
                      <a:pt x="3206" y="4196"/>
                    </a:lnTo>
                    <a:lnTo>
                      <a:pt x="3206" y="4194"/>
                    </a:lnTo>
                    <a:lnTo>
                      <a:pt x="3206" y="4192"/>
                    </a:lnTo>
                    <a:lnTo>
                      <a:pt x="3204" y="4186"/>
                    </a:lnTo>
                    <a:lnTo>
                      <a:pt x="3198" y="4182"/>
                    </a:lnTo>
                    <a:lnTo>
                      <a:pt x="3196" y="4178"/>
                    </a:lnTo>
                    <a:lnTo>
                      <a:pt x="3194" y="4174"/>
                    </a:lnTo>
                    <a:lnTo>
                      <a:pt x="3196" y="4174"/>
                    </a:lnTo>
                    <a:lnTo>
                      <a:pt x="3198" y="4174"/>
                    </a:lnTo>
                    <a:lnTo>
                      <a:pt x="3206" y="4174"/>
                    </a:lnTo>
                    <a:lnTo>
                      <a:pt x="3210" y="4172"/>
                    </a:lnTo>
                    <a:lnTo>
                      <a:pt x="3212" y="4172"/>
                    </a:lnTo>
                    <a:lnTo>
                      <a:pt x="3214" y="4168"/>
                    </a:lnTo>
                    <a:lnTo>
                      <a:pt x="3210" y="4164"/>
                    </a:lnTo>
                    <a:lnTo>
                      <a:pt x="3194" y="4156"/>
                    </a:lnTo>
                    <a:lnTo>
                      <a:pt x="3190" y="4154"/>
                    </a:lnTo>
                    <a:lnTo>
                      <a:pt x="3186" y="4156"/>
                    </a:lnTo>
                    <a:lnTo>
                      <a:pt x="3186" y="4158"/>
                    </a:lnTo>
                    <a:lnTo>
                      <a:pt x="3184" y="4162"/>
                    </a:lnTo>
                    <a:lnTo>
                      <a:pt x="3184" y="4170"/>
                    </a:lnTo>
                    <a:lnTo>
                      <a:pt x="3182" y="4172"/>
                    </a:lnTo>
                    <a:lnTo>
                      <a:pt x="3180" y="4170"/>
                    </a:lnTo>
                    <a:lnTo>
                      <a:pt x="3178" y="4168"/>
                    </a:lnTo>
                    <a:lnTo>
                      <a:pt x="3176" y="4164"/>
                    </a:lnTo>
                    <a:lnTo>
                      <a:pt x="3176" y="4158"/>
                    </a:lnTo>
                    <a:lnTo>
                      <a:pt x="3176" y="4154"/>
                    </a:lnTo>
                    <a:lnTo>
                      <a:pt x="3174" y="4150"/>
                    </a:lnTo>
                    <a:lnTo>
                      <a:pt x="3170" y="4146"/>
                    </a:lnTo>
                    <a:lnTo>
                      <a:pt x="3164" y="4142"/>
                    </a:lnTo>
                    <a:lnTo>
                      <a:pt x="3158" y="4140"/>
                    </a:lnTo>
                    <a:lnTo>
                      <a:pt x="3154" y="4140"/>
                    </a:lnTo>
                    <a:lnTo>
                      <a:pt x="3152" y="4140"/>
                    </a:lnTo>
                    <a:lnTo>
                      <a:pt x="3150" y="4142"/>
                    </a:lnTo>
                    <a:lnTo>
                      <a:pt x="3148" y="4146"/>
                    </a:lnTo>
                    <a:lnTo>
                      <a:pt x="3144" y="4146"/>
                    </a:lnTo>
                    <a:lnTo>
                      <a:pt x="3142" y="4146"/>
                    </a:lnTo>
                    <a:lnTo>
                      <a:pt x="3140" y="4148"/>
                    </a:lnTo>
                    <a:lnTo>
                      <a:pt x="3140" y="4152"/>
                    </a:lnTo>
                    <a:lnTo>
                      <a:pt x="3140" y="4158"/>
                    </a:lnTo>
                    <a:lnTo>
                      <a:pt x="3138" y="4158"/>
                    </a:lnTo>
                    <a:lnTo>
                      <a:pt x="3136" y="4158"/>
                    </a:lnTo>
                    <a:lnTo>
                      <a:pt x="3130" y="4156"/>
                    </a:lnTo>
                    <a:lnTo>
                      <a:pt x="3126" y="4152"/>
                    </a:lnTo>
                    <a:lnTo>
                      <a:pt x="3122" y="4142"/>
                    </a:lnTo>
                    <a:lnTo>
                      <a:pt x="3120" y="4132"/>
                    </a:lnTo>
                    <a:lnTo>
                      <a:pt x="3120" y="4124"/>
                    </a:lnTo>
                    <a:lnTo>
                      <a:pt x="3120" y="4120"/>
                    </a:lnTo>
                    <a:lnTo>
                      <a:pt x="3120" y="4116"/>
                    </a:lnTo>
                    <a:lnTo>
                      <a:pt x="3116" y="4104"/>
                    </a:lnTo>
                    <a:lnTo>
                      <a:pt x="3112" y="4092"/>
                    </a:lnTo>
                    <a:lnTo>
                      <a:pt x="3112" y="4086"/>
                    </a:lnTo>
                    <a:lnTo>
                      <a:pt x="3116" y="4082"/>
                    </a:lnTo>
                    <a:lnTo>
                      <a:pt x="3120" y="4072"/>
                    </a:lnTo>
                    <a:lnTo>
                      <a:pt x="3120" y="4066"/>
                    </a:lnTo>
                    <a:lnTo>
                      <a:pt x="3120" y="4062"/>
                    </a:lnTo>
                    <a:lnTo>
                      <a:pt x="3124" y="4054"/>
                    </a:lnTo>
                    <a:lnTo>
                      <a:pt x="3128" y="4052"/>
                    </a:lnTo>
                    <a:lnTo>
                      <a:pt x="3130" y="4050"/>
                    </a:lnTo>
                    <a:lnTo>
                      <a:pt x="3132" y="4052"/>
                    </a:lnTo>
                    <a:lnTo>
                      <a:pt x="3134" y="4052"/>
                    </a:lnTo>
                    <a:lnTo>
                      <a:pt x="3136" y="4056"/>
                    </a:lnTo>
                    <a:lnTo>
                      <a:pt x="3138" y="4056"/>
                    </a:lnTo>
                    <a:lnTo>
                      <a:pt x="3144" y="4046"/>
                    </a:lnTo>
                    <a:lnTo>
                      <a:pt x="3148" y="4034"/>
                    </a:lnTo>
                    <a:lnTo>
                      <a:pt x="3154" y="4008"/>
                    </a:lnTo>
                    <a:lnTo>
                      <a:pt x="3154" y="4006"/>
                    </a:lnTo>
                    <a:lnTo>
                      <a:pt x="3152" y="4002"/>
                    </a:lnTo>
                    <a:lnTo>
                      <a:pt x="3146" y="3992"/>
                    </a:lnTo>
                    <a:lnTo>
                      <a:pt x="3144" y="3986"/>
                    </a:lnTo>
                    <a:lnTo>
                      <a:pt x="3142" y="3978"/>
                    </a:lnTo>
                    <a:lnTo>
                      <a:pt x="3142" y="3970"/>
                    </a:lnTo>
                    <a:lnTo>
                      <a:pt x="3144" y="3960"/>
                    </a:lnTo>
                    <a:lnTo>
                      <a:pt x="3148" y="3944"/>
                    </a:lnTo>
                    <a:lnTo>
                      <a:pt x="3146" y="3936"/>
                    </a:lnTo>
                    <a:lnTo>
                      <a:pt x="3146" y="3934"/>
                    </a:lnTo>
                    <a:lnTo>
                      <a:pt x="3142" y="3934"/>
                    </a:lnTo>
                    <a:lnTo>
                      <a:pt x="3140" y="3936"/>
                    </a:lnTo>
                    <a:lnTo>
                      <a:pt x="3136" y="3942"/>
                    </a:lnTo>
                    <a:lnTo>
                      <a:pt x="3132" y="3946"/>
                    </a:lnTo>
                    <a:lnTo>
                      <a:pt x="3126" y="3944"/>
                    </a:lnTo>
                    <a:lnTo>
                      <a:pt x="3122" y="3942"/>
                    </a:lnTo>
                    <a:lnTo>
                      <a:pt x="3114" y="3938"/>
                    </a:lnTo>
                    <a:lnTo>
                      <a:pt x="3100" y="3930"/>
                    </a:lnTo>
                    <a:lnTo>
                      <a:pt x="3094" y="3926"/>
                    </a:lnTo>
                    <a:lnTo>
                      <a:pt x="3086" y="3928"/>
                    </a:lnTo>
                    <a:lnTo>
                      <a:pt x="3076" y="3932"/>
                    </a:lnTo>
                    <a:lnTo>
                      <a:pt x="3076" y="3936"/>
                    </a:lnTo>
                    <a:lnTo>
                      <a:pt x="3074" y="3938"/>
                    </a:lnTo>
                    <a:lnTo>
                      <a:pt x="3074" y="3946"/>
                    </a:lnTo>
                    <a:lnTo>
                      <a:pt x="3074" y="3952"/>
                    </a:lnTo>
                    <a:lnTo>
                      <a:pt x="3072" y="3958"/>
                    </a:lnTo>
                    <a:lnTo>
                      <a:pt x="3068" y="3966"/>
                    </a:lnTo>
                    <a:lnTo>
                      <a:pt x="3068" y="3972"/>
                    </a:lnTo>
                    <a:lnTo>
                      <a:pt x="3068" y="3986"/>
                    </a:lnTo>
                    <a:lnTo>
                      <a:pt x="3070" y="4000"/>
                    </a:lnTo>
                    <a:lnTo>
                      <a:pt x="3068" y="4010"/>
                    </a:lnTo>
                    <a:lnTo>
                      <a:pt x="3066" y="4018"/>
                    </a:lnTo>
                    <a:lnTo>
                      <a:pt x="3064" y="4026"/>
                    </a:lnTo>
                    <a:lnTo>
                      <a:pt x="3062" y="4032"/>
                    </a:lnTo>
                    <a:lnTo>
                      <a:pt x="3064" y="4038"/>
                    </a:lnTo>
                    <a:lnTo>
                      <a:pt x="3066" y="4040"/>
                    </a:lnTo>
                    <a:lnTo>
                      <a:pt x="3068" y="4046"/>
                    </a:lnTo>
                    <a:lnTo>
                      <a:pt x="3070" y="4050"/>
                    </a:lnTo>
                    <a:lnTo>
                      <a:pt x="3068" y="4054"/>
                    </a:lnTo>
                    <a:lnTo>
                      <a:pt x="3066" y="4058"/>
                    </a:lnTo>
                    <a:lnTo>
                      <a:pt x="3062" y="4060"/>
                    </a:lnTo>
                    <a:lnTo>
                      <a:pt x="3060" y="4056"/>
                    </a:lnTo>
                    <a:lnTo>
                      <a:pt x="3058" y="4054"/>
                    </a:lnTo>
                    <a:lnTo>
                      <a:pt x="3052" y="4044"/>
                    </a:lnTo>
                    <a:lnTo>
                      <a:pt x="3050" y="4042"/>
                    </a:lnTo>
                    <a:lnTo>
                      <a:pt x="3048" y="4040"/>
                    </a:lnTo>
                    <a:close/>
                    <a:moveTo>
                      <a:pt x="3012" y="4336"/>
                    </a:moveTo>
                    <a:lnTo>
                      <a:pt x="3012" y="4336"/>
                    </a:lnTo>
                    <a:lnTo>
                      <a:pt x="2996" y="4362"/>
                    </a:lnTo>
                    <a:lnTo>
                      <a:pt x="2978" y="4384"/>
                    </a:lnTo>
                    <a:lnTo>
                      <a:pt x="2960" y="4400"/>
                    </a:lnTo>
                    <a:lnTo>
                      <a:pt x="2950" y="4412"/>
                    </a:lnTo>
                    <a:lnTo>
                      <a:pt x="2948" y="4420"/>
                    </a:lnTo>
                    <a:lnTo>
                      <a:pt x="2944" y="4428"/>
                    </a:lnTo>
                    <a:lnTo>
                      <a:pt x="2944" y="4432"/>
                    </a:lnTo>
                    <a:lnTo>
                      <a:pt x="2946" y="4434"/>
                    </a:lnTo>
                    <a:lnTo>
                      <a:pt x="2950" y="4432"/>
                    </a:lnTo>
                    <a:lnTo>
                      <a:pt x="2954" y="4426"/>
                    </a:lnTo>
                    <a:lnTo>
                      <a:pt x="2960" y="4422"/>
                    </a:lnTo>
                    <a:lnTo>
                      <a:pt x="2968" y="4410"/>
                    </a:lnTo>
                    <a:lnTo>
                      <a:pt x="2994" y="4388"/>
                    </a:lnTo>
                    <a:lnTo>
                      <a:pt x="3002" y="4380"/>
                    </a:lnTo>
                    <a:lnTo>
                      <a:pt x="3006" y="4372"/>
                    </a:lnTo>
                    <a:lnTo>
                      <a:pt x="3008" y="4368"/>
                    </a:lnTo>
                    <a:lnTo>
                      <a:pt x="3008" y="4364"/>
                    </a:lnTo>
                    <a:lnTo>
                      <a:pt x="3010" y="4358"/>
                    </a:lnTo>
                    <a:lnTo>
                      <a:pt x="3012" y="4356"/>
                    </a:lnTo>
                    <a:lnTo>
                      <a:pt x="3016" y="4354"/>
                    </a:lnTo>
                    <a:lnTo>
                      <a:pt x="3022" y="4352"/>
                    </a:lnTo>
                    <a:lnTo>
                      <a:pt x="3024" y="4350"/>
                    </a:lnTo>
                    <a:lnTo>
                      <a:pt x="3028" y="4344"/>
                    </a:lnTo>
                    <a:lnTo>
                      <a:pt x="3030" y="4338"/>
                    </a:lnTo>
                    <a:lnTo>
                      <a:pt x="3030" y="4336"/>
                    </a:lnTo>
                    <a:lnTo>
                      <a:pt x="3034" y="4336"/>
                    </a:lnTo>
                    <a:lnTo>
                      <a:pt x="3038" y="4334"/>
                    </a:lnTo>
                    <a:lnTo>
                      <a:pt x="3042" y="4330"/>
                    </a:lnTo>
                    <a:lnTo>
                      <a:pt x="3044" y="4324"/>
                    </a:lnTo>
                    <a:lnTo>
                      <a:pt x="3042" y="4316"/>
                    </a:lnTo>
                    <a:lnTo>
                      <a:pt x="3040" y="4312"/>
                    </a:lnTo>
                    <a:lnTo>
                      <a:pt x="3040" y="4306"/>
                    </a:lnTo>
                    <a:lnTo>
                      <a:pt x="3040" y="4296"/>
                    </a:lnTo>
                    <a:lnTo>
                      <a:pt x="3040" y="4288"/>
                    </a:lnTo>
                    <a:lnTo>
                      <a:pt x="3038" y="4286"/>
                    </a:lnTo>
                    <a:lnTo>
                      <a:pt x="3036" y="4284"/>
                    </a:lnTo>
                    <a:lnTo>
                      <a:pt x="3034" y="4284"/>
                    </a:lnTo>
                    <a:lnTo>
                      <a:pt x="3032" y="4286"/>
                    </a:lnTo>
                    <a:lnTo>
                      <a:pt x="3032" y="4294"/>
                    </a:lnTo>
                    <a:lnTo>
                      <a:pt x="3030" y="4302"/>
                    </a:lnTo>
                    <a:lnTo>
                      <a:pt x="3028" y="4304"/>
                    </a:lnTo>
                    <a:lnTo>
                      <a:pt x="3026" y="4306"/>
                    </a:lnTo>
                    <a:lnTo>
                      <a:pt x="3024" y="4306"/>
                    </a:lnTo>
                    <a:lnTo>
                      <a:pt x="3024" y="4308"/>
                    </a:lnTo>
                    <a:lnTo>
                      <a:pt x="3026" y="4312"/>
                    </a:lnTo>
                    <a:lnTo>
                      <a:pt x="3028" y="4318"/>
                    </a:lnTo>
                    <a:lnTo>
                      <a:pt x="3028" y="4322"/>
                    </a:lnTo>
                    <a:lnTo>
                      <a:pt x="3026" y="4326"/>
                    </a:lnTo>
                    <a:lnTo>
                      <a:pt x="3022" y="4330"/>
                    </a:lnTo>
                    <a:lnTo>
                      <a:pt x="3020" y="4328"/>
                    </a:lnTo>
                    <a:lnTo>
                      <a:pt x="3018" y="4328"/>
                    </a:lnTo>
                    <a:lnTo>
                      <a:pt x="3012" y="4336"/>
                    </a:lnTo>
                    <a:close/>
                    <a:moveTo>
                      <a:pt x="3126" y="3596"/>
                    </a:moveTo>
                    <a:lnTo>
                      <a:pt x="3126" y="3596"/>
                    </a:lnTo>
                    <a:lnTo>
                      <a:pt x="3122" y="3592"/>
                    </a:lnTo>
                    <a:lnTo>
                      <a:pt x="3118" y="3590"/>
                    </a:lnTo>
                    <a:lnTo>
                      <a:pt x="3116" y="3590"/>
                    </a:lnTo>
                    <a:lnTo>
                      <a:pt x="3114" y="3590"/>
                    </a:lnTo>
                    <a:lnTo>
                      <a:pt x="3110" y="3594"/>
                    </a:lnTo>
                    <a:lnTo>
                      <a:pt x="3104" y="3598"/>
                    </a:lnTo>
                    <a:lnTo>
                      <a:pt x="3098" y="3600"/>
                    </a:lnTo>
                    <a:lnTo>
                      <a:pt x="3092" y="3608"/>
                    </a:lnTo>
                    <a:lnTo>
                      <a:pt x="3072" y="3644"/>
                    </a:lnTo>
                    <a:lnTo>
                      <a:pt x="3062" y="3662"/>
                    </a:lnTo>
                    <a:lnTo>
                      <a:pt x="3060" y="3678"/>
                    </a:lnTo>
                    <a:lnTo>
                      <a:pt x="3060" y="3694"/>
                    </a:lnTo>
                    <a:lnTo>
                      <a:pt x="3062" y="3712"/>
                    </a:lnTo>
                    <a:lnTo>
                      <a:pt x="3066" y="3726"/>
                    </a:lnTo>
                    <a:lnTo>
                      <a:pt x="3070" y="3730"/>
                    </a:lnTo>
                    <a:lnTo>
                      <a:pt x="3074" y="3734"/>
                    </a:lnTo>
                    <a:lnTo>
                      <a:pt x="3078" y="3742"/>
                    </a:lnTo>
                    <a:lnTo>
                      <a:pt x="3082" y="3752"/>
                    </a:lnTo>
                    <a:lnTo>
                      <a:pt x="3086" y="3762"/>
                    </a:lnTo>
                    <a:lnTo>
                      <a:pt x="3088" y="3764"/>
                    </a:lnTo>
                    <a:lnTo>
                      <a:pt x="3090" y="3762"/>
                    </a:lnTo>
                    <a:lnTo>
                      <a:pt x="3090" y="3756"/>
                    </a:lnTo>
                    <a:lnTo>
                      <a:pt x="3090" y="3748"/>
                    </a:lnTo>
                    <a:lnTo>
                      <a:pt x="3092" y="3738"/>
                    </a:lnTo>
                    <a:lnTo>
                      <a:pt x="3094" y="3730"/>
                    </a:lnTo>
                    <a:lnTo>
                      <a:pt x="3096" y="3726"/>
                    </a:lnTo>
                    <a:lnTo>
                      <a:pt x="3098" y="3722"/>
                    </a:lnTo>
                    <a:lnTo>
                      <a:pt x="3102" y="3718"/>
                    </a:lnTo>
                    <a:lnTo>
                      <a:pt x="3106" y="3712"/>
                    </a:lnTo>
                    <a:lnTo>
                      <a:pt x="3110" y="3702"/>
                    </a:lnTo>
                    <a:lnTo>
                      <a:pt x="3114" y="3690"/>
                    </a:lnTo>
                    <a:lnTo>
                      <a:pt x="3120" y="3662"/>
                    </a:lnTo>
                    <a:lnTo>
                      <a:pt x="3126" y="3644"/>
                    </a:lnTo>
                    <a:lnTo>
                      <a:pt x="3130" y="3632"/>
                    </a:lnTo>
                    <a:lnTo>
                      <a:pt x="3130" y="3628"/>
                    </a:lnTo>
                    <a:lnTo>
                      <a:pt x="3128" y="3622"/>
                    </a:lnTo>
                    <a:lnTo>
                      <a:pt x="3128" y="3618"/>
                    </a:lnTo>
                    <a:lnTo>
                      <a:pt x="3128" y="3614"/>
                    </a:lnTo>
                    <a:lnTo>
                      <a:pt x="3130" y="3610"/>
                    </a:lnTo>
                    <a:lnTo>
                      <a:pt x="3132" y="3608"/>
                    </a:lnTo>
                    <a:lnTo>
                      <a:pt x="3132" y="3604"/>
                    </a:lnTo>
                    <a:lnTo>
                      <a:pt x="3130" y="3600"/>
                    </a:lnTo>
                    <a:lnTo>
                      <a:pt x="3126" y="3596"/>
                    </a:lnTo>
                    <a:close/>
                    <a:moveTo>
                      <a:pt x="4186" y="2510"/>
                    </a:moveTo>
                    <a:lnTo>
                      <a:pt x="4186" y="2510"/>
                    </a:lnTo>
                    <a:lnTo>
                      <a:pt x="4182" y="2506"/>
                    </a:lnTo>
                    <a:lnTo>
                      <a:pt x="4182" y="2510"/>
                    </a:lnTo>
                    <a:lnTo>
                      <a:pt x="4180" y="2516"/>
                    </a:lnTo>
                    <a:lnTo>
                      <a:pt x="4180" y="2518"/>
                    </a:lnTo>
                    <a:lnTo>
                      <a:pt x="4176" y="2522"/>
                    </a:lnTo>
                    <a:lnTo>
                      <a:pt x="4166" y="2526"/>
                    </a:lnTo>
                    <a:lnTo>
                      <a:pt x="4156" y="2534"/>
                    </a:lnTo>
                    <a:lnTo>
                      <a:pt x="4148" y="2544"/>
                    </a:lnTo>
                    <a:lnTo>
                      <a:pt x="4140" y="2558"/>
                    </a:lnTo>
                    <a:lnTo>
                      <a:pt x="4140" y="2560"/>
                    </a:lnTo>
                    <a:lnTo>
                      <a:pt x="4140" y="2562"/>
                    </a:lnTo>
                    <a:lnTo>
                      <a:pt x="4142" y="2564"/>
                    </a:lnTo>
                    <a:lnTo>
                      <a:pt x="4144" y="2562"/>
                    </a:lnTo>
                    <a:lnTo>
                      <a:pt x="4152" y="2556"/>
                    </a:lnTo>
                    <a:lnTo>
                      <a:pt x="4162" y="2546"/>
                    </a:lnTo>
                    <a:lnTo>
                      <a:pt x="4170" y="2536"/>
                    </a:lnTo>
                    <a:lnTo>
                      <a:pt x="4176" y="2532"/>
                    </a:lnTo>
                    <a:lnTo>
                      <a:pt x="4182" y="2528"/>
                    </a:lnTo>
                    <a:lnTo>
                      <a:pt x="4192" y="2522"/>
                    </a:lnTo>
                    <a:lnTo>
                      <a:pt x="4196" y="2518"/>
                    </a:lnTo>
                    <a:lnTo>
                      <a:pt x="4202" y="2516"/>
                    </a:lnTo>
                    <a:lnTo>
                      <a:pt x="4212" y="2512"/>
                    </a:lnTo>
                    <a:lnTo>
                      <a:pt x="4216" y="2510"/>
                    </a:lnTo>
                    <a:lnTo>
                      <a:pt x="4218" y="2508"/>
                    </a:lnTo>
                    <a:lnTo>
                      <a:pt x="4218" y="2506"/>
                    </a:lnTo>
                    <a:lnTo>
                      <a:pt x="4216" y="2502"/>
                    </a:lnTo>
                    <a:lnTo>
                      <a:pt x="4214" y="2500"/>
                    </a:lnTo>
                    <a:lnTo>
                      <a:pt x="4210" y="2500"/>
                    </a:lnTo>
                    <a:lnTo>
                      <a:pt x="4204" y="2504"/>
                    </a:lnTo>
                    <a:lnTo>
                      <a:pt x="4194" y="2510"/>
                    </a:lnTo>
                    <a:lnTo>
                      <a:pt x="4190" y="2510"/>
                    </a:lnTo>
                    <a:lnTo>
                      <a:pt x="4186" y="2510"/>
                    </a:lnTo>
                    <a:close/>
                    <a:moveTo>
                      <a:pt x="3264" y="4226"/>
                    </a:moveTo>
                    <a:lnTo>
                      <a:pt x="3264" y="4226"/>
                    </a:lnTo>
                    <a:lnTo>
                      <a:pt x="3258" y="4226"/>
                    </a:lnTo>
                    <a:lnTo>
                      <a:pt x="3250" y="4226"/>
                    </a:lnTo>
                    <a:lnTo>
                      <a:pt x="3242" y="4228"/>
                    </a:lnTo>
                    <a:lnTo>
                      <a:pt x="3234" y="4226"/>
                    </a:lnTo>
                    <a:lnTo>
                      <a:pt x="3230" y="4226"/>
                    </a:lnTo>
                    <a:lnTo>
                      <a:pt x="3228" y="4228"/>
                    </a:lnTo>
                    <a:lnTo>
                      <a:pt x="3228" y="4234"/>
                    </a:lnTo>
                    <a:lnTo>
                      <a:pt x="3234" y="4244"/>
                    </a:lnTo>
                    <a:lnTo>
                      <a:pt x="3242" y="4252"/>
                    </a:lnTo>
                    <a:lnTo>
                      <a:pt x="3246" y="4258"/>
                    </a:lnTo>
                    <a:lnTo>
                      <a:pt x="3248" y="4260"/>
                    </a:lnTo>
                    <a:lnTo>
                      <a:pt x="3250" y="4262"/>
                    </a:lnTo>
                    <a:lnTo>
                      <a:pt x="3254" y="4264"/>
                    </a:lnTo>
                    <a:lnTo>
                      <a:pt x="3258" y="4266"/>
                    </a:lnTo>
                    <a:lnTo>
                      <a:pt x="3258" y="4268"/>
                    </a:lnTo>
                    <a:lnTo>
                      <a:pt x="3256" y="4272"/>
                    </a:lnTo>
                    <a:lnTo>
                      <a:pt x="3254" y="4276"/>
                    </a:lnTo>
                    <a:lnTo>
                      <a:pt x="3252" y="4276"/>
                    </a:lnTo>
                    <a:lnTo>
                      <a:pt x="3252" y="4278"/>
                    </a:lnTo>
                    <a:lnTo>
                      <a:pt x="3256" y="4282"/>
                    </a:lnTo>
                    <a:lnTo>
                      <a:pt x="3260" y="4288"/>
                    </a:lnTo>
                    <a:lnTo>
                      <a:pt x="3264" y="4296"/>
                    </a:lnTo>
                    <a:lnTo>
                      <a:pt x="3266" y="4298"/>
                    </a:lnTo>
                    <a:lnTo>
                      <a:pt x="3268" y="4300"/>
                    </a:lnTo>
                    <a:lnTo>
                      <a:pt x="3272" y="4298"/>
                    </a:lnTo>
                    <a:lnTo>
                      <a:pt x="3276" y="4298"/>
                    </a:lnTo>
                    <a:lnTo>
                      <a:pt x="3280" y="4298"/>
                    </a:lnTo>
                    <a:lnTo>
                      <a:pt x="3282" y="4300"/>
                    </a:lnTo>
                    <a:lnTo>
                      <a:pt x="3286" y="4302"/>
                    </a:lnTo>
                    <a:lnTo>
                      <a:pt x="3288" y="4300"/>
                    </a:lnTo>
                    <a:lnTo>
                      <a:pt x="3286" y="4296"/>
                    </a:lnTo>
                    <a:lnTo>
                      <a:pt x="3282" y="4292"/>
                    </a:lnTo>
                    <a:lnTo>
                      <a:pt x="3282" y="4290"/>
                    </a:lnTo>
                    <a:lnTo>
                      <a:pt x="3282" y="4288"/>
                    </a:lnTo>
                    <a:lnTo>
                      <a:pt x="3282" y="4284"/>
                    </a:lnTo>
                    <a:lnTo>
                      <a:pt x="3278" y="4280"/>
                    </a:lnTo>
                    <a:lnTo>
                      <a:pt x="3276" y="4276"/>
                    </a:lnTo>
                    <a:lnTo>
                      <a:pt x="3276" y="4272"/>
                    </a:lnTo>
                    <a:lnTo>
                      <a:pt x="3276" y="4260"/>
                    </a:lnTo>
                    <a:lnTo>
                      <a:pt x="3276" y="4248"/>
                    </a:lnTo>
                    <a:lnTo>
                      <a:pt x="3276" y="4242"/>
                    </a:lnTo>
                    <a:lnTo>
                      <a:pt x="3274" y="4240"/>
                    </a:lnTo>
                    <a:lnTo>
                      <a:pt x="3270" y="4236"/>
                    </a:lnTo>
                    <a:lnTo>
                      <a:pt x="3270" y="4234"/>
                    </a:lnTo>
                    <a:lnTo>
                      <a:pt x="3268" y="4230"/>
                    </a:lnTo>
                    <a:lnTo>
                      <a:pt x="3264" y="4226"/>
                    </a:lnTo>
                    <a:close/>
                    <a:moveTo>
                      <a:pt x="2906" y="4970"/>
                    </a:moveTo>
                    <a:lnTo>
                      <a:pt x="2906" y="4970"/>
                    </a:lnTo>
                    <a:lnTo>
                      <a:pt x="2908" y="4964"/>
                    </a:lnTo>
                    <a:lnTo>
                      <a:pt x="2910" y="4962"/>
                    </a:lnTo>
                    <a:lnTo>
                      <a:pt x="2914" y="4960"/>
                    </a:lnTo>
                    <a:lnTo>
                      <a:pt x="2918" y="4958"/>
                    </a:lnTo>
                    <a:lnTo>
                      <a:pt x="2918" y="4956"/>
                    </a:lnTo>
                    <a:lnTo>
                      <a:pt x="2918" y="4950"/>
                    </a:lnTo>
                    <a:lnTo>
                      <a:pt x="2916" y="4942"/>
                    </a:lnTo>
                    <a:lnTo>
                      <a:pt x="2914" y="4932"/>
                    </a:lnTo>
                    <a:lnTo>
                      <a:pt x="2914" y="4924"/>
                    </a:lnTo>
                    <a:lnTo>
                      <a:pt x="2916" y="4918"/>
                    </a:lnTo>
                    <a:lnTo>
                      <a:pt x="2920" y="4912"/>
                    </a:lnTo>
                    <a:lnTo>
                      <a:pt x="2930" y="4902"/>
                    </a:lnTo>
                    <a:lnTo>
                      <a:pt x="2934" y="4898"/>
                    </a:lnTo>
                    <a:lnTo>
                      <a:pt x="2938" y="4892"/>
                    </a:lnTo>
                    <a:lnTo>
                      <a:pt x="2940" y="4888"/>
                    </a:lnTo>
                    <a:lnTo>
                      <a:pt x="2944" y="4886"/>
                    </a:lnTo>
                    <a:lnTo>
                      <a:pt x="2952" y="4882"/>
                    </a:lnTo>
                    <a:lnTo>
                      <a:pt x="2954" y="4882"/>
                    </a:lnTo>
                    <a:lnTo>
                      <a:pt x="2958" y="4878"/>
                    </a:lnTo>
                    <a:lnTo>
                      <a:pt x="2958" y="4872"/>
                    </a:lnTo>
                    <a:lnTo>
                      <a:pt x="2958" y="4862"/>
                    </a:lnTo>
                    <a:lnTo>
                      <a:pt x="2956" y="4840"/>
                    </a:lnTo>
                    <a:lnTo>
                      <a:pt x="2958" y="4822"/>
                    </a:lnTo>
                    <a:lnTo>
                      <a:pt x="2962" y="4808"/>
                    </a:lnTo>
                    <a:lnTo>
                      <a:pt x="2964" y="4804"/>
                    </a:lnTo>
                    <a:lnTo>
                      <a:pt x="2968" y="4800"/>
                    </a:lnTo>
                    <a:lnTo>
                      <a:pt x="2972" y="4796"/>
                    </a:lnTo>
                    <a:lnTo>
                      <a:pt x="2974" y="4792"/>
                    </a:lnTo>
                    <a:lnTo>
                      <a:pt x="2978" y="4792"/>
                    </a:lnTo>
                    <a:lnTo>
                      <a:pt x="2982" y="4796"/>
                    </a:lnTo>
                    <a:lnTo>
                      <a:pt x="2988" y="4800"/>
                    </a:lnTo>
                    <a:lnTo>
                      <a:pt x="2992" y="4802"/>
                    </a:lnTo>
                    <a:lnTo>
                      <a:pt x="3002" y="4802"/>
                    </a:lnTo>
                    <a:lnTo>
                      <a:pt x="3010" y="4800"/>
                    </a:lnTo>
                    <a:lnTo>
                      <a:pt x="3012" y="4798"/>
                    </a:lnTo>
                    <a:lnTo>
                      <a:pt x="3014" y="4796"/>
                    </a:lnTo>
                    <a:lnTo>
                      <a:pt x="3012" y="4792"/>
                    </a:lnTo>
                    <a:lnTo>
                      <a:pt x="3006" y="4786"/>
                    </a:lnTo>
                    <a:lnTo>
                      <a:pt x="2988" y="4770"/>
                    </a:lnTo>
                    <a:lnTo>
                      <a:pt x="2980" y="4760"/>
                    </a:lnTo>
                    <a:lnTo>
                      <a:pt x="2972" y="4752"/>
                    </a:lnTo>
                    <a:lnTo>
                      <a:pt x="2970" y="4744"/>
                    </a:lnTo>
                    <a:lnTo>
                      <a:pt x="2970" y="4742"/>
                    </a:lnTo>
                    <a:lnTo>
                      <a:pt x="2970" y="4738"/>
                    </a:lnTo>
                    <a:lnTo>
                      <a:pt x="2974" y="4734"/>
                    </a:lnTo>
                    <a:lnTo>
                      <a:pt x="2976" y="4730"/>
                    </a:lnTo>
                    <a:lnTo>
                      <a:pt x="2974" y="4726"/>
                    </a:lnTo>
                    <a:lnTo>
                      <a:pt x="2972" y="4722"/>
                    </a:lnTo>
                    <a:lnTo>
                      <a:pt x="2966" y="4714"/>
                    </a:lnTo>
                    <a:lnTo>
                      <a:pt x="2964" y="4708"/>
                    </a:lnTo>
                    <a:lnTo>
                      <a:pt x="2962" y="4702"/>
                    </a:lnTo>
                    <a:lnTo>
                      <a:pt x="2960" y="4696"/>
                    </a:lnTo>
                    <a:lnTo>
                      <a:pt x="2958" y="4692"/>
                    </a:lnTo>
                    <a:lnTo>
                      <a:pt x="2954" y="4690"/>
                    </a:lnTo>
                    <a:lnTo>
                      <a:pt x="2950" y="4686"/>
                    </a:lnTo>
                    <a:lnTo>
                      <a:pt x="2948" y="4684"/>
                    </a:lnTo>
                    <a:lnTo>
                      <a:pt x="2950" y="4678"/>
                    </a:lnTo>
                    <a:lnTo>
                      <a:pt x="2950" y="4672"/>
                    </a:lnTo>
                    <a:lnTo>
                      <a:pt x="2952" y="4668"/>
                    </a:lnTo>
                    <a:lnTo>
                      <a:pt x="2956" y="4666"/>
                    </a:lnTo>
                    <a:lnTo>
                      <a:pt x="2958" y="4666"/>
                    </a:lnTo>
                    <a:lnTo>
                      <a:pt x="2964" y="4666"/>
                    </a:lnTo>
                    <a:lnTo>
                      <a:pt x="2966" y="4666"/>
                    </a:lnTo>
                    <a:lnTo>
                      <a:pt x="2966" y="4662"/>
                    </a:lnTo>
                    <a:lnTo>
                      <a:pt x="2964" y="4658"/>
                    </a:lnTo>
                    <a:lnTo>
                      <a:pt x="2956" y="4648"/>
                    </a:lnTo>
                    <a:lnTo>
                      <a:pt x="2954" y="4644"/>
                    </a:lnTo>
                    <a:lnTo>
                      <a:pt x="2954" y="4642"/>
                    </a:lnTo>
                    <a:lnTo>
                      <a:pt x="2954" y="4640"/>
                    </a:lnTo>
                    <a:lnTo>
                      <a:pt x="2956" y="4638"/>
                    </a:lnTo>
                    <a:lnTo>
                      <a:pt x="2958" y="4638"/>
                    </a:lnTo>
                    <a:lnTo>
                      <a:pt x="2960" y="4636"/>
                    </a:lnTo>
                    <a:lnTo>
                      <a:pt x="2958" y="4630"/>
                    </a:lnTo>
                    <a:lnTo>
                      <a:pt x="2958" y="4628"/>
                    </a:lnTo>
                    <a:lnTo>
                      <a:pt x="2966" y="4632"/>
                    </a:lnTo>
                    <a:lnTo>
                      <a:pt x="2972" y="4636"/>
                    </a:lnTo>
                    <a:lnTo>
                      <a:pt x="2976" y="4636"/>
                    </a:lnTo>
                    <a:lnTo>
                      <a:pt x="2980" y="4632"/>
                    </a:lnTo>
                    <a:lnTo>
                      <a:pt x="2986" y="4632"/>
                    </a:lnTo>
                    <a:lnTo>
                      <a:pt x="2992" y="4630"/>
                    </a:lnTo>
                    <a:lnTo>
                      <a:pt x="2998" y="4628"/>
                    </a:lnTo>
                    <a:lnTo>
                      <a:pt x="2998" y="4626"/>
                    </a:lnTo>
                    <a:lnTo>
                      <a:pt x="2998" y="4624"/>
                    </a:lnTo>
                    <a:lnTo>
                      <a:pt x="2990" y="4618"/>
                    </a:lnTo>
                    <a:lnTo>
                      <a:pt x="2982" y="4610"/>
                    </a:lnTo>
                    <a:lnTo>
                      <a:pt x="2980" y="4606"/>
                    </a:lnTo>
                    <a:lnTo>
                      <a:pt x="2982" y="4602"/>
                    </a:lnTo>
                    <a:lnTo>
                      <a:pt x="2986" y="4598"/>
                    </a:lnTo>
                    <a:lnTo>
                      <a:pt x="2988" y="4598"/>
                    </a:lnTo>
                    <a:lnTo>
                      <a:pt x="2990" y="4598"/>
                    </a:lnTo>
                    <a:lnTo>
                      <a:pt x="2994" y="4600"/>
                    </a:lnTo>
                    <a:lnTo>
                      <a:pt x="3002" y="4600"/>
                    </a:lnTo>
                    <a:lnTo>
                      <a:pt x="3014" y="4596"/>
                    </a:lnTo>
                    <a:lnTo>
                      <a:pt x="3020" y="4592"/>
                    </a:lnTo>
                    <a:lnTo>
                      <a:pt x="3024" y="4586"/>
                    </a:lnTo>
                    <a:lnTo>
                      <a:pt x="3024" y="4580"/>
                    </a:lnTo>
                    <a:lnTo>
                      <a:pt x="3022" y="4578"/>
                    </a:lnTo>
                    <a:lnTo>
                      <a:pt x="3022" y="4576"/>
                    </a:lnTo>
                    <a:lnTo>
                      <a:pt x="3018" y="4576"/>
                    </a:lnTo>
                    <a:lnTo>
                      <a:pt x="3014" y="4578"/>
                    </a:lnTo>
                    <a:lnTo>
                      <a:pt x="3012" y="4578"/>
                    </a:lnTo>
                    <a:lnTo>
                      <a:pt x="3010" y="4576"/>
                    </a:lnTo>
                    <a:lnTo>
                      <a:pt x="3006" y="4572"/>
                    </a:lnTo>
                    <a:lnTo>
                      <a:pt x="3004" y="4572"/>
                    </a:lnTo>
                    <a:lnTo>
                      <a:pt x="3000" y="4570"/>
                    </a:lnTo>
                    <a:lnTo>
                      <a:pt x="2998" y="4566"/>
                    </a:lnTo>
                    <a:lnTo>
                      <a:pt x="2994" y="4562"/>
                    </a:lnTo>
                    <a:lnTo>
                      <a:pt x="2988" y="4560"/>
                    </a:lnTo>
                    <a:lnTo>
                      <a:pt x="2984" y="4560"/>
                    </a:lnTo>
                    <a:lnTo>
                      <a:pt x="2982" y="4560"/>
                    </a:lnTo>
                    <a:lnTo>
                      <a:pt x="2976" y="4564"/>
                    </a:lnTo>
                    <a:lnTo>
                      <a:pt x="2974" y="4564"/>
                    </a:lnTo>
                    <a:lnTo>
                      <a:pt x="2972" y="4562"/>
                    </a:lnTo>
                    <a:lnTo>
                      <a:pt x="2972" y="4560"/>
                    </a:lnTo>
                    <a:lnTo>
                      <a:pt x="2974" y="4558"/>
                    </a:lnTo>
                    <a:lnTo>
                      <a:pt x="2976" y="4556"/>
                    </a:lnTo>
                    <a:lnTo>
                      <a:pt x="2976" y="4550"/>
                    </a:lnTo>
                    <a:lnTo>
                      <a:pt x="2974" y="4548"/>
                    </a:lnTo>
                    <a:lnTo>
                      <a:pt x="2972" y="4548"/>
                    </a:lnTo>
                    <a:lnTo>
                      <a:pt x="2968" y="4548"/>
                    </a:lnTo>
                    <a:lnTo>
                      <a:pt x="2964" y="4550"/>
                    </a:lnTo>
                    <a:lnTo>
                      <a:pt x="2962" y="4550"/>
                    </a:lnTo>
                    <a:lnTo>
                      <a:pt x="2960" y="4548"/>
                    </a:lnTo>
                    <a:lnTo>
                      <a:pt x="2960" y="4542"/>
                    </a:lnTo>
                    <a:lnTo>
                      <a:pt x="2960" y="4536"/>
                    </a:lnTo>
                    <a:lnTo>
                      <a:pt x="2962" y="4530"/>
                    </a:lnTo>
                    <a:lnTo>
                      <a:pt x="2958" y="4522"/>
                    </a:lnTo>
                    <a:lnTo>
                      <a:pt x="2954" y="4518"/>
                    </a:lnTo>
                    <a:lnTo>
                      <a:pt x="2952" y="4520"/>
                    </a:lnTo>
                    <a:lnTo>
                      <a:pt x="2948" y="4520"/>
                    </a:lnTo>
                    <a:lnTo>
                      <a:pt x="2946" y="4518"/>
                    </a:lnTo>
                    <a:lnTo>
                      <a:pt x="2944" y="4510"/>
                    </a:lnTo>
                    <a:lnTo>
                      <a:pt x="2942" y="4504"/>
                    </a:lnTo>
                    <a:lnTo>
                      <a:pt x="2940" y="4502"/>
                    </a:lnTo>
                    <a:lnTo>
                      <a:pt x="2938" y="4502"/>
                    </a:lnTo>
                    <a:lnTo>
                      <a:pt x="2936" y="4504"/>
                    </a:lnTo>
                    <a:lnTo>
                      <a:pt x="2934" y="4508"/>
                    </a:lnTo>
                    <a:lnTo>
                      <a:pt x="2932" y="4514"/>
                    </a:lnTo>
                    <a:lnTo>
                      <a:pt x="2928" y="4520"/>
                    </a:lnTo>
                    <a:lnTo>
                      <a:pt x="2926" y="4522"/>
                    </a:lnTo>
                    <a:lnTo>
                      <a:pt x="2924" y="4520"/>
                    </a:lnTo>
                    <a:lnTo>
                      <a:pt x="2926" y="4512"/>
                    </a:lnTo>
                    <a:lnTo>
                      <a:pt x="2928" y="4504"/>
                    </a:lnTo>
                    <a:lnTo>
                      <a:pt x="2926" y="4500"/>
                    </a:lnTo>
                    <a:lnTo>
                      <a:pt x="2924" y="4500"/>
                    </a:lnTo>
                    <a:lnTo>
                      <a:pt x="2920" y="4502"/>
                    </a:lnTo>
                    <a:lnTo>
                      <a:pt x="2918" y="4506"/>
                    </a:lnTo>
                    <a:lnTo>
                      <a:pt x="2916" y="4514"/>
                    </a:lnTo>
                    <a:lnTo>
                      <a:pt x="2910" y="4528"/>
                    </a:lnTo>
                    <a:lnTo>
                      <a:pt x="2904" y="4538"/>
                    </a:lnTo>
                    <a:lnTo>
                      <a:pt x="2900" y="4542"/>
                    </a:lnTo>
                    <a:lnTo>
                      <a:pt x="2896" y="4544"/>
                    </a:lnTo>
                    <a:lnTo>
                      <a:pt x="2896" y="4548"/>
                    </a:lnTo>
                    <a:lnTo>
                      <a:pt x="2894" y="4556"/>
                    </a:lnTo>
                    <a:lnTo>
                      <a:pt x="2892" y="4558"/>
                    </a:lnTo>
                    <a:lnTo>
                      <a:pt x="2890" y="4560"/>
                    </a:lnTo>
                    <a:lnTo>
                      <a:pt x="2890" y="4562"/>
                    </a:lnTo>
                    <a:lnTo>
                      <a:pt x="2888" y="4570"/>
                    </a:lnTo>
                    <a:lnTo>
                      <a:pt x="2884" y="4572"/>
                    </a:lnTo>
                    <a:lnTo>
                      <a:pt x="2882" y="4574"/>
                    </a:lnTo>
                    <a:lnTo>
                      <a:pt x="2880" y="4572"/>
                    </a:lnTo>
                    <a:lnTo>
                      <a:pt x="2876" y="4570"/>
                    </a:lnTo>
                    <a:lnTo>
                      <a:pt x="2874" y="4572"/>
                    </a:lnTo>
                    <a:lnTo>
                      <a:pt x="2868" y="4580"/>
                    </a:lnTo>
                    <a:lnTo>
                      <a:pt x="2868" y="4582"/>
                    </a:lnTo>
                    <a:lnTo>
                      <a:pt x="2868" y="4584"/>
                    </a:lnTo>
                    <a:lnTo>
                      <a:pt x="2872" y="4586"/>
                    </a:lnTo>
                    <a:lnTo>
                      <a:pt x="2876" y="4592"/>
                    </a:lnTo>
                    <a:lnTo>
                      <a:pt x="2874" y="4594"/>
                    </a:lnTo>
                    <a:lnTo>
                      <a:pt x="2872" y="4598"/>
                    </a:lnTo>
                    <a:lnTo>
                      <a:pt x="2868" y="4602"/>
                    </a:lnTo>
                    <a:lnTo>
                      <a:pt x="2864" y="4600"/>
                    </a:lnTo>
                    <a:lnTo>
                      <a:pt x="2862" y="4600"/>
                    </a:lnTo>
                    <a:lnTo>
                      <a:pt x="2858" y="4604"/>
                    </a:lnTo>
                    <a:lnTo>
                      <a:pt x="2854" y="4608"/>
                    </a:lnTo>
                    <a:lnTo>
                      <a:pt x="2854" y="4604"/>
                    </a:lnTo>
                    <a:lnTo>
                      <a:pt x="2856" y="4598"/>
                    </a:lnTo>
                    <a:lnTo>
                      <a:pt x="2856" y="4596"/>
                    </a:lnTo>
                    <a:lnTo>
                      <a:pt x="2854" y="4596"/>
                    </a:lnTo>
                    <a:lnTo>
                      <a:pt x="2850" y="4598"/>
                    </a:lnTo>
                    <a:lnTo>
                      <a:pt x="2844" y="4602"/>
                    </a:lnTo>
                    <a:lnTo>
                      <a:pt x="2836" y="4610"/>
                    </a:lnTo>
                    <a:lnTo>
                      <a:pt x="2828" y="4616"/>
                    </a:lnTo>
                    <a:lnTo>
                      <a:pt x="2822" y="4618"/>
                    </a:lnTo>
                    <a:lnTo>
                      <a:pt x="2816" y="4618"/>
                    </a:lnTo>
                    <a:lnTo>
                      <a:pt x="2814" y="4618"/>
                    </a:lnTo>
                    <a:lnTo>
                      <a:pt x="2812" y="4618"/>
                    </a:lnTo>
                    <a:lnTo>
                      <a:pt x="2812" y="4630"/>
                    </a:lnTo>
                    <a:lnTo>
                      <a:pt x="2810" y="4634"/>
                    </a:lnTo>
                    <a:lnTo>
                      <a:pt x="2806" y="4640"/>
                    </a:lnTo>
                    <a:lnTo>
                      <a:pt x="2798" y="4652"/>
                    </a:lnTo>
                    <a:lnTo>
                      <a:pt x="2786" y="4666"/>
                    </a:lnTo>
                    <a:lnTo>
                      <a:pt x="2780" y="4674"/>
                    </a:lnTo>
                    <a:lnTo>
                      <a:pt x="2778" y="4684"/>
                    </a:lnTo>
                    <a:lnTo>
                      <a:pt x="2774" y="4688"/>
                    </a:lnTo>
                    <a:lnTo>
                      <a:pt x="2766" y="4692"/>
                    </a:lnTo>
                    <a:lnTo>
                      <a:pt x="2746" y="4696"/>
                    </a:lnTo>
                    <a:lnTo>
                      <a:pt x="2724" y="4700"/>
                    </a:lnTo>
                    <a:lnTo>
                      <a:pt x="2716" y="4704"/>
                    </a:lnTo>
                    <a:lnTo>
                      <a:pt x="2712" y="4706"/>
                    </a:lnTo>
                    <a:lnTo>
                      <a:pt x="2710" y="4710"/>
                    </a:lnTo>
                    <a:lnTo>
                      <a:pt x="2708" y="4716"/>
                    </a:lnTo>
                    <a:lnTo>
                      <a:pt x="2710" y="4724"/>
                    </a:lnTo>
                    <a:lnTo>
                      <a:pt x="2708" y="4728"/>
                    </a:lnTo>
                    <a:lnTo>
                      <a:pt x="2704" y="4726"/>
                    </a:lnTo>
                    <a:lnTo>
                      <a:pt x="2702" y="4724"/>
                    </a:lnTo>
                    <a:lnTo>
                      <a:pt x="2700" y="4724"/>
                    </a:lnTo>
                    <a:lnTo>
                      <a:pt x="2698" y="4728"/>
                    </a:lnTo>
                    <a:lnTo>
                      <a:pt x="2698" y="4734"/>
                    </a:lnTo>
                    <a:lnTo>
                      <a:pt x="2700" y="4738"/>
                    </a:lnTo>
                    <a:lnTo>
                      <a:pt x="2702" y="4738"/>
                    </a:lnTo>
                    <a:lnTo>
                      <a:pt x="2702" y="4740"/>
                    </a:lnTo>
                    <a:lnTo>
                      <a:pt x="2700" y="4742"/>
                    </a:lnTo>
                    <a:lnTo>
                      <a:pt x="2698" y="4750"/>
                    </a:lnTo>
                    <a:lnTo>
                      <a:pt x="2696" y="4756"/>
                    </a:lnTo>
                    <a:lnTo>
                      <a:pt x="2692" y="4760"/>
                    </a:lnTo>
                    <a:lnTo>
                      <a:pt x="2692" y="4764"/>
                    </a:lnTo>
                    <a:lnTo>
                      <a:pt x="2696" y="4768"/>
                    </a:lnTo>
                    <a:lnTo>
                      <a:pt x="2698" y="4772"/>
                    </a:lnTo>
                    <a:lnTo>
                      <a:pt x="2698" y="4774"/>
                    </a:lnTo>
                    <a:lnTo>
                      <a:pt x="2690" y="4768"/>
                    </a:lnTo>
                    <a:lnTo>
                      <a:pt x="2684" y="4766"/>
                    </a:lnTo>
                    <a:lnTo>
                      <a:pt x="2678" y="4766"/>
                    </a:lnTo>
                    <a:lnTo>
                      <a:pt x="2672" y="4764"/>
                    </a:lnTo>
                    <a:lnTo>
                      <a:pt x="2672" y="4762"/>
                    </a:lnTo>
                    <a:lnTo>
                      <a:pt x="2672" y="4760"/>
                    </a:lnTo>
                    <a:lnTo>
                      <a:pt x="2674" y="4756"/>
                    </a:lnTo>
                    <a:lnTo>
                      <a:pt x="2672" y="4756"/>
                    </a:lnTo>
                    <a:lnTo>
                      <a:pt x="2670" y="4756"/>
                    </a:lnTo>
                    <a:lnTo>
                      <a:pt x="2666" y="4754"/>
                    </a:lnTo>
                    <a:lnTo>
                      <a:pt x="2664" y="4752"/>
                    </a:lnTo>
                    <a:lnTo>
                      <a:pt x="2664" y="4754"/>
                    </a:lnTo>
                    <a:lnTo>
                      <a:pt x="2662" y="4756"/>
                    </a:lnTo>
                    <a:lnTo>
                      <a:pt x="2656" y="4758"/>
                    </a:lnTo>
                    <a:lnTo>
                      <a:pt x="2650" y="4758"/>
                    </a:lnTo>
                    <a:lnTo>
                      <a:pt x="2644" y="4756"/>
                    </a:lnTo>
                    <a:lnTo>
                      <a:pt x="2640" y="4750"/>
                    </a:lnTo>
                    <a:lnTo>
                      <a:pt x="2638" y="4742"/>
                    </a:lnTo>
                    <a:lnTo>
                      <a:pt x="2632" y="4744"/>
                    </a:lnTo>
                    <a:lnTo>
                      <a:pt x="2628" y="4746"/>
                    </a:lnTo>
                    <a:lnTo>
                      <a:pt x="2622" y="4750"/>
                    </a:lnTo>
                    <a:lnTo>
                      <a:pt x="2620" y="4758"/>
                    </a:lnTo>
                    <a:lnTo>
                      <a:pt x="2618" y="4764"/>
                    </a:lnTo>
                    <a:lnTo>
                      <a:pt x="2614" y="4772"/>
                    </a:lnTo>
                    <a:lnTo>
                      <a:pt x="2610" y="4780"/>
                    </a:lnTo>
                    <a:lnTo>
                      <a:pt x="2606" y="4802"/>
                    </a:lnTo>
                    <a:lnTo>
                      <a:pt x="2606" y="4812"/>
                    </a:lnTo>
                    <a:lnTo>
                      <a:pt x="2608" y="4820"/>
                    </a:lnTo>
                    <a:lnTo>
                      <a:pt x="2610" y="4826"/>
                    </a:lnTo>
                    <a:lnTo>
                      <a:pt x="2616" y="4830"/>
                    </a:lnTo>
                    <a:lnTo>
                      <a:pt x="2620" y="4834"/>
                    </a:lnTo>
                    <a:lnTo>
                      <a:pt x="2620" y="4836"/>
                    </a:lnTo>
                    <a:lnTo>
                      <a:pt x="2616" y="4844"/>
                    </a:lnTo>
                    <a:lnTo>
                      <a:pt x="2614" y="4848"/>
                    </a:lnTo>
                    <a:lnTo>
                      <a:pt x="2614" y="4854"/>
                    </a:lnTo>
                    <a:lnTo>
                      <a:pt x="2614" y="4858"/>
                    </a:lnTo>
                    <a:lnTo>
                      <a:pt x="2618" y="4864"/>
                    </a:lnTo>
                    <a:lnTo>
                      <a:pt x="2622" y="4870"/>
                    </a:lnTo>
                    <a:lnTo>
                      <a:pt x="2624" y="4874"/>
                    </a:lnTo>
                    <a:lnTo>
                      <a:pt x="2624" y="4876"/>
                    </a:lnTo>
                    <a:lnTo>
                      <a:pt x="2622" y="4878"/>
                    </a:lnTo>
                    <a:lnTo>
                      <a:pt x="2620" y="4880"/>
                    </a:lnTo>
                    <a:lnTo>
                      <a:pt x="2626" y="4882"/>
                    </a:lnTo>
                    <a:lnTo>
                      <a:pt x="2630" y="4886"/>
                    </a:lnTo>
                    <a:lnTo>
                      <a:pt x="2632" y="4888"/>
                    </a:lnTo>
                    <a:lnTo>
                      <a:pt x="2632" y="4890"/>
                    </a:lnTo>
                    <a:lnTo>
                      <a:pt x="2630" y="4892"/>
                    </a:lnTo>
                    <a:lnTo>
                      <a:pt x="2628" y="4898"/>
                    </a:lnTo>
                    <a:lnTo>
                      <a:pt x="2626" y="4900"/>
                    </a:lnTo>
                    <a:lnTo>
                      <a:pt x="2628" y="4902"/>
                    </a:lnTo>
                    <a:lnTo>
                      <a:pt x="2632" y="4904"/>
                    </a:lnTo>
                    <a:lnTo>
                      <a:pt x="2634" y="4904"/>
                    </a:lnTo>
                    <a:lnTo>
                      <a:pt x="2640" y="4900"/>
                    </a:lnTo>
                    <a:lnTo>
                      <a:pt x="2646" y="4898"/>
                    </a:lnTo>
                    <a:lnTo>
                      <a:pt x="2650" y="4898"/>
                    </a:lnTo>
                    <a:lnTo>
                      <a:pt x="2652" y="4902"/>
                    </a:lnTo>
                    <a:lnTo>
                      <a:pt x="2652" y="4908"/>
                    </a:lnTo>
                    <a:lnTo>
                      <a:pt x="2652" y="4910"/>
                    </a:lnTo>
                    <a:lnTo>
                      <a:pt x="2650" y="4918"/>
                    </a:lnTo>
                    <a:lnTo>
                      <a:pt x="2648" y="4926"/>
                    </a:lnTo>
                    <a:lnTo>
                      <a:pt x="2648" y="4934"/>
                    </a:lnTo>
                    <a:lnTo>
                      <a:pt x="2652" y="4942"/>
                    </a:lnTo>
                    <a:lnTo>
                      <a:pt x="2658" y="4960"/>
                    </a:lnTo>
                    <a:lnTo>
                      <a:pt x="2660" y="4972"/>
                    </a:lnTo>
                    <a:lnTo>
                      <a:pt x="2660" y="4980"/>
                    </a:lnTo>
                    <a:lnTo>
                      <a:pt x="2660" y="4984"/>
                    </a:lnTo>
                    <a:lnTo>
                      <a:pt x="2660" y="4986"/>
                    </a:lnTo>
                    <a:lnTo>
                      <a:pt x="2666" y="4986"/>
                    </a:lnTo>
                    <a:lnTo>
                      <a:pt x="2678" y="4988"/>
                    </a:lnTo>
                    <a:lnTo>
                      <a:pt x="2684" y="4992"/>
                    </a:lnTo>
                    <a:lnTo>
                      <a:pt x="2692" y="4992"/>
                    </a:lnTo>
                    <a:lnTo>
                      <a:pt x="2698" y="4986"/>
                    </a:lnTo>
                    <a:lnTo>
                      <a:pt x="2702" y="4982"/>
                    </a:lnTo>
                    <a:lnTo>
                      <a:pt x="2706" y="4982"/>
                    </a:lnTo>
                    <a:lnTo>
                      <a:pt x="2712" y="4982"/>
                    </a:lnTo>
                    <a:lnTo>
                      <a:pt x="2716" y="4984"/>
                    </a:lnTo>
                    <a:lnTo>
                      <a:pt x="2720" y="4986"/>
                    </a:lnTo>
                    <a:lnTo>
                      <a:pt x="2722" y="4992"/>
                    </a:lnTo>
                    <a:lnTo>
                      <a:pt x="2724" y="4996"/>
                    </a:lnTo>
                    <a:lnTo>
                      <a:pt x="2724" y="5002"/>
                    </a:lnTo>
                    <a:lnTo>
                      <a:pt x="2724" y="5010"/>
                    </a:lnTo>
                    <a:lnTo>
                      <a:pt x="2726" y="5012"/>
                    </a:lnTo>
                    <a:lnTo>
                      <a:pt x="2728" y="5012"/>
                    </a:lnTo>
                    <a:lnTo>
                      <a:pt x="2734" y="5010"/>
                    </a:lnTo>
                    <a:lnTo>
                      <a:pt x="2740" y="5004"/>
                    </a:lnTo>
                    <a:lnTo>
                      <a:pt x="2742" y="5002"/>
                    </a:lnTo>
                    <a:lnTo>
                      <a:pt x="2746" y="5002"/>
                    </a:lnTo>
                    <a:lnTo>
                      <a:pt x="2754" y="5004"/>
                    </a:lnTo>
                    <a:lnTo>
                      <a:pt x="2756" y="5004"/>
                    </a:lnTo>
                    <a:lnTo>
                      <a:pt x="2760" y="5004"/>
                    </a:lnTo>
                    <a:lnTo>
                      <a:pt x="2764" y="5002"/>
                    </a:lnTo>
                    <a:lnTo>
                      <a:pt x="2768" y="4998"/>
                    </a:lnTo>
                    <a:lnTo>
                      <a:pt x="2770" y="4992"/>
                    </a:lnTo>
                    <a:lnTo>
                      <a:pt x="2774" y="4990"/>
                    </a:lnTo>
                    <a:lnTo>
                      <a:pt x="2776" y="4990"/>
                    </a:lnTo>
                    <a:lnTo>
                      <a:pt x="2778" y="4992"/>
                    </a:lnTo>
                    <a:lnTo>
                      <a:pt x="2784" y="4996"/>
                    </a:lnTo>
                    <a:lnTo>
                      <a:pt x="2788" y="4998"/>
                    </a:lnTo>
                    <a:lnTo>
                      <a:pt x="2792" y="4998"/>
                    </a:lnTo>
                    <a:lnTo>
                      <a:pt x="2794" y="4998"/>
                    </a:lnTo>
                    <a:lnTo>
                      <a:pt x="2796" y="5000"/>
                    </a:lnTo>
                    <a:lnTo>
                      <a:pt x="2796" y="5004"/>
                    </a:lnTo>
                    <a:lnTo>
                      <a:pt x="2796" y="5006"/>
                    </a:lnTo>
                    <a:lnTo>
                      <a:pt x="2798" y="5008"/>
                    </a:lnTo>
                    <a:lnTo>
                      <a:pt x="2800" y="5008"/>
                    </a:lnTo>
                    <a:lnTo>
                      <a:pt x="2806" y="5006"/>
                    </a:lnTo>
                    <a:lnTo>
                      <a:pt x="2814" y="5004"/>
                    </a:lnTo>
                    <a:lnTo>
                      <a:pt x="2820" y="5004"/>
                    </a:lnTo>
                    <a:lnTo>
                      <a:pt x="2826" y="5008"/>
                    </a:lnTo>
                    <a:lnTo>
                      <a:pt x="2830" y="5012"/>
                    </a:lnTo>
                    <a:lnTo>
                      <a:pt x="2834" y="5016"/>
                    </a:lnTo>
                    <a:lnTo>
                      <a:pt x="2836" y="5022"/>
                    </a:lnTo>
                    <a:lnTo>
                      <a:pt x="2836" y="5030"/>
                    </a:lnTo>
                    <a:lnTo>
                      <a:pt x="2836" y="5036"/>
                    </a:lnTo>
                    <a:lnTo>
                      <a:pt x="2836" y="5040"/>
                    </a:lnTo>
                    <a:lnTo>
                      <a:pt x="2840" y="5042"/>
                    </a:lnTo>
                    <a:lnTo>
                      <a:pt x="2846" y="5040"/>
                    </a:lnTo>
                    <a:lnTo>
                      <a:pt x="2852" y="5036"/>
                    </a:lnTo>
                    <a:lnTo>
                      <a:pt x="2868" y="5026"/>
                    </a:lnTo>
                    <a:lnTo>
                      <a:pt x="2876" y="5024"/>
                    </a:lnTo>
                    <a:lnTo>
                      <a:pt x="2882" y="5022"/>
                    </a:lnTo>
                    <a:lnTo>
                      <a:pt x="2886" y="5020"/>
                    </a:lnTo>
                    <a:lnTo>
                      <a:pt x="2890" y="5018"/>
                    </a:lnTo>
                    <a:lnTo>
                      <a:pt x="2894" y="5008"/>
                    </a:lnTo>
                    <a:lnTo>
                      <a:pt x="2896" y="4996"/>
                    </a:lnTo>
                    <a:lnTo>
                      <a:pt x="2898" y="4986"/>
                    </a:lnTo>
                    <a:lnTo>
                      <a:pt x="2898" y="4982"/>
                    </a:lnTo>
                    <a:lnTo>
                      <a:pt x="2902" y="4980"/>
                    </a:lnTo>
                    <a:lnTo>
                      <a:pt x="2904" y="4978"/>
                    </a:lnTo>
                    <a:lnTo>
                      <a:pt x="2906" y="4970"/>
                    </a:lnTo>
                    <a:close/>
                    <a:moveTo>
                      <a:pt x="2606" y="3938"/>
                    </a:moveTo>
                    <a:lnTo>
                      <a:pt x="2606" y="3938"/>
                    </a:lnTo>
                    <a:lnTo>
                      <a:pt x="2616" y="3942"/>
                    </a:lnTo>
                    <a:lnTo>
                      <a:pt x="2622" y="3944"/>
                    </a:lnTo>
                    <a:lnTo>
                      <a:pt x="2624" y="3944"/>
                    </a:lnTo>
                    <a:lnTo>
                      <a:pt x="2626" y="3944"/>
                    </a:lnTo>
                    <a:lnTo>
                      <a:pt x="2630" y="3948"/>
                    </a:lnTo>
                    <a:lnTo>
                      <a:pt x="2634" y="3950"/>
                    </a:lnTo>
                    <a:lnTo>
                      <a:pt x="2638" y="3948"/>
                    </a:lnTo>
                    <a:lnTo>
                      <a:pt x="2640" y="3942"/>
                    </a:lnTo>
                    <a:lnTo>
                      <a:pt x="2640" y="3940"/>
                    </a:lnTo>
                    <a:lnTo>
                      <a:pt x="2642" y="3940"/>
                    </a:lnTo>
                    <a:lnTo>
                      <a:pt x="2646" y="3940"/>
                    </a:lnTo>
                    <a:lnTo>
                      <a:pt x="2652" y="3938"/>
                    </a:lnTo>
                    <a:lnTo>
                      <a:pt x="2654" y="3938"/>
                    </a:lnTo>
                    <a:lnTo>
                      <a:pt x="2654" y="3934"/>
                    </a:lnTo>
                    <a:lnTo>
                      <a:pt x="2656" y="3930"/>
                    </a:lnTo>
                    <a:lnTo>
                      <a:pt x="2658" y="3928"/>
                    </a:lnTo>
                    <a:lnTo>
                      <a:pt x="2664" y="3926"/>
                    </a:lnTo>
                    <a:lnTo>
                      <a:pt x="2666" y="3924"/>
                    </a:lnTo>
                    <a:lnTo>
                      <a:pt x="2670" y="3922"/>
                    </a:lnTo>
                    <a:lnTo>
                      <a:pt x="2670" y="3918"/>
                    </a:lnTo>
                    <a:lnTo>
                      <a:pt x="2672" y="3912"/>
                    </a:lnTo>
                    <a:lnTo>
                      <a:pt x="2674" y="3902"/>
                    </a:lnTo>
                    <a:lnTo>
                      <a:pt x="2678" y="3892"/>
                    </a:lnTo>
                    <a:lnTo>
                      <a:pt x="2684" y="3884"/>
                    </a:lnTo>
                    <a:lnTo>
                      <a:pt x="2690" y="3878"/>
                    </a:lnTo>
                    <a:lnTo>
                      <a:pt x="2692" y="3874"/>
                    </a:lnTo>
                    <a:lnTo>
                      <a:pt x="2692" y="3868"/>
                    </a:lnTo>
                    <a:lnTo>
                      <a:pt x="2690" y="3862"/>
                    </a:lnTo>
                    <a:lnTo>
                      <a:pt x="2686" y="3858"/>
                    </a:lnTo>
                    <a:lnTo>
                      <a:pt x="2682" y="3856"/>
                    </a:lnTo>
                    <a:lnTo>
                      <a:pt x="2680" y="3854"/>
                    </a:lnTo>
                    <a:lnTo>
                      <a:pt x="2676" y="3852"/>
                    </a:lnTo>
                    <a:lnTo>
                      <a:pt x="2674" y="3854"/>
                    </a:lnTo>
                    <a:lnTo>
                      <a:pt x="2670" y="3856"/>
                    </a:lnTo>
                    <a:lnTo>
                      <a:pt x="2666" y="3856"/>
                    </a:lnTo>
                    <a:lnTo>
                      <a:pt x="2660" y="3856"/>
                    </a:lnTo>
                    <a:lnTo>
                      <a:pt x="2654" y="3858"/>
                    </a:lnTo>
                    <a:lnTo>
                      <a:pt x="2652" y="3860"/>
                    </a:lnTo>
                    <a:lnTo>
                      <a:pt x="2648" y="3860"/>
                    </a:lnTo>
                    <a:lnTo>
                      <a:pt x="2642" y="3858"/>
                    </a:lnTo>
                    <a:lnTo>
                      <a:pt x="2636" y="3858"/>
                    </a:lnTo>
                    <a:lnTo>
                      <a:pt x="2634" y="3858"/>
                    </a:lnTo>
                    <a:lnTo>
                      <a:pt x="2632" y="3862"/>
                    </a:lnTo>
                    <a:lnTo>
                      <a:pt x="2630" y="3864"/>
                    </a:lnTo>
                    <a:lnTo>
                      <a:pt x="2626" y="3864"/>
                    </a:lnTo>
                    <a:lnTo>
                      <a:pt x="2622" y="3862"/>
                    </a:lnTo>
                    <a:lnTo>
                      <a:pt x="2620" y="3864"/>
                    </a:lnTo>
                    <a:lnTo>
                      <a:pt x="2618" y="3866"/>
                    </a:lnTo>
                    <a:lnTo>
                      <a:pt x="2616" y="3870"/>
                    </a:lnTo>
                    <a:lnTo>
                      <a:pt x="2616" y="3872"/>
                    </a:lnTo>
                    <a:lnTo>
                      <a:pt x="2614" y="3874"/>
                    </a:lnTo>
                    <a:lnTo>
                      <a:pt x="2608" y="3882"/>
                    </a:lnTo>
                    <a:lnTo>
                      <a:pt x="2604" y="3886"/>
                    </a:lnTo>
                    <a:lnTo>
                      <a:pt x="2598" y="3890"/>
                    </a:lnTo>
                    <a:lnTo>
                      <a:pt x="2596" y="3896"/>
                    </a:lnTo>
                    <a:lnTo>
                      <a:pt x="2596" y="3908"/>
                    </a:lnTo>
                    <a:lnTo>
                      <a:pt x="2596" y="3920"/>
                    </a:lnTo>
                    <a:lnTo>
                      <a:pt x="2596" y="3926"/>
                    </a:lnTo>
                    <a:lnTo>
                      <a:pt x="2600" y="3932"/>
                    </a:lnTo>
                    <a:lnTo>
                      <a:pt x="2606" y="3938"/>
                    </a:lnTo>
                    <a:close/>
                    <a:moveTo>
                      <a:pt x="3234" y="3626"/>
                    </a:moveTo>
                    <a:lnTo>
                      <a:pt x="3234" y="3626"/>
                    </a:lnTo>
                    <a:lnTo>
                      <a:pt x="3234" y="3624"/>
                    </a:lnTo>
                    <a:lnTo>
                      <a:pt x="3232" y="3624"/>
                    </a:lnTo>
                    <a:lnTo>
                      <a:pt x="3226" y="3626"/>
                    </a:lnTo>
                    <a:lnTo>
                      <a:pt x="3222" y="3632"/>
                    </a:lnTo>
                    <a:lnTo>
                      <a:pt x="3222" y="3634"/>
                    </a:lnTo>
                    <a:lnTo>
                      <a:pt x="3224" y="3636"/>
                    </a:lnTo>
                    <a:lnTo>
                      <a:pt x="3226" y="3636"/>
                    </a:lnTo>
                    <a:lnTo>
                      <a:pt x="3230" y="3634"/>
                    </a:lnTo>
                    <a:lnTo>
                      <a:pt x="3234" y="3626"/>
                    </a:lnTo>
                    <a:close/>
                    <a:moveTo>
                      <a:pt x="3140" y="4236"/>
                    </a:moveTo>
                    <a:lnTo>
                      <a:pt x="3140" y="4236"/>
                    </a:lnTo>
                    <a:lnTo>
                      <a:pt x="3142" y="4224"/>
                    </a:lnTo>
                    <a:lnTo>
                      <a:pt x="3142" y="4222"/>
                    </a:lnTo>
                    <a:lnTo>
                      <a:pt x="3138" y="4224"/>
                    </a:lnTo>
                    <a:lnTo>
                      <a:pt x="3136" y="4226"/>
                    </a:lnTo>
                    <a:lnTo>
                      <a:pt x="3136" y="4230"/>
                    </a:lnTo>
                    <a:lnTo>
                      <a:pt x="3134" y="4236"/>
                    </a:lnTo>
                    <a:lnTo>
                      <a:pt x="3134" y="4240"/>
                    </a:lnTo>
                    <a:lnTo>
                      <a:pt x="3136" y="4242"/>
                    </a:lnTo>
                    <a:lnTo>
                      <a:pt x="3138" y="4242"/>
                    </a:lnTo>
                    <a:lnTo>
                      <a:pt x="3140" y="4236"/>
                    </a:lnTo>
                    <a:close/>
                    <a:moveTo>
                      <a:pt x="3216" y="3638"/>
                    </a:moveTo>
                    <a:lnTo>
                      <a:pt x="3216" y="3638"/>
                    </a:lnTo>
                    <a:lnTo>
                      <a:pt x="3216" y="3634"/>
                    </a:lnTo>
                    <a:lnTo>
                      <a:pt x="3212" y="3632"/>
                    </a:lnTo>
                    <a:lnTo>
                      <a:pt x="3208" y="3632"/>
                    </a:lnTo>
                    <a:lnTo>
                      <a:pt x="3206" y="3636"/>
                    </a:lnTo>
                    <a:lnTo>
                      <a:pt x="3208" y="3638"/>
                    </a:lnTo>
                    <a:lnTo>
                      <a:pt x="3210" y="3640"/>
                    </a:lnTo>
                    <a:lnTo>
                      <a:pt x="3214" y="3640"/>
                    </a:lnTo>
                    <a:lnTo>
                      <a:pt x="3216" y="3638"/>
                    </a:lnTo>
                    <a:close/>
                    <a:moveTo>
                      <a:pt x="3130" y="4102"/>
                    </a:moveTo>
                    <a:lnTo>
                      <a:pt x="3130" y="4102"/>
                    </a:lnTo>
                    <a:lnTo>
                      <a:pt x="3128" y="4106"/>
                    </a:lnTo>
                    <a:lnTo>
                      <a:pt x="3128" y="4108"/>
                    </a:lnTo>
                    <a:lnTo>
                      <a:pt x="3132" y="4120"/>
                    </a:lnTo>
                    <a:lnTo>
                      <a:pt x="3134" y="4124"/>
                    </a:lnTo>
                    <a:lnTo>
                      <a:pt x="3136" y="4124"/>
                    </a:lnTo>
                    <a:lnTo>
                      <a:pt x="3136" y="4120"/>
                    </a:lnTo>
                    <a:lnTo>
                      <a:pt x="3136" y="4116"/>
                    </a:lnTo>
                    <a:lnTo>
                      <a:pt x="3134" y="4104"/>
                    </a:lnTo>
                    <a:lnTo>
                      <a:pt x="3132" y="4102"/>
                    </a:lnTo>
                    <a:lnTo>
                      <a:pt x="3130" y="4102"/>
                    </a:lnTo>
                    <a:close/>
                    <a:moveTo>
                      <a:pt x="3462" y="5402"/>
                    </a:moveTo>
                    <a:lnTo>
                      <a:pt x="3462" y="5402"/>
                    </a:lnTo>
                    <a:lnTo>
                      <a:pt x="3462" y="5410"/>
                    </a:lnTo>
                    <a:lnTo>
                      <a:pt x="3462" y="5414"/>
                    </a:lnTo>
                    <a:lnTo>
                      <a:pt x="3466" y="5416"/>
                    </a:lnTo>
                    <a:lnTo>
                      <a:pt x="3472" y="5418"/>
                    </a:lnTo>
                    <a:lnTo>
                      <a:pt x="3476" y="5418"/>
                    </a:lnTo>
                    <a:lnTo>
                      <a:pt x="3478" y="5416"/>
                    </a:lnTo>
                    <a:lnTo>
                      <a:pt x="3478" y="5412"/>
                    </a:lnTo>
                    <a:lnTo>
                      <a:pt x="3474" y="5404"/>
                    </a:lnTo>
                    <a:lnTo>
                      <a:pt x="3468" y="5398"/>
                    </a:lnTo>
                    <a:lnTo>
                      <a:pt x="3464" y="5394"/>
                    </a:lnTo>
                    <a:lnTo>
                      <a:pt x="3462" y="5396"/>
                    </a:lnTo>
                    <a:lnTo>
                      <a:pt x="3462" y="5402"/>
                    </a:lnTo>
                    <a:close/>
                    <a:moveTo>
                      <a:pt x="4244" y="2492"/>
                    </a:moveTo>
                    <a:lnTo>
                      <a:pt x="4244" y="2492"/>
                    </a:lnTo>
                    <a:lnTo>
                      <a:pt x="4244" y="2496"/>
                    </a:lnTo>
                    <a:lnTo>
                      <a:pt x="4248" y="2496"/>
                    </a:lnTo>
                    <a:lnTo>
                      <a:pt x="4256" y="2492"/>
                    </a:lnTo>
                    <a:lnTo>
                      <a:pt x="4264" y="2486"/>
                    </a:lnTo>
                    <a:lnTo>
                      <a:pt x="4280" y="2470"/>
                    </a:lnTo>
                    <a:lnTo>
                      <a:pt x="4284" y="2464"/>
                    </a:lnTo>
                    <a:lnTo>
                      <a:pt x="4284" y="2460"/>
                    </a:lnTo>
                    <a:lnTo>
                      <a:pt x="4282" y="2460"/>
                    </a:lnTo>
                    <a:lnTo>
                      <a:pt x="4276" y="2460"/>
                    </a:lnTo>
                    <a:lnTo>
                      <a:pt x="4266" y="2466"/>
                    </a:lnTo>
                    <a:lnTo>
                      <a:pt x="4254" y="2476"/>
                    </a:lnTo>
                    <a:lnTo>
                      <a:pt x="4248" y="2484"/>
                    </a:lnTo>
                    <a:lnTo>
                      <a:pt x="4244" y="2492"/>
                    </a:lnTo>
                    <a:close/>
                    <a:moveTo>
                      <a:pt x="4364" y="2396"/>
                    </a:moveTo>
                    <a:lnTo>
                      <a:pt x="4364" y="2396"/>
                    </a:lnTo>
                    <a:lnTo>
                      <a:pt x="4368" y="2398"/>
                    </a:lnTo>
                    <a:lnTo>
                      <a:pt x="4370" y="2396"/>
                    </a:lnTo>
                    <a:lnTo>
                      <a:pt x="4370" y="2394"/>
                    </a:lnTo>
                    <a:lnTo>
                      <a:pt x="4368" y="2392"/>
                    </a:lnTo>
                    <a:lnTo>
                      <a:pt x="4366" y="2390"/>
                    </a:lnTo>
                    <a:lnTo>
                      <a:pt x="4364" y="2392"/>
                    </a:lnTo>
                    <a:lnTo>
                      <a:pt x="4364" y="2394"/>
                    </a:lnTo>
                    <a:lnTo>
                      <a:pt x="4364" y="2396"/>
                    </a:lnTo>
                    <a:close/>
                    <a:moveTo>
                      <a:pt x="4388" y="2374"/>
                    </a:moveTo>
                    <a:lnTo>
                      <a:pt x="4388" y="2374"/>
                    </a:lnTo>
                    <a:lnTo>
                      <a:pt x="4392" y="2376"/>
                    </a:lnTo>
                    <a:lnTo>
                      <a:pt x="4392" y="2374"/>
                    </a:lnTo>
                    <a:lnTo>
                      <a:pt x="4394" y="2370"/>
                    </a:lnTo>
                    <a:lnTo>
                      <a:pt x="4392" y="2368"/>
                    </a:lnTo>
                    <a:lnTo>
                      <a:pt x="4390" y="2366"/>
                    </a:lnTo>
                    <a:lnTo>
                      <a:pt x="4388" y="2368"/>
                    </a:lnTo>
                    <a:lnTo>
                      <a:pt x="4388" y="2372"/>
                    </a:lnTo>
                    <a:lnTo>
                      <a:pt x="4388" y="2374"/>
                    </a:lnTo>
                    <a:close/>
                    <a:moveTo>
                      <a:pt x="264" y="3518"/>
                    </a:moveTo>
                    <a:lnTo>
                      <a:pt x="264" y="3518"/>
                    </a:lnTo>
                    <a:lnTo>
                      <a:pt x="266" y="3518"/>
                    </a:lnTo>
                    <a:lnTo>
                      <a:pt x="264" y="3518"/>
                    </a:lnTo>
                    <a:close/>
                    <a:moveTo>
                      <a:pt x="5798" y="1166"/>
                    </a:moveTo>
                    <a:lnTo>
                      <a:pt x="5798" y="1166"/>
                    </a:lnTo>
                    <a:lnTo>
                      <a:pt x="5790" y="1156"/>
                    </a:lnTo>
                    <a:lnTo>
                      <a:pt x="5782" y="1148"/>
                    </a:lnTo>
                    <a:lnTo>
                      <a:pt x="5772" y="1144"/>
                    </a:lnTo>
                    <a:lnTo>
                      <a:pt x="5760" y="1140"/>
                    </a:lnTo>
                    <a:lnTo>
                      <a:pt x="5732" y="1138"/>
                    </a:lnTo>
                    <a:lnTo>
                      <a:pt x="5698" y="1136"/>
                    </a:lnTo>
                    <a:lnTo>
                      <a:pt x="5692" y="1138"/>
                    </a:lnTo>
                    <a:lnTo>
                      <a:pt x="5688" y="1140"/>
                    </a:lnTo>
                    <a:lnTo>
                      <a:pt x="5686" y="1144"/>
                    </a:lnTo>
                    <a:lnTo>
                      <a:pt x="5686" y="1148"/>
                    </a:lnTo>
                    <a:lnTo>
                      <a:pt x="5690" y="1160"/>
                    </a:lnTo>
                    <a:lnTo>
                      <a:pt x="5696" y="1172"/>
                    </a:lnTo>
                    <a:lnTo>
                      <a:pt x="5702" y="1184"/>
                    </a:lnTo>
                    <a:lnTo>
                      <a:pt x="5704" y="1190"/>
                    </a:lnTo>
                    <a:lnTo>
                      <a:pt x="5704" y="1192"/>
                    </a:lnTo>
                    <a:lnTo>
                      <a:pt x="5700" y="1192"/>
                    </a:lnTo>
                    <a:lnTo>
                      <a:pt x="5684" y="1186"/>
                    </a:lnTo>
                    <a:lnTo>
                      <a:pt x="5676" y="1180"/>
                    </a:lnTo>
                    <a:lnTo>
                      <a:pt x="5670" y="1174"/>
                    </a:lnTo>
                    <a:lnTo>
                      <a:pt x="5666" y="1168"/>
                    </a:lnTo>
                    <a:lnTo>
                      <a:pt x="5664" y="1162"/>
                    </a:lnTo>
                    <a:lnTo>
                      <a:pt x="5664" y="1150"/>
                    </a:lnTo>
                    <a:lnTo>
                      <a:pt x="5666" y="1138"/>
                    </a:lnTo>
                    <a:lnTo>
                      <a:pt x="5666" y="1126"/>
                    </a:lnTo>
                    <a:lnTo>
                      <a:pt x="5664" y="1120"/>
                    </a:lnTo>
                    <a:lnTo>
                      <a:pt x="5660" y="1114"/>
                    </a:lnTo>
                    <a:lnTo>
                      <a:pt x="5654" y="1106"/>
                    </a:lnTo>
                    <a:lnTo>
                      <a:pt x="5646" y="1100"/>
                    </a:lnTo>
                    <a:lnTo>
                      <a:pt x="5634" y="1092"/>
                    </a:lnTo>
                    <a:lnTo>
                      <a:pt x="5618" y="1084"/>
                    </a:lnTo>
                    <a:lnTo>
                      <a:pt x="5580" y="1068"/>
                    </a:lnTo>
                    <a:lnTo>
                      <a:pt x="5546" y="1050"/>
                    </a:lnTo>
                    <a:lnTo>
                      <a:pt x="5478" y="1014"/>
                    </a:lnTo>
                    <a:lnTo>
                      <a:pt x="5478" y="1008"/>
                    </a:lnTo>
                    <a:lnTo>
                      <a:pt x="5448" y="994"/>
                    </a:lnTo>
                    <a:lnTo>
                      <a:pt x="5418" y="982"/>
                    </a:lnTo>
                    <a:lnTo>
                      <a:pt x="5386" y="970"/>
                    </a:lnTo>
                    <a:lnTo>
                      <a:pt x="5356" y="962"/>
                    </a:lnTo>
                    <a:lnTo>
                      <a:pt x="5310" y="952"/>
                    </a:lnTo>
                    <a:lnTo>
                      <a:pt x="5294" y="946"/>
                    </a:lnTo>
                    <a:lnTo>
                      <a:pt x="5270" y="944"/>
                    </a:lnTo>
                    <a:lnTo>
                      <a:pt x="5210" y="940"/>
                    </a:lnTo>
                    <a:lnTo>
                      <a:pt x="5170" y="936"/>
                    </a:lnTo>
                    <a:lnTo>
                      <a:pt x="5144" y="930"/>
                    </a:lnTo>
                    <a:lnTo>
                      <a:pt x="5126" y="924"/>
                    </a:lnTo>
                    <a:lnTo>
                      <a:pt x="5116" y="918"/>
                    </a:lnTo>
                    <a:lnTo>
                      <a:pt x="5108" y="916"/>
                    </a:lnTo>
                    <a:lnTo>
                      <a:pt x="5102" y="918"/>
                    </a:lnTo>
                    <a:lnTo>
                      <a:pt x="5096" y="926"/>
                    </a:lnTo>
                    <a:lnTo>
                      <a:pt x="5086" y="942"/>
                    </a:lnTo>
                    <a:lnTo>
                      <a:pt x="5080" y="950"/>
                    </a:lnTo>
                    <a:lnTo>
                      <a:pt x="5078" y="958"/>
                    </a:lnTo>
                    <a:lnTo>
                      <a:pt x="5078" y="964"/>
                    </a:lnTo>
                    <a:lnTo>
                      <a:pt x="5080" y="968"/>
                    </a:lnTo>
                    <a:lnTo>
                      <a:pt x="5084" y="972"/>
                    </a:lnTo>
                    <a:lnTo>
                      <a:pt x="5088" y="974"/>
                    </a:lnTo>
                    <a:lnTo>
                      <a:pt x="5100" y="978"/>
                    </a:lnTo>
                    <a:lnTo>
                      <a:pt x="5110" y="982"/>
                    </a:lnTo>
                    <a:lnTo>
                      <a:pt x="5114" y="986"/>
                    </a:lnTo>
                    <a:lnTo>
                      <a:pt x="5116" y="988"/>
                    </a:lnTo>
                    <a:lnTo>
                      <a:pt x="5116" y="992"/>
                    </a:lnTo>
                    <a:lnTo>
                      <a:pt x="5114" y="998"/>
                    </a:lnTo>
                    <a:lnTo>
                      <a:pt x="5108" y="1004"/>
                    </a:lnTo>
                    <a:lnTo>
                      <a:pt x="5100" y="1012"/>
                    </a:lnTo>
                    <a:lnTo>
                      <a:pt x="5084" y="1024"/>
                    </a:lnTo>
                    <a:lnTo>
                      <a:pt x="5076" y="1028"/>
                    </a:lnTo>
                    <a:lnTo>
                      <a:pt x="5072" y="1030"/>
                    </a:lnTo>
                    <a:lnTo>
                      <a:pt x="5068" y="1028"/>
                    </a:lnTo>
                    <a:lnTo>
                      <a:pt x="5064" y="1026"/>
                    </a:lnTo>
                    <a:lnTo>
                      <a:pt x="5058" y="1020"/>
                    </a:lnTo>
                    <a:lnTo>
                      <a:pt x="5052" y="1012"/>
                    </a:lnTo>
                    <a:lnTo>
                      <a:pt x="5044" y="1004"/>
                    </a:lnTo>
                    <a:lnTo>
                      <a:pt x="5040" y="1000"/>
                    </a:lnTo>
                    <a:lnTo>
                      <a:pt x="5034" y="996"/>
                    </a:lnTo>
                    <a:lnTo>
                      <a:pt x="5028" y="996"/>
                    </a:lnTo>
                    <a:lnTo>
                      <a:pt x="5020" y="994"/>
                    </a:lnTo>
                    <a:lnTo>
                      <a:pt x="5012" y="994"/>
                    </a:lnTo>
                    <a:lnTo>
                      <a:pt x="5006" y="992"/>
                    </a:lnTo>
                    <a:lnTo>
                      <a:pt x="5004" y="990"/>
                    </a:lnTo>
                    <a:lnTo>
                      <a:pt x="5002" y="988"/>
                    </a:lnTo>
                    <a:lnTo>
                      <a:pt x="5000" y="978"/>
                    </a:lnTo>
                    <a:lnTo>
                      <a:pt x="5000" y="970"/>
                    </a:lnTo>
                    <a:lnTo>
                      <a:pt x="5000" y="962"/>
                    </a:lnTo>
                    <a:lnTo>
                      <a:pt x="4998" y="960"/>
                    </a:lnTo>
                    <a:lnTo>
                      <a:pt x="4994" y="958"/>
                    </a:lnTo>
                    <a:lnTo>
                      <a:pt x="4988" y="956"/>
                    </a:lnTo>
                    <a:lnTo>
                      <a:pt x="4980" y="958"/>
                    </a:lnTo>
                    <a:lnTo>
                      <a:pt x="4958" y="964"/>
                    </a:lnTo>
                    <a:lnTo>
                      <a:pt x="4944" y="968"/>
                    </a:lnTo>
                    <a:lnTo>
                      <a:pt x="4930" y="970"/>
                    </a:lnTo>
                    <a:lnTo>
                      <a:pt x="4920" y="972"/>
                    </a:lnTo>
                    <a:lnTo>
                      <a:pt x="4908" y="972"/>
                    </a:lnTo>
                    <a:lnTo>
                      <a:pt x="4890" y="968"/>
                    </a:lnTo>
                    <a:lnTo>
                      <a:pt x="4870" y="964"/>
                    </a:lnTo>
                    <a:lnTo>
                      <a:pt x="4850" y="958"/>
                    </a:lnTo>
                    <a:lnTo>
                      <a:pt x="4828" y="954"/>
                    </a:lnTo>
                    <a:lnTo>
                      <a:pt x="4814" y="954"/>
                    </a:lnTo>
                    <a:lnTo>
                      <a:pt x="4800" y="954"/>
                    </a:lnTo>
                    <a:lnTo>
                      <a:pt x="4784" y="956"/>
                    </a:lnTo>
                    <a:lnTo>
                      <a:pt x="4766" y="958"/>
                    </a:lnTo>
                    <a:lnTo>
                      <a:pt x="4732" y="966"/>
                    </a:lnTo>
                    <a:lnTo>
                      <a:pt x="4706" y="966"/>
                    </a:lnTo>
                    <a:lnTo>
                      <a:pt x="4686" y="964"/>
                    </a:lnTo>
                    <a:lnTo>
                      <a:pt x="4674" y="960"/>
                    </a:lnTo>
                    <a:lnTo>
                      <a:pt x="4668" y="956"/>
                    </a:lnTo>
                    <a:lnTo>
                      <a:pt x="4666" y="952"/>
                    </a:lnTo>
                    <a:lnTo>
                      <a:pt x="4662" y="944"/>
                    </a:lnTo>
                    <a:lnTo>
                      <a:pt x="4664" y="934"/>
                    </a:lnTo>
                    <a:lnTo>
                      <a:pt x="4668" y="924"/>
                    </a:lnTo>
                    <a:lnTo>
                      <a:pt x="4670" y="918"/>
                    </a:lnTo>
                    <a:lnTo>
                      <a:pt x="4670" y="912"/>
                    </a:lnTo>
                    <a:lnTo>
                      <a:pt x="4668" y="906"/>
                    </a:lnTo>
                    <a:lnTo>
                      <a:pt x="4662" y="898"/>
                    </a:lnTo>
                    <a:lnTo>
                      <a:pt x="4656" y="892"/>
                    </a:lnTo>
                    <a:lnTo>
                      <a:pt x="4648" y="884"/>
                    </a:lnTo>
                    <a:lnTo>
                      <a:pt x="4636" y="878"/>
                    </a:lnTo>
                    <a:lnTo>
                      <a:pt x="4624" y="872"/>
                    </a:lnTo>
                    <a:lnTo>
                      <a:pt x="4608" y="868"/>
                    </a:lnTo>
                    <a:lnTo>
                      <a:pt x="4592" y="862"/>
                    </a:lnTo>
                    <a:lnTo>
                      <a:pt x="4572" y="860"/>
                    </a:lnTo>
                    <a:lnTo>
                      <a:pt x="4552" y="856"/>
                    </a:lnTo>
                    <a:lnTo>
                      <a:pt x="4528" y="856"/>
                    </a:lnTo>
                    <a:lnTo>
                      <a:pt x="4504" y="856"/>
                    </a:lnTo>
                    <a:lnTo>
                      <a:pt x="4476" y="860"/>
                    </a:lnTo>
                    <a:lnTo>
                      <a:pt x="4448" y="864"/>
                    </a:lnTo>
                    <a:lnTo>
                      <a:pt x="4420" y="868"/>
                    </a:lnTo>
                    <a:lnTo>
                      <a:pt x="4396" y="870"/>
                    </a:lnTo>
                    <a:lnTo>
                      <a:pt x="4374" y="868"/>
                    </a:lnTo>
                    <a:lnTo>
                      <a:pt x="4358" y="866"/>
                    </a:lnTo>
                    <a:lnTo>
                      <a:pt x="4342" y="860"/>
                    </a:lnTo>
                    <a:lnTo>
                      <a:pt x="4328" y="854"/>
                    </a:lnTo>
                    <a:lnTo>
                      <a:pt x="4318" y="848"/>
                    </a:lnTo>
                    <a:lnTo>
                      <a:pt x="4308" y="840"/>
                    </a:lnTo>
                    <a:lnTo>
                      <a:pt x="4292" y="822"/>
                    </a:lnTo>
                    <a:lnTo>
                      <a:pt x="4278" y="804"/>
                    </a:lnTo>
                    <a:lnTo>
                      <a:pt x="4264" y="788"/>
                    </a:lnTo>
                    <a:lnTo>
                      <a:pt x="4256" y="782"/>
                    </a:lnTo>
                    <a:lnTo>
                      <a:pt x="4246" y="778"/>
                    </a:lnTo>
                    <a:lnTo>
                      <a:pt x="4228" y="772"/>
                    </a:lnTo>
                    <a:lnTo>
                      <a:pt x="4214" y="768"/>
                    </a:lnTo>
                    <a:lnTo>
                      <a:pt x="4186" y="768"/>
                    </a:lnTo>
                    <a:lnTo>
                      <a:pt x="4154" y="764"/>
                    </a:lnTo>
                    <a:lnTo>
                      <a:pt x="4130" y="762"/>
                    </a:lnTo>
                    <a:lnTo>
                      <a:pt x="4100" y="754"/>
                    </a:lnTo>
                    <a:lnTo>
                      <a:pt x="4068" y="748"/>
                    </a:lnTo>
                    <a:lnTo>
                      <a:pt x="4044" y="744"/>
                    </a:lnTo>
                    <a:lnTo>
                      <a:pt x="4002" y="740"/>
                    </a:lnTo>
                    <a:lnTo>
                      <a:pt x="3964" y="738"/>
                    </a:lnTo>
                    <a:lnTo>
                      <a:pt x="3944" y="734"/>
                    </a:lnTo>
                    <a:lnTo>
                      <a:pt x="3922" y="730"/>
                    </a:lnTo>
                    <a:lnTo>
                      <a:pt x="3902" y="724"/>
                    </a:lnTo>
                    <a:lnTo>
                      <a:pt x="3892" y="724"/>
                    </a:lnTo>
                    <a:lnTo>
                      <a:pt x="3892" y="726"/>
                    </a:lnTo>
                    <a:lnTo>
                      <a:pt x="3890" y="728"/>
                    </a:lnTo>
                    <a:lnTo>
                      <a:pt x="3890" y="734"/>
                    </a:lnTo>
                    <a:lnTo>
                      <a:pt x="3892" y="740"/>
                    </a:lnTo>
                    <a:lnTo>
                      <a:pt x="3890" y="744"/>
                    </a:lnTo>
                    <a:lnTo>
                      <a:pt x="3888" y="746"/>
                    </a:lnTo>
                    <a:lnTo>
                      <a:pt x="3882" y="750"/>
                    </a:lnTo>
                    <a:lnTo>
                      <a:pt x="3876" y="752"/>
                    </a:lnTo>
                    <a:lnTo>
                      <a:pt x="3854" y="754"/>
                    </a:lnTo>
                    <a:lnTo>
                      <a:pt x="3842" y="756"/>
                    </a:lnTo>
                    <a:lnTo>
                      <a:pt x="3834" y="758"/>
                    </a:lnTo>
                    <a:lnTo>
                      <a:pt x="3830" y="764"/>
                    </a:lnTo>
                    <a:lnTo>
                      <a:pt x="3830" y="768"/>
                    </a:lnTo>
                    <a:lnTo>
                      <a:pt x="3832" y="776"/>
                    </a:lnTo>
                    <a:lnTo>
                      <a:pt x="3836" y="782"/>
                    </a:lnTo>
                    <a:lnTo>
                      <a:pt x="3846" y="798"/>
                    </a:lnTo>
                    <a:lnTo>
                      <a:pt x="3856" y="812"/>
                    </a:lnTo>
                    <a:lnTo>
                      <a:pt x="3860" y="818"/>
                    </a:lnTo>
                    <a:lnTo>
                      <a:pt x="3862" y="822"/>
                    </a:lnTo>
                    <a:lnTo>
                      <a:pt x="3860" y="826"/>
                    </a:lnTo>
                    <a:lnTo>
                      <a:pt x="3856" y="828"/>
                    </a:lnTo>
                    <a:lnTo>
                      <a:pt x="3848" y="826"/>
                    </a:lnTo>
                    <a:lnTo>
                      <a:pt x="3836" y="824"/>
                    </a:lnTo>
                    <a:lnTo>
                      <a:pt x="3810" y="818"/>
                    </a:lnTo>
                    <a:lnTo>
                      <a:pt x="3792" y="818"/>
                    </a:lnTo>
                    <a:lnTo>
                      <a:pt x="3778" y="818"/>
                    </a:lnTo>
                    <a:lnTo>
                      <a:pt x="3770" y="820"/>
                    </a:lnTo>
                    <a:lnTo>
                      <a:pt x="3760" y="824"/>
                    </a:lnTo>
                    <a:lnTo>
                      <a:pt x="3750" y="824"/>
                    </a:lnTo>
                    <a:lnTo>
                      <a:pt x="3736" y="824"/>
                    </a:lnTo>
                    <a:lnTo>
                      <a:pt x="3716" y="820"/>
                    </a:lnTo>
                    <a:lnTo>
                      <a:pt x="3704" y="818"/>
                    </a:lnTo>
                    <a:lnTo>
                      <a:pt x="3694" y="818"/>
                    </a:lnTo>
                    <a:lnTo>
                      <a:pt x="3686" y="818"/>
                    </a:lnTo>
                    <a:lnTo>
                      <a:pt x="3676" y="820"/>
                    </a:lnTo>
                    <a:lnTo>
                      <a:pt x="3662" y="826"/>
                    </a:lnTo>
                    <a:lnTo>
                      <a:pt x="3650" y="832"/>
                    </a:lnTo>
                    <a:lnTo>
                      <a:pt x="3638" y="836"/>
                    </a:lnTo>
                    <a:lnTo>
                      <a:pt x="3632" y="838"/>
                    </a:lnTo>
                    <a:lnTo>
                      <a:pt x="3624" y="836"/>
                    </a:lnTo>
                    <a:lnTo>
                      <a:pt x="3616" y="836"/>
                    </a:lnTo>
                    <a:lnTo>
                      <a:pt x="3608" y="832"/>
                    </a:lnTo>
                    <a:lnTo>
                      <a:pt x="3598" y="826"/>
                    </a:lnTo>
                    <a:lnTo>
                      <a:pt x="3586" y="818"/>
                    </a:lnTo>
                    <a:lnTo>
                      <a:pt x="3576" y="812"/>
                    </a:lnTo>
                    <a:lnTo>
                      <a:pt x="3566" y="810"/>
                    </a:lnTo>
                    <a:lnTo>
                      <a:pt x="3558" y="810"/>
                    </a:lnTo>
                    <a:lnTo>
                      <a:pt x="3552" y="814"/>
                    </a:lnTo>
                    <a:lnTo>
                      <a:pt x="3546" y="820"/>
                    </a:lnTo>
                    <a:lnTo>
                      <a:pt x="3540" y="828"/>
                    </a:lnTo>
                    <a:lnTo>
                      <a:pt x="3530" y="848"/>
                    </a:lnTo>
                    <a:lnTo>
                      <a:pt x="3520" y="864"/>
                    </a:lnTo>
                    <a:lnTo>
                      <a:pt x="3514" y="872"/>
                    </a:lnTo>
                    <a:lnTo>
                      <a:pt x="3508" y="876"/>
                    </a:lnTo>
                    <a:lnTo>
                      <a:pt x="3500" y="878"/>
                    </a:lnTo>
                    <a:lnTo>
                      <a:pt x="3492" y="878"/>
                    </a:lnTo>
                    <a:lnTo>
                      <a:pt x="3482" y="872"/>
                    </a:lnTo>
                    <a:lnTo>
                      <a:pt x="3470" y="864"/>
                    </a:lnTo>
                    <a:lnTo>
                      <a:pt x="3428" y="824"/>
                    </a:lnTo>
                    <a:lnTo>
                      <a:pt x="3402" y="796"/>
                    </a:lnTo>
                    <a:lnTo>
                      <a:pt x="3390" y="784"/>
                    </a:lnTo>
                    <a:lnTo>
                      <a:pt x="3380" y="776"/>
                    </a:lnTo>
                    <a:lnTo>
                      <a:pt x="3368" y="768"/>
                    </a:lnTo>
                    <a:lnTo>
                      <a:pt x="3352" y="762"/>
                    </a:lnTo>
                    <a:lnTo>
                      <a:pt x="3346" y="760"/>
                    </a:lnTo>
                    <a:lnTo>
                      <a:pt x="3342" y="760"/>
                    </a:lnTo>
                    <a:lnTo>
                      <a:pt x="3338" y="762"/>
                    </a:lnTo>
                    <a:lnTo>
                      <a:pt x="3338" y="764"/>
                    </a:lnTo>
                    <a:lnTo>
                      <a:pt x="3340" y="772"/>
                    </a:lnTo>
                    <a:lnTo>
                      <a:pt x="3344" y="782"/>
                    </a:lnTo>
                    <a:lnTo>
                      <a:pt x="3348" y="792"/>
                    </a:lnTo>
                    <a:lnTo>
                      <a:pt x="3350" y="798"/>
                    </a:lnTo>
                    <a:lnTo>
                      <a:pt x="3348" y="798"/>
                    </a:lnTo>
                    <a:lnTo>
                      <a:pt x="3346" y="798"/>
                    </a:lnTo>
                    <a:lnTo>
                      <a:pt x="3336" y="790"/>
                    </a:lnTo>
                    <a:lnTo>
                      <a:pt x="3318" y="778"/>
                    </a:lnTo>
                    <a:lnTo>
                      <a:pt x="3296" y="766"/>
                    </a:lnTo>
                    <a:lnTo>
                      <a:pt x="3270" y="754"/>
                    </a:lnTo>
                    <a:lnTo>
                      <a:pt x="3242" y="744"/>
                    </a:lnTo>
                    <a:lnTo>
                      <a:pt x="3208" y="734"/>
                    </a:lnTo>
                    <a:lnTo>
                      <a:pt x="3170" y="728"/>
                    </a:lnTo>
                    <a:lnTo>
                      <a:pt x="3128" y="722"/>
                    </a:lnTo>
                    <a:lnTo>
                      <a:pt x="3082" y="716"/>
                    </a:lnTo>
                    <a:lnTo>
                      <a:pt x="3030" y="712"/>
                    </a:lnTo>
                    <a:lnTo>
                      <a:pt x="3012" y="708"/>
                    </a:lnTo>
                    <a:lnTo>
                      <a:pt x="3000" y="704"/>
                    </a:lnTo>
                    <a:lnTo>
                      <a:pt x="2994" y="702"/>
                    </a:lnTo>
                    <a:lnTo>
                      <a:pt x="2992" y="698"/>
                    </a:lnTo>
                    <a:lnTo>
                      <a:pt x="2992" y="694"/>
                    </a:lnTo>
                    <a:lnTo>
                      <a:pt x="2994" y="690"/>
                    </a:lnTo>
                    <a:lnTo>
                      <a:pt x="3002" y="684"/>
                    </a:lnTo>
                    <a:lnTo>
                      <a:pt x="3008" y="678"/>
                    </a:lnTo>
                    <a:lnTo>
                      <a:pt x="3008" y="676"/>
                    </a:lnTo>
                    <a:lnTo>
                      <a:pt x="3006" y="674"/>
                    </a:lnTo>
                    <a:lnTo>
                      <a:pt x="3002" y="672"/>
                    </a:lnTo>
                    <a:lnTo>
                      <a:pt x="2992" y="670"/>
                    </a:lnTo>
                    <a:lnTo>
                      <a:pt x="2946" y="666"/>
                    </a:lnTo>
                    <a:lnTo>
                      <a:pt x="2904" y="664"/>
                    </a:lnTo>
                    <a:lnTo>
                      <a:pt x="2864" y="664"/>
                    </a:lnTo>
                    <a:lnTo>
                      <a:pt x="2844" y="666"/>
                    </a:lnTo>
                    <a:lnTo>
                      <a:pt x="2822" y="670"/>
                    </a:lnTo>
                    <a:lnTo>
                      <a:pt x="2814" y="670"/>
                    </a:lnTo>
                    <a:lnTo>
                      <a:pt x="2806" y="670"/>
                    </a:lnTo>
                    <a:lnTo>
                      <a:pt x="2800" y="670"/>
                    </a:lnTo>
                    <a:lnTo>
                      <a:pt x="2794" y="668"/>
                    </a:lnTo>
                    <a:lnTo>
                      <a:pt x="2790" y="662"/>
                    </a:lnTo>
                    <a:lnTo>
                      <a:pt x="2786" y="654"/>
                    </a:lnTo>
                    <a:lnTo>
                      <a:pt x="2784" y="648"/>
                    </a:lnTo>
                    <a:lnTo>
                      <a:pt x="2780" y="644"/>
                    </a:lnTo>
                    <a:lnTo>
                      <a:pt x="2778" y="642"/>
                    </a:lnTo>
                    <a:lnTo>
                      <a:pt x="2774" y="642"/>
                    </a:lnTo>
                    <a:lnTo>
                      <a:pt x="2762" y="648"/>
                    </a:lnTo>
                    <a:lnTo>
                      <a:pt x="2748" y="654"/>
                    </a:lnTo>
                    <a:lnTo>
                      <a:pt x="2738" y="654"/>
                    </a:lnTo>
                    <a:lnTo>
                      <a:pt x="2730" y="652"/>
                    </a:lnTo>
                    <a:lnTo>
                      <a:pt x="2722" y="648"/>
                    </a:lnTo>
                    <a:lnTo>
                      <a:pt x="2714" y="644"/>
                    </a:lnTo>
                    <a:lnTo>
                      <a:pt x="2704" y="640"/>
                    </a:lnTo>
                    <a:lnTo>
                      <a:pt x="2692" y="638"/>
                    </a:lnTo>
                    <a:lnTo>
                      <a:pt x="2676" y="640"/>
                    </a:lnTo>
                    <a:lnTo>
                      <a:pt x="2660" y="644"/>
                    </a:lnTo>
                    <a:lnTo>
                      <a:pt x="2652" y="650"/>
                    </a:lnTo>
                    <a:lnTo>
                      <a:pt x="2650" y="658"/>
                    </a:lnTo>
                    <a:lnTo>
                      <a:pt x="2648" y="664"/>
                    </a:lnTo>
                    <a:lnTo>
                      <a:pt x="2642" y="672"/>
                    </a:lnTo>
                    <a:lnTo>
                      <a:pt x="2634" y="680"/>
                    </a:lnTo>
                    <a:lnTo>
                      <a:pt x="2614" y="686"/>
                    </a:lnTo>
                    <a:lnTo>
                      <a:pt x="2586" y="692"/>
                    </a:lnTo>
                    <a:lnTo>
                      <a:pt x="2554" y="696"/>
                    </a:lnTo>
                    <a:lnTo>
                      <a:pt x="2530" y="698"/>
                    </a:lnTo>
                    <a:lnTo>
                      <a:pt x="2516" y="696"/>
                    </a:lnTo>
                    <a:lnTo>
                      <a:pt x="2512" y="694"/>
                    </a:lnTo>
                    <a:lnTo>
                      <a:pt x="2512" y="692"/>
                    </a:lnTo>
                    <a:lnTo>
                      <a:pt x="2512" y="690"/>
                    </a:lnTo>
                    <a:lnTo>
                      <a:pt x="2516" y="686"/>
                    </a:lnTo>
                    <a:lnTo>
                      <a:pt x="2528" y="676"/>
                    </a:lnTo>
                    <a:lnTo>
                      <a:pt x="2550" y="666"/>
                    </a:lnTo>
                    <a:lnTo>
                      <a:pt x="2580" y="652"/>
                    </a:lnTo>
                    <a:lnTo>
                      <a:pt x="2610" y="640"/>
                    </a:lnTo>
                    <a:lnTo>
                      <a:pt x="2632" y="628"/>
                    </a:lnTo>
                    <a:lnTo>
                      <a:pt x="2660" y="610"/>
                    </a:lnTo>
                    <a:lnTo>
                      <a:pt x="2672" y="602"/>
                    </a:lnTo>
                    <a:lnTo>
                      <a:pt x="2688" y="594"/>
                    </a:lnTo>
                    <a:lnTo>
                      <a:pt x="2706" y="586"/>
                    </a:lnTo>
                    <a:lnTo>
                      <a:pt x="2734" y="576"/>
                    </a:lnTo>
                    <a:lnTo>
                      <a:pt x="2762" y="566"/>
                    </a:lnTo>
                    <a:lnTo>
                      <a:pt x="2782" y="554"/>
                    </a:lnTo>
                    <a:lnTo>
                      <a:pt x="2788" y="548"/>
                    </a:lnTo>
                    <a:lnTo>
                      <a:pt x="2794" y="542"/>
                    </a:lnTo>
                    <a:lnTo>
                      <a:pt x="2802" y="528"/>
                    </a:lnTo>
                    <a:lnTo>
                      <a:pt x="2806" y="514"/>
                    </a:lnTo>
                    <a:lnTo>
                      <a:pt x="2806" y="502"/>
                    </a:lnTo>
                    <a:lnTo>
                      <a:pt x="2802" y="490"/>
                    </a:lnTo>
                    <a:lnTo>
                      <a:pt x="2798" y="478"/>
                    </a:lnTo>
                    <a:lnTo>
                      <a:pt x="2792" y="470"/>
                    </a:lnTo>
                    <a:lnTo>
                      <a:pt x="2784" y="464"/>
                    </a:lnTo>
                    <a:lnTo>
                      <a:pt x="2776" y="462"/>
                    </a:lnTo>
                    <a:lnTo>
                      <a:pt x="2768" y="460"/>
                    </a:lnTo>
                    <a:lnTo>
                      <a:pt x="2748" y="454"/>
                    </a:lnTo>
                    <a:lnTo>
                      <a:pt x="2738" y="448"/>
                    </a:lnTo>
                    <a:lnTo>
                      <a:pt x="2724" y="438"/>
                    </a:lnTo>
                    <a:lnTo>
                      <a:pt x="2712" y="430"/>
                    </a:lnTo>
                    <a:lnTo>
                      <a:pt x="2700" y="426"/>
                    </a:lnTo>
                    <a:lnTo>
                      <a:pt x="2686" y="424"/>
                    </a:lnTo>
                    <a:lnTo>
                      <a:pt x="2672" y="424"/>
                    </a:lnTo>
                    <a:lnTo>
                      <a:pt x="2644" y="428"/>
                    </a:lnTo>
                    <a:lnTo>
                      <a:pt x="2628" y="428"/>
                    </a:lnTo>
                    <a:lnTo>
                      <a:pt x="2612" y="426"/>
                    </a:lnTo>
                    <a:lnTo>
                      <a:pt x="2598" y="424"/>
                    </a:lnTo>
                    <a:lnTo>
                      <a:pt x="2590" y="424"/>
                    </a:lnTo>
                    <a:lnTo>
                      <a:pt x="2582" y="426"/>
                    </a:lnTo>
                    <a:lnTo>
                      <a:pt x="2578" y="428"/>
                    </a:lnTo>
                    <a:lnTo>
                      <a:pt x="2574" y="432"/>
                    </a:lnTo>
                    <a:lnTo>
                      <a:pt x="2566" y="436"/>
                    </a:lnTo>
                    <a:lnTo>
                      <a:pt x="2554" y="440"/>
                    </a:lnTo>
                    <a:lnTo>
                      <a:pt x="2538" y="444"/>
                    </a:lnTo>
                    <a:lnTo>
                      <a:pt x="2516" y="444"/>
                    </a:lnTo>
                    <a:lnTo>
                      <a:pt x="2512" y="444"/>
                    </a:lnTo>
                    <a:lnTo>
                      <a:pt x="2512" y="442"/>
                    </a:lnTo>
                    <a:lnTo>
                      <a:pt x="2516" y="436"/>
                    </a:lnTo>
                    <a:lnTo>
                      <a:pt x="2528" y="428"/>
                    </a:lnTo>
                    <a:lnTo>
                      <a:pt x="2538" y="420"/>
                    </a:lnTo>
                    <a:lnTo>
                      <a:pt x="2540" y="416"/>
                    </a:lnTo>
                    <a:lnTo>
                      <a:pt x="2542" y="412"/>
                    </a:lnTo>
                    <a:lnTo>
                      <a:pt x="2540" y="410"/>
                    </a:lnTo>
                    <a:lnTo>
                      <a:pt x="2534" y="406"/>
                    </a:lnTo>
                    <a:lnTo>
                      <a:pt x="2524" y="404"/>
                    </a:lnTo>
                    <a:lnTo>
                      <a:pt x="2508" y="402"/>
                    </a:lnTo>
                    <a:lnTo>
                      <a:pt x="2478" y="400"/>
                    </a:lnTo>
                    <a:lnTo>
                      <a:pt x="2458" y="398"/>
                    </a:lnTo>
                    <a:lnTo>
                      <a:pt x="2448" y="394"/>
                    </a:lnTo>
                    <a:lnTo>
                      <a:pt x="2446" y="394"/>
                    </a:lnTo>
                    <a:lnTo>
                      <a:pt x="2446" y="392"/>
                    </a:lnTo>
                    <a:lnTo>
                      <a:pt x="2450" y="388"/>
                    </a:lnTo>
                    <a:lnTo>
                      <a:pt x="2458" y="386"/>
                    </a:lnTo>
                    <a:lnTo>
                      <a:pt x="2486" y="378"/>
                    </a:lnTo>
                    <a:lnTo>
                      <a:pt x="2492" y="376"/>
                    </a:lnTo>
                    <a:lnTo>
                      <a:pt x="2496" y="374"/>
                    </a:lnTo>
                    <a:lnTo>
                      <a:pt x="2496" y="370"/>
                    </a:lnTo>
                    <a:lnTo>
                      <a:pt x="2496" y="366"/>
                    </a:lnTo>
                    <a:lnTo>
                      <a:pt x="2492" y="364"/>
                    </a:lnTo>
                    <a:lnTo>
                      <a:pt x="2486" y="360"/>
                    </a:lnTo>
                    <a:lnTo>
                      <a:pt x="2470" y="352"/>
                    </a:lnTo>
                    <a:lnTo>
                      <a:pt x="2448" y="348"/>
                    </a:lnTo>
                    <a:lnTo>
                      <a:pt x="2422" y="348"/>
                    </a:lnTo>
                    <a:lnTo>
                      <a:pt x="2408" y="348"/>
                    </a:lnTo>
                    <a:lnTo>
                      <a:pt x="2392" y="352"/>
                    </a:lnTo>
                    <a:lnTo>
                      <a:pt x="2378" y="356"/>
                    </a:lnTo>
                    <a:lnTo>
                      <a:pt x="2362" y="362"/>
                    </a:lnTo>
                    <a:lnTo>
                      <a:pt x="2342" y="370"/>
                    </a:lnTo>
                    <a:lnTo>
                      <a:pt x="2326" y="380"/>
                    </a:lnTo>
                    <a:lnTo>
                      <a:pt x="2314" y="388"/>
                    </a:lnTo>
                    <a:lnTo>
                      <a:pt x="2304" y="396"/>
                    </a:lnTo>
                    <a:lnTo>
                      <a:pt x="2296" y="402"/>
                    </a:lnTo>
                    <a:lnTo>
                      <a:pt x="2292" y="408"/>
                    </a:lnTo>
                    <a:lnTo>
                      <a:pt x="2286" y="420"/>
                    </a:lnTo>
                    <a:lnTo>
                      <a:pt x="2284" y="428"/>
                    </a:lnTo>
                    <a:lnTo>
                      <a:pt x="2280" y="434"/>
                    </a:lnTo>
                    <a:lnTo>
                      <a:pt x="2276" y="436"/>
                    </a:lnTo>
                    <a:lnTo>
                      <a:pt x="2272" y="438"/>
                    </a:lnTo>
                    <a:lnTo>
                      <a:pt x="2256" y="440"/>
                    </a:lnTo>
                    <a:lnTo>
                      <a:pt x="2224" y="442"/>
                    </a:lnTo>
                    <a:lnTo>
                      <a:pt x="2208" y="444"/>
                    </a:lnTo>
                    <a:lnTo>
                      <a:pt x="2206" y="444"/>
                    </a:lnTo>
                    <a:lnTo>
                      <a:pt x="2206" y="446"/>
                    </a:lnTo>
                    <a:lnTo>
                      <a:pt x="2206" y="448"/>
                    </a:lnTo>
                    <a:lnTo>
                      <a:pt x="2210" y="452"/>
                    </a:lnTo>
                    <a:lnTo>
                      <a:pt x="2208" y="456"/>
                    </a:lnTo>
                    <a:lnTo>
                      <a:pt x="2206" y="458"/>
                    </a:lnTo>
                    <a:lnTo>
                      <a:pt x="2192" y="464"/>
                    </a:lnTo>
                    <a:lnTo>
                      <a:pt x="2162" y="472"/>
                    </a:lnTo>
                    <a:lnTo>
                      <a:pt x="2132" y="478"/>
                    </a:lnTo>
                    <a:lnTo>
                      <a:pt x="2118" y="478"/>
                    </a:lnTo>
                    <a:lnTo>
                      <a:pt x="2114" y="476"/>
                    </a:lnTo>
                    <a:lnTo>
                      <a:pt x="2112" y="474"/>
                    </a:lnTo>
                    <a:lnTo>
                      <a:pt x="2112" y="470"/>
                    </a:lnTo>
                    <a:lnTo>
                      <a:pt x="2110" y="468"/>
                    </a:lnTo>
                    <a:lnTo>
                      <a:pt x="2108" y="464"/>
                    </a:lnTo>
                    <a:lnTo>
                      <a:pt x="2106" y="462"/>
                    </a:lnTo>
                    <a:lnTo>
                      <a:pt x="2098" y="462"/>
                    </a:lnTo>
                    <a:lnTo>
                      <a:pt x="2076" y="460"/>
                    </a:lnTo>
                    <a:lnTo>
                      <a:pt x="2034" y="464"/>
                    </a:lnTo>
                    <a:lnTo>
                      <a:pt x="1994" y="472"/>
                    </a:lnTo>
                    <a:lnTo>
                      <a:pt x="1982" y="474"/>
                    </a:lnTo>
                    <a:lnTo>
                      <a:pt x="1974" y="478"/>
                    </a:lnTo>
                    <a:lnTo>
                      <a:pt x="1970" y="482"/>
                    </a:lnTo>
                    <a:lnTo>
                      <a:pt x="1968" y="484"/>
                    </a:lnTo>
                    <a:lnTo>
                      <a:pt x="1970" y="490"/>
                    </a:lnTo>
                    <a:lnTo>
                      <a:pt x="1970" y="494"/>
                    </a:lnTo>
                    <a:lnTo>
                      <a:pt x="1970" y="496"/>
                    </a:lnTo>
                    <a:lnTo>
                      <a:pt x="1968" y="500"/>
                    </a:lnTo>
                    <a:lnTo>
                      <a:pt x="1964" y="502"/>
                    </a:lnTo>
                    <a:lnTo>
                      <a:pt x="1954" y="504"/>
                    </a:lnTo>
                    <a:lnTo>
                      <a:pt x="1942" y="506"/>
                    </a:lnTo>
                    <a:lnTo>
                      <a:pt x="1898" y="512"/>
                    </a:lnTo>
                    <a:lnTo>
                      <a:pt x="1850" y="516"/>
                    </a:lnTo>
                    <a:lnTo>
                      <a:pt x="1818" y="522"/>
                    </a:lnTo>
                    <a:lnTo>
                      <a:pt x="1800" y="526"/>
                    </a:lnTo>
                    <a:lnTo>
                      <a:pt x="1790" y="532"/>
                    </a:lnTo>
                    <a:lnTo>
                      <a:pt x="1784" y="538"/>
                    </a:lnTo>
                    <a:lnTo>
                      <a:pt x="1776" y="542"/>
                    </a:lnTo>
                    <a:lnTo>
                      <a:pt x="1764" y="546"/>
                    </a:lnTo>
                    <a:lnTo>
                      <a:pt x="1742" y="550"/>
                    </a:lnTo>
                    <a:lnTo>
                      <a:pt x="1728" y="550"/>
                    </a:lnTo>
                    <a:lnTo>
                      <a:pt x="1718" y="554"/>
                    </a:lnTo>
                    <a:lnTo>
                      <a:pt x="1708" y="558"/>
                    </a:lnTo>
                    <a:lnTo>
                      <a:pt x="1698" y="562"/>
                    </a:lnTo>
                    <a:lnTo>
                      <a:pt x="1692" y="566"/>
                    </a:lnTo>
                    <a:lnTo>
                      <a:pt x="1686" y="572"/>
                    </a:lnTo>
                    <a:lnTo>
                      <a:pt x="1682" y="578"/>
                    </a:lnTo>
                    <a:lnTo>
                      <a:pt x="1680" y="584"/>
                    </a:lnTo>
                    <a:lnTo>
                      <a:pt x="1678" y="590"/>
                    </a:lnTo>
                    <a:lnTo>
                      <a:pt x="1678" y="596"/>
                    </a:lnTo>
                    <a:lnTo>
                      <a:pt x="1680" y="602"/>
                    </a:lnTo>
                    <a:lnTo>
                      <a:pt x="1682" y="608"/>
                    </a:lnTo>
                    <a:lnTo>
                      <a:pt x="1686" y="612"/>
                    </a:lnTo>
                    <a:lnTo>
                      <a:pt x="1690" y="616"/>
                    </a:lnTo>
                    <a:lnTo>
                      <a:pt x="1696" y="618"/>
                    </a:lnTo>
                    <a:lnTo>
                      <a:pt x="1704" y="620"/>
                    </a:lnTo>
                    <a:lnTo>
                      <a:pt x="1716" y="622"/>
                    </a:lnTo>
                    <a:lnTo>
                      <a:pt x="1724" y="624"/>
                    </a:lnTo>
                    <a:lnTo>
                      <a:pt x="1726" y="628"/>
                    </a:lnTo>
                    <a:lnTo>
                      <a:pt x="1724" y="634"/>
                    </a:lnTo>
                    <a:lnTo>
                      <a:pt x="1716" y="638"/>
                    </a:lnTo>
                    <a:lnTo>
                      <a:pt x="1704" y="644"/>
                    </a:lnTo>
                    <a:lnTo>
                      <a:pt x="1690" y="648"/>
                    </a:lnTo>
                    <a:lnTo>
                      <a:pt x="1672" y="652"/>
                    </a:lnTo>
                    <a:lnTo>
                      <a:pt x="1638" y="658"/>
                    </a:lnTo>
                    <a:lnTo>
                      <a:pt x="1604" y="662"/>
                    </a:lnTo>
                    <a:lnTo>
                      <a:pt x="1542" y="662"/>
                    </a:lnTo>
                    <a:lnTo>
                      <a:pt x="1514" y="662"/>
                    </a:lnTo>
                    <a:lnTo>
                      <a:pt x="1490" y="666"/>
                    </a:lnTo>
                    <a:lnTo>
                      <a:pt x="1480" y="668"/>
                    </a:lnTo>
                    <a:lnTo>
                      <a:pt x="1470" y="672"/>
                    </a:lnTo>
                    <a:lnTo>
                      <a:pt x="1462" y="676"/>
                    </a:lnTo>
                    <a:lnTo>
                      <a:pt x="1458" y="682"/>
                    </a:lnTo>
                    <a:lnTo>
                      <a:pt x="1450" y="692"/>
                    </a:lnTo>
                    <a:lnTo>
                      <a:pt x="1450" y="696"/>
                    </a:lnTo>
                    <a:lnTo>
                      <a:pt x="1452" y="698"/>
                    </a:lnTo>
                    <a:lnTo>
                      <a:pt x="1456" y="702"/>
                    </a:lnTo>
                    <a:lnTo>
                      <a:pt x="1462" y="704"/>
                    </a:lnTo>
                    <a:lnTo>
                      <a:pt x="1470" y="706"/>
                    </a:lnTo>
                    <a:lnTo>
                      <a:pt x="1476" y="710"/>
                    </a:lnTo>
                    <a:lnTo>
                      <a:pt x="1476" y="714"/>
                    </a:lnTo>
                    <a:lnTo>
                      <a:pt x="1476" y="718"/>
                    </a:lnTo>
                    <a:lnTo>
                      <a:pt x="1476" y="724"/>
                    </a:lnTo>
                    <a:lnTo>
                      <a:pt x="1472" y="732"/>
                    </a:lnTo>
                    <a:lnTo>
                      <a:pt x="1468" y="738"/>
                    </a:lnTo>
                    <a:lnTo>
                      <a:pt x="1468" y="744"/>
                    </a:lnTo>
                    <a:lnTo>
                      <a:pt x="1468" y="748"/>
                    </a:lnTo>
                    <a:lnTo>
                      <a:pt x="1472" y="752"/>
                    </a:lnTo>
                    <a:lnTo>
                      <a:pt x="1480" y="756"/>
                    </a:lnTo>
                    <a:lnTo>
                      <a:pt x="1492" y="758"/>
                    </a:lnTo>
                    <a:lnTo>
                      <a:pt x="1506" y="760"/>
                    </a:lnTo>
                    <a:lnTo>
                      <a:pt x="1520" y="764"/>
                    </a:lnTo>
                    <a:lnTo>
                      <a:pt x="1524" y="766"/>
                    </a:lnTo>
                    <a:lnTo>
                      <a:pt x="1528" y="770"/>
                    </a:lnTo>
                    <a:lnTo>
                      <a:pt x="1532" y="774"/>
                    </a:lnTo>
                    <a:lnTo>
                      <a:pt x="1532" y="780"/>
                    </a:lnTo>
                    <a:lnTo>
                      <a:pt x="1534" y="786"/>
                    </a:lnTo>
                    <a:lnTo>
                      <a:pt x="1536" y="790"/>
                    </a:lnTo>
                    <a:lnTo>
                      <a:pt x="1540" y="792"/>
                    </a:lnTo>
                    <a:lnTo>
                      <a:pt x="1546" y="794"/>
                    </a:lnTo>
                    <a:lnTo>
                      <a:pt x="1556" y="796"/>
                    </a:lnTo>
                    <a:lnTo>
                      <a:pt x="1568" y="796"/>
                    </a:lnTo>
                    <a:lnTo>
                      <a:pt x="1580" y="798"/>
                    </a:lnTo>
                    <a:lnTo>
                      <a:pt x="1584" y="800"/>
                    </a:lnTo>
                    <a:lnTo>
                      <a:pt x="1586" y="804"/>
                    </a:lnTo>
                    <a:lnTo>
                      <a:pt x="1588" y="806"/>
                    </a:lnTo>
                    <a:lnTo>
                      <a:pt x="1588" y="812"/>
                    </a:lnTo>
                    <a:lnTo>
                      <a:pt x="1586" y="818"/>
                    </a:lnTo>
                    <a:lnTo>
                      <a:pt x="1582" y="828"/>
                    </a:lnTo>
                    <a:lnTo>
                      <a:pt x="1578" y="836"/>
                    </a:lnTo>
                    <a:lnTo>
                      <a:pt x="1576" y="844"/>
                    </a:lnTo>
                    <a:lnTo>
                      <a:pt x="1576" y="852"/>
                    </a:lnTo>
                    <a:lnTo>
                      <a:pt x="1578" y="858"/>
                    </a:lnTo>
                    <a:lnTo>
                      <a:pt x="1582" y="868"/>
                    </a:lnTo>
                    <a:lnTo>
                      <a:pt x="1590" y="876"/>
                    </a:lnTo>
                    <a:lnTo>
                      <a:pt x="1596" y="882"/>
                    </a:lnTo>
                    <a:lnTo>
                      <a:pt x="1598" y="886"/>
                    </a:lnTo>
                    <a:lnTo>
                      <a:pt x="1598" y="890"/>
                    </a:lnTo>
                    <a:lnTo>
                      <a:pt x="1598" y="896"/>
                    </a:lnTo>
                    <a:lnTo>
                      <a:pt x="1596" y="900"/>
                    </a:lnTo>
                    <a:lnTo>
                      <a:pt x="1590" y="906"/>
                    </a:lnTo>
                    <a:lnTo>
                      <a:pt x="1584" y="912"/>
                    </a:lnTo>
                    <a:lnTo>
                      <a:pt x="1570" y="922"/>
                    </a:lnTo>
                    <a:lnTo>
                      <a:pt x="1566" y="924"/>
                    </a:lnTo>
                    <a:lnTo>
                      <a:pt x="1564" y="922"/>
                    </a:lnTo>
                    <a:lnTo>
                      <a:pt x="1566" y="912"/>
                    </a:lnTo>
                    <a:lnTo>
                      <a:pt x="1568" y="898"/>
                    </a:lnTo>
                    <a:lnTo>
                      <a:pt x="1572" y="884"/>
                    </a:lnTo>
                    <a:lnTo>
                      <a:pt x="1572" y="878"/>
                    </a:lnTo>
                    <a:lnTo>
                      <a:pt x="1572" y="872"/>
                    </a:lnTo>
                    <a:lnTo>
                      <a:pt x="1570" y="866"/>
                    </a:lnTo>
                    <a:lnTo>
                      <a:pt x="1566" y="864"/>
                    </a:lnTo>
                    <a:lnTo>
                      <a:pt x="1560" y="864"/>
                    </a:lnTo>
                    <a:lnTo>
                      <a:pt x="1552" y="866"/>
                    </a:lnTo>
                    <a:lnTo>
                      <a:pt x="1542" y="868"/>
                    </a:lnTo>
                    <a:lnTo>
                      <a:pt x="1538" y="868"/>
                    </a:lnTo>
                    <a:lnTo>
                      <a:pt x="1536" y="866"/>
                    </a:lnTo>
                    <a:lnTo>
                      <a:pt x="1536" y="864"/>
                    </a:lnTo>
                    <a:lnTo>
                      <a:pt x="1542" y="856"/>
                    </a:lnTo>
                    <a:lnTo>
                      <a:pt x="1550" y="844"/>
                    </a:lnTo>
                    <a:lnTo>
                      <a:pt x="1560" y="832"/>
                    </a:lnTo>
                    <a:lnTo>
                      <a:pt x="1562" y="826"/>
                    </a:lnTo>
                    <a:lnTo>
                      <a:pt x="1564" y="820"/>
                    </a:lnTo>
                    <a:lnTo>
                      <a:pt x="1562" y="816"/>
                    </a:lnTo>
                    <a:lnTo>
                      <a:pt x="1558" y="812"/>
                    </a:lnTo>
                    <a:lnTo>
                      <a:pt x="1552" y="810"/>
                    </a:lnTo>
                    <a:lnTo>
                      <a:pt x="1540" y="810"/>
                    </a:lnTo>
                    <a:lnTo>
                      <a:pt x="1518" y="810"/>
                    </a:lnTo>
                    <a:lnTo>
                      <a:pt x="1504" y="806"/>
                    </a:lnTo>
                    <a:lnTo>
                      <a:pt x="1492" y="798"/>
                    </a:lnTo>
                    <a:lnTo>
                      <a:pt x="1482" y="792"/>
                    </a:lnTo>
                    <a:lnTo>
                      <a:pt x="1472" y="782"/>
                    </a:lnTo>
                    <a:lnTo>
                      <a:pt x="1460" y="774"/>
                    </a:lnTo>
                    <a:lnTo>
                      <a:pt x="1442" y="768"/>
                    </a:lnTo>
                    <a:lnTo>
                      <a:pt x="1416" y="762"/>
                    </a:lnTo>
                    <a:lnTo>
                      <a:pt x="1400" y="760"/>
                    </a:lnTo>
                    <a:lnTo>
                      <a:pt x="1386" y="760"/>
                    </a:lnTo>
                    <a:lnTo>
                      <a:pt x="1374" y="760"/>
                    </a:lnTo>
                    <a:lnTo>
                      <a:pt x="1364" y="762"/>
                    </a:lnTo>
                    <a:lnTo>
                      <a:pt x="1358" y="764"/>
                    </a:lnTo>
                    <a:lnTo>
                      <a:pt x="1352" y="768"/>
                    </a:lnTo>
                    <a:lnTo>
                      <a:pt x="1346" y="776"/>
                    </a:lnTo>
                    <a:lnTo>
                      <a:pt x="1342" y="784"/>
                    </a:lnTo>
                    <a:lnTo>
                      <a:pt x="1340" y="790"/>
                    </a:lnTo>
                    <a:lnTo>
                      <a:pt x="1336" y="794"/>
                    </a:lnTo>
                    <a:lnTo>
                      <a:pt x="1334" y="794"/>
                    </a:lnTo>
                    <a:lnTo>
                      <a:pt x="1330" y="792"/>
                    </a:lnTo>
                    <a:lnTo>
                      <a:pt x="1316" y="788"/>
                    </a:lnTo>
                    <a:lnTo>
                      <a:pt x="1302" y="788"/>
                    </a:lnTo>
                    <a:lnTo>
                      <a:pt x="1292" y="792"/>
                    </a:lnTo>
                    <a:lnTo>
                      <a:pt x="1284" y="796"/>
                    </a:lnTo>
                    <a:lnTo>
                      <a:pt x="1282" y="800"/>
                    </a:lnTo>
                    <a:lnTo>
                      <a:pt x="1282" y="804"/>
                    </a:lnTo>
                    <a:lnTo>
                      <a:pt x="1282" y="808"/>
                    </a:lnTo>
                    <a:lnTo>
                      <a:pt x="1284" y="812"/>
                    </a:lnTo>
                    <a:lnTo>
                      <a:pt x="1288" y="816"/>
                    </a:lnTo>
                    <a:lnTo>
                      <a:pt x="1294" y="820"/>
                    </a:lnTo>
                    <a:lnTo>
                      <a:pt x="1314" y="828"/>
                    </a:lnTo>
                    <a:lnTo>
                      <a:pt x="1332" y="834"/>
                    </a:lnTo>
                    <a:lnTo>
                      <a:pt x="1342" y="840"/>
                    </a:lnTo>
                    <a:lnTo>
                      <a:pt x="1344" y="842"/>
                    </a:lnTo>
                    <a:lnTo>
                      <a:pt x="1344" y="844"/>
                    </a:lnTo>
                    <a:lnTo>
                      <a:pt x="1340" y="846"/>
                    </a:lnTo>
                    <a:lnTo>
                      <a:pt x="1332" y="848"/>
                    </a:lnTo>
                    <a:lnTo>
                      <a:pt x="1318" y="848"/>
                    </a:lnTo>
                    <a:lnTo>
                      <a:pt x="1280" y="844"/>
                    </a:lnTo>
                    <a:lnTo>
                      <a:pt x="1270" y="842"/>
                    </a:lnTo>
                    <a:lnTo>
                      <a:pt x="1264" y="840"/>
                    </a:lnTo>
                    <a:lnTo>
                      <a:pt x="1260" y="836"/>
                    </a:lnTo>
                    <a:lnTo>
                      <a:pt x="1256" y="830"/>
                    </a:lnTo>
                    <a:lnTo>
                      <a:pt x="1256" y="824"/>
                    </a:lnTo>
                    <a:lnTo>
                      <a:pt x="1256" y="818"/>
                    </a:lnTo>
                    <a:lnTo>
                      <a:pt x="1260" y="804"/>
                    </a:lnTo>
                    <a:lnTo>
                      <a:pt x="1264" y="788"/>
                    </a:lnTo>
                    <a:lnTo>
                      <a:pt x="1268" y="772"/>
                    </a:lnTo>
                    <a:lnTo>
                      <a:pt x="1270" y="758"/>
                    </a:lnTo>
                    <a:lnTo>
                      <a:pt x="1268" y="750"/>
                    </a:lnTo>
                    <a:lnTo>
                      <a:pt x="1266" y="744"/>
                    </a:lnTo>
                    <a:lnTo>
                      <a:pt x="1258" y="734"/>
                    </a:lnTo>
                    <a:lnTo>
                      <a:pt x="1250" y="726"/>
                    </a:lnTo>
                    <a:lnTo>
                      <a:pt x="1244" y="722"/>
                    </a:lnTo>
                    <a:lnTo>
                      <a:pt x="1240" y="722"/>
                    </a:lnTo>
                    <a:lnTo>
                      <a:pt x="1236" y="724"/>
                    </a:lnTo>
                    <a:lnTo>
                      <a:pt x="1234" y="730"/>
                    </a:lnTo>
                    <a:lnTo>
                      <a:pt x="1234" y="738"/>
                    </a:lnTo>
                    <a:lnTo>
                      <a:pt x="1238" y="752"/>
                    </a:lnTo>
                    <a:lnTo>
                      <a:pt x="1240" y="762"/>
                    </a:lnTo>
                    <a:lnTo>
                      <a:pt x="1238" y="772"/>
                    </a:lnTo>
                    <a:lnTo>
                      <a:pt x="1236" y="778"/>
                    </a:lnTo>
                    <a:lnTo>
                      <a:pt x="1230" y="784"/>
                    </a:lnTo>
                    <a:lnTo>
                      <a:pt x="1224" y="788"/>
                    </a:lnTo>
                    <a:lnTo>
                      <a:pt x="1216" y="792"/>
                    </a:lnTo>
                    <a:lnTo>
                      <a:pt x="1198" y="798"/>
                    </a:lnTo>
                    <a:lnTo>
                      <a:pt x="1182" y="804"/>
                    </a:lnTo>
                    <a:lnTo>
                      <a:pt x="1176" y="808"/>
                    </a:lnTo>
                    <a:lnTo>
                      <a:pt x="1170" y="812"/>
                    </a:lnTo>
                    <a:lnTo>
                      <a:pt x="1168" y="818"/>
                    </a:lnTo>
                    <a:lnTo>
                      <a:pt x="1168" y="824"/>
                    </a:lnTo>
                    <a:lnTo>
                      <a:pt x="1172" y="832"/>
                    </a:lnTo>
                    <a:lnTo>
                      <a:pt x="1178" y="842"/>
                    </a:lnTo>
                    <a:lnTo>
                      <a:pt x="1200" y="870"/>
                    </a:lnTo>
                    <a:lnTo>
                      <a:pt x="1208" y="878"/>
                    </a:lnTo>
                    <a:lnTo>
                      <a:pt x="1212" y="886"/>
                    </a:lnTo>
                    <a:lnTo>
                      <a:pt x="1212" y="894"/>
                    </a:lnTo>
                    <a:lnTo>
                      <a:pt x="1210" y="902"/>
                    </a:lnTo>
                    <a:lnTo>
                      <a:pt x="1204" y="912"/>
                    </a:lnTo>
                    <a:lnTo>
                      <a:pt x="1194" y="926"/>
                    </a:lnTo>
                    <a:lnTo>
                      <a:pt x="1184" y="940"/>
                    </a:lnTo>
                    <a:lnTo>
                      <a:pt x="1180" y="950"/>
                    </a:lnTo>
                    <a:lnTo>
                      <a:pt x="1180" y="956"/>
                    </a:lnTo>
                    <a:lnTo>
                      <a:pt x="1182" y="962"/>
                    </a:lnTo>
                    <a:lnTo>
                      <a:pt x="1190" y="974"/>
                    </a:lnTo>
                    <a:lnTo>
                      <a:pt x="1192" y="982"/>
                    </a:lnTo>
                    <a:lnTo>
                      <a:pt x="1194" y="992"/>
                    </a:lnTo>
                    <a:lnTo>
                      <a:pt x="1194" y="996"/>
                    </a:lnTo>
                    <a:lnTo>
                      <a:pt x="1196" y="1000"/>
                    </a:lnTo>
                    <a:lnTo>
                      <a:pt x="1200" y="1002"/>
                    </a:lnTo>
                    <a:lnTo>
                      <a:pt x="1204" y="1002"/>
                    </a:lnTo>
                    <a:lnTo>
                      <a:pt x="1218" y="1000"/>
                    </a:lnTo>
                    <a:lnTo>
                      <a:pt x="1234" y="996"/>
                    </a:lnTo>
                    <a:lnTo>
                      <a:pt x="1254" y="992"/>
                    </a:lnTo>
                    <a:lnTo>
                      <a:pt x="1276" y="992"/>
                    </a:lnTo>
                    <a:lnTo>
                      <a:pt x="1288" y="992"/>
                    </a:lnTo>
                    <a:lnTo>
                      <a:pt x="1298" y="994"/>
                    </a:lnTo>
                    <a:lnTo>
                      <a:pt x="1310" y="998"/>
                    </a:lnTo>
                    <a:lnTo>
                      <a:pt x="1322" y="1004"/>
                    </a:lnTo>
                    <a:lnTo>
                      <a:pt x="1340" y="1016"/>
                    </a:lnTo>
                    <a:lnTo>
                      <a:pt x="1352" y="1028"/>
                    </a:lnTo>
                    <a:lnTo>
                      <a:pt x="1358" y="1036"/>
                    </a:lnTo>
                    <a:lnTo>
                      <a:pt x="1360" y="1044"/>
                    </a:lnTo>
                    <a:lnTo>
                      <a:pt x="1360" y="1050"/>
                    </a:lnTo>
                    <a:lnTo>
                      <a:pt x="1356" y="1054"/>
                    </a:lnTo>
                    <a:lnTo>
                      <a:pt x="1350" y="1066"/>
                    </a:lnTo>
                    <a:lnTo>
                      <a:pt x="1342" y="1078"/>
                    </a:lnTo>
                    <a:lnTo>
                      <a:pt x="1334" y="1092"/>
                    </a:lnTo>
                    <a:lnTo>
                      <a:pt x="1332" y="1096"/>
                    </a:lnTo>
                    <a:lnTo>
                      <a:pt x="1330" y="1098"/>
                    </a:lnTo>
                    <a:lnTo>
                      <a:pt x="1330" y="1092"/>
                    </a:lnTo>
                    <a:lnTo>
                      <a:pt x="1332" y="1082"/>
                    </a:lnTo>
                    <a:lnTo>
                      <a:pt x="1334" y="1066"/>
                    </a:lnTo>
                    <a:lnTo>
                      <a:pt x="1334" y="1052"/>
                    </a:lnTo>
                    <a:lnTo>
                      <a:pt x="1330" y="1038"/>
                    </a:lnTo>
                    <a:lnTo>
                      <a:pt x="1322" y="1026"/>
                    </a:lnTo>
                    <a:lnTo>
                      <a:pt x="1318" y="1020"/>
                    </a:lnTo>
                    <a:lnTo>
                      <a:pt x="1312" y="1016"/>
                    </a:lnTo>
                    <a:lnTo>
                      <a:pt x="1304" y="1014"/>
                    </a:lnTo>
                    <a:lnTo>
                      <a:pt x="1298" y="1012"/>
                    </a:lnTo>
                    <a:lnTo>
                      <a:pt x="1288" y="1010"/>
                    </a:lnTo>
                    <a:lnTo>
                      <a:pt x="1278" y="1010"/>
                    </a:lnTo>
                    <a:lnTo>
                      <a:pt x="1266" y="1012"/>
                    </a:lnTo>
                    <a:lnTo>
                      <a:pt x="1254" y="1016"/>
                    </a:lnTo>
                    <a:lnTo>
                      <a:pt x="1242" y="1020"/>
                    </a:lnTo>
                    <a:lnTo>
                      <a:pt x="1234" y="1026"/>
                    </a:lnTo>
                    <a:lnTo>
                      <a:pt x="1228" y="1032"/>
                    </a:lnTo>
                    <a:lnTo>
                      <a:pt x="1224" y="1036"/>
                    </a:lnTo>
                    <a:lnTo>
                      <a:pt x="1222" y="1044"/>
                    </a:lnTo>
                    <a:lnTo>
                      <a:pt x="1222" y="1050"/>
                    </a:lnTo>
                    <a:lnTo>
                      <a:pt x="1226" y="1062"/>
                    </a:lnTo>
                    <a:lnTo>
                      <a:pt x="1230" y="1076"/>
                    </a:lnTo>
                    <a:lnTo>
                      <a:pt x="1234" y="1088"/>
                    </a:lnTo>
                    <a:lnTo>
                      <a:pt x="1234" y="1092"/>
                    </a:lnTo>
                    <a:lnTo>
                      <a:pt x="1232" y="1098"/>
                    </a:lnTo>
                    <a:lnTo>
                      <a:pt x="1228" y="1102"/>
                    </a:lnTo>
                    <a:lnTo>
                      <a:pt x="1222" y="1106"/>
                    </a:lnTo>
                    <a:lnTo>
                      <a:pt x="1210" y="1112"/>
                    </a:lnTo>
                    <a:lnTo>
                      <a:pt x="1202" y="1120"/>
                    </a:lnTo>
                    <a:lnTo>
                      <a:pt x="1198" y="1128"/>
                    </a:lnTo>
                    <a:lnTo>
                      <a:pt x="1196" y="1136"/>
                    </a:lnTo>
                    <a:lnTo>
                      <a:pt x="1194" y="1144"/>
                    </a:lnTo>
                    <a:lnTo>
                      <a:pt x="1188" y="1152"/>
                    </a:lnTo>
                    <a:lnTo>
                      <a:pt x="1180" y="1160"/>
                    </a:lnTo>
                    <a:lnTo>
                      <a:pt x="1166" y="1168"/>
                    </a:lnTo>
                    <a:lnTo>
                      <a:pt x="1152" y="1176"/>
                    </a:lnTo>
                    <a:lnTo>
                      <a:pt x="1144" y="1184"/>
                    </a:lnTo>
                    <a:lnTo>
                      <a:pt x="1136" y="1196"/>
                    </a:lnTo>
                    <a:lnTo>
                      <a:pt x="1130" y="1200"/>
                    </a:lnTo>
                    <a:lnTo>
                      <a:pt x="1118" y="1202"/>
                    </a:lnTo>
                    <a:lnTo>
                      <a:pt x="1100" y="1200"/>
                    </a:lnTo>
                    <a:lnTo>
                      <a:pt x="1070" y="1196"/>
                    </a:lnTo>
                    <a:lnTo>
                      <a:pt x="1044" y="1190"/>
                    </a:lnTo>
                    <a:lnTo>
                      <a:pt x="1036" y="1186"/>
                    </a:lnTo>
                    <a:lnTo>
                      <a:pt x="1040" y="1184"/>
                    </a:lnTo>
                    <a:lnTo>
                      <a:pt x="1052" y="1180"/>
                    </a:lnTo>
                    <a:lnTo>
                      <a:pt x="1072" y="1176"/>
                    </a:lnTo>
                    <a:lnTo>
                      <a:pt x="1094" y="1168"/>
                    </a:lnTo>
                    <a:lnTo>
                      <a:pt x="1104" y="1162"/>
                    </a:lnTo>
                    <a:lnTo>
                      <a:pt x="1114" y="1156"/>
                    </a:lnTo>
                    <a:lnTo>
                      <a:pt x="1122" y="1148"/>
                    </a:lnTo>
                    <a:lnTo>
                      <a:pt x="1128" y="1138"/>
                    </a:lnTo>
                    <a:lnTo>
                      <a:pt x="1138" y="1122"/>
                    </a:lnTo>
                    <a:lnTo>
                      <a:pt x="1146" y="1112"/>
                    </a:lnTo>
                    <a:lnTo>
                      <a:pt x="1154" y="1106"/>
                    </a:lnTo>
                    <a:lnTo>
                      <a:pt x="1160" y="1104"/>
                    </a:lnTo>
                    <a:lnTo>
                      <a:pt x="1166" y="1100"/>
                    </a:lnTo>
                    <a:lnTo>
                      <a:pt x="1170" y="1096"/>
                    </a:lnTo>
                    <a:lnTo>
                      <a:pt x="1174" y="1088"/>
                    </a:lnTo>
                    <a:lnTo>
                      <a:pt x="1176" y="1072"/>
                    </a:lnTo>
                    <a:lnTo>
                      <a:pt x="1176" y="1058"/>
                    </a:lnTo>
                    <a:lnTo>
                      <a:pt x="1174" y="1044"/>
                    </a:lnTo>
                    <a:lnTo>
                      <a:pt x="1166" y="1034"/>
                    </a:lnTo>
                    <a:lnTo>
                      <a:pt x="1160" y="1026"/>
                    </a:lnTo>
                    <a:lnTo>
                      <a:pt x="1152" y="1016"/>
                    </a:lnTo>
                    <a:lnTo>
                      <a:pt x="1146" y="1004"/>
                    </a:lnTo>
                    <a:lnTo>
                      <a:pt x="1142" y="988"/>
                    </a:lnTo>
                    <a:lnTo>
                      <a:pt x="1142" y="968"/>
                    </a:lnTo>
                    <a:lnTo>
                      <a:pt x="1150" y="928"/>
                    </a:lnTo>
                    <a:lnTo>
                      <a:pt x="1152" y="910"/>
                    </a:lnTo>
                    <a:lnTo>
                      <a:pt x="1154" y="896"/>
                    </a:lnTo>
                    <a:lnTo>
                      <a:pt x="1152" y="882"/>
                    </a:lnTo>
                    <a:lnTo>
                      <a:pt x="1148" y="868"/>
                    </a:lnTo>
                    <a:lnTo>
                      <a:pt x="1140" y="856"/>
                    </a:lnTo>
                    <a:lnTo>
                      <a:pt x="1126" y="844"/>
                    </a:lnTo>
                    <a:lnTo>
                      <a:pt x="1116" y="832"/>
                    </a:lnTo>
                    <a:lnTo>
                      <a:pt x="1114" y="828"/>
                    </a:lnTo>
                    <a:lnTo>
                      <a:pt x="1112" y="824"/>
                    </a:lnTo>
                    <a:lnTo>
                      <a:pt x="1114" y="822"/>
                    </a:lnTo>
                    <a:lnTo>
                      <a:pt x="1118" y="818"/>
                    </a:lnTo>
                    <a:lnTo>
                      <a:pt x="1126" y="812"/>
                    </a:lnTo>
                    <a:lnTo>
                      <a:pt x="1136" y="804"/>
                    </a:lnTo>
                    <a:lnTo>
                      <a:pt x="1146" y="796"/>
                    </a:lnTo>
                    <a:lnTo>
                      <a:pt x="1150" y="790"/>
                    </a:lnTo>
                    <a:lnTo>
                      <a:pt x="1154" y="782"/>
                    </a:lnTo>
                    <a:lnTo>
                      <a:pt x="1156" y="774"/>
                    </a:lnTo>
                    <a:lnTo>
                      <a:pt x="1156" y="764"/>
                    </a:lnTo>
                    <a:lnTo>
                      <a:pt x="1156" y="754"/>
                    </a:lnTo>
                    <a:lnTo>
                      <a:pt x="1152" y="744"/>
                    </a:lnTo>
                    <a:lnTo>
                      <a:pt x="1148" y="738"/>
                    </a:lnTo>
                    <a:lnTo>
                      <a:pt x="1142" y="732"/>
                    </a:lnTo>
                    <a:lnTo>
                      <a:pt x="1134" y="728"/>
                    </a:lnTo>
                    <a:lnTo>
                      <a:pt x="1126" y="724"/>
                    </a:lnTo>
                    <a:lnTo>
                      <a:pt x="1106" y="722"/>
                    </a:lnTo>
                    <a:lnTo>
                      <a:pt x="1086" y="722"/>
                    </a:lnTo>
                    <a:lnTo>
                      <a:pt x="1064" y="724"/>
                    </a:lnTo>
                    <a:lnTo>
                      <a:pt x="1044" y="724"/>
                    </a:lnTo>
                    <a:lnTo>
                      <a:pt x="1028" y="722"/>
                    </a:lnTo>
                    <a:lnTo>
                      <a:pt x="1020" y="722"/>
                    </a:lnTo>
                    <a:lnTo>
                      <a:pt x="1012" y="722"/>
                    </a:lnTo>
                    <a:lnTo>
                      <a:pt x="1006" y="726"/>
                    </a:lnTo>
                    <a:lnTo>
                      <a:pt x="1002" y="732"/>
                    </a:lnTo>
                    <a:lnTo>
                      <a:pt x="994" y="748"/>
                    </a:lnTo>
                    <a:lnTo>
                      <a:pt x="988" y="766"/>
                    </a:lnTo>
                    <a:lnTo>
                      <a:pt x="980" y="788"/>
                    </a:lnTo>
                    <a:lnTo>
                      <a:pt x="970" y="808"/>
                    </a:lnTo>
                    <a:lnTo>
                      <a:pt x="964" y="816"/>
                    </a:lnTo>
                    <a:lnTo>
                      <a:pt x="958" y="824"/>
                    </a:lnTo>
                    <a:lnTo>
                      <a:pt x="948" y="832"/>
                    </a:lnTo>
                    <a:lnTo>
                      <a:pt x="938" y="838"/>
                    </a:lnTo>
                    <a:lnTo>
                      <a:pt x="916" y="848"/>
                    </a:lnTo>
                    <a:lnTo>
                      <a:pt x="908" y="854"/>
                    </a:lnTo>
                    <a:lnTo>
                      <a:pt x="906" y="858"/>
                    </a:lnTo>
                    <a:lnTo>
                      <a:pt x="904" y="862"/>
                    </a:lnTo>
                    <a:lnTo>
                      <a:pt x="906" y="866"/>
                    </a:lnTo>
                    <a:lnTo>
                      <a:pt x="912" y="874"/>
                    </a:lnTo>
                    <a:lnTo>
                      <a:pt x="920" y="884"/>
                    </a:lnTo>
                    <a:lnTo>
                      <a:pt x="922" y="888"/>
                    </a:lnTo>
                    <a:lnTo>
                      <a:pt x="926" y="894"/>
                    </a:lnTo>
                    <a:lnTo>
                      <a:pt x="926" y="902"/>
                    </a:lnTo>
                    <a:lnTo>
                      <a:pt x="926" y="910"/>
                    </a:lnTo>
                    <a:lnTo>
                      <a:pt x="922" y="918"/>
                    </a:lnTo>
                    <a:lnTo>
                      <a:pt x="916" y="928"/>
                    </a:lnTo>
                    <a:lnTo>
                      <a:pt x="912" y="938"/>
                    </a:lnTo>
                    <a:lnTo>
                      <a:pt x="910" y="948"/>
                    </a:lnTo>
                    <a:lnTo>
                      <a:pt x="912" y="954"/>
                    </a:lnTo>
                    <a:lnTo>
                      <a:pt x="916" y="962"/>
                    </a:lnTo>
                    <a:lnTo>
                      <a:pt x="924" y="968"/>
                    </a:lnTo>
                    <a:lnTo>
                      <a:pt x="932" y="974"/>
                    </a:lnTo>
                    <a:lnTo>
                      <a:pt x="952" y="986"/>
                    </a:lnTo>
                    <a:lnTo>
                      <a:pt x="974" y="996"/>
                    </a:lnTo>
                    <a:lnTo>
                      <a:pt x="982" y="1002"/>
                    </a:lnTo>
                    <a:lnTo>
                      <a:pt x="990" y="1008"/>
                    </a:lnTo>
                    <a:lnTo>
                      <a:pt x="996" y="1014"/>
                    </a:lnTo>
                    <a:lnTo>
                      <a:pt x="998" y="1022"/>
                    </a:lnTo>
                    <a:lnTo>
                      <a:pt x="998" y="1030"/>
                    </a:lnTo>
                    <a:lnTo>
                      <a:pt x="992" y="1040"/>
                    </a:lnTo>
                    <a:lnTo>
                      <a:pt x="982" y="1054"/>
                    </a:lnTo>
                    <a:lnTo>
                      <a:pt x="978" y="1058"/>
                    </a:lnTo>
                    <a:lnTo>
                      <a:pt x="974" y="1060"/>
                    </a:lnTo>
                    <a:lnTo>
                      <a:pt x="970" y="1060"/>
                    </a:lnTo>
                    <a:lnTo>
                      <a:pt x="966" y="1060"/>
                    </a:lnTo>
                    <a:lnTo>
                      <a:pt x="956" y="1052"/>
                    </a:lnTo>
                    <a:lnTo>
                      <a:pt x="942" y="1040"/>
                    </a:lnTo>
                    <a:lnTo>
                      <a:pt x="918" y="1024"/>
                    </a:lnTo>
                    <a:lnTo>
                      <a:pt x="884" y="1004"/>
                    </a:lnTo>
                    <a:lnTo>
                      <a:pt x="862" y="994"/>
                    </a:lnTo>
                    <a:lnTo>
                      <a:pt x="838" y="984"/>
                    </a:lnTo>
                    <a:lnTo>
                      <a:pt x="810" y="974"/>
                    </a:lnTo>
                    <a:lnTo>
                      <a:pt x="786" y="966"/>
                    </a:lnTo>
                    <a:lnTo>
                      <a:pt x="762" y="960"/>
                    </a:lnTo>
                    <a:lnTo>
                      <a:pt x="742" y="956"/>
                    </a:lnTo>
                    <a:lnTo>
                      <a:pt x="724" y="954"/>
                    </a:lnTo>
                    <a:lnTo>
                      <a:pt x="706" y="952"/>
                    </a:lnTo>
                    <a:lnTo>
                      <a:pt x="692" y="952"/>
                    </a:lnTo>
                    <a:lnTo>
                      <a:pt x="678" y="954"/>
                    </a:lnTo>
                    <a:lnTo>
                      <a:pt x="668" y="956"/>
                    </a:lnTo>
                    <a:lnTo>
                      <a:pt x="660" y="960"/>
                    </a:lnTo>
                    <a:lnTo>
                      <a:pt x="654" y="964"/>
                    </a:lnTo>
                    <a:lnTo>
                      <a:pt x="650" y="968"/>
                    </a:lnTo>
                    <a:lnTo>
                      <a:pt x="650" y="974"/>
                    </a:lnTo>
                    <a:lnTo>
                      <a:pt x="650" y="980"/>
                    </a:lnTo>
                    <a:lnTo>
                      <a:pt x="654" y="986"/>
                    </a:lnTo>
                    <a:lnTo>
                      <a:pt x="660" y="994"/>
                    </a:lnTo>
                    <a:lnTo>
                      <a:pt x="664" y="998"/>
                    </a:lnTo>
                    <a:lnTo>
                      <a:pt x="664" y="1004"/>
                    </a:lnTo>
                    <a:lnTo>
                      <a:pt x="664" y="1010"/>
                    </a:lnTo>
                    <a:lnTo>
                      <a:pt x="662" y="1016"/>
                    </a:lnTo>
                    <a:lnTo>
                      <a:pt x="654" y="1028"/>
                    </a:lnTo>
                    <a:lnTo>
                      <a:pt x="642" y="1038"/>
                    </a:lnTo>
                    <a:lnTo>
                      <a:pt x="628" y="1044"/>
                    </a:lnTo>
                    <a:lnTo>
                      <a:pt x="622" y="1046"/>
                    </a:lnTo>
                    <a:lnTo>
                      <a:pt x="618" y="1046"/>
                    </a:lnTo>
                    <a:lnTo>
                      <a:pt x="612" y="1046"/>
                    </a:lnTo>
                    <a:lnTo>
                      <a:pt x="608" y="1042"/>
                    </a:lnTo>
                    <a:lnTo>
                      <a:pt x="606" y="1038"/>
                    </a:lnTo>
                    <a:lnTo>
                      <a:pt x="606" y="1030"/>
                    </a:lnTo>
                    <a:lnTo>
                      <a:pt x="604" y="1018"/>
                    </a:lnTo>
                    <a:lnTo>
                      <a:pt x="602" y="1010"/>
                    </a:lnTo>
                    <a:lnTo>
                      <a:pt x="596" y="1006"/>
                    </a:lnTo>
                    <a:lnTo>
                      <a:pt x="590" y="1006"/>
                    </a:lnTo>
                    <a:lnTo>
                      <a:pt x="582" y="1010"/>
                    </a:lnTo>
                    <a:lnTo>
                      <a:pt x="570" y="1016"/>
                    </a:lnTo>
                    <a:lnTo>
                      <a:pt x="542" y="1034"/>
                    </a:lnTo>
                    <a:lnTo>
                      <a:pt x="526" y="1042"/>
                    </a:lnTo>
                    <a:lnTo>
                      <a:pt x="520" y="1042"/>
                    </a:lnTo>
                    <a:lnTo>
                      <a:pt x="516" y="1042"/>
                    </a:lnTo>
                    <a:lnTo>
                      <a:pt x="506" y="1040"/>
                    </a:lnTo>
                    <a:lnTo>
                      <a:pt x="498" y="1036"/>
                    </a:lnTo>
                    <a:lnTo>
                      <a:pt x="488" y="1032"/>
                    </a:lnTo>
                    <a:lnTo>
                      <a:pt x="478" y="1032"/>
                    </a:lnTo>
                    <a:lnTo>
                      <a:pt x="470" y="1032"/>
                    </a:lnTo>
                    <a:lnTo>
                      <a:pt x="462" y="1034"/>
                    </a:lnTo>
                    <a:lnTo>
                      <a:pt x="440" y="1046"/>
                    </a:lnTo>
                    <a:lnTo>
                      <a:pt x="420" y="1056"/>
                    </a:lnTo>
                    <a:lnTo>
                      <a:pt x="412" y="1060"/>
                    </a:lnTo>
                    <a:lnTo>
                      <a:pt x="406" y="1060"/>
                    </a:lnTo>
                    <a:lnTo>
                      <a:pt x="400" y="1060"/>
                    </a:lnTo>
                    <a:lnTo>
                      <a:pt x="396" y="1058"/>
                    </a:lnTo>
                    <a:lnTo>
                      <a:pt x="392" y="1054"/>
                    </a:lnTo>
                    <a:lnTo>
                      <a:pt x="390" y="1052"/>
                    </a:lnTo>
                    <a:lnTo>
                      <a:pt x="388" y="1042"/>
                    </a:lnTo>
                    <a:lnTo>
                      <a:pt x="392" y="1030"/>
                    </a:lnTo>
                    <a:lnTo>
                      <a:pt x="396" y="1020"/>
                    </a:lnTo>
                    <a:lnTo>
                      <a:pt x="406" y="1012"/>
                    </a:lnTo>
                    <a:lnTo>
                      <a:pt x="410" y="1006"/>
                    </a:lnTo>
                    <a:lnTo>
                      <a:pt x="412" y="1004"/>
                    </a:lnTo>
                    <a:lnTo>
                      <a:pt x="410" y="1004"/>
                    </a:lnTo>
                    <a:lnTo>
                      <a:pt x="402" y="1004"/>
                    </a:lnTo>
                    <a:lnTo>
                      <a:pt x="388" y="1008"/>
                    </a:lnTo>
                    <a:lnTo>
                      <a:pt x="368" y="1014"/>
                    </a:lnTo>
                    <a:lnTo>
                      <a:pt x="342" y="1024"/>
                    </a:lnTo>
                    <a:lnTo>
                      <a:pt x="312" y="1038"/>
                    </a:lnTo>
                    <a:lnTo>
                      <a:pt x="276" y="1054"/>
                    </a:lnTo>
                    <a:lnTo>
                      <a:pt x="242" y="1070"/>
                    </a:lnTo>
                    <a:lnTo>
                      <a:pt x="216" y="1078"/>
                    </a:lnTo>
                    <a:lnTo>
                      <a:pt x="196" y="1084"/>
                    </a:lnTo>
                    <a:lnTo>
                      <a:pt x="180" y="1086"/>
                    </a:lnTo>
                    <a:lnTo>
                      <a:pt x="168" y="1088"/>
                    </a:lnTo>
                    <a:lnTo>
                      <a:pt x="158" y="1094"/>
                    </a:lnTo>
                    <a:lnTo>
                      <a:pt x="152" y="1106"/>
                    </a:lnTo>
                    <a:lnTo>
                      <a:pt x="144" y="1124"/>
                    </a:lnTo>
                    <a:lnTo>
                      <a:pt x="138" y="1142"/>
                    </a:lnTo>
                    <a:lnTo>
                      <a:pt x="132" y="1152"/>
                    </a:lnTo>
                    <a:lnTo>
                      <a:pt x="126" y="1158"/>
                    </a:lnTo>
                    <a:lnTo>
                      <a:pt x="120" y="1158"/>
                    </a:lnTo>
                    <a:lnTo>
                      <a:pt x="106" y="1156"/>
                    </a:lnTo>
                    <a:lnTo>
                      <a:pt x="98" y="1156"/>
                    </a:lnTo>
                    <a:lnTo>
                      <a:pt x="86" y="1160"/>
                    </a:lnTo>
                    <a:lnTo>
                      <a:pt x="78" y="1164"/>
                    </a:lnTo>
                    <a:lnTo>
                      <a:pt x="54" y="1230"/>
                    </a:lnTo>
                    <a:lnTo>
                      <a:pt x="44" y="1256"/>
                    </a:lnTo>
                    <a:lnTo>
                      <a:pt x="36" y="1274"/>
                    </a:lnTo>
                    <a:lnTo>
                      <a:pt x="28" y="1292"/>
                    </a:lnTo>
                    <a:lnTo>
                      <a:pt x="20" y="1312"/>
                    </a:lnTo>
                    <a:lnTo>
                      <a:pt x="8" y="1346"/>
                    </a:lnTo>
                    <a:lnTo>
                      <a:pt x="0" y="1382"/>
                    </a:lnTo>
                    <a:lnTo>
                      <a:pt x="0" y="1562"/>
                    </a:lnTo>
                    <a:lnTo>
                      <a:pt x="60" y="1706"/>
                    </a:lnTo>
                    <a:lnTo>
                      <a:pt x="180" y="1898"/>
                    </a:lnTo>
                    <a:lnTo>
                      <a:pt x="236" y="2142"/>
                    </a:lnTo>
                    <a:lnTo>
                      <a:pt x="172" y="2176"/>
                    </a:lnTo>
                    <a:lnTo>
                      <a:pt x="166" y="2200"/>
                    </a:lnTo>
                    <a:lnTo>
                      <a:pt x="124" y="2214"/>
                    </a:lnTo>
                    <a:lnTo>
                      <a:pt x="104" y="2206"/>
                    </a:lnTo>
                    <a:lnTo>
                      <a:pt x="92" y="2204"/>
                    </a:lnTo>
                    <a:lnTo>
                      <a:pt x="86" y="2204"/>
                    </a:lnTo>
                    <a:lnTo>
                      <a:pt x="84" y="2208"/>
                    </a:lnTo>
                    <a:lnTo>
                      <a:pt x="70" y="2258"/>
                    </a:lnTo>
                    <a:lnTo>
                      <a:pt x="60" y="2304"/>
                    </a:lnTo>
                    <a:lnTo>
                      <a:pt x="76" y="2364"/>
                    </a:lnTo>
                    <a:lnTo>
                      <a:pt x="114" y="2388"/>
                    </a:lnTo>
                    <a:lnTo>
                      <a:pt x="142" y="2422"/>
                    </a:lnTo>
                    <a:lnTo>
                      <a:pt x="148" y="2454"/>
                    </a:lnTo>
                    <a:lnTo>
                      <a:pt x="130" y="2486"/>
                    </a:lnTo>
                    <a:lnTo>
                      <a:pt x="98" y="2508"/>
                    </a:lnTo>
                    <a:lnTo>
                      <a:pt x="70" y="2552"/>
                    </a:lnTo>
                    <a:lnTo>
                      <a:pt x="80" y="2588"/>
                    </a:lnTo>
                    <a:lnTo>
                      <a:pt x="132" y="2652"/>
                    </a:lnTo>
                    <a:lnTo>
                      <a:pt x="156" y="2704"/>
                    </a:lnTo>
                    <a:lnTo>
                      <a:pt x="182" y="2744"/>
                    </a:lnTo>
                    <a:lnTo>
                      <a:pt x="180" y="2776"/>
                    </a:lnTo>
                    <a:lnTo>
                      <a:pt x="182" y="2792"/>
                    </a:lnTo>
                    <a:lnTo>
                      <a:pt x="186" y="2844"/>
                    </a:lnTo>
                    <a:lnTo>
                      <a:pt x="190" y="2864"/>
                    </a:lnTo>
                    <a:lnTo>
                      <a:pt x="186" y="2882"/>
                    </a:lnTo>
                    <a:lnTo>
                      <a:pt x="188" y="2896"/>
                    </a:lnTo>
                    <a:lnTo>
                      <a:pt x="182" y="2898"/>
                    </a:lnTo>
                    <a:lnTo>
                      <a:pt x="178" y="2898"/>
                    </a:lnTo>
                    <a:lnTo>
                      <a:pt x="176" y="2896"/>
                    </a:lnTo>
                    <a:lnTo>
                      <a:pt x="176" y="2894"/>
                    </a:lnTo>
                    <a:lnTo>
                      <a:pt x="174" y="2888"/>
                    </a:lnTo>
                    <a:lnTo>
                      <a:pt x="172" y="2886"/>
                    </a:lnTo>
                    <a:lnTo>
                      <a:pt x="170" y="2886"/>
                    </a:lnTo>
                    <a:lnTo>
                      <a:pt x="172" y="2886"/>
                    </a:lnTo>
                    <a:lnTo>
                      <a:pt x="174" y="2888"/>
                    </a:lnTo>
                    <a:lnTo>
                      <a:pt x="176" y="2894"/>
                    </a:lnTo>
                    <a:lnTo>
                      <a:pt x="176" y="2896"/>
                    </a:lnTo>
                    <a:lnTo>
                      <a:pt x="178" y="2898"/>
                    </a:lnTo>
                    <a:lnTo>
                      <a:pt x="182" y="2898"/>
                    </a:lnTo>
                    <a:lnTo>
                      <a:pt x="188" y="2896"/>
                    </a:lnTo>
                    <a:lnTo>
                      <a:pt x="174" y="2986"/>
                    </a:lnTo>
                    <a:lnTo>
                      <a:pt x="174" y="3028"/>
                    </a:lnTo>
                    <a:lnTo>
                      <a:pt x="168" y="3124"/>
                    </a:lnTo>
                    <a:lnTo>
                      <a:pt x="174" y="3168"/>
                    </a:lnTo>
                    <a:lnTo>
                      <a:pt x="210" y="3264"/>
                    </a:lnTo>
                    <a:lnTo>
                      <a:pt x="248" y="3338"/>
                    </a:lnTo>
                    <a:lnTo>
                      <a:pt x="248" y="3362"/>
                    </a:lnTo>
                    <a:lnTo>
                      <a:pt x="254" y="3368"/>
                    </a:lnTo>
                    <a:lnTo>
                      <a:pt x="258" y="3372"/>
                    </a:lnTo>
                    <a:lnTo>
                      <a:pt x="262" y="3384"/>
                    </a:lnTo>
                    <a:lnTo>
                      <a:pt x="264" y="3394"/>
                    </a:lnTo>
                    <a:lnTo>
                      <a:pt x="268" y="3400"/>
                    </a:lnTo>
                    <a:lnTo>
                      <a:pt x="272" y="3406"/>
                    </a:lnTo>
                    <a:lnTo>
                      <a:pt x="276" y="3412"/>
                    </a:lnTo>
                    <a:lnTo>
                      <a:pt x="278" y="3416"/>
                    </a:lnTo>
                    <a:lnTo>
                      <a:pt x="278" y="3424"/>
                    </a:lnTo>
                    <a:lnTo>
                      <a:pt x="280" y="3432"/>
                    </a:lnTo>
                    <a:lnTo>
                      <a:pt x="282" y="3438"/>
                    </a:lnTo>
                    <a:lnTo>
                      <a:pt x="286" y="3444"/>
                    </a:lnTo>
                    <a:lnTo>
                      <a:pt x="294" y="3452"/>
                    </a:lnTo>
                    <a:lnTo>
                      <a:pt x="302" y="3456"/>
                    </a:lnTo>
                    <a:lnTo>
                      <a:pt x="320" y="3464"/>
                    </a:lnTo>
                    <a:lnTo>
                      <a:pt x="334" y="3470"/>
                    </a:lnTo>
                    <a:lnTo>
                      <a:pt x="338" y="3474"/>
                    </a:lnTo>
                    <a:lnTo>
                      <a:pt x="338" y="3478"/>
                    </a:lnTo>
                    <a:lnTo>
                      <a:pt x="338" y="3480"/>
                    </a:lnTo>
                    <a:lnTo>
                      <a:pt x="340" y="3484"/>
                    </a:lnTo>
                    <a:lnTo>
                      <a:pt x="350" y="3490"/>
                    </a:lnTo>
                    <a:lnTo>
                      <a:pt x="360" y="3496"/>
                    </a:lnTo>
                    <a:lnTo>
                      <a:pt x="366" y="3500"/>
                    </a:lnTo>
                    <a:lnTo>
                      <a:pt x="374" y="3508"/>
                    </a:lnTo>
                    <a:lnTo>
                      <a:pt x="382" y="3512"/>
                    </a:lnTo>
                    <a:lnTo>
                      <a:pt x="388" y="3514"/>
                    </a:lnTo>
                    <a:lnTo>
                      <a:pt x="394" y="3514"/>
                    </a:lnTo>
                    <a:lnTo>
                      <a:pt x="404" y="3516"/>
                    </a:lnTo>
                    <a:lnTo>
                      <a:pt x="410" y="3516"/>
                    </a:lnTo>
                    <a:lnTo>
                      <a:pt x="414" y="3522"/>
                    </a:lnTo>
                    <a:lnTo>
                      <a:pt x="420" y="3524"/>
                    </a:lnTo>
                    <a:lnTo>
                      <a:pt x="424" y="3526"/>
                    </a:lnTo>
                    <a:lnTo>
                      <a:pt x="428" y="3524"/>
                    </a:lnTo>
                    <a:lnTo>
                      <a:pt x="432" y="3522"/>
                    </a:lnTo>
                    <a:lnTo>
                      <a:pt x="442" y="3514"/>
                    </a:lnTo>
                    <a:lnTo>
                      <a:pt x="446" y="3512"/>
                    </a:lnTo>
                    <a:lnTo>
                      <a:pt x="450" y="3512"/>
                    </a:lnTo>
                    <a:lnTo>
                      <a:pt x="456" y="3510"/>
                    </a:lnTo>
                    <a:lnTo>
                      <a:pt x="458" y="3508"/>
                    </a:lnTo>
                    <a:lnTo>
                      <a:pt x="462" y="3504"/>
                    </a:lnTo>
                    <a:lnTo>
                      <a:pt x="464" y="3502"/>
                    </a:lnTo>
                    <a:lnTo>
                      <a:pt x="468" y="3502"/>
                    </a:lnTo>
                    <a:lnTo>
                      <a:pt x="472" y="3500"/>
                    </a:lnTo>
                    <a:lnTo>
                      <a:pt x="476" y="3498"/>
                    </a:lnTo>
                    <a:lnTo>
                      <a:pt x="480" y="3494"/>
                    </a:lnTo>
                    <a:lnTo>
                      <a:pt x="482" y="3492"/>
                    </a:lnTo>
                    <a:lnTo>
                      <a:pt x="488" y="3490"/>
                    </a:lnTo>
                    <a:lnTo>
                      <a:pt x="492" y="3490"/>
                    </a:lnTo>
                    <a:lnTo>
                      <a:pt x="500" y="3492"/>
                    </a:lnTo>
                    <a:lnTo>
                      <a:pt x="508" y="3496"/>
                    </a:lnTo>
                    <a:lnTo>
                      <a:pt x="514" y="3502"/>
                    </a:lnTo>
                    <a:lnTo>
                      <a:pt x="518" y="3512"/>
                    </a:lnTo>
                    <a:lnTo>
                      <a:pt x="520" y="3522"/>
                    </a:lnTo>
                    <a:lnTo>
                      <a:pt x="524" y="3542"/>
                    </a:lnTo>
                    <a:lnTo>
                      <a:pt x="526" y="3558"/>
                    </a:lnTo>
                    <a:lnTo>
                      <a:pt x="528" y="3562"/>
                    </a:lnTo>
                    <a:lnTo>
                      <a:pt x="532" y="3564"/>
                    </a:lnTo>
                    <a:lnTo>
                      <a:pt x="542" y="3566"/>
                    </a:lnTo>
                    <a:lnTo>
                      <a:pt x="550" y="3568"/>
                    </a:lnTo>
                    <a:lnTo>
                      <a:pt x="554" y="3570"/>
                    </a:lnTo>
                    <a:lnTo>
                      <a:pt x="558" y="3572"/>
                    </a:lnTo>
                    <a:lnTo>
                      <a:pt x="562" y="3576"/>
                    </a:lnTo>
                    <a:lnTo>
                      <a:pt x="566" y="3574"/>
                    </a:lnTo>
                    <a:lnTo>
                      <a:pt x="570" y="3574"/>
                    </a:lnTo>
                    <a:lnTo>
                      <a:pt x="580" y="3574"/>
                    </a:lnTo>
                    <a:lnTo>
                      <a:pt x="586" y="3574"/>
                    </a:lnTo>
                    <a:lnTo>
                      <a:pt x="590" y="3576"/>
                    </a:lnTo>
                    <a:lnTo>
                      <a:pt x="596" y="3580"/>
                    </a:lnTo>
                    <a:lnTo>
                      <a:pt x="600" y="3584"/>
                    </a:lnTo>
                    <a:lnTo>
                      <a:pt x="604" y="3584"/>
                    </a:lnTo>
                    <a:lnTo>
                      <a:pt x="608" y="3582"/>
                    </a:lnTo>
                    <a:lnTo>
                      <a:pt x="614" y="3580"/>
                    </a:lnTo>
                    <a:lnTo>
                      <a:pt x="620" y="3582"/>
                    </a:lnTo>
                    <a:lnTo>
                      <a:pt x="636" y="3584"/>
                    </a:lnTo>
                    <a:lnTo>
                      <a:pt x="650" y="3588"/>
                    </a:lnTo>
                    <a:lnTo>
                      <a:pt x="652" y="3588"/>
                    </a:lnTo>
                    <a:lnTo>
                      <a:pt x="654" y="3586"/>
                    </a:lnTo>
                    <a:lnTo>
                      <a:pt x="654" y="3582"/>
                    </a:lnTo>
                    <a:lnTo>
                      <a:pt x="656" y="3580"/>
                    </a:lnTo>
                    <a:lnTo>
                      <a:pt x="658" y="3582"/>
                    </a:lnTo>
                    <a:lnTo>
                      <a:pt x="662" y="3586"/>
                    </a:lnTo>
                    <a:lnTo>
                      <a:pt x="664" y="3590"/>
                    </a:lnTo>
                    <a:lnTo>
                      <a:pt x="670" y="3592"/>
                    </a:lnTo>
                    <a:lnTo>
                      <a:pt x="678" y="3594"/>
                    </a:lnTo>
                    <a:lnTo>
                      <a:pt x="688" y="3598"/>
                    </a:lnTo>
                    <a:lnTo>
                      <a:pt x="692" y="3600"/>
                    </a:lnTo>
                    <a:lnTo>
                      <a:pt x="696" y="3600"/>
                    </a:lnTo>
                    <a:lnTo>
                      <a:pt x="696" y="3596"/>
                    </a:lnTo>
                    <a:lnTo>
                      <a:pt x="698" y="3592"/>
                    </a:lnTo>
                    <a:lnTo>
                      <a:pt x="700" y="3592"/>
                    </a:lnTo>
                    <a:lnTo>
                      <a:pt x="702" y="3592"/>
                    </a:lnTo>
                    <a:lnTo>
                      <a:pt x="706" y="3598"/>
                    </a:lnTo>
                    <a:lnTo>
                      <a:pt x="710" y="3600"/>
                    </a:lnTo>
                    <a:lnTo>
                      <a:pt x="712" y="3600"/>
                    </a:lnTo>
                    <a:lnTo>
                      <a:pt x="716" y="3598"/>
                    </a:lnTo>
                    <a:lnTo>
                      <a:pt x="724" y="3594"/>
                    </a:lnTo>
                    <a:lnTo>
                      <a:pt x="726" y="3592"/>
                    </a:lnTo>
                    <a:lnTo>
                      <a:pt x="730" y="3594"/>
                    </a:lnTo>
                    <a:lnTo>
                      <a:pt x="732" y="3594"/>
                    </a:lnTo>
                    <a:lnTo>
                      <a:pt x="734" y="3594"/>
                    </a:lnTo>
                    <a:lnTo>
                      <a:pt x="738" y="3590"/>
                    </a:lnTo>
                    <a:lnTo>
                      <a:pt x="740" y="3588"/>
                    </a:lnTo>
                    <a:lnTo>
                      <a:pt x="746" y="3588"/>
                    </a:lnTo>
                    <a:lnTo>
                      <a:pt x="752" y="3588"/>
                    </a:lnTo>
                    <a:lnTo>
                      <a:pt x="762" y="3590"/>
                    </a:lnTo>
                    <a:lnTo>
                      <a:pt x="770" y="3594"/>
                    </a:lnTo>
                    <a:lnTo>
                      <a:pt x="774" y="3594"/>
                    </a:lnTo>
                    <a:lnTo>
                      <a:pt x="776" y="3592"/>
                    </a:lnTo>
                    <a:lnTo>
                      <a:pt x="778" y="3590"/>
                    </a:lnTo>
                    <a:lnTo>
                      <a:pt x="780" y="3588"/>
                    </a:lnTo>
                    <a:lnTo>
                      <a:pt x="782" y="3586"/>
                    </a:lnTo>
                    <a:lnTo>
                      <a:pt x="786" y="3586"/>
                    </a:lnTo>
                    <a:lnTo>
                      <a:pt x="794" y="3586"/>
                    </a:lnTo>
                    <a:lnTo>
                      <a:pt x="810" y="3590"/>
                    </a:lnTo>
                    <a:lnTo>
                      <a:pt x="820" y="3594"/>
                    </a:lnTo>
                    <a:lnTo>
                      <a:pt x="824" y="3594"/>
                    </a:lnTo>
                    <a:lnTo>
                      <a:pt x="828" y="3590"/>
                    </a:lnTo>
                    <a:lnTo>
                      <a:pt x="832" y="3588"/>
                    </a:lnTo>
                    <a:lnTo>
                      <a:pt x="840" y="3586"/>
                    </a:lnTo>
                    <a:lnTo>
                      <a:pt x="866" y="3582"/>
                    </a:lnTo>
                    <a:lnTo>
                      <a:pt x="892" y="3582"/>
                    </a:lnTo>
                    <a:lnTo>
                      <a:pt x="900" y="3584"/>
                    </a:lnTo>
                    <a:lnTo>
                      <a:pt x="904" y="3586"/>
                    </a:lnTo>
                    <a:lnTo>
                      <a:pt x="904" y="3588"/>
                    </a:lnTo>
                    <a:lnTo>
                      <a:pt x="904" y="3598"/>
                    </a:lnTo>
                    <a:lnTo>
                      <a:pt x="904" y="3606"/>
                    </a:lnTo>
                    <a:lnTo>
                      <a:pt x="904" y="3608"/>
                    </a:lnTo>
                    <a:lnTo>
                      <a:pt x="906" y="3610"/>
                    </a:lnTo>
                    <a:lnTo>
                      <a:pt x="916" y="3612"/>
                    </a:lnTo>
                    <a:lnTo>
                      <a:pt x="920" y="3612"/>
                    </a:lnTo>
                    <a:lnTo>
                      <a:pt x="924" y="3614"/>
                    </a:lnTo>
                    <a:lnTo>
                      <a:pt x="926" y="3616"/>
                    </a:lnTo>
                    <a:lnTo>
                      <a:pt x="926" y="3620"/>
                    </a:lnTo>
                    <a:lnTo>
                      <a:pt x="926" y="3626"/>
                    </a:lnTo>
                    <a:lnTo>
                      <a:pt x="926" y="3630"/>
                    </a:lnTo>
                    <a:lnTo>
                      <a:pt x="928" y="3634"/>
                    </a:lnTo>
                    <a:lnTo>
                      <a:pt x="932" y="3638"/>
                    </a:lnTo>
                    <a:lnTo>
                      <a:pt x="932" y="3642"/>
                    </a:lnTo>
                    <a:lnTo>
                      <a:pt x="932" y="3646"/>
                    </a:lnTo>
                    <a:lnTo>
                      <a:pt x="934" y="3652"/>
                    </a:lnTo>
                    <a:lnTo>
                      <a:pt x="938" y="3654"/>
                    </a:lnTo>
                    <a:lnTo>
                      <a:pt x="936" y="3656"/>
                    </a:lnTo>
                    <a:lnTo>
                      <a:pt x="936" y="3658"/>
                    </a:lnTo>
                    <a:lnTo>
                      <a:pt x="940" y="3662"/>
                    </a:lnTo>
                    <a:lnTo>
                      <a:pt x="944" y="3664"/>
                    </a:lnTo>
                    <a:lnTo>
                      <a:pt x="946" y="3664"/>
                    </a:lnTo>
                    <a:lnTo>
                      <a:pt x="950" y="3664"/>
                    </a:lnTo>
                    <a:lnTo>
                      <a:pt x="952" y="3662"/>
                    </a:lnTo>
                    <a:lnTo>
                      <a:pt x="956" y="3664"/>
                    </a:lnTo>
                    <a:lnTo>
                      <a:pt x="958" y="3666"/>
                    </a:lnTo>
                    <a:lnTo>
                      <a:pt x="962" y="3670"/>
                    </a:lnTo>
                    <a:lnTo>
                      <a:pt x="966" y="3674"/>
                    </a:lnTo>
                    <a:lnTo>
                      <a:pt x="972" y="3676"/>
                    </a:lnTo>
                    <a:lnTo>
                      <a:pt x="976" y="3680"/>
                    </a:lnTo>
                    <a:lnTo>
                      <a:pt x="982" y="3690"/>
                    </a:lnTo>
                    <a:lnTo>
                      <a:pt x="986" y="3696"/>
                    </a:lnTo>
                    <a:lnTo>
                      <a:pt x="992" y="3702"/>
                    </a:lnTo>
                    <a:lnTo>
                      <a:pt x="1000" y="3708"/>
                    </a:lnTo>
                    <a:lnTo>
                      <a:pt x="1008" y="3712"/>
                    </a:lnTo>
                    <a:lnTo>
                      <a:pt x="1016" y="3716"/>
                    </a:lnTo>
                    <a:lnTo>
                      <a:pt x="1024" y="3716"/>
                    </a:lnTo>
                    <a:lnTo>
                      <a:pt x="1032" y="3716"/>
                    </a:lnTo>
                    <a:lnTo>
                      <a:pt x="1038" y="3712"/>
                    </a:lnTo>
                    <a:lnTo>
                      <a:pt x="1044" y="3708"/>
                    </a:lnTo>
                    <a:lnTo>
                      <a:pt x="1048" y="3708"/>
                    </a:lnTo>
                    <a:lnTo>
                      <a:pt x="1052" y="3710"/>
                    </a:lnTo>
                    <a:lnTo>
                      <a:pt x="1052" y="3714"/>
                    </a:lnTo>
                    <a:lnTo>
                      <a:pt x="1050" y="3720"/>
                    </a:lnTo>
                    <a:lnTo>
                      <a:pt x="1046" y="3726"/>
                    </a:lnTo>
                    <a:lnTo>
                      <a:pt x="1040" y="3730"/>
                    </a:lnTo>
                    <a:lnTo>
                      <a:pt x="1028" y="3734"/>
                    </a:lnTo>
                    <a:lnTo>
                      <a:pt x="1016" y="3736"/>
                    </a:lnTo>
                    <a:lnTo>
                      <a:pt x="1006" y="3734"/>
                    </a:lnTo>
                    <a:lnTo>
                      <a:pt x="992" y="3732"/>
                    </a:lnTo>
                    <a:lnTo>
                      <a:pt x="992" y="3734"/>
                    </a:lnTo>
                    <a:lnTo>
                      <a:pt x="994" y="3740"/>
                    </a:lnTo>
                    <a:lnTo>
                      <a:pt x="1018" y="3770"/>
                    </a:lnTo>
                    <a:lnTo>
                      <a:pt x="1048" y="3804"/>
                    </a:lnTo>
                    <a:lnTo>
                      <a:pt x="1060" y="3814"/>
                    </a:lnTo>
                    <a:lnTo>
                      <a:pt x="1070" y="3820"/>
                    </a:lnTo>
                    <a:lnTo>
                      <a:pt x="1078" y="3822"/>
                    </a:lnTo>
                    <a:lnTo>
                      <a:pt x="1090" y="3818"/>
                    </a:lnTo>
                    <a:lnTo>
                      <a:pt x="1102" y="3810"/>
                    </a:lnTo>
                    <a:lnTo>
                      <a:pt x="1116" y="3798"/>
                    </a:lnTo>
                    <a:lnTo>
                      <a:pt x="1124" y="3790"/>
                    </a:lnTo>
                    <a:lnTo>
                      <a:pt x="1128" y="3782"/>
                    </a:lnTo>
                    <a:lnTo>
                      <a:pt x="1128" y="3772"/>
                    </a:lnTo>
                    <a:lnTo>
                      <a:pt x="1128" y="3764"/>
                    </a:lnTo>
                    <a:lnTo>
                      <a:pt x="1128" y="3756"/>
                    </a:lnTo>
                    <a:lnTo>
                      <a:pt x="1128" y="3750"/>
                    </a:lnTo>
                    <a:lnTo>
                      <a:pt x="1132" y="3744"/>
                    </a:lnTo>
                    <a:lnTo>
                      <a:pt x="1138" y="3742"/>
                    </a:lnTo>
                    <a:lnTo>
                      <a:pt x="1144" y="3740"/>
                    </a:lnTo>
                    <a:lnTo>
                      <a:pt x="1148" y="3740"/>
                    </a:lnTo>
                    <a:lnTo>
                      <a:pt x="1148" y="3742"/>
                    </a:lnTo>
                    <a:lnTo>
                      <a:pt x="1146" y="3746"/>
                    </a:lnTo>
                    <a:lnTo>
                      <a:pt x="1142" y="3754"/>
                    </a:lnTo>
                    <a:lnTo>
                      <a:pt x="1142" y="3760"/>
                    </a:lnTo>
                    <a:lnTo>
                      <a:pt x="1144" y="3764"/>
                    </a:lnTo>
                    <a:lnTo>
                      <a:pt x="1146" y="3770"/>
                    </a:lnTo>
                    <a:lnTo>
                      <a:pt x="1146" y="3774"/>
                    </a:lnTo>
                    <a:lnTo>
                      <a:pt x="1144" y="3778"/>
                    </a:lnTo>
                    <a:lnTo>
                      <a:pt x="1144" y="3782"/>
                    </a:lnTo>
                    <a:lnTo>
                      <a:pt x="1144" y="3788"/>
                    </a:lnTo>
                    <a:lnTo>
                      <a:pt x="1146" y="3794"/>
                    </a:lnTo>
                    <a:lnTo>
                      <a:pt x="1150" y="3804"/>
                    </a:lnTo>
                    <a:lnTo>
                      <a:pt x="1154" y="3814"/>
                    </a:lnTo>
                    <a:lnTo>
                      <a:pt x="1154" y="3822"/>
                    </a:lnTo>
                    <a:lnTo>
                      <a:pt x="1150" y="3838"/>
                    </a:lnTo>
                    <a:lnTo>
                      <a:pt x="1148" y="3848"/>
                    </a:lnTo>
                    <a:lnTo>
                      <a:pt x="1148" y="3864"/>
                    </a:lnTo>
                    <a:lnTo>
                      <a:pt x="1148" y="3884"/>
                    </a:lnTo>
                    <a:lnTo>
                      <a:pt x="1152" y="3912"/>
                    </a:lnTo>
                    <a:lnTo>
                      <a:pt x="1170" y="4010"/>
                    </a:lnTo>
                    <a:lnTo>
                      <a:pt x="1176" y="4042"/>
                    </a:lnTo>
                    <a:lnTo>
                      <a:pt x="1184" y="4060"/>
                    </a:lnTo>
                    <a:lnTo>
                      <a:pt x="1194" y="4084"/>
                    </a:lnTo>
                    <a:lnTo>
                      <a:pt x="1210" y="4122"/>
                    </a:lnTo>
                    <a:lnTo>
                      <a:pt x="1224" y="4164"/>
                    </a:lnTo>
                    <a:lnTo>
                      <a:pt x="1230" y="4184"/>
                    </a:lnTo>
                    <a:lnTo>
                      <a:pt x="1232" y="4204"/>
                    </a:lnTo>
                    <a:lnTo>
                      <a:pt x="1236" y="4220"/>
                    </a:lnTo>
                    <a:lnTo>
                      <a:pt x="1240" y="4232"/>
                    </a:lnTo>
                    <a:lnTo>
                      <a:pt x="1254" y="4256"/>
                    </a:lnTo>
                    <a:lnTo>
                      <a:pt x="1262" y="4268"/>
                    </a:lnTo>
                    <a:lnTo>
                      <a:pt x="1268" y="4284"/>
                    </a:lnTo>
                    <a:lnTo>
                      <a:pt x="1276" y="4304"/>
                    </a:lnTo>
                    <a:lnTo>
                      <a:pt x="1282" y="4330"/>
                    </a:lnTo>
                    <a:lnTo>
                      <a:pt x="1290" y="4358"/>
                    </a:lnTo>
                    <a:lnTo>
                      <a:pt x="1296" y="4384"/>
                    </a:lnTo>
                    <a:lnTo>
                      <a:pt x="1306" y="4406"/>
                    </a:lnTo>
                    <a:lnTo>
                      <a:pt x="1314" y="4424"/>
                    </a:lnTo>
                    <a:lnTo>
                      <a:pt x="1324" y="4436"/>
                    </a:lnTo>
                    <a:lnTo>
                      <a:pt x="1328" y="4442"/>
                    </a:lnTo>
                    <a:lnTo>
                      <a:pt x="1334" y="4444"/>
                    </a:lnTo>
                    <a:lnTo>
                      <a:pt x="1338" y="4446"/>
                    </a:lnTo>
                    <a:lnTo>
                      <a:pt x="1344" y="4446"/>
                    </a:lnTo>
                    <a:lnTo>
                      <a:pt x="1348" y="4444"/>
                    </a:lnTo>
                    <a:lnTo>
                      <a:pt x="1354" y="4440"/>
                    </a:lnTo>
                    <a:lnTo>
                      <a:pt x="1362" y="4432"/>
                    </a:lnTo>
                    <a:lnTo>
                      <a:pt x="1366" y="4424"/>
                    </a:lnTo>
                    <a:lnTo>
                      <a:pt x="1368" y="4416"/>
                    </a:lnTo>
                    <a:lnTo>
                      <a:pt x="1368" y="4410"/>
                    </a:lnTo>
                    <a:lnTo>
                      <a:pt x="1368" y="4406"/>
                    </a:lnTo>
                    <a:lnTo>
                      <a:pt x="1372" y="4400"/>
                    </a:lnTo>
                    <a:lnTo>
                      <a:pt x="1376" y="4396"/>
                    </a:lnTo>
                    <a:lnTo>
                      <a:pt x="1384" y="4394"/>
                    </a:lnTo>
                    <a:lnTo>
                      <a:pt x="1402" y="4390"/>
                    </a:lnTo>
                    <a:lnTo>
                      <a:pt x="1412" y="4390"/>
                    </a:lnTo>
                    <a:lnTo>
                      <a:pt x="1418" y="4390"/>
                    </a:lnTo>
                    <a:lnTo>
                      <a:pt x="1420" y="4390"/>
                    </a:lnTo>
                    <a:lnTo>
                      <a:pt x="1420" y="4388"/>
                    </a:lnTo>
                    <a:lnTo>
                      <a:pt x="1420" y="4386"/>
                    </a:lnTo>
                    <a:lnTo>
                      <a:pt x="1416" y="4384"/>
                    </a:lnTo>
                    <a:lnTo>
                      <a:pt x="1408" y="4382"/>
                    </a:lnTo>
                    <a:lnTo>
                      <a:pt x="1404" y="4380"/>
                    </a:lnTo>
                    <a:lnTo>
                      <a:pt x="1400" y="4376"/>
                    </a:lnTo>
                    <a:lnTo>
                      <a:pt x="1402" y="4370"/>
                    </a:lnTo>
                    <a:lnTo>
                      <a:pt x="1406" y="4362"/>
                    </a:lnTo>
                    <a:lnTo>
                      <a:pt x="1410" y="4354"/>
                    </a:lnTo>
                    <a:lnTo>
                      <a:pt x="1412" y="4348"/>
                    </a:lnTo>
                    <a:lnTo>
                      <a:pt x="1412" y="4342"/>
                    </a:lnTo>
                    <a:lnTo>
                      <a:pt x="1414" y="4340"/>
                    </a:lnTo>
                    <a:lnTo>
                      <a:pt x="1428" y="4338"/>
                    </a:lnTo>
                    <a:lnTo>
                      <a:pt x="1434" y="4336"/>
                    </a:lnTo>
                    <a:lnTo>
                      <a:pt x="1436" y="4334"/>
                    </a:lnTo>
                    <a:lnTo>
                      <a:pt x="1438" y="4332"/>
                    </a:lnTo>
                    <a:lnTo>
                      <a:pt x="1438" y="4322"/>
                    </a:lnTo>
                    <a:lnTo>
                      <a:pt x="1436" y="4312"/>
                    </a:lnTo>
                    <a:lnTo>
                      <a:pt x="1434" y="4298"/>
                    </a:lnTo>
                    <a:lnTo>
                      <a:pt x="1432" y="4284"/>
                    </a:lnTo>
                    <a:lnTo>
                      <a:pt x="1434" y="4266"/>
                    </a:lnTo>
                    <a:lnTo>
                      <a:pt x="1440" y="4246"/>
                    </a:lnTo>
                    <a:lnTo>
                      <a:pt x="1448" y="4226"/>
                    </a:lnTo>
                    <a:lnTo>
                      <a:pt x="1454" y="4206"/>
                    </a:lnTo>
                    <a:lnTo>
                      <a:pt x="1456" y="4196"/>
                    </a:lnTo>
                    <a:lnTo>
                      <a:pt x="1454" y="4186"/>
                    </a:lnTo>
                    <a:lnTo>
                      <a:pt x="1452" y="4172"/>
                    </a:lnTo>
                    <a:lnTo>
                      <a:pt x="1448" y="4154"/>
                    </a:lnTo>
                    <a:lnTo>
                      <a:pt x="1448" y="4144"/>
                    </a:lnTo>
                    <a:lnTo>
                      <a:pt x="1450" y="4138"/>
                    </a:lnTo>
                    <a:lnTo>
                      <a:pt x="1450" y="4128"/>
                    </a:lnTo>
                    <a:lnTo>
                      <a:pt x="1446" y="4108"/>
                    </a:lnTo>
                    <a:lnTo>
                      <a:pt x="1444" y="4098"/>
                    </a:lnTo>
                    <a:lnTo>
                      <a:pt x="1442" y="4088"/>
                    </a:lnTo>
                    <a:lnTo>
                      <a:pt x="1444" y="4082"/>
                    </a:lnTo>
                    <a:lnTo>
                      <a:pt x="1444" y="4076"/>
                    </a:lnTo>
                    <a:lnTo>
                      <a:pt x="1448" y="4074"/>
                    </a:lnTo>
                    <a:lnTo>
                      <a:pt x="1452" y="4070"/>
                    </a:lnTo>
                    <a:lnTo>
                      <a:pt x="1460" y="4068"/>
                    </a:lnTo>
                    <a:lnTo>
                      <a:pt x="1470" y="4066"/>
                    </a:lnTo>
                    <a:lnTo>
                      <a:pt x="1480" y="4064"/>
                    </a:lnTo>
                    <a:lnTo>
                      <a:pt x="1488" y="4058"/>
                    </a:lnTo>
                    <a:lnTo>
                      <a:pt x="1490" y="4054"/>
                    </a:lnTo>
                    <a:lnTo>
                      <a:pt x="1492" y="4050"/>
                    </a:lnTo>
                    <a:lnTo>
                      <a:pt x="1494" y="4040"/>
                    </a:lnTo>
                    <a:lnTo>
                      <a:pt x="1496" y="4038"/>
                    </a:lnTo>
                    <a:lnTo>
                      <a:pt x="1498" y="4038"/>
                    </a:lnTo>
                    <a:lnTo>
                      <a:pt x="1502" y="4040"/>
                    </a:lnTo>
                    <a:lnTo>
                      <a:pt x="1506" y="4042"/>
                    </a:lnTo>
                    <a:lnTo>
                      <a:pt x="1512" y="4042"/>
                    </a:lnTo>
                    <a:lnTo>
                      <a:pt x="1520" y="4040"/>
                    </a:lnTo>
                    <a:lnTo>
                      <a:pt x="1530" y="4032"/>
                    </a:lnTo>
                    <a:lnTo>
                      <a:pt x="1536" y="4024"/>
                    </a:lnTo>
                    <a:lnTo>
                      <a:pt x="1538" y="4020"/>
                    </a:lnTo>
                    <a:lnTo>
                      <a:pt x="1538" y="4016"/>
                    </a:lnTo>
                    <a:lnTo>
                      <a:pt x="1538" y="4014"/>
                    </a:lnTo>
                    <a:lnTo>
                      <a:pt x="1538" y="4010"/>
                    </a:lnTo>
                    <a:lnTo>
                      <a:pt x="1542" y="4004"/>
                    </a:lnTo>
                    <a:lnTo>
                      <a:pt x="1550" y="3996"/>
                    </a:lnTo>
                    <a:lnTo>
                      <a:pt x="1566" y="3982"/>
                    </a:lnTo>
                    <a:lnTo>
                      <a:pt x="1584" y="3966"/>
                    </a:lnTo>
                    <a:lnTo>
                      <a:pt x="1600" y="3950"/>
                    </a:lnTo>
                    <a:lnTo>
                      <a:pt x="1624" y="3918"/>
                    </a:lnTo>
                    <a:lnTo>
                      <a:pt x="1644" y="3892"/>
                    </a:lnTo>
                    <a:lnTo>
                      <a:pt x="1654" y="3880"/>
                    </a:lnTo>
                    <a:lnTo>
                      <a:pt x="1666" y="3870"/>
                    </a:lnTo>
                    <a:lnTo>
                      <a:pt x="1674" y="3866"/>
                    </a:lnTo>
                    <a:lnTo>
                      <a:pt x="1680" y="3864"/>
                    </a:lnTo>
                    <a:lnTo>
                      <a:pt x="1688" y="3864"/>
                    </a:lnTo>
                    <a:lnTo>
                      <a:pt x="1692" y="3864"/>
                    </a:lnTo>
                    <a:lnTo>
                      <a:pt x="1696" y="3860"/>
                    </a:lnTo>
                    <a:lnTo>
                      <a:pt x="1704" y="3852"/>
                    </a:lnTo>
                    <a:lnTo>
                      <a:pt x="1714" y="3840"/>
                    </a:lnTo>
                    <a:lnTo>
                      <a:pt x="1722" y="3828"/>
                    </a:lnTo>
                    <a:lnTo>
                      <a:pt x="1724" y="3816"/>
                    </a:lnTo>
                    <a:lnTo>
                      <a:pt x="1724" y="3808"/>
                    </a:lnTo>
                    <a:lnTo>
                      <a:pt x="1722" y="3802"/>
                    </a:lnTo>
                    <a:lnTo>
                      <a:pt x="1720" y="3796"/>
                    </a:lnTo>
                    <a:lnTo>
                      <a:pt x="1720" y="3790"/>
                    </a:lnTo>
                    <a:lnTo>
                      <a:pt x="1724" y="3784"/>
                    </a:lnTo>
                    <a:lnTo>
                      <a:pt x="1736" y="3778"/>
                    </a:lnTo>
                    <a:lnTo>
                      <a:pt x="1748" y="3772"/>
                    </a:lnTo>
                    <a:lnTo>
                      <a:pt x="1756" y="3766"/>
                    </a:lnTo>
                    <a:lnTo>
                      <a:pt x="1768" y="3758"/>
                    </a:lnTo>
                    <a:lnTo>
                      <a:pt x="1770" y="3756"/>
                    </a:lnTo>
                    <a:lnTo>
                      <a:pt x="1772" y="3756"/>
                    </a:lnTo>
                    <a:lnTo>
                      <a:pt x="1774" y="3766"/>
                    </a:lnTo>
                    <a:lnTo>
                      <a:pt x="1774" y="3772"/>
                    </a:lnTo>
                    <a:lnTo>
                      <a:pt x="1778" y="3776"/>
                    </a:lnTo>
                    <a:lnTo>
                      <a:pt x="1780" y="3778"/>
                    </a:lnTo>
                    <a:lnTo>
                      <a:pt x="1784" y="3778"/>
                    </a:lnTo>
                    <a:lnTo>
                      <a:pt x="1790" y="3774"/>
                    </a:lnTo>
                    <a:lnTo>
                      <a:pt x="1794" y="3774"/>
                    </a:lnTo>
                    <a:lnTo>
                      <a:pt x="1798" y="3774"/>
                    </a:lnTo>
                    <a:lnTo>
                      <a:pt x="1804" y="3776"/>
                    </a:lnTo>
                    <a:lnTo>
                      <a:pt x="1808" y="3776"/>
                    </a:lnTo>
                    <a:lnTo>
                      <a:pt x="1810" y="3774"/>
                    </a:lnTo>
                    <a:lnTo>
                      <a:pt x="1808" y="3768"/>
                    </a:lnTo>
                    <a:lnTo>
                      <a:pt x="1806" y="3760"/>
                    </a:lnTo>
                    <a:lnTo>
                      <a:pt x="1806" y="3758"/>
                    </a:lnTo>
                    <a:lnTo>
                      <a:pt x="1810" y="3756"/>
                    </a:lnTo>
                    <a:lnTo>
                      <a:pt x="1812" y="3762"/>
                    </a:lnTo>
                    <a:lnTo>
                      <a:pt x="1816" y="3766"/>
                    </a:lnTo>
                    <a:lnTo>
                      <a:pt x="1818" y="3766"/>
                    </a:lnTo>
                    <a:lnTo>
                      <a:pt x="1820" y="3766"/>
                    </a:lnTo>
                    <a:lnTo>
                      <a:pt x="1824" y="3766"/>
                    </a:lnTo>
                    <a:lnTo>
                      <a:pt x="1826" y="3766"/>
                    </a:lnTo>
                    <a:lnTo>
                      <a:pt x="1828" y="3768"/>
                    </a:lnTo>
                    <a:lnTo>
                      <a:pt x="1830" y="3770"/>
                    </a:lnTo>
                    <a:lnTo>
                      <a:pt x="1832" y="3770"/>
                    </a:lnTo>
                    <a:lnTo>
                      <a:pt x="1836" y="3764"/>
                    </a:lnTo>
                    <a:lnTo>
                      <a:pt x="1842" y="3760"/>
                    </a:lnTo>
                    <a:lnTo>
                      <a:pt x="1844" y="3760"/>
                    </a:lnTo>
                    <a:lnTo>
                      <a:pt x="1848" y="3762"/>
                    </a:lnTo>
                    <a:lnTo>
                      <a:pt x="1852" y="3766"/>
                    </a:lnTo>
                    <a:lnTo>
                      <a:pt x="1856" y="3764"/>
                    </a:lnTo>
                    <a:lnTo>
                      <a:pt x="1860" y="3762"/>
                    </a:lnTo>
                    <a:lnTo>
                      <a:pt x="1864" y="3756"/>
                    </a:lnTo>
                    <a:lnTo>
                      <a:pt x="1866" y="3748"/>
                    </a:lnTo>
                    <a:lnTo>
                      <a:pt x="1868" y="3740"/>
                    </a:lnTo>
                    <a:lnTo>
                      <a:pt x="1868" y="3734"/>
                    </a:lnTo>
                    <a:lnTo>
                      <a:pt x="1866" y="3726"/>
                    </a:lnTo>
                    <a:lnTo>
                      <a:pt x="1864" y="3716"/>
                    </a:lnTo>
                    <a:lnTo>
                      <a:pt x="1866" y="3706"/>
                    </a:lnTo>
                    <a:lnTo>
                      <a:pt x="1866" y="3698"/>
                    </a:lnTo>
                    <a:lnTo>
                      <a:pt x="1866" y="3690"/>
                    </a:lnTo>
                    <a:lnTo>
                      <a:pt x="1864" y="3686"/>
                    </a:lnTo>
                    <a:lnTo>
                      <a:pt x="1866" y="3684"/>
                    </a:lnTo>
                    <a:lnTo>
                      <a:pt x="1868" y="3680"/>
                    </a:lnTo>
                    <a:lnTo>
                      <a:pt x="1870" y="3676"/>
                    </a:lnTo>
                    <a:lnTo>
                      <a:pt x="1872" y="3678"/>
                    </a:lnTo>
                    <a:lnTo>
                      <a:pt x="1872" y="3684"/>
                    </a:lnTo>
                    <a:lnTo>
                      <a:pt x="1876" y="3710"/>
                    </a:lnTo>
                    <a:lnTo>
                      <a:pt x="1880" y="3720"/>
                    </a:lnTo>
                    <a:lnTo>
                      <a:pt x="1882" y="3724"/>
                    </a:lnTo>
                    <a:lnTo>
                      <a:pt x="1884" y="3726"/>
                    </a:lnTo>
                    <a:lnTo>
                      <a:pt x="1888" y="3726"/>
                    </a:lnTo>
                    <a:lnTo>
                      <a:pt x="1890" y="3726"/>
                    </a:lnTo>
                    <a:lnTo>
                      <a:pt x="1898" y="3722"/>
                    </a:lnTo>
                    <a:lnTo>
                      <a:pt x="1900" y="3720"/>
                    </a:lnTo>
                    <a:lnTo>
                      <a:pt x="1904" y="3720"/>
                    </a:lnTo>
                    <a:lnTo>
                      <a:pt x="1906" y="3722"/>
                    </a:lnTo>
                    <a:lnTo>
                      <a:pt x="1910" y="3726"/>
                    </a:lnTo>
                    <a:lnTo>
                      <a:pt x="1916" y="3738"/>
                    </a:lnTo>
                    <a:lnTo>
                      <a:pt x="1922" y="3760"/>
                    </a:lnTo>
                    <a:lnTo>
                      <a:pt x="1926" y="3768"/>
                    </a:lnTo>
                    <a:lnTo>
                      <a:pt x="1928" y="3772"/>
                    </a:lnTo>
                    <a:lnTo>
                      <a:pt x="1928" y="3774"/>
                    </a:lnTo>
                    <a:lnTo>
                      <a:pt x="1928" y="3780"/>
                    </a:lnTo>
                    <a:lnTo>
                      <a:pt x="1926" y="3786"/>
                    </a:lnTo>
                    <a:lnTo>
                      <a:pt x="1926" y="3792"/>
                    </a:lnTo>
                    <a:lnTo>
                      <a:pt x="1930" y="3804"/>
                    </a:lnTo>
                    <a:lnTo>
                      <a:pt x="1934" y="3814"/>
                    </a:lnTo>
                    <a:lnTo>
                      <a:pt x="1936" y="3810"/>
                    </a:lnTo>
                    <a:lnTo>
                      <a:pt x="1936" y="3800"/>
                    </a:lnTo>
                    <a:lnTo>
                      <a:pt x="1938" y="3806"/>
                    </a:lnTo>
                    <a:lnTo>
                      <a:pt x="1942" y="3816"/>
                    </a:lnTo>
                    <a:lnTo>
                      <a:pt x="1946" y="3828"/>
                    </a:lnTo>
                    <a:lnTo>
                      <a:pt x="1952" y="3838"/>
                    </a:lnTo>
                    <a:lnTo>
                      <a:pt x="1968" y="3862"/>
                    </a:lnTo>
                    <a:lnTo>
                      <a:pt x="1972" y="3864"/>
                    </a:lnTo>
                    <a:lnTo>
                      <a:pt x="1974" y="3860"/>
                    </a:lnTo>
                    <a:lnTo>
                      <a:pt x="1976" y="3856"/>
                    </a:lnTo>
                    <a:lnTo>
                      <a:pt x="1978" y="3854"/>
                    </a:lnTo>
                    <a:lnTo>
                      <a:pt x="1980" y="3854"/>
                    </a:lnTo>
                    <a:lnTo>
                      <a:pt x="1982" y="3854"/>
                    </a:lnTo>
                    <a:lnTo>
                      <a:pt x="1990" y="3862"/>
                    </a:lnTo>
                    <a:lnTo>
                      <a:pt x="1994" y="3870"/>
                    </a:lnTo>
                    <a:lnTo>
                      <a:pt x="1998" y="3876"/>
                    </a:lnTo>
                    <a:lnTo>
                      <a:pt x="2004" y="3882"/>
                    </a:lnTo>
                    <a:lnTo>
                      <a:pt x="2008" y="3886"/>
                    </a:lnTo>
                    <a:lnTo>
                      <a:pt x="2008" y="3888"/>
                    </a:lnTo>
                    <a:lnTo>
                      <a:pt x="2006" y="3890"/>
                    </a:lnTo>
                    <a:lnTo>
                      <a:pt x="2002" y="3892"/>
                    </a:lnTo>
                    <a:lnTo>
                      <a:pt x="2000" y="3892"/>
                    </a:lnTo>
                    <a:lnTo>
                      <a:pt x="1996" y="3890"/>
                    </a:lnTo>
                    <a:lnTo>
                      <a:pt x="1992" y="3886"/>
                    </a:lnTo>
                    <a:lnTo>
                      <a:pt x="1990" y="3886"/>
                    </a:lnTo>
                    <a:lnTo>
                      <a:pt x="1988" y="3888"/>
                    </a:lnTo>
                    <a:lnTo>
                      <a:pt x="1986" y="3890"/>
                    </a:lnTo>
                    <a:lnTo>
                      <a:pt x="1986" y="3894"/>
                    </a:lnTo>
                    <a:lnTo>
                      <a:pt x="1992" y="3904"/>
                    </a:lnTo>
                    <a:lnTo>
                      <a:pt x="1998" y="3910"/>
                    </a:lnTo>
                    <a:lnTo>
                      <a:pt x="2000" y="3912"/>
                    </a:lnTo>
                    <a:lnTo>
                      <a:pt x="2000" y="3910"/>
                    </a:lnTo>
                    <a:lnTo>
                      <a:pt x="2002" y="3904"/>
                    </a:lnTo>
                    <a:lnTo>
                      <a:pt x="2004" y="3900"/>
                    </a:lnTo>
                    <a:lnTo>
                      <a:pt x="2006" y="3900"/>
                    </a:lnTo>
                    <a:lnTo>
                      <a:pt x="2010" y="3912"/>
                    </a:lnTo>
                    <a:lnTo>
                      <a:pt x="2016" y="3930"/>
                    </a:lnTo>
                    <a:lnTo>
                      <a:pt x="2024" y="3950"/>
                    </a:lnTo>
                    <a:lnTo>
                      <a:pt x="2028" y="3960"/>
                    </a:lnTo>
                    <a:lnTo>
                      <a:pt x="2032" y="3972"/>
                    </a:lnTo>
                    <a:lnTo>
                      <a:pt x="2032" y="3982"/>
                    </a:lnTo>
                    <a:lnTo>
                      <a:pt x="2030" y="3992"/>
                    </a:lnTo>
                    <a:lnTo>
                      <a:pt x="2016" y="4034"/>
                    </a:lnTo>
                    <a:lnTo>
                      <a:pt x="2014" y="4050"/>
                    </a:lnTo>
                    <a:lnTo>
                      <a:pt x="2014" y="4056"/>
                    </a:lnTo>
                    <a:lnTo>
                      <a:pt x="2016" y="4058"/>
                    </a:lnTo>
                    <a:lnTo>
                      <a:pt x="2020" y="4058"/>
                    </a:lnTo>
                    <a:lnTo>
                      <a:pt x="2022" y="4056"/>
                    </a:lnTo>
                    <a:lnTo>
                      <a:pt x="2026" y="4050"/>
                    </a:lnTo>
                    <a:lnTo>
                      <a:pt x="2028" y="4044"/>
                    </a:lnTo>
                    <a:lnTo>
                      <a:pt x="2030" y="4042"/>
                    </a:lnTo>
                    <a:lnTo>
                      <a:pt x="2034" y="4042"/>
                    </a:lnTo>
                    <a:lnTo>
                      <a:pt x="2036" y="4042"/>
                    </a:lnTo>
                    <a:lnTo>
                      <a:pt x="2036" y="4044"/>
                    </a:lnTo>
                    <a:lnTo>
                      <a:pt x="2032" y="4048"/>
                    </a:lnTo>
                    <a:lnTo>
                      <a:pt x="2032" y="4054"/>
                    </a:lnTo>
                    <a:lnTo>
                      <a:pt x="2032" y="4056"/>
                    </a:lnTo>
                    <a:lnTo>
                      <a:pt x="2036" y="4060"/>
                    </a:lnTo>
                    <a:lnTo>
                      <a:pt x="2040" y="4064"/>
                    </a:lnTo>
                    <a:lnTo>
                      <a:pt x="2042" y="4064"/>
                    </a:lnTo>
                    <a:lnTo>
                      <a:pt x="2046" y="4062"/>
                    </a:lnTo>
                    <a:lnTo>
                      <a:pt x="2048" y="4060"/>
                    </a:lnTo>
                    <a:lnTo>
                      <a:pt x="2050" y="4060"/>
                    </a:lnTo>
                    <a:lnTo>
                      <a:pt x="2052" y="4062"/>
                    </a:lnTo>
                    <a:lnTo>
                      <a:pt x="2056" y="4066"/>
                    </a:lnTo>
                    <a:lnTo>
                      <a:pt x="2062" y="4070"/>
                    </a:lnTo>
                    <a:lnTo>
                      <a:pt x="2066" y="4068"/>
                    </a:lnTo>
                    <a:lnTo>
                      <a:pt x="2068" y="4066"/>
                    </a:lnTo>
                    <a:lnTo>
                      <a:pt x="2072" y="4060"/>
                    </a:lnTo>
                    <a:lnTo>
                      <a:pt x="2080" y="4048"/>
                    </a:lnTo>
                    <a:lnTo>
                      <a:pt x="2086" y="4042"/>
                    </a:lnTo>
                    <a:lnTo>
                      <a:pt x="2092" y="4038"/>
                    </a:lnTo>
                    <a:lnTo>
                      <a:pt x="2106" y="4032"/>
                    </a:lnTo>
                    <a:lnTo>
                      <a:pt x="2112" y="4028"/>
                    </a:lnTo>
                    <a:lnTo>
                      <a:pt x="2118" y="4024"/>
                    </a:lnTo>
                    <a:lnTo>
                      <a:pt x="2122" y="4016"/>
                    </a:lnTo>
                    <a:lnTo>
                      <a:pt x="2124" y="4008"/>
                    </a:lnTo>
                    <a:lnTo>
                      <a:pt x="2126" y="3998"/>
                    </a:lnTo>
                    <a:lnTo>
                      <a:pt x="2122" y="3986"/>
                    </a:lnTo>
                    <a:lnTo>
                      <a:pt x="2128" y="3990"/>
                    </a:lnTo>
                    <a:lnTo>
                      <a:pt x="2130" y="3992"/>
                    </a:lnTo>
                    <a:lnTo>
                      <a:pt x="2132" y="3998"/>
                    </a:lnTo>
                    <a:lnTo>
                      <a:pt x="2132" y="4002"/>
                    </a:lnTo>
                    <a:lnTo>
                      <a:pt x="2136" y="4004"/>
                    </a:lnTo>
                    <a:lnTo>
                      <a:pt x="2138" y="4008"/>
                    </a:lnTo>
                    <a:lnTo>
                      <a:pt x="2140" y="4020"/>
                    </a:lnTo>
                    <a:lnTo>
                      <a:pt x="2144" y="4028"/>
                    </a:lnTo>
                    <a:lnTo>
                      <a:pt x="2146" y="4030"/>
                    </a:lnTo>
                    <a:lnTo>
                      <a:pt x="2148" y="4032"/>
                    </a:lnTo>
                    <a:lnTo>
                      <a:pt x="2152" y="4030"/>
                    </a:lnTo>
                    <a:lnTo>
                      <a:pt x="2156" y="4028"/>
                    </a:lnTo>
                    <a:lnTo>
                      <a:pt x="2158" y="4028"/>
                    </a:lnTo>
                    <a:lnTo>
                      <a:pt x="2156" y="4032"/>
                    </a:lnTo>
                    <a:lnTo>
                      <a:pt x="2152" y="4040"/>
                    </a:lnTo>
                    <a:lnTo>
                      <a:pt x="2150" y="4046"/>
                    </a:lnTo>
                    <a:lnTo>
                      <a:pt x="2150" y="4052"/>
                    </a:lnTo>
                    <a:lnTo>
                      <a:pt x="2154" y="4060"/>
                    </a:lnTo>
                    <a:lnTo>
                      <a:pt x="2156" y="4070"/>
                    </a:lnTo>
                    <a:lnTo>
                      <a:pt x="2158" y="4092"/>
                    </a:lnTo>
                    <a:lnTo>
                      <a:pt x="2160" y="4114"/>
                    </a:lnTo>
                    <a:lnTo>
                      <a:pt x="2164" y="4128"/>
                    </a:lnTo>
                    <a:lnTo>
                      <a:pt x="2168" y="4140"/>
                    </a:lnTo>
                    <a:lnTo>
                      <a:pt x="2172" y="4154"/>
                    </a:lnTo>
                    <a:lnTo>
                      <a:pt x="2172" y="4172"/>
                    </a:lnTo>
                    <a:lnTo>
                      <a:pt x="2174" y="4172"/>
                    </a:lnTo>
                    <a:lnTo>
                      <a:pt x="2176" y="4166"/>
                    </a:lnTo>
                    <a:lnTo>
                      <a:pt x="2178" y="4168"/>
                    </a:lnTo>
                    <a:lnTo>
                      <a:pt x="2180" y="4172"/>
                    </a:lnTo>
                    <a:lnTo>
                      <a:pt x="2184" y="4186"/>
                    </a:lnTo>
                    <a:lnTo>
                      <a:pt x="2188" y="4198"/>
                    </a:lnTo>
                    <a:lnTo>
                      <a:pt x="2190" y="4208"/>
                    </a:lnTo>
                    <a:lnTo>
                      <a:pt x="2192" y="4216"/>
                    </a:lnTo>
                    <a:lnTo>
                      <a:pt x="2194" y="4224"/>
                    </a:lnTo>
                    <a:lnTo>
                      <a:pt x="2192" y="4232"/>
                    </a:lnTo>
                    <a:lnTo>
                      <a:pt x="2192" y="4240"/>
                    </a:lnTo>
                    <a:lnTo>
                      <a:pt x="2192" y="4242"/>
                    </a:lnTo>
                    <a:lnTo>
                      <a:pt x="2194" y="4246"/>
                    </a:lnTo>
                    <a:lnTo>
                      <a:pt x="2194" y="4248"/>
                    </a:lnTo>
                    <a:lnTo>
                      <a:pt x="2194" y="4250"/>
                    </a:lnTo>
                    <a:lnTo>
                      <a:pt x="2192" y="4258"/>
                    </a:lnTo>
                    <a:lnTo>
                      <a:pt x="2190" y="4266"/>
                    </a:lnTo>
                    <a:lnTo>
                      <a:pt x="2192" y="4268"/>
                    </a:lnTo>
                    <a:lnTo>
                      <a:pt x="2196" y="4268"/>
                    </a:lnTo>
                    <a:lnTo>
                      <a:pt x="2198" y="4268"/>
                    </a:lnTo>
                    <a:lnTo>
                      <a:pt x="2200" y="4270"/>
                    </a:lnTo>
                    <a:lnTo>
                      <a:pt x="2200" y="4276"/>
                    </a:lnTo>
                    <a:lnTo>
                      <a:pt x="2196" y="4286"/>
                    </a:lnTo>
                    <a:lnTo>
                      <a:pt x="2196" y="4298"/>
                    </a:lnTo>
                    <a:lnTo>
                      <a:pt x="2194" y="4306"/>
                    </a:lnTo>
                    <a:lnTo>
                      <a:pt x="2192" y="4310"/>
                    </a:lnTo>
                    <a:lnTo>
                      <a:pt x="2190" y="4320"/>
                    </a:lnTo>
                    <a:lnTo>
                      <a:pt x="2188" y="4344"/>
                    </a:lnTo>
                    <a:lnTo>
                      <a:pt x="2188" y="4352"/>
                    </a:lnTo>
                    <a:lnTo>
                      <a:pt x="2190" y="4352"/>
                    </a:lnTo>
                    <a:lnTo>
                      <a:pt x="2198" y="4336"/>
                    </a:lnTo>
                    <a:lnTo>
                      <a:pt x="2198" y="4340"/>
                    </a:lnTo>
                    <a:lnTo>
                      <a:pt x="2198" y="4346"/>
                    </a:lnTo>
                    <a:lnTo>
                      <a:pt x="2190" y="4360"/>
                    </a:lnTo>
                    <a:lnTo>
                      <a:pt x="2186" y="4368"/>
                    </a:lnTo>
                    <a:lnTo>
                      <a:pt x="2188" y="4372"/>
                    </a:lnTo>
                    <a:lnTo>
                      <a:pt x="2188" y="4374"/>
                    </a:lnTo>
                    <a:lnTo>
                      <a:pt x="2186" y="4380"/>
                    </a:lnTo>
                    <a:lnTo>
                      <a:pt x="2182" y="4390"/>
                    </a:lnTo>
                    <a:lnTo>
                      <a:pt x="2182" y="4396"/>
                    </a:lnTo>
                    <a:lnTo>
                      <a:pt x="2182" y="4400"/>
                    </a:lnTo>
                    <a:lnTo>
                      <a:pt x="2180" y="4406"/>
                    </a:lnTo>
                    <a:lnTo>
                      <a:pt x="2178" y="4416"/>
                    </a:lnTo>
                    <a:lnTo>
                      <a:pt x="2176" y="4426"/>
                    </a:lnTo>
                    <a:lnTo>
                      <a:pt x="2178" y="4434"/>
                    </a:lnTo>
                    <a:lnTo>
                      <a:pt x="2180" y="4440"/>
                    </a:lnTo>
                    <a:lnTo>
                      <a:pt x="2182" y="4442"/>
                    </a:lnTo>
                    <a:lnTo>
                      <a:pt x="2184" y="4442"/>
                    </a:lnTo>
                    <a:lnTo>
                      <a:pt x="2186" y="4438"/>
                    </a:lnTo>
                    <a:lnTo>
                      <a:pt x="2190" y="4432"/>
                    </a:lnTo>
                    <a:lnTo>
                      <a:pt x="2190" y="4430"/>
                    </a:lnTo>
                    <a:lnTo>
                      <a:pt x="2192" y="4430"/>
                    </a:lnTo>
                    <a:lnTo>
                      <a:pt x="2198" y="4438"/>
                    </a:lnTo>
                    <a:lnTo>
                      <a:pt x="2204" y="4450"/>
                    </a:lnTo>
                    <a:lnTo>
                      <a:pt x="2210" y="4464"/>
                    </a:lnTo>
                    <a:lnTo>
                      <a:pt x="2220" y="4480"/>
                    </a:lnTo>
                    <a:lnTo>
                      <a:pt x="2224" y="4484"/>
                    </a:lnTo>
                    <a:lnTo>
                      <a:pt x="2228" y="4484"/>
                    </a:lnTo>
                    <a:lnTo>
                      <a:pt x="2232" y="4486"/>
                    </a:lnTo>
                    <a:lnTo>
                      <a:pt x="2234" y="4488"/>
                    </a:lnTo>
                    <a:lnTo>
                      <a:pt x="2234" y="4494"/>
                    </a:lnTo>
                    <a:lnTo>
                      <a:pt x="2234" y="4498"/>
                    </a:lnTo>
                    <a:lnTo>
                      <a:pt x="2236" y="4502"/>
                    </a:lnTo>
                    <a:lnTo>
                      <a:pt x="2238" y="4508"/>
                    </a:lnTo>
                    <a:lnTo>
                      <a:pt x="2248" y="4516"/>
                    </a:lnTo>
                    <a:lnTo>
                      <a:pt x="2254" y="4526"/>
                    </a:lnTo>
                    <a:lnTo>
                      <a:pt x="2258" y="4536"/>
                    </a:lnTo>
                    <a:lnTo>
                      <a:pt x="2262" y="4544"/>
                    </a:lnTo>
                    <a:lnTo>
                      <a:pt x="2266" y="4562"/>
                    </a:lnTo>
                    <a:lnTo>
                      <a:pt x="2266" y="4578"/>
                    </a:lnTo>
                    <a:lnTo>
                      <a:pt x="2266" y="4588"/>
                    </a:lnTo>
                    <a:lnTo>
                      <a:pt x="2264" y="4592"/>
                    </a:lnTo>
                    <a:lnTo>
                      <a:pt x="2264" y="4596"/>
                    </a:lnTo>
                    <a:lnTo>
                      <a:pt x="2268" y="4600"/>
                    </a:lnTo>
                    <a:lnTo>
                      <a:pt x="2270" y="4602"/>
                    </a:lnTo>
                    <a:lnTo>
                      <a:pt x="2272" y="4606"/>
                    </a:lnTo>
                    <a:lnTo>
                      <a:pt x="2274" y="4612"/>
                    </a:lnTo>
                    <a:lnTo>
                      <a:pt x="2272" y="4622"/>
                    </a:lnTo>
                    <a:lnTo>
                      <a:pt x="2272" y="4634"/>
                    </a:lnTo>
                    <a:lnTo>
                      <a:pt x="2276" y="4638"/>
                    </a:lnTo>
                    <a:lnTo>
                      <a:pt x="2278" y="4640"/>
                    </a:lnTo>
                    <a:lnTo>
                      <a:pt x="2278" y="4644"/>
                    </a:lnTo>
                    <a:lnTo>
                      <a:pt x="2278" y="4648"/>
                    </a:lnTo>
                    <a:lnTo>
                      <a:pt x="2282" y="4654"/>
                    </a:lnTo>
                    <a:lnTo>
                      <a:pt x="2292" y="4666"/>
                    </a:lnTo>
                    <a:lnTo>
                      <a:pt x="2296" y="4672"/>
                    </a:lnTo>
                    <a:lnTo>
                      <a:pt x="2300" y="4680"/>
                    </a:lnTo>
                    <a:lnTo>
                      <a:pt x="2302" y="4688"/>
                    </a:lnTo>
                    <a:lnTo>
                      <a:pt x="2302" y="4696"/>
                    </a:lnTo>
                    <a:lnTo>
                      <a:pt x="2302" y="4700"/>
                    </a:lnTo>
                    <a:lnTo>
                      <a:pt x="2302" y="4702"/>
                    </a:lnTo>
                    <a:lnTo>
                      <a:pt x="2308" y="4708"/>
                    </a:lnTo>
                    <a:lnTo>
                      <a:pt x="2320" y="4716"/>
                    </a:lnTo>
                    <a:lnTo>
                      <a:pt x="2330" y="4724"/>
                    </a:lnTo>
                    <a:lnTo>
                      <a:pt x="2344" y="4736"/>
                    </a:lnTo>
                    <a:lnTo>
                      <a:pt x="2354" y="4746"/>
                    </a:lnTo>
                    <a:lnTo>
                      <a:pt x="2364" y="4754"/>
                    </a:lnTo>
                    <a:lnTo>
                      <a:pt x="2376" y="4760"/>
                    </a:lnTo>
                    <a:lnTo>
                      <a:pt x="2382" y="4764"/>
                    </a:lnTo>
                    <a:lnTo>
                      <a:pt x="2384" y="4766"/>
                    </a:lnTo>
                    <a:lnTo>
                      <a:pt x="2386" y="4770"/>
                    </a:lnTo>
                    <a:lnTo>
                      <a:pt x="2390" y="4776"/>
                    </a:lnTo>
                    <a:lnTo>
                      <a:pt x="2392" y="4774"/>
                    </a:lnTo>
                    <a:lnTo>
                      <a:pt x="2396" y="4770"/>
                    </a:lnTo>
                    <a:lnTo>
                      <a:pt x="2400" y="4770"/>
                    </a:lnTo>
                    <a:lnTo>
                      <a:pt x="2404" y="4770"/>
                    </a:lnTo>
                    <a:lnTo>
                      <a:pt x="2408" y="4770"/>
                    </a:lnTo>
                    <a:lnTo>
                      <a:pt x="2410" y="4768"/>
                    </a:lnTo>
                    <a:lnTo>
                      <a:pt x="2410" y="4764"/>
                    </a:lnTo>
                    <a:lnTo>
                      <a:pt x="2414" y="4764"/>
                    </a:lnTo>
                    <a:lnTo>
                      <a:pt x="2416" y="4766"/>
                    </a:lnTo>
                    <a:lnTo>
                      <a:pt x="2414" y="4770"/>
                    </a:lnTo>
                    <a:lnTo>
                      <a:pt x="2414" y="4772"/>
                    </a:lnTo>
                    <a:lnTo>
                      <a:pt x="2418" y="4774"/>
                    </a:lnTo>
                    <a:lnTo>
                      <a:pt x="2420" y="4774"/>
                    </a:lnTo>
                    <a:lnTo>
                      <a:pt x="2422" y="4772"/>
                    </a:lnTo>
                    <a:lnTo>
                      <a:pt x="2422" y="4766"/>
                    </a:lnTo>
                    <a:lnTo>
                      <a:pt x="2420" y="4756"/>
                    </a:lnTo>
                    <a:lnTo>
                      <a:pt x="2416" y="4750"/>
                    </a:lnTo>
                    <a:lnTo>
                      <a:pt x="2414" y="4744"/>
                    </a:lnTo>
                    <a:lnTo>
                      <a:pt x="2412" y="4740"/>
                    </a:lnTo>
                    <a:lnTo>
                      <a:pt x="2410" y="4730"/>
                    </a:lnTo>
                    <a:lnTo>
                      <a:pt x="2406" y="4718"/>
                    </a:lnTo>
                    <a:lnTo>
                      <a:pt x="2402" y="4714"/>
                    </a:lnTo>
                    <a:lnTo>
                      <a:pt x="2398" y="4708"/>
                    </a:lnTo>
                    <a:lnTo>
                      <a:pt x="2392" y="4704"/>
                    </a:lnTo>
                    <a:lnTo>
                      <a:pt x="2388" y="4698"/>
                    </a:lnTo>
                    <a:lnTo>
                      <a:pt x="2388" y="4690"/>
                    </a:lnTo>
                    <a:lnTo>
                      <a:pt x="2388" y="4684"/>
                    </a:lnTo>
                    <a:lnTo>
                      <a:pt x="2390" y="4672"/>
                    </a:lnTo>
                    <a:lnTo>
                      <a:pt x="2390" y="4668"/>
                    </a:lnTo>
                    <a:lnTo>
                      <a:pt x="2386" y="4664"/>
                    </a:lnTo>
                    <a:lnTo>
                      <a:pt x="2384" y="4658"/>
                    </a:lnTo>
                    <a:lnTo>
                      <a:pt x="2386" y="4654"/>
                    </a:lnTo>
                    <a:lnTo>
                      <a:pt x="2386" y="4648"/>
                    </a:lnTo>
                    <a:lnTo>
                      <a:pt x="2388" y="4642"/>
                    </a:lnTo>
                    <a:lnTo>
                      <a:pt x="2388" y="4636"/>
                    </a:lnTo>
                    <a:lnTo>
                      <a:pt x="2388" y="4628"/>
                    </a:lnTo>
                    <a:lnTo>
                      <a:pt x="2390" y="4616"/>
                    </a:lnTo>
                    <a:lnTo>
                      <a:pt x="2386" y="4600"/>
                    </a:lnTo>
                    <a:lnTo>
                      <a:pt x="2384" y="4592"/>
                    </a:lnTo>
                    <a:lnTo>
                      <a:pt x="2378" y="4584"/>
                    </a:lnTo>
                    <a:lnTo>
                      <a:pt x="2366" y="4570"/>
                    </a:lnTo>
                    <a:lnTo>
                      <a:pt x="2354" y="4558"/>
                    </a:lnTo>
                    <a:lnTo>
                      <a:pt x="2350" y="4552"/>
                    </a:lnTo>
                    <a:lnTo>
                      <a:pt x="2348" y="4546"/>
                    </a:lnTo>
                    <a:lnTo>
                      <a:pt x="2344" y="4540"/>
                    </a:lnTo>
                    <a:lnTo>
                      <a:pt x="2342" y="4538"/>
                    </a:lnTo>
                    <a:lnTo>
                      <a:pt x="2334" y="4536"/>
                    </a:lnTo>
                    <a:lnTo>
                      <a:pt x="2324" y="4526"/>
                    </a:lnTo>
                    <a:lnTo>
                      <a:pt x="2310" y="4508"/>
                    </a:lnTo>
                    <a:lnTo>
                      <a:pt x="2306" y="4502"/>
                    </a:lnTo>
                    <a:lnTo>
                      <a:pt x="2304" y="4502"/>
                    </a:lnTo>
                    <a:lnTo>
                      <a:pt x="2300" y="4504"/>
                    </a:lnTo>
                    <a:lnTo>
                      <a:pt x="2296" y="4504"/>
                    </a:lnTo>
                    <a:lnTo>
                      <a:pt x="2292" y="4504"/>
                    </a:lnTo>
                    <a:lnTo>
                      <a:pt x="2286" y="4500"/>
                    </a:lnTo>
                    <a:lnTo>
                      <a:pt x="2276" y="4494"/>
                    </a:lnTo>
                    <a:lnTo>
                      <a:pt x="2272" y="4486"/>
                    </a:lnTo>
                    <a:lnTo>
                      <a:pt x="2270" y="4476"/>
                    </a:lnTo>
                    <a:lnTo>
                      <a:pt x="2264" y="4454"/>
                    </a:lnTo>
                    <a:lnTo>
                      <a:pt x="2262" y="4434"/>
                    </a:lnTo>
                    <a:lnTo>
                      <a:pt x="2260" y="4428"/>
                    </a:lnTo>
                    <a:lnTo>
                      <a:pt x="2258" y="4426"/>
                    </a:lnTo>
                    <a:lnTo>
                      <a:pt x="2254" y="4426"/>
                    </a:lnTo>
                    <a:lnTo>
                      <a:pt x="2252" y="4424"/>
                    </a:lnTo>
                    <a:lnTo>
                      <a:pt x="2248" y="4416"/>
                    </a:lnTo>
                    <a:lnTo>
                      <a:pt x="2244" y="4402"/>
                    </a:lnTo>
                    <a:lnTo>
                      <a:pt x="2244" y="4388"/>
                    </a:lnTo>
                    <a:lnTo>
                      <a:pt x="2242" y="4386"/>
                    </a:lnTo>
                    <a:lnTo>
                      <a:pt x="2240" y="4384"/>
                    </a:lnTo>
                    <a:lnTo>
                      <a:pt x="2230" y="4388"/>
                    </a:lnTo>
                    <a:lnTo>
                      <a:pt x="2226" y="4390"/>
                    </a:lnTo>
                    <a:lnTo>
                      <a:pt x="2222" y="4390"/>
                    </a:lnTo>
                    <a:lnTo>
                      <a:pt x="2220" y="4388"/>
                    </a:lnTo>
                    <a:lnTo>
                      <a:pt x="2220" y="4382"/>
                    </a:lnTo>
                    <a:lnTo>
                      <a:pt x="2218" y="4352"/>
                    </a:lnTo>
                    <a:lnTo>
                      <a:pt x="2218" y="4330"/>
                    </a:lnTo>
                    <a:lnTo>
                      <a:pt x="2220" y="4320"/>
                    </a:lnTo>
                    <a:lnTo>
                      <a:pt x="2224" y="4316"/>
                    </a:lnTo>
                    <a:lnTo>
                      <a:pt x="2226" y="4310"/>
                    </a:lnTo>
                    <a:lnTo>
                      <a:pt x="2228" y="4306"/>
                    </a:lnTo>
                    <a:lnTo>
                      <a:pt x="2232" y="4296"/>
                    </a:lnTo>
                    <a:lnTo>
                      <a:pt x="2234" y="4284"/>
                    </a:lnTo>
                    <a:lnTo>
                      <a:pt x="2236" y="4274"/>
                    </a:lnTo>
                    <a:lnTo>
                      <a:pt x="2242" y="4258"/>
                    </a:lnTo>
                    <a:lnTo>
                      <a:pt x="2248" y="4232"/>
                    </a:lnTo>
                    <a:lnTo>
                      <a:pt x="2252" y="4208"/>
                    </a:lnTo>
                    <a:lnTo>
                      <a:pt x="2252" y="4200"/>
                    </a:lnTo>
                    <a:lnTo>
                      <a:pt x="2252" y="4196"/>
                    </a:lnTo>
                    <a:lnTo>
                      <a:pt x="2248" y="4192"/>
                    </a:lnTo>
                    <a:lnTo>
                      <a:pt x="2248" y="4190"/>
                    </a:lnTo>
                    <a:lnTo>
                      <a:pt x="2248" y="4186"/>
                    </a:lnTo>
                    <a:lnTo>
                      <a:pt x="2250" y="4184"/>
                    </a:lnTo>
                    <a:lnTo>
                      <a:pt x="2252" y="4180"/>
                    </a:lnTo>
                    <a:lnTo>
                      <a:pt x="2256" y="4178"/>
                    </a:lnTo>
                    <a:lnTo>
                      <a:pt x="2272" y="4176"/>
                    </a:lnTo>
                    <a:lnTo>
                      <a:pt x="2278" y="4178"/>
                    </a:lnTo>
                    <a:lnTo>
                      <a:pt x="2282" y="4180"/>
                    </a:lnTo>
                    <a:lnTo>
                      <a:pt x="2286" y="4182"/>
                    </a:lnTo>
                    <a:lnTo>
                      <a:pt x="2286" y="4184"/>
                    </a:lnTo>
                    <a:lnTo>
                      <a:pt x="2284" y="4194"/>
                    </a:lnTo>
                    <a:lnTo>
                      <a:pt x="2282" y="4210"/>
                    </a:lnTo>
                    <a:lnTo>
                      <a:pt x="2282" y="4220"/>
                    </a:lnTo>
                    <a:lnTo>
                      <a:pt x="2284" y="4222"/>
                    </a:lnTo>
                    <a:lnTo>
                      <a:pt x="2286" y="4222"/>
                    </a:lnTo>
                    <a:lnTo>
                      <a:pt x="2292" y="4222"/>
                    </a:lnTo>
                    <a:lnTo>
                      <a:pt x="2296" y="4222"/>
                    </a:lnTo>
                    <a:lnTo>
                      <a:pt x="2300" y="4222"/>
                    </a:lnTo>
                    <a:lnTo>
                      <a:pt x="2304" y="4224"/>
                    </a:lnTo>
                    <a:lnTo>
                      <a:pt x="2306" y="4224"/>
                    </a:lnTo>
                    <a:lnTo>
                      <a:pt x="2310" y="4220"/>
                    </a:lnTo>
                    <a:lnTo>
                      <a:pt x="2316" y="4218"/>
                    </a:lnTo>
                    <a:lnTo>
                      <a:pt x="2318" y="4218"/>
                    </a:lnTo>
                    <a:lnTo>
                      <a:pt x="2322" y="4220"/>
                    </a:lnTo>
                    <a:lnTo>
                      <a:pt x="2330" y="4228"/>
                    </a:lnTo>
                    <a:lnTo>
                      <a:pt x="2336" y="4236"/>
                    </a:lnTo>
                    <a:lnTo>
                      <a:pt x="2342" y="4244"/>
                    </a:lnTo>
                    <a:lnTo>
                      <a:pt x="2346" y="4246"/>
                    </a:lnTo>
                    <a:lnTo>
                      <a:pt x="2350" y="4248"/>
                    </a:lnTo>
                    <a:lnTo>
                      <a:pt x="2354" y="4250"/>
                    </a:lnTo>
                    <a:lnTo>
                      <a:pt x="2356" y="4252"/>
                    </a:lnTo>
                    <a:lnTo>
                      <a:pt x="2360" y="4258"/>
                    </a:lnTo>
                    <a:lnTo>
                      <a:pt x="2362" y="4266"/>
                    </a:lnTo>
                    <a:lnTo>
                      <a:pt x="2364" y="4268"/>
                    </a:lnTo>
                    <a:lnTo>
                      <a:pt x="2368" y="4268"/>
                    </a:lnTo>
                    <a:lnTo>
                      <a:pt x="2362" y="4256"/>
                    </a:lnTo>
                    <a:lnTo>
                      <a:pt x="2362" y="4246"/>
                    </a:lnTo>
                    <a:lnTo>
                      <a:pt x="2362" y="4256"/>
                    </a:lnTo>
                    <a:lnTo>
                      <a:pt x="2368" y="4268"/>
                    </a:lnTo>
                    <a:lnTo>
                      <a:pt x="2374" y="4280"/>
                    </a:lnTo>
                    <a:lnTo>
                      <a:pt x="2376" y="4286"/>
                    </a:lnTo>
                    <a:lnTo>
                      <a:pt x="2374" y="4292"/>
                    </a:lnTo>
                    <a:lnTo>
                      <a:pt x="2374" y="4300"/>
                    </a:lnTo>
                    <a:lnTo>
                      <a:pt x="2376" y="4310"/>
                    </a:lnTo>
                    <a:lnTo>
                      <a:pt x="2378" y="4310"/>
                    </a:lnTo>
                    <a:lnTo>
                      <a:pt x="2380" y="4308"/>
                    </a:lnTo>
                    <a:lnTo>
                      <a:pt x="2386" y="4308"/>
                    </a:lnTo>
                    <a:lnTo>
                      <a:pt x="2388" y="4308"/>
                    </a:lnTo>
                    <a:lnTo>
                      <a:pt x="2388" y="4304"/>
                    </a:lnTo>
                    <a:lnTo>
                      <a:pt x="2388" y="4298"/>
                    </a:lnTo>
                    <a:lnTo>
                      <a:pt x="2388" y="4296"/>
                    </a:lnTo>
                    <a:lnTo>
                      <a:pt x="2390" y="4294"/>
                    </a:lnTo>
                    <a:lnTo>
                      <a:pt x="2392" y="4296"/>
                    </a:lnTo>
                    <a:lnTo>
                      <a:pt x="2396" y="4300"/>
                    </a:lnTo>
                    <a:lnTo>
                      <a:pt x="2398" y="4304"/>
                    </a:lnTo>
                    <a:lnTo>
                      <a:pt x="2398" y="4308"/>
                    </a:lnTo>
                    <a:lnTo>
                      <a:pt x="2394" y="4314"/>
                    </a:lnTo>
                    <a:lnTo>
                      <a:pt x="2390" y="4320"/>
                    </a:lnTo>
                    <a:lnTo>
                      <a:pt x="2390" y="4322"/>
                    </a:lnTo>
                    <a:lnTo>
                      <a:pt x="2392" y="4324"/>
                    </a:lnTo>
                    <a:lnTo>
                      <a:pt x="2396" y="4326"/>
                    </a:lnTo>
                    <a:lnTo>
                      <a:pt x="2398" y="4326"/>
                    </a:lnTo>
                    <a:lnTo>
                      <a:pt x="2402" y="4324"/>
                    </a:lnTo>
                    <a:lnTo>
                      <a:pt x="2404" y="4322"/>
                    </a:lnTo>
                    <a:lnTo>
                      <a:pt x="2406" y="4320"/>
                    </a:lnTo>
                    <a:lnTo>
                      <a:pt x="2406" y="4322"/>
                    </a:lnTo>
                    <a:lnTo>
                      <a:pt x="2412" y="4324"/>
                    </a:lnTo>
                    <a:lnTo>
                      <a:pt x="2416" y="4324"/>
                    </a:lnTo>
                    <a:lnTo>
                      <a:pt x="2422" y="4326"/>
                    </a:lnTo>
                    <a:lnTo>
                      <a:pt x="2424" y="4328"/>
                    </a:lnTo>
                    <a:lnTo>
                      <a:pt x="2428" y="4334"/>
                    </a:lnTo>
                    <a:lnTo>
                      <a:pt x="2430" y="4340"/>
                    </a:lnTo>
                    <a:lnTo>
                      <a:pt x="2434" y="4344"/>
                    </a:lnTo>
                    <a:lnTo>
                      <a:pt x="2436" y="4344"/>
                    </a:lnTo>
                    <a:lnTo>
                      <a:pt x="2438" y="4344"/>
                    </a:lnTo>
                    <a:lnTo>
                      <a:pt x="2444" y="4342"/>
                    </a:lnTo>
                    <a:lnTo>
                      <a:pt x="2446" y="4342"/>
                    </a:lnTo>
                    <a:lnTo>
                      <a:pt x="2450" y="4346"/>
                    </a:lnTo>
                    <a:lnTo>
                      <a:pt x="2452" y="4350"/>
                    </a:lnTo>
                    <a:lnTo>
                      <a:pt x="2452" y="4352"/>
                    </a:lnTo>
                    <a:lnTo>
                      <a:pt x="2448" y="4360"/>
                    </a:lnTo>
                    <a:lnTo>
                      <a:pt x="2444" y="4370"/>
                    </a:lnTo>
                    <a:lnTo>
                      <a:pt x="2442" y="4378"/>
                    </a:lnTo>
                    <a:lnTo>
                      <a:pt x="2440" y="4388"/>
                    </a:lnTo>
                    <a:lnTo>
                      <a:pt x="2440" y="4410"/>
                    </a:lnTo>
                    <a:lnTo>
                      <a:pt x="2442" y="4422"/>
                    </a:lnTo>
                    <a:lnTo>
                      <a:pt x="2444" y="4424"/>
                    </a:lnTo>
                    <a:lnTo>
                      <a:pt x="2446" y="4424"/>
                    </a:lnTo>
                    <a:lnTo>
                      <a:pt x="2450" y="4422"/>
                    </a:lnTo>
                    <a:lnTo>
                      <a:pt x="2456" y="4416"/>
                    </a:lnTo>
                    <a:lnTo>
                      <a:pt x="2478" y="4396"/>
                    </a:lnTo>
                    <a:lnTo>
                      <a:pt x="2488" y="4388"/>
                    </a:lnTo>
                    <a:lnTo>
                      <a:pt x="2496" y="4384"/>
                    </a:lnTo>
                    <a:lnTo>
                      <a:pt x="2500" y="4382"/>
                    </a:lnTo>
                    <a:lnTo>
                      <a:pt x="2502" y="4380"/>
                    </a:lnTo>
                    <a:lnTo>
                      <a:pt x="2502" y="4376"/>
                    </a:lnTo>
                    <a:lnTo>
                      <a:pt x="2502" y="4374"/>
                    </a:lnTo>
                    <a:lnTo>
                      <a:pt x="2508" y="4372"/>
                    </a:lnTo>
                    <a:lnTo>
                      <a:pt x="2512" y="4370"/>
                    </a:lnTo>
                    <a:lnTo>
                      <a:pt x="2516" y="4364"/>
                    </a:lnTo>
                    <a:lnTo>
                      <a:pt x="2520" y="4346"/>
                    </a:lnTo>
                    <a:lnTo>
                      <a:pt x="2524" y="4328"/>
                    </a:lnTo>
                    <a:lnTo>
                      <a:pt x="2526" y="4324"/>
                    </a:lnTo>
                    <a:lnTo>
                      <a:pt x="2526" y="4322"/>
                    </a:lnTo>
                    <a:lnTo>
                      <a:pt x="2528" y="4324"/>
                    </a:lnTo>
                    <a:lnTo>
                      <a:pt x="2534" y="4328"/>
                    </a:lnTo>
                    <a:lnTo>
                      <a:pt x="2536" y="4330"/>
                    </a:lnTo>
                    <a:lnTo>
                      <a:pt x="2538" y="4332"/>
                    </a:lnTo>
                    <a:lnTo>
                      <a:pt x="2544" y="4332"/>
                    </a:lnTo>
                    <a:lnTo>
                      <a:pt x="2548" y="4330"/>
                    </a:lnTo>
                    <a:lnTo>
                      <a:pt x="2556" y="4326"/>
                    </a:lnTo>
                    <a:lnTo>
                      <a:pt x="2566" y="4318"/>
                    </a:lnTo>
                    <a:lnTo>
                      <a:pt x="2576" y="4310"/>
                    </a:lnTo>
                    <a:lnTo>
                      <a:pt x="2584" y="4304"/>
                    </a:lnTo>
                    <a:lnTo>
                      <a:pt x="2598" y="4296"/>
                    </a:lnTo>
                    <a:lnTo>
                      <a:pt x="2604" y="4292"/>
                    </a:lnTo>
                    <a:lnTo>
                      <a:pt x="2610" y="4286"/>
                    </a:lnTo>
                    <a:lnTo>
                      <a:pt x="2614" y="4280"/>
                    </a:lnTo>
                    <a:lnTo>
                      <a:pt x="2618" y="4272"/>
                    </a:lnTo>
                    <a:lnTo>
                      <a:pt x="2622" y="4252"/>
                    </a:lnTo>
                    <a:lnTo>
                      <a:pt x="2622" y="4238"/>
                    </a:lnTo>
                    <a:lnTo>
                      <a:pt x="2624" y="4228"/>
                    </a:lnTo>
                    <a:lnTo>
                      <a:pt x="2624" y="4224"/>
                    </a:lnTo>
                    <a:lnTo>
                      <a:pt x="2626" y="4222"/>
                    </a:lnTo>
                    <a:lnTo>
                      <a:pt x="2628" y="4222"/>
                    </a:lnTo>
                    <a:lnTo>
                      <a:pt x="2630" y="4220"/>
                    </a:lnTo>
                    <a:lnTo>
                      <a:pt x="2630" y="4214"/>
                    </a:lnTo>
                    <a:lnTo>
                      <a:pt x="2628" y="4206"/>
                    </a:lnTo>
                    <a:lnTo>
                      <a:pt x="2624" y="4198"/>
                    </a:lnTo>
                    <a:lnTo>
                      <a:pt x="2622" y="4194"/>
                    </a:lnTo>
                    <a:lnTo>
                      <a:pt x="2622" y="4190"/>
                    </a:lnTo>
                    <a:lnTo>
                      <a:pt x="2624" y="4174"/>
                    </a:lnTo>
                    <a:lnTo>
                      <a:pt x="2624" y="4152"/>
                    </a:lnTo>
                    <a:lnTo>
                      <a:pt x="2622" y="4138"/>
                    </a:lnTo>
                    <a:lnTo>
                      <a:pt x="2616" y="4122"/>
                    </a:lnTo>
                    <a:lnTo>
                      <a:pt x="2606" y="4096"/>
                    </a:lnTo>
                    <a:lnTo>
                      <a:pt x="2598" y="4080"/>
                    </a:lnTo>
                    <a:lnTo>
                      <a:pt x="2590" y="4068"/>
                    </a:lnTo>
                    <a:lnTo>
                      <a:pt x="2584" y="4056"/>
                    </a:lnTo>
                    <a:lnTo>
                      <a:pt x="2580" y="4046"/>
                    </a:lnTo>
                    <a:lnTo>
                      <a:pt x="2572" y="4042"/>
                    </a:lnTo>
                    <a:lnTo>
                      <a:pt x="2562" y="4034"/>
                    </a:lnTo>
                    <a:lnTo>
                      <a:pt x="2548" y="4020"/>
                    </a:lnTo>
                    <a:lnTo>
                      <a:pt x="2534" y="4002"/>
                    </a:lnTo>
                    <a:lnTo>
                      <a:pt x="2522" y="3986"/>
                    </a:lnTo>
                    <a:lnTo>
                      <a:pt x="2514" y="3972"/>
                    </a:lnTo>
                    <a:lnTo>
                      <a:pt x="2510" y="3966"/>
                    </a:lnTo>
                    <a:lnTo>
                      <a:pt x="2510" y="3960"/>
                    </a:lnTo>
                    <a:lnTo>
                      <a:pt x="2508" y="3954"/>
                    </a:lnTo>
                    <a:lnTo>
                      <a:pt x="2506" y="3950"/>
                    </a:lnTo>
                    <a:lnTo>
                      <a:pt x="2500" y="3946"/>
                    </a:lnTo>
                    <a:lnTo>
                      <a:pt x="2492" y="3940"/>
                    </a:lnTo>
                    <a:lnTo>
                      <a:pt x="2486" y="3934"/>
                    </a:lnTo>
                    <a:lnTo>
                      <a:pt x="2482" y="3926"/>
                    </a:lnTo>
                    <a:lnTo>
                      <a:pt x="2478" y="3916"/>
                    </a:lnTo>
                    <a:lnTo>
                      <a:pt x="2478" y="3904"/>
                    </a:lnTo>
                    <a:lnTo>
                      <a:pt x="2480" y="3894"/>
                    </a:lnTo>
                    <a:lnTo>
                      <a:pt x="2482" y="3884"/>
                    </a:lnTo>
                    <a:lnTo>
                      <a:pt x="2486" y="3874"/>
                    </a:lnTo>
                    <a:lnTo>
                      <a:pt x="2492" y="3864"/>
                    </a:lnTo>
                    <a:lnTo>
                      <a:pt x="2498" y="3856"/>
                    </a:lnTo>
                    <a:lnTo>
                      <a:pt x="2506" y="3848"/>
                    </a:lnTo>
                    <a:lnTo>
                      <a:pt x="2512" y="3842"/>
                    </a:lnTo>
                    <a:lnTo>
                      <a:pt x="2516" y="3836"/>
                    </a:lnTo>
                    <a:lnTo>
                      <a:pt x="2518" y="3826"/>
                    </a:lnTo>
                    <a:lnTo>
                      <a:pt x="2520" y="3816"/>
                    </a:lnTo>
                    <a:lnTo>
                      <a:pt x="2522" y="3812"/>
                    </a:lnTo>
                    <a:lnTo>
                      <a:pt x="2526" y="3808"/>
                    </a:lnTo>
                    <a:lnTo>
                      <a:pt x="2532" y="3806"/>
                    </a:lnTo>
                    <a:lnTo>
                      <a:pt x="2534" y="3806"/>
                    </a:lnTo>
                    <a:lnTo>
                      <a:pt x="2536" y="3808"/>
                    </a:lnTo>
                    <a:lnTo>
                      <a:pt x="2540" y="3808"/>
                    </a:lnTo>
                    <a:lnTo>
                      <a:pt x="2544" y="3804"/>
                    </a:lnTo>
                    <a:lnTo>
                      <a:pt x="2546" y="3800"/>
                    </a:lnTo>
                    <a:lnTo>
                      <a:pt x="2548" y="3794"/>
                    </a:lnTo>
                    <a:lnTo>
                      <a:pt x="2554" y="3790"/>
                    </a:lnTo>
                    <a:lnTo>
                      <a:pt x="2562" y="3784"/>
                    </a:lnTo>
                    <a:lnTo>
                      <a:pt x="2568" y="3782"/>
                    </a:lnTo>
                    <a:lnTo>
                      <a:pt x="2572" y="3782"/>
                    </a:lnTo>
                    <a:lnTo>
                      <a:pt x="2574" y="3778"/>
                    </a:lnTo>
                    <a:lnTo>
                      <a:pt x="2576" y="3780"/>
                    </a:lnTo>
                    <a:lnTo>
                      <a:pt x="2578" y="3780"/>
                    </a:lnTo>
                    <a:lnTo>
                      <a:pt x="2582" y="3780"/>
                    </a:lnTo>
                    <a:lnTo>
                      <a:pt x="2584" y="3776"/>
                    </a:lnTo>
                    <a:lnTo>
                      <a:pt x="2584" y="3774"/>
                    </a:lnTo>
                    <a:lnTo>
                      <a:pt x="2586" y="3776"/>
                    </a:lnTo>
                    <a:lnTo>
                      <a:pt x="2590" y="3778"/>
                    </a:lnTo>
                    <a:lnTo>
                      <a:pt x="2592" y="3778"/>
                    </a:lnTo>
                    <a:lnTo>
                      <a:pt x="2594" y="3774"/>
                    </a:lnTo>
                    <a:lnTo>
                      <a:pt x="2592" y="3772"/>
                    </a:lnTo>
                    <a:lnTo>
                      <a:pt x="2592" y="3768"/>
                    </a:lnTo>
                    <a:lnTo>
                      <a:pt x="2592" y="3762"/>
                    </a:lnTo>
                    <a:lnTo>
                      <a:pt x="2592" y="3760"/>
                    </a:lnTo>
                    <a:lnTo>
                      <a:pt x="2594" y="3762"/>
                    </a:lnTo>
                    <a:lnTo>
                      <a:pt x="2596" y="3766"/>
                    </a:lnTo>
                    <a:lnTo>
                      <a:pt x="2602" y="3772"/>
                    </a:lnTo>
                    <a:lnTo>
                      <a:pt x="2604" y="3774"/>
                    </a:lnTo>
                    <a:lnTo>
                      <a:pt x="2610" y="3776"/>
                    </a:lnTo>
                    <a:lnTo>
                      <a:pt x="2614" y="3776"/>
                    </a:lnTo>
                    <a:lnTo>
                      <a:pt x="2616" y="3778"/>
                    </a:lnTo>
                    <a:lnTo>
                      <a:pt x="2614" y="3782"/>
                    </a:lnTo>
                    <a:lnTo>
                      <a:pt x="2614" y="3784"/>
                    </a:lnTo>
                    <a:lnTo>
                      <a:pt x="2616" y="3786"/>
                    </a:lnTo>
                    <a:lnTo>
                      <a:pt x="2620" y="3786"/>
                    </a:lnTo>
                    <a:lnTo>
                      <a:pt x="2630" y="3784"/>
                    </a:lnTo>
                    <a:lnTo>
                      <a:pt x="2632" y="3782"/>
                    </a:lnTo>
                    <a:lnTo>
                      <a:pt x="2634" y="3778"/>
                    </a:lnTo>
                    <a:lnTo>
                      <a:pt x="2632" y="3772"/>
                    </a:lnTo>
                    <a:lnTo>
                      <a:pt x="2634" y="3772"/>
                    </a:lnTo>
                    <a:lnTo>
                      <a:pt x="2636" y="3778"/>
                    </a:lnTo>
                    <a:lnTo>
                      <a:pt x="2640" y="3782"/>
                    </a:lnTo>
                    <a:lnTo>
                      <a:pt x="2642" y="3782"/>
                    </a:lnTo>
                    <a:lnTo>
                      <a:pt x="2644" y="3782"/>
                    </a:lnTo>
                    <a:lnTo>
                      <a:pt x="2648" y="3784"/>
                    </a:lnTo>
                    <a:lnTo>
                      <a:pt x="2648" y="3786"/>
                    </a:lnTo>
                    <a:lnTo>
                      <a:pt x="2646" y="3788"/>
                    </a:lnTo>
                    <a:lnTo>
                      <a:pt x="2642" y="3794"/>
                    </a:lnTo>
                    <a:lnTo>
                      <a:pt x="2640" y="3802"/>
                    </a:lnTo>
                    <a:lnTo>
                      <a:pt x="2638" y="3810"/>
                    </a:lnTo>
                    <a:lnTo>
                      <a:pt x="2640" y="3816"/>
                    </a:lnTo>
                    <a:lnTo>
                      <a:pt x="2642" y="3818"/>
                    </a:lnTo>
                    <a:lnTo>
                      <a:pt x="2642" y="3820"/>
                    </a:lnTo>
                    <a:lnTo>
                      <a:pt x="2642" y="3824"/>
                    </a:lnTo>
                    <a:lnTo>
                      <a:pt x="2644" y="3828"/>
                    </a:lnTo>
                    <a:lnTo>
                      <a:pt x="2646" y="3832"/>
                    </a:lnTo>
                    <a:lnTo>
                      <a:pt x="2648" y="3836"/>
                    </a:lnTo>
                    <a:lnTo>
                      <a:pt x="2648" y="3840"/>
                    </a:lnTo>
                    <a:lnTo>
                      <a:pt x="2648" y="3842"/>
                    </a:lnTo>
                    <a:lnTo>
                      <a:pt x="2652" y="3844"/>
                    </a:lnTo>
                    <a:lnTo>
                      <a:pt x="2664" y="3842"/>
                    </a:lnTo>
                    <a:lnTo>
                      <a:pt x="2672" y="3838"/>
                    </a:lnTo>
                    <a:lnTo>
                      <a:pt x="2674" y="3836"/>
                    </a:lnTo>
                    <a:lnTo>
                      <a:pt x="2674" y="3834"/>
                    </a:lnTo>
                    <a:lnTo>
                      <a:pt x="2670" y="3828"/>
                    </a:lnTo>
                    <a:lnTo>
                      <a:pt x="2668" y="3820"/>
                    </a:lnTo>
                    <a:lnTo>
                      <a:pt x="2666" y="3814"/>
                    </a:lnTo>
                    <a:lnTo>
                      <a:pt x="2662" y="3812"/>
                    </a:lnTo>
                    <a:lnTo>
                      <a:pt x="2660" y="3812"/>
                    </a:lnTo>
                    <a:lnTo>
                      <a:pt x="2658" y="3810"/>
                    </a:lnTo>
                    <a:lnTo>
                      <a:pt x="2660" y="3804"/>
                    </a:lnTo>
                    <a:lnTo>
                      <a:pt x="2666" y="3800"/>
                    </a:lnTo>
                    <a:lnTo>
                      <a:pt x="2684" y="3788"/>
                    </a:lnTo>
                    <a:lnTo>
                      <a:pt x="2692" y="3784"/>
                    </a:lnTo>
                    <a:lnTo>
                      <a:pt x="2698" y="3782"/>
                    </a:lnTo>
                    <a:lnTo>
                      <a:pt x="2704" y="3784"/>
                    </a:lnTo>
                    <a:lnTo>
                      <a:pt x="2716" y="3780"/>
                    </a:lnTo>
                    <a:lnTo>
                      <a:pt x="2722" y="3778"/>
                    </a:lnTo>
                    <a:lnTo>
                      <a:pt x="2726" y="3774"/>
                    </a:lnTo>
                    <a:lnTo>
                      <a:pt x="2730" y="3768"/>
                    </a:lnTo>
                    <a:lnTo>
                      <a:pt x="2730" y="3764"/>
                    </a:lnTo>
                    <a:lnTo>
                      <a:pt x="2736" y="3766"/>
                    </a:lnTo>
                    <a:lnTo>
                      <a:pt x="2740" y="3768"/>
                    </a:lnTo>
                    <a:lnTo>
                      <a:pt x="2742" y="3772"/>
                    </a:lnTo>
                    <a:lnTo>
                      <a:pt x="2746" y="3768"/>
                    </a:lnTo>
                    <a:lnTo>
                      <a:pt x="2750" y="3764"/>
                    </a:lnTo>
                    <a:lnTo>
                      <a:pt x="2752" y="3766"/>
                    </a:lnTo>
                    <a:lnTo>
                      <a:pt x="2754" y="3768"/>
                    </a:lnTo>
                    <a:lnTo>
                      <a:pt x="2758" y="3764"/>
                    </a:lnTo>
                    <a:lnTo>
                      <a:pt x="2762" y="3760"/>
                    </a:lnTo>
                    <a:lnTo>
                      <a:pt x="2764" y="3760"/>
                    </a:lnTo>
                    <a:lnTo>
                      <a:pt x="2768" y="3760"/>
                    </a:lnTo>
                    <a:lnTo>
                      <a:pt x="2772" y="3762"/>
                    </a:lnTo>
                    <a:lnTo>
                      <a:pt x="2774" y="3760"/>
                    </a:lnTo>
                    <a:lnTo>
                      <a:pt x="2774" y="3756"/>
                    </a:lnTo>
                    <a:lnTo>
                      <a:pt x="2776" y="3750"/>
                    </a:lnTo>
                    <a:lnTo>
                      <a:pt x="2778" y="3752"/>
                    </a:lnTo>
                    <a:lnTo>
                      <a:pt x="2780" y="3754"/>
                    </a:lnTo>
                    <a:lnTo>
                      <a:pt x="2782" y="3754"/>
                    </a:lnTo>
                    <a:lnTo>
                      <a:pt x="2784" y="3752"/>
                    </a:lnTo>
                    <a:lnTo>
                      <a:pt x="2788" y="3748"/>
                    </a:lnTo>
                    <a:lnTo>
                      <a:pt x="2790" y="3748"/>
                    </a:lnTo>
                    <a:lnTo>
                      <a:pt x="2792" y="3748"/>
                    </a:lnTo>
                    <a:lnTo>
                      <a:pt x="2796" y="3744"/>
                    </a:lnTo>
                    <a:lnTo>
                      <a:pt x="2798" y="3740"/>
                    </a:lnTo>
                    <a:lnTo>
                      <a:pt x="2798" y="3736"/>
                    </a:lnTo>
                    <a:lnTo>
                      <a:pt x="2794" y="3724"/>
                    </a:lnTo>
                    <a:lnTo>
                      <a:pt x="2792" y="3714"/>
                    </a:lnTo>
                    <a:lnTo>
                      <a:pt x="2790" y="3712"/>
                    </a:lnTo>
                    <a:lnTo>
                      <a:pt x="2792" y="3708"/>
                    </a:lnTo>
                    <a:lnTo>
                      <a:pt x="2794" y="3708"/>
                    </a:lnTo>
                    <a:lnTo>
                      <a:pt x="2796" y="3710"/>
                    </a:lnTo>
                    <a:lnTo>
                      <a:pt x="2804" y="3720"/>
                    </a:lnTo>
                    <a:lnTo>
                      <a:pt x="2808" y="3726"/>
                    </a:lnTo>
                    <a:lnTo>
                      <a:pt x="2812" y="3730"/>
                    </a:lnTo>
                    <a:lnTo>
                      <a:pt x="2810" y="3734"/>
                    </a:lnTo>
                    <a:lnTo>
                      <a:pt x="2810" y="3738"/>
                    </a:lnTo>
                    <a:lnTo>
                      <a:pt x="2812" y="3738"/>
                    </a:lnTo>
                    <a:lnTo>
                      <a:pt x="2818" y="3740"/>
                    </a:lnTo>
                    <a:lnTo>
                      <a:pt x="2820" y="3742"/>
                    </a:lnTo>
                    <a:lnTo>
                      <a:pt x="2824" y="3742"/>
                    </a:lnTo>
                    <a:lnTo>
                      <a:pt x="2826" y="3740"/>
                    </a:lnTo>
                    <a:lnTo>
                      <a:pt x="2828" y="3736"/>
                    </a:lnTo>
                    <a:lnTo>
                      <a:pt x="2828" y="3734"/>
                    </a:lnTo>
                    <a:lnTo>
                      <a:pt x="2826" y="3730"/>
                    </a:lnTo>
                    <a:lnTo>
                      <a:pt x="2826" y="3726"/>
                    </a:lnTo>
                    <a:lnTo>
                      <a:pt x="2826" y="3724"/>
                    </a:lnTo>
                    <a:lnTo>
                      <a:pt x="2828" y="3724"/>
                    </a:lnTo>
                    <a:lnTo>
                      <a:pt x="2830" y="3728"/>
                    </a:lnTo>
                    <a:lnTo>
                      <a:pt x="2834" y="3730"/>
                    </a:lnTo>
                    <a:lnTo>
                      <a:pt x="2836" y="3732"/>
                    </a:lnTo>
                    <a:lnTo>
                      <a:pt x="2838" y="3730"/>
                    </a:lnTo>
                    <a:lnTo>
                      <a:pt x="2840" y="3728"/>
                    </a:lnTo>
                    <a:lnTo>
                      <a:pt x="2838" y="3724"/>
                    </a:lnTo>
                    <a:lnTo>
                      <a:pt x="2836" y="3720"/>
                    </a:lnTo>
                    <a:lnTo>
                      <a:pt x="2838" y="3718"/>
                    </a:lnTo>
                    <a:lnTo>
                      <a:pt x="2840" y="3716"/>
                    </a:lnTo>
                    <a:lnTo>
                      <a:pt x="2842" y="3716"/>
                    </a:lnTo>
                    <a:lnTo>
                      <a:pt x="2844" y="3718"/>
                    </a:lnTo>
                    <a:lnTo>
                      <a:pt x="2846" y="3724"/>
                    </a:lnTo>
                    <a:lnTo>
                      <a:pt x="2846" y="3726"/>
                    </a:lnTo>
                    <a:lnTo>
                      <a:pt x="2848" y="3728"/>
                    </a:lnTo>
                    <a:lnTo>
                      <a:pt x="2850" y="3728"/>
                    </a:lnTo>
                    <a:lnTo>
                      <a:pt x="2854" y="3724"/>
                    </a:lnTo>
                    <a:lnTo>
                      <a:pt x="2860" y="3718"/>
                    </a:lnTo>
                    <a:lnTo>
                      <a:pt x="2864" y="3716"/>
                    </a:lnTo>
                    <a:lnTo>
                      <a:pt x="2874" y="3722"/>
                    </a:lnTo>
                    <a:lnTo>
                      <a:pt x="2876" y="3722"/>
                    </a:lnTo>
                    <a:lnTo>
                      <a:pt x="2878" y="3722"/>
                    </a:lnTo>
                    <a:lnTo>
                      <a:pt x="2878" y="3718"/>
                    </a:lnTo>
                    <a:lnTo>
                      <a:pt x="2878" y="3714"/>
                    </a:lnTo>
                    <a:lnTo>
                      <a:pt x="2878" y="3712"/>
                    </a:lnTo>
                    <a:lnTo>
                      <a:pt x="2880" y="3712"/>
                    </a:lnTo>
                    <a:lnTo>
                      <a:pt x="2882" y="3712"/>
                    </a:lnTo>
                    <a:lnTo>
                      <a:pt x="2884" y="3716"/>
                    </a:lnTo>
                    <a:lnTo>
                      <a:pt x="2886" y="3718"/>
                    </a:lnTo>
                    <a:lnTo>
                      <a:pt x="2894" y="3716"/>
                    </a:lnTo>
                    <a:lnTo>
                      <a:pt x="2902" y="3712"/>
                    </a:lnTo>
                    <a:lnTo>
                      <a:pt x="2910" y="3710"/>
                    </a:lnTo>
                    <a:lnTo>
                      <a:pt x="2914" y="3706"/>
                    </a:lnTo>
                    <a:lnTo>
                      <a:pt x="2916" y="3702"/>
                    </a:lnTo>
                    <a:lnTo>
                      <a:pt x="2918" y="3698"/>
                    </a:lnTo>
                    <a:lnTo>
                      <a:pt x="2918" y="3696"/>
                    </a:lnTo>
                    <a:lnTo>
                      <a:pt x="2922" y="3694"/>
                    </a:lnTo>
                    <a:lnTo>
                      <a:pt x="2926" y="3692"/>
                    </a:lnTo>
                    <a:lnTo>
                      <a:pt x="2924" y="3690"/>
                    </a:lnTo>
                    <a:lnTo>
                      <a:pt x="2922" y="3688"/>
                    </a:lnTo>
                    <a:lnTo>
                      <a:pt x="2924" y="3686"/>
                    </a:lnTo>
                    <a:lnTo>
                      <a:pt x="2926" y="3684"/>
                    </a:lnTo>
                    <a:lnTo>
                      <a:pt x="2930" y="3678"/>
                    </a:lnTo>
                    <a:lnTo>
                      <a:pt x="2932" y="3674"/>
                    </a:lnTo>
                    <a:lnTo>
                      <a:pt x="2936" y="3674"/>
                    </a:lnTo>
                    <a:lnTo>
                      <a:pt x="2940" y="3674"/>
                    </a:lnTo>
                    <a:lnTo>
                      <a:pt x="2944" y="3672"/>
                    </a:lnTo>
                    <a:lnTo>
                      <a:pt x="2948" y="3668"/>
                    </a:lnTo>
                    <a:lnTo>
                      <a:pt x="2954" y="3662"/>
                    </a:lnTo>
                    <a:lnTo>
                      <a:pt x="2956" y="3662"/>
                    </a:lnTo>
                    <a:lnTo>
                      <a:pt x="2956" y="3664"/>
                    </a:lnTo>
                    <a:lnTo>
                      <a:pt x="2958" y="3666"/>
                    </a:lnTo>
                    <a:lnTo>
                      <a:pt x="2960" y="3662"/>
                    </a:lnTo>
                    <a:lnTo>
                      <a:pt x="2974" y="3648"/>
                    </a:lnTo>
                    <a:lnTo>
                      <a:pt x="2980" y="3642"/>
                    </a:lnTo>
                    <a:lnTo>
                      <a:pt x="2980" y="3638"/>
                    </a:lnTo>
                    <a:lnTo>
                      <a:pt x="2978" y="3636"/>
                    </a:lnTo>
                    <a:lnTo>
                      <a:pt x="2976" y="3632"/>
                    </a:lnTo>
                    <a:lnTo>
                      <a:pt x="2978" y="3626"/>
                    </a:lnTo>
                    <a:lnTo>
                      <a:pt x="2980" y="3624"/>
                    </a:lnTo>
                    <a:lnTo>
                      <a:pt x="2982" y="3624"/>
                    </a:lnTo>
                    <a:lnTo>
                      <a:pt x="2984" y="3626"/>
                    </a:lnTo>
                    <a:lnTo>
                      <a:pt x="2986" y="3628"/>
                    </a:lnTo>
                    <a:lnTo>
                      <a:pt x="2988" y="3626"/>
                    </a:lnTo>
                    <a:lnTo>
                      <a:pt x="2990" y="3626"/>
                    </a:lnTo>
                    <a:lnTo>
                      <a:pt x="2994" y="3628"/>
                    </a:lnTo>
                    <a:lnTo>
                      <a:pt x="2998" y="3630"/>
                    </a:lnTo>
                    <a:lnTo>
                      <a:pt x="3000" y="3624"/>
                    </a:lnTo>
                    <a:lnTo>
                      <a:pt x="3004" y="3616"/>
                    </a:lnTo>
                    <a:lnTo>
                      <a:pt x="3008" y="3614"/>
                    </a:lnTo>
                    <a:lnTo>
                      <a:pt x="3012" y="3610"/>
                    </a:lnTo>
                    <a:lnTo>
                      <a:pt x="3016" y="3608"/>
                    </a:lnTo>
                    <a:lnTo>
                      <a:pt x="3016" y="3606"/>
                    </a:lnTo>
                    <a:lnTo>
                      <a:pt x="3012" y="3602"/>
                    </a:lnTo>
                    <a:lnTo>
                      <a:pt x="3010" y="3598"/>
                    </a:lnTo>
                    <a:lnTo>
                      <a:pt x="3010" y="3594"/>
                    </a:lnTo>
                    <a:lnTo>
                      <a:pt x="3012" y="3590"/>
                    </a:lnTo>
                    <a:lnTo>
                      <a:pt x="3014" y="3594"/>
                    </a:lnTo>
                    <a:lnTo>
                      <a:pt x="3018" y="3596"/>
                    </a:lnTo>
                    <a:lnTo>
                      <a:pt x="3022" y="3596"/>
                    </a:lnTo>
                    <a:lnTo>
                      <a:pt x="3026" y="3594"/>
                    </a:lnTo>
                    <a:lnTo>
                      <a:pt x="3030" y="3590"/>
                    </a:lnTo>
                    <a:lnTo>
                      <a:pt x="3030" y="3588"/>
                    </a:lnTo>
                    <a:lnTo>
                      <a:pt x="3028" y="3588"/>
                    </a:lnTo>
                    <a:lnTo>
                      <a:pt x="3024" y="3588"/>
                    </a:lnTo>
                    <a:lnTo>
                      <a:pt x="3020" y="3586"/>
                    </a:lnTo>
                    <a:lnTo>
                      <a:pt x="3020" y="3582"/>
                    </a:lnTo>
                    <a:lnTo>
                      <a:pt x="3022" y="3578"/>
                    </a:lnTo>
                    <a:lnTo>
                      <a:pt x="3024" y="3576"/>
                    </a:lnTo>
                    <a:lnTo>
                      <a:pt x="3026" y="3576"/>
                    </a:lnTo>
                    <a:lnTo>
                      <a:pt x="3030" y="3578"/>
                    </a:lnTo>
                    <a:lnTo>
                      <a:pt x="3032" y="3580"/>
                    </a:lnTo>
                    <a:lnTo>
                      <a:pt x="3038" y="3586"/>
                    </a:lnTo>
                    <a:lnTo>
                      <a:pt x="3040" y="3586"/>
                    </a:lnTo>
                    <a:lnTo>
                      <a:pt x="3042" y="3582"/>
                    </a:lnTo>
                    <a:lnTo>
                      <a:pt x="3038" y="3576"/>
                    </a:lnTo>
                    <a:lnTo>
                      <a:pt x="3036" y="3572"/>
                    </a:lnTo>
                    <a:lnTo>
                      <a:pt x="3038" y="3568"/>
                    </a:lnTo>
                    <a:lnTo>
                      <a:pt x="3042" y="3558"/>
                    </a:lnTo>
                    <a:lnTo>
                      <a:pt x="3044" y="3552"/>
                    </a:lnTo>
                    <a:lnTo>
                      <a:pt x="3040" y="3552"/>
                    </a:lnTo>
                    <a:lnTo>
                      <a:pt x="3038" y="3552"/>
                    </a:lnTo>
                    <a:lnTo>
                      <a:pt x="3036" y="3550"/>
                    </a:lnTo>
                    <a:lnTo>
                      <a:pt x="3038" y="3546"/>
                    </a:lnTo>
                    <a:lnTo>
                      <a:pt x="3042" y="3540"/>
                    </a:lnTo>
                    <a:lnTo>
                      <a:pt x="3048" y="3536"/>
                    </a:lnTo>
                    <a:lnTo>
                      <a:pt x="3052" y="3534"/>
                    </a:lnTo>
                    <a:lnTo>
                      <a:pt x="3052" y="3532"/>
                    </a:lnTo>
                    <a:lnTo>
                      <a:pt x="3050" y="3532"/>
                    </a:lnTo>
                    <a:lnTo>
                      <a:pt x="3046" y="3526"/>
                    </a:lnTo>
                    <a:lnTo>
                      <a:pt x="3042" y="3522"/>
                    </a:lnTo>
                    <a:lnTo>
                      <a:pt x="3040" y="3518"/>
                    </a:lnTo>
                    <a:lnTo>
                      <a:pt x="3038" y="3518"/>
                    </a:lnTo>
                    <a:lnTo>
                      <a:pt x="3042" y="3516"/>
                    </a:lnTo>
                    <a:lnTo>
                      <a:pt x="3046" y="3514"/>
                    </a:lnTo>
                    <a:lnTo>
                      <a:pt x="3046" y="3516"/>
                    </a:lnTo>
                    <a:lnTo>
                      <a:pt x="3048" y="3520"/>
                    </a:lnTo>
                    <a:lnTo>
                      <a:pt x="3050" y="3524"/>
                    </a:lnTo>
                    <a:lnTo>
                      <a:pt x="3054" y="3524"/>
                    </a:lnTo>
                    <a:lnTo>
                      <a:pt x="3058" y="3522"/>
                    </a:lnTo>
                    <a:lnTo>
                      <a:pt x="3060" y="3520"/>
                    </a:lnTo>
                    <a:lnTo>
                      <a:pt x="3062" y="3518"/>
                    </a:lnTo>
                    <a:lnTo>
                      <a:pt x="3062" y="3512"/>
                    </a:lnTo>
                    <a:lnTo>
                      <a:pt x="3060" y="3510"/>
                    </a:lnTo>
                    <a:lnTo>
                      <a:pt x="3060" y="3508"/>
                    </a:lnTo>
                    <a:lnTo>
                      <a:pt x="3062" y="3506"/>
                    </a:lnTo>
                    <a:lnTo>
                      <a:pt x="3068" y="3502"/>
                    </a:lnTo>
                    <a:lnTo>
                      <a:pt x="3074" y="3492"/>
                    </a:lnTo>
                    <a:lnTo>
                      <a:pt x="3080" y="3482"/>
                    </a:lnTo>
                    <a:lnTo>
                      <a:pt x="3080" y="3478"/>
                    </a:lnTo>
                    <a:lnTo>
                      <a:pt x="3080" y="3474"/>
                    </a:lnTo>
                    <a:lnTo>
                      <a:pt x="3080" y="3470"/>
                    </a:lnTo>
                    <a:lnTo>
                      <a:pt x="3080" y="3468"/>
                    </a:lnTo>
                    <a:lnTo>
                      <a:pt x="3084" y="3462"/>
                    </a:lnTo>
                    <a:lnTo>
                      <a:pt x="3090" y="3454"/>
                    </a:lnTo>
                    <a:lnTo>
                      <a:pt x="3098" y="3440"/>
                    </a:lnTo>
                    <a:lnTo>
                      <a:pt x="3100" y="3436"/>
                    </a:lnTo>
                    <a:lnTo>
                      <a:pt x="3102" y="3432"/>
                    </a:lnTo>
                    <a:lnTo>
                      <a:pt x="3104" y="3434"/>
                    </a:lnTo>
                    <a:lnTo>
                      <a:pt x="3106" y="3436"/>
                    </a:lnTo>
                    <a:lnTo>
                      <a:pt x="3108" y="3440"/>
                    </a:lnTo>
                    <a:lnTo>
                      <a:pt x="3110" y="3440"/>
                    </a:lnTo>
                    <a:lnTo>
                      <a:pt x="3112" y="3440"/>
                    </a:lnTo>
                    <a:lnTo>
                      <a:pt x="3116" y="3436"/>
                    </a:lnTo>
                    <a:lnTo>
                      <a:pt x="3120" y="3434"/>
                    </a:lnTo>
                    <a:lnTo>
                      <a:pt x="3122" y="3432"/>
                    </a:lnTo>
                    <a:lnTo>
                      <a:pt x="3118" y="3424"/>
                    </a:lnTo>
                    <a:lnTo>
                      <a:pt x="3116" y="3420"/>
                    </a:lnTo>
                    <a:lnTo>
                      <a:pt x="3116" y="3416"/>
                    </a:lnTo>
                    <a:lnTo>
                      <a:pt x="3118" y="3414"/>
                    </a:lnTo>
                    <a:lnTo>
                      <a:pt x="3122" y="3412"/>
                    </a:lnTo>
                    <a:lnTo>
                      <a:pt x="3122" y="3410"/>
                    </a:lnTo>
                    <a:lnTo>
                      <a:pt x="3122" y="3408"/>
                    </a:lnTo>
                    <a:lnTo>
                      <a:pt x="3122" y="3402"/>
                    </a:lnTo>
                    <a:lnTo>
                      <a:pt x="3122" y="3400"/>
                    </a:lnTo>
                    <a:lnTo>
                      <a:pt x="3124" y="3398"/>
                    </a:lnTo>
                    <a:lnTo>
                      <a:pt x="3120" y="3392"/>
                    </a:lnTo>
                    <a:lnTo>
                      <a:pt x="3118" y="3390"/>
                    </a:lnTo>
                    <a:lnTo>
                      <a:pt x="3124" y="3390"/>
                    </a:lnTo>
                    <a:lnTo>
                      <a:pt x="3128" y="3390"/>
                    </a:lnTo>
                    <a:lnTo>
                      <a:pt x="3132" y="3388"/>
                    </a:lnTo>
                    <a:lnTo>
                      <a:pt x="3134" y="3384"/>
                    </a:lnTo>
                    <a:lnTo>
                      <a:pt x="3134" y="3376"/>
                    </a:lnTo>
                    <a:lnTo>
                      <a:pt x="3134" y="3370"/>
                    </a:lnTo>
                    <a:lnTo>
                      <a:pt x="3132" y="3366"/>
                    </a:lnTo>
                    <a:lnTo>
                      <a:pt x="3128" y="3362"/>
                    </a:lnTo>
                    <a:lnTo>
                      <a:pt x="3136" y="3356"/>
                    </a:lnTo>
                    <a:lnTo>
                      <a:pt x="3140" y="3352"/>
                    </a:lnTo>
                    <a:lnTo>
                      <a:pt x="3136" y="3350"/>
                    </a:lnTo>
                    <a:lnTo>
                      <a:pt x="3128" y="3348"/>
                    </a:lnTo>
                    <a:lnTo>
                      <a:pt x="3122" y="3344"/>
                    </a:lnTo>
                    <a:lnTo>
                      <a:pt x="3118" y="3338"/>
                    </a:lnTo>
                    <a:lnTo>
                      <a:pt x="3112" y="3332"/>
                    </a:lnTo>
                    <a:lnTo>
                      <a:pt x="3108" y="3330"/>
                    </a:lnTo>
                    <a:lnTo>
                      <a:pt x="3102" y="3330"/>
                    </a:lnTo>
                    <a:lnTo>
                      <a:pt x="3096" y="3334"/>
                    </a:lnTo>
                    <a:lnTo>
                      <a:pt x="3086" y="3338"/>
                    </a:lnTo>
                    <a:lnTo>
                      <a:pt x="3082" y="3338"/>
                    </a:lnTo>
                    <a:lnTo>
                      <a:pt x="3078" y="3334"/>
                    </a:lnTo>
                    <a:lnTo>
                      <a:pt x="3076" y="3332"/>
                    </a:lnTo>
                    <a:lnTo>
                      <a:pt x="3074" y="3330"/>
                    </a:lnTo>
                    <a:lnTo>
                      <a:pt x="3070" y="3332"/>
                    </a:lnTo>
                    <a:lnTo>
                      <a:pt x="3070" y="3328"/>
                    </a:lnTo>
                    <a:lnTo>
                      <a:pt x="3072" y="3326"/>
                    </a:lnTo>
                    <a:lnTo>
                      <a:pt x="3074" y="3324"/>
                    </a:lnTo>
                    <a:lnTo>
                      <a:pt x="3082" y="3326"/>
                    </a:lnTo>
                    <a:lnTo>
                      <a:pt x="3088" y="3326"/>
                    </a:lnTo>
                    <a:lnTo>
                      <a:pt x="3090" y="3326"/>
                    </a:lnTo>
                    <a:lnTo>
                      <a:pt x="3092" y="3324"/>
                    </a:lnTo>
                    <a:lnTo>
                      <a:pt x="3098" y="3316"/>
                    </a:lnTo>
                    <a:lnTo>
                      <a:pt x="3106" y="3310"/>
                    </a:lnTo>
                    <a:lnTo>
                      <a:pt x="3116" y="3304"/>
                    </a:lnTo>
                    <a:lnTo>
                      <a:pt x="3124" y="3302"/>
                    </a:lnTo>
                    <a:lnTo>
                      <a:pt x="3128" y="3300"/>
                    </a:lnTo>
                    <a:lnTo>
                      <a:pt x="3132" y="3298"/>
                    </a:lnTo>
                    <a:lnTo>
                      <a:pt x="3132" y="3294"/>
                    </a:lnTo>
                    <a:lnTo>
                      <a:pt x="3130" y="3290"/>
                    </a:lnTo>
                    <a:lnTo>
                      <a:pt x="3122" y="3278"/>
                    </a:lnTo>
                    <a:lnTo>
                      <a:pt x="3110" y="3268"/>
                    </a:lnTo>
                    <a:lnTo>
                      <a:pt x="3100" y="3258"/>
                    </a:lnTo>
                    <a:lnTo>
                      <a:pt x="3090" y="3254"/>
                    </a:lnTo>
                    <a:lnTo>
                      <a:pt x="3086" y="3252"/>
                    </a:lnTo>
                    <a:lnTo>
                      <a:pt x="3086" y="3250"/>
                    </a:lnTo>
                    <a:lnTo>
                      <a:pt x="3086" y="3248"/>
                    </a:lnTo>
                    <a:lnTo>
                      <a:pt x="3086" y="3246"/>
                    </a:lnTo>
                    <a:lnTo>
                      <a:pt x="3086" y="3244"/>
                    </a:lnTo>
                    <a:lnTo>
                      <a:pt x="3082" y="3242"/>
                    </a:lnTo>
                    <a:lnTo>
                      <a:pt x="3078" y="3240"/>
                    </a:lnTo>
                    <a:lnTo>
                      <a:pt x="3074" y="3242"/>
                    </a:lnTo>
                    <a:lnTo>
                      <a:pt x="3068" y="3246"/>
                    </a:lnTo>
                    <a:lnTo>
                      <a:pt x="3062" y="3246"/>
                    </a:lnTo>
                    <a:lnTo>
                      <a:pt x="3056" y="3244"/>
                    </a:lnTo>
                    <a:lnTo>
                      <a:pt x="3050" y="3242"/>
                    </a:lnTo>
                    <a:lnTo>
                      <a:pt x="3046" y="3236"/>
                    </a:lnTo>
                    <a:lnTo>
                      <a:pt x="3044" y="3232"/>
                    </a:lnTo>
                    <a:lnTo>
                      <a:pt x="3042" y="3228"/>
                    </a:lnTo>
                    <a:lnTo>
                      <a:pt x="3044" y="3224"/>
                    </a:lnTo>
                    <a:lnTo>
                      <a:pt x="3046" y="3224"/>
                    </a:lnTo>
                    <a:lnTo>
                      <a:pt x="3048" y="3224"/>
                    </a:lnTo>
                    <a:lnTo>
                      <a:pt x="3052" y="3230"/>
                    </a:lnTo>
                    <a:lnTo>
                      <a:pt x="3056" y="3238"/>
                    </a:lnTo>
                    <a:lnTo>
                      <a:pt x="3060" y="3242"/>
                    </a:lnTo>
                    <a:lnTo>
                      <a:pt x="3062" y="3244"/>
                    </a:lnTo>
                    <a:lnTo>
                      <a:pt x="3066" y="3242"/>
                    </a:lnTo>
                    <a:lnTo>
                      <a:pt x="3072" y="3240"/>
                    </a:lnTo>
                    <a:lnTo>
                      <a:pt x="3078" y="3236"/>
                    </a:lnTo>
                    <a:lnTo>
                      <a:pt x="3080" y="3236"/>
                    </a:lnTo>
                    <a:lnTo>
                      <a:pt x="3084" y="3236"/>
                    </a:lnTo>
                    <a:lnTo>
                      <a:pt x="3088" y="3240"/>
                    </a:lnTo>
                    <a:lnTo>
                      <a:pt x="3090" y="3242"/>
                    </a:lnTo>
                    <a:lnTo>
                      <a:pt x="3092" y="3246"/>
                    </a:lnTo>
                    <a:lnTo>
                      <a:pt x="3094" y="3248"/>
                    </a:lnTo>
                    <a:lnTo>
                      <a:pt x="3098" y="3248"/>
                    </a:lnTo>
                    <a:lnTo>
                      <a:pt x="3104" y="3248"/>
                    </a:lnTo>
                    <a:lnTo>
                      <a:pt x="3110" y="3250"/>
                    </a:lnTo>
                    <a:lnTo>
                      <a:pt x="3122" y="3256"/>
                    </a:lnTo>
                    <a:lnTo>
                      <a:pt x="3128" y="3258"/>
                    </a:lnTo>
                    <a:lnTo>
                      <a:pt x="3130" y="3258"/>
                    </a:lnTo>
                    <a:lnTo>
                      <a:pt x="3132" y="3256"/>
                    </a:lnTo>
                    <a:lnTo>
                      <a:pt x="3132" y="3254"/>
                    </a:lnTo>
                    <a:lnTo>
                      <a:pt x="3128" y="3244"/>
                    </a:lnTo>
                    <a:lnTo>
                      <a:pt x="3120" y="3236"/>
                    </a:lnTo>
                    <a:lnTo>
                      <a:pt x="3114" y="3230"/>
                    </a:lnTo>
                    <a:lnTo>
                      <a:pt x="3112" y="3226"/>
                    </a:lnTo>
                    <a:lnTo>
                      <a:pt x="3108" y="3220"/>
                    </a:lnTo>
                    <a:lnTo>
                      <a:pt x="3100" y="3212"/>
                    </a:lnTo>
                    <a:lnTo>
                      <a:pt x="3092" y="3206"/>
                    </a:lnTo>
                    <a:lnTo>
                      <a:pt x="3090" y="3200"/>
                    </a:lnTo>
                    <a:lnTo>
                      <a:pt x="3090" y="3192"/>
                    </a:lnTo>
                    <a:lnTo>
                      <a:pt x="3088" y="3186"/>
                    </a:lnTo>
                    <a:lnTo>
                      <a:pt x="3086" y="3178"/>
                    </a:lnTo>
                    <a:lnTo>
                      <a:pt x="3082" y="3168"/>
                    </a:lnTo>
                    <a:lnTo>
                      <a:pt x="3078" y="3158"/>
                    </a:lnTo>
                    <a:lnTo>
                      <a:pt x="3072" y="3138"/>
                    </a:lnTo>
                    <a:lnTo>
                      <a:pt x="3070" y="3130"/>
                    </a:lnTo>
                    <a:lnTo>
                      <a:pt x="3066" y="3122"/>
                    </a:lnTo>
                    <a:lnTo>
                      <a:pt x="3060" y="3116"/>
                    </a:lnTo>
                    <a:lnTo>
                      <a:pt x="3052" y="3112"/>
                    </a:lnTo>
                    <a:lnTo>
                      <a:pt x="3044" y="3108"/>
                    </a:lnTo>
                    <a:lnTo>
                      <a:pt x="3040" y="3104"/>
                    </a:lnTo>
                    <a:lnTo>
                      <a:pt x="3036" y="3098"/>
                    </a:lnTo>
                    <a:lnTo>
                      <a:pt x="3034" y="3094"/>
                    </a:lnTo>
                    <a:lnTo>
                      <a:pt x="3032" y="3094"/>
                    </a:lnTo>
                    <a:lnTo>
                      <a:pt x="3026" y="3096"/>
                    </a:lnTo>
                    <a:lnTo>
                      <a:pt x="3022" y="3096"/>
                    </a:lnTo>
                    <a:lnTo>
                      <a:pt x="3022" y="3092"/>
                    </a:lnTo>
                    <a:lnTo>
                      <a:pt x="3024" y="3084"/>
                    </a:lnTo>
                    <a:lnTo>
                      <a:pt x="3026" y="3076"/>
                    </a:lnTo>
                    <a:lnTo>
                      <a:pt x="3038" y="3058"/>
                    </a:lnTo>
                    <a:lnTo>
                      <a:pt x="3044" y="3052"/>
                    </a:lnTo>
                    <a:lnTo>
                      <a:pt x="3048" y="3048"/>
                    </a:lnTo>
                    <a:lnTo>
                      <a:pt x="3054" y="3044"/>
                    </a:lnTo>
                    <a:lnTo>
                      <a:pt x="3056" y="3042"/>
                    </a:lnTo>
                    <a:lnTo>
                      <a:pt x="3058" y="3038"/>
                    </a:lnTo>
                    <a:lnTo>
                      <a:pt x="3062" y="3034"/>
                    </a:lnTo>
                    <a:lnTo>
                      <a:pt x="3064" y="3032"/>
                    </a:lnTo>
                    <a:lnTo>
                      <a:pt x="3064" y="3028"/>
                    </a:lnTo>
                    <a:lnTo>
                      <a:pt x="3062" y="3024"/>
                    </a:lnTo>
                    <a:lnTo>
                      <a:pt x="3060" y="3020"/>
                    </a:lnTo>
                    <a:lnTo>
                      <a:pt x="3060" y="3018"/>
                    </a:lnTo>
                    <a:lnTo>
                      <a:pt x="3062" y="3018"/>
                    </a:lnTo>
                    <a:lnTo>
                      <a:pt x="3064" y="3016"/>
                    </a:lnTo>
                    <a:lnTo>
                      <a:pt x="3066" y="3016"/>
                    </a:lnTo>
                    <a:lnTo>
                      <a:pt x="3066" y="3020"/>
                    </a:lnTo>
                    <a:lnTo>
                      <a:pt x="3068" y="3022"/>
                    </a:lnTo>
                    <a:lnTo>
                      <a:pt x="3070" y="3024"/>
                    </a:lnTo>
                    <a:lnTo>
                      <a:pt x="3072" y="3024"/>
                    </a:lnTo>
                    <a:lnTo>
                      <a:pt x="3076" y="3022"/>
                    </a:lnTo>
                    <a:lnTo>
                      <a:pt x="3080" y="3020"/>
                    </a:lnTo>
                    <a:lnTo>
                      <a:pt x="3082" y="3018"/>
                    </a:lnTo>
                    <a:lnTo>
                      <a:pt x="3084" y="3012"/>
                    </a:lnTo>
                    <a:lnTo>
                      <a:pt x="3086" y="3008"/>
                    </a:lnTo>
                    <a:lnTo>
                      <a:pt x="3088" y="3006"/>
                    </a:lnTo>
                    <a:lnTo>
                      <a:pt x="3090" y="3008"/>
                    </a:lnTo>
                    <a:lnTo>
                      <a:pt x="3092" y="3008"/>
                    </a:lnTo>
                    <a:lnTo>
                      <a:pt x="3094" y="3006"/>
                    </a:lnTo>
                    <a:lnTo>
                      <a:pt x="3096" y="3002"/>
                    </a:lnTo>
                    <a:lnTo>
                      <a:pt x="3100" y="2996"/>
                    </a:lnTo>
                    <a:lnTo>
                      <a:pt x="3106" y="2990"/>
                    </a:lnTo>
                    <a:lnTo>
                      <a:pt x="3114" y="2988"/>
                    </a:lnTo>
                    <a:lnTo>
                      <a:pt x="3118" y="2988"/>
                    </a:lnTo>
                    <a:lnTo>
                      <a:pt x="3122" y="2986"/>
                    </a:lnTo>
                    <a:lnTo>
                      <a:pt x="3128" y="2982"/>
                    </a:lnTo>
                    <a:lnTo>
                      <a:pt x="3134" y="2976"/>
                    </a:lnTo>
                    <a:lnTo>
                      <a:pt x="3136" y="2976"/>
                    </a:lnTo>
                    <a:lnTo>
                      <a:pt x="3138" y="2978"/>
                    </a:lnTo>
                    <a:lnTo>
                      <a:pt x="3140" y="2978"/>
                    </a:lnTo>
                    <a:lnTo>
                      <a:pt x="3142" y="2976"/>
                    </a:lnTo>
                    <a:lnTo>
                      <a:pt x="3142" y="2978"/>
                    </a:lnTo>
                    <a:lnTo>
                      <a:pt x="3144" y="2980"/>
                    </a:lnTo>
                    <a:lnTo>
                      <a:pt x="3144" y="2982"/>
                    </a:lnTo>
                    <a:lnTo>
                      <a:pt x="3148" y="2984"/>
                    </a:lnTo>
                    <a:lnTo>
                      <a:pt x="3152" y="2982"/>
                    </a:lnTo>
                    <a:lnTo>
                      <a:pt x="3156" y="2980"/>
                    </a:lnTo>
                    <a:lnTo>
                      <a:pt x="3158" y="2978"/>
                    </a:lnTo>
                    <a:lnTo>
                      <a:pt x="3156" y="2974"/>
                    </a:lnTo>
                    <a:lnTo>
                      <a:pt x="3156" y="2972"/>
                    </a:lnTo>
                    <a:lnTo>
                      <a:pt x="3156" y="2970"/>
                    </a:lnTo>
                    <a:lnTo>
                      <a:pt x="3158" y="2966"/>
                    </a:lnTo>
                    <a:lnTo>
                      <a:pt x="3162" y="2960"/>
                    </a:lnTo>
                    <a:lnTo>
                      <a:pt x="3164" y="2958"/>
                    </a:lnTo>
                    <a:lnTo>
                      <a:pt x="3164" y="2956"/>
                    </a:lnTo>
                    <a:lnTo>
                      <a:pt x="3158" y="2952"/>
                    </a:lnTo>
                    <a:lnTo>
                      <a:pt x="3150" y="2950"/>
                    </a:lnTo>
                    <a:lnTo>
                      <a:pt x="3144" y="2946"/>
                    </a:lnTo>
                    <a:lnTo>
                      <a:pt x="3140" y="2942"/>
                    </a:lnTo>
                    <a:lnTo>
                      <a:pt x="3138" y="2944"/>
                    </a:lnTo>
                    <a:lnTo>
                      <a:pt x="3134" y="2948"/>
                    </a:lnTo>
                    <a:lnTo>
                      <a:pt x="3132" y="2948"/>
                    </a:lnTo>
                    <a:lnTo>
                      <a:pt x="3126" y="2950"/>
                    </a:lnTo>
                    <a:lnTo>
                      <a:pt x="3116" y="2948"/>
                    </a:lnTo>
                    <a:lnTo>
                      <a:pt x="3114" y="2944"/>
                    </a:lnTo>
                    <a:lnTo>
                      <a:pt x="3112" y="2942"/>
                    </a:lnTo>
                    <a:lnTo>
                      <a:pt x="3108" y="2942"/>
                    </a:lnTo>
                    <a:lnTo>
                      <a:pt x="3102" y="2942"/>
                    </a:lnTo>
                    <a:lnTo>
                      <a:pt x="3100" y="2938"/>
                    </a:lnTo>
                    <a:lnTo>
                      <a:pt x="3096" y="2934"/>
                    </a:lnTo>
                    <a:lnTo>
                      <a:pt x="3094" y="2930"/>
                    </a:lnTo>
                    <a:lnTo>
                      <a:pt x="3090" y="2930"/>
                    </a:lnTo>
                    <a:lnTo>
                      <a:pt x="3080" y="2930"/>
                    </a:lnTo>
                    <a:lnTo>
                      <a:pt x="3072" y="2934"/>
                    </a:lnTo>
                    <a:lnTo>
                      <a:pt x="3066" y="2940"/>
                    </a:lnTo>
                    <a:lnTo>
                      <a:pt x="3062" y="2946"/>
                    </a:lnTo>
                    <a:lnTo>
                      <a:pt x="3056" y="2950"/>
                    </a:lnTo>
                    <a:lnTo>
                      <a:pt x="3052" y="2952"/>
                    </a:lnTo>
                    <a:lnTo>
                      <a:pt x="3050" y="2954"/>
                    </a:lnTo>
                    <a:lnTo>
                      <a:pt x="3050" y="2958"/>
                    </a:lnTo>
                    <a:lnTo>
                      <a:pt x="3052" y="2962"/>
                    </a:lnTo>
                    <a:lnTo>
                      <a:pt x="3050" y="2964"/>
                    </a:lnTo>
                    <a:lnTo>
                      <a:pt x="3044" y="2966"/>
                    </a:lnTo>
                    <a:lnTo>
                      <a:pt x="3032" y="2968"/>
                    </a:lnTo>
                    <a:lnTo>
                      <a:pt x="3026" y="2968"/>
                    </a:lnTo>
                    <a:lnTo>
                      <a:pt x="3020" y="2964"/>
                    </a:lnTo>
                    <a:lnTo>
                      <a:pt x="3018" y="2960"/>
                    </a:lnTo>
                    <a:lnTo>
                      <a:pt x="3014" y="2956"/>
                    </a:lnTo>
                    <a:lnTo>
                      <a:pt x="3014" y="2946"/>
                    </a:lnTo>
                    <a:lnTo>
                      <a:pt x="3014" y="2940"/>
                    </a:lnTo>
                    <a:lnTo>
                      <a:pt x="3016" y="2938"/>
                    </a:lnTo>
                    <a:lnTo>
                      <a:pt x="3018" y="2934"/>
                    </a:lnTo>
                    <a:lnTo>
                      <a:pt x="3018" y="2930"/>
                    </a:lnTo>
                    <a:lnTo>
                      <a:pt x="3014" y="2922"/>
                    </a:lnTo>
                    <a:lnTo>
                      <a:pt x="3008" y="2914"/>
                    </a:lnTo>
                    <a:lnTo>
                      <a:pt x="3004" y="2912"/>
                    </a:lnTo>
                    <a:lnTo>
                      <a:pt x="3002" y="2912"/>
                    </a:lnTo>
                    <a:lnTo>
                      <a:pt x="2996" y="2914"/>
                    </a:lnTo>
                    <a:lnTo>
                      <a:pt x="2988" y="2914"/>
                    </a:lnTo>
                    <a:lnTo>
                      <a:pt x="2980" y="2914"/>
                    </a:lnTo>
                    <a:lnTo>
                      <a:pt x="2976" y="2912"/>
                    </a:lnTo>
                    <a:lnTo>
                      <a:pt x="2974" y="2910"/>
                    </a:lnTo>
                    <a:lnTo>
                      <a:pt x="2970" y="2906"/>
                    </a:lnTo>
                    <a:lnTo>
                      <a:pt x="2966" y="2904"/>
                    </a:lnTo>
                    <a:lnTo>
                      <a:pt x="2962" y="2900"/>
                    </a:lnTo>
                    <a:lnTo>
                      <a:pt x="2958" y="2890"/>
                    </a:lnTo>
                    <a:lnTo>
                      <a:pt x="2958" y="2880"/>
                    </a:lnTo>
                    <a:lnTo>
                      <a:pt x="2960" y="2872"/>
                    </a:lnTo>
                    <a:lnTo>
                      <a:pt x="2962" y="2868"/>
                    </a:lnTo>
                    <a:lnTo>
                      <a:pt x="2964" y="2862"/>
                    </a:lnTo>
                    <a:lnTo>
                      <a:pt x="2966" y="2856"/>
                    </a:lnTo>
                    <a:lnTo>
                      <a:pt x="2970" y="2854"/>
                    </a:lnTo>
                    <a:lnTo>
                      <a:pt x="2976" y="2854"/>
                    </a:lnTo>
                    <a:lnTo>
                      <a:pt x="2982" y="2860"/>
                    </a:lnTo>
                    <a:lnTo>
                      <a:pt x="2986" y="2864"/>
                    </a:lnTo>
                    <a:lnTo>
                      <a:pt x="2988" y="2864"/>
                    </a:lnTo>
                    <a:lnTo>
                      <a:pt x="2992" y="2862"/>
                    </a:lnTo>
                    <a:lnTo>
                      <a:pt x="2996" y="2856"/>
                    </a:lnTo>
                    <a:lnTo>
                      <a:pt x="3000" y="2856"/>
                    </a:lnTo>
                    <a:lnTo>
                      <a:pt x="3002" y="2856"/>
                    </a:lnTo>
                    <a:lnTo>
                      <a:pt x="3010" y="2856"/>
                    </a:lnTo>
                    <a:lnTo>
                      <a:pt x="3018" y="2854"/>
                    </a:lnTo>
                    <a:lnTo>
                      <a:pt x="3024" y="2846"/>
                    </a:lnTo>
                    <a:lnTo>
                      <a:pt x="3026" y="2836"/>
                    </a:lnTo>
                    <a:lnTo>
                      <a:pt x="3026" y="2830"/>
                    </a:lnTo>
                    <a:lnTo>
                      <a:pt x="3032" y="2824"/>
                    </a:lnTo>
                    <a:lnTo>
                      <a:pt x="3044" y="2814"/>
                    </a:lnTo>
                    <a:lnTo>
                      <a:pt x="3058" y="2806"/>
                    </a:lnTo>
                    <a:lnTo>
                      <a:pt x="3070" y="2802"/>
                    </a:lnTo>
                    <a:lnTo>
                      <a:pt x="3076" y="2798"/>
                    </a:lnTo>
                    <a:lnTo>
                      <a:pt x="3078" y="2794"/>
                    </a:lnTo>
                    <a:lnTo>
                      <a:pt x="3080" y="2786"/>
                    </a:lnTo>
                    <a:lnTo>
                      <a:pt x="3088" y="2778"/>
                    </a:lnTo>
                    <a:lnTo>
                      <a:pt x="3094" y="2770"/>
                    </a:lnTo>
                    <a:lnTo>
                      <a:pt x="3094" y="2768"/>
                    </a:lnTo>
                    <a:lnTo>
                      <a:pt x="3096" y="2766"/>
                    </a:lnTo>
                    <a:lnTo>
                      <a:pt x="3100" y="2762"/>
                    </a:lnTo>
                    <a:lnTo>
                      <a:pt x="3104" y="2760"/>
                    </a:lnTo>
                    <a:lnTo>
                      <a:pt x="3108" y="2760"/>
                    </a:lnTo>
                    <a:lnTo>
                      <a:pt x="3114" y="2760"/>
                    </a:lnTo>
                    <a:lnTo>
                      <a:pt x="3120" y="2762"/>
                    </a:lnTo>
                    <a:lnTo>
                      <a:pt x="3122" y="2762"/>
                    </a:lnTo>
                    <a:lnTo>
                      <a:pt x="3124" y="2762"/>
                    </a:lnTo>
                    <a:lnTo>
                      <a:pt x="3128" y="2760"/>
                    </a:lnTo>
                    <a:lnTo>
                      <a:pt x="3130" y="2760"/>
                    </a:lnTo>
                    <a:lnTo>
                      <a:pt x="3132" y="2764"/>
                    </a:lnTo>
                    <a:lnTo>
                      <a:pt x="3138" y="2770"/>
                    </a:lnTo>
                    <a:lnTo>
                      <a:pt x="3144" y="2778"/>
                    </a:lnTo>
                    <a:lnTo>
                      <a:pt x="3146" y="2782"/>
                    </a:lnTo>
                    <a:lnTo>
                      <a:pt x="3144" y="2790"/>
                    </a:lnTo>
                    <a:lnTo>
                      <a:pt x="3138" y="2800"/>
                    </a:lnTo>
                    <a:lnTo>
                      <a:pt x="3132" y="2806"/>
                    </a:lnTo>
                    <a:lnTo>
                      <a:pt x="3128" y="2810"/>
                    </a:lnTo>
                    <a:lnTo>
                      <a:pt x="3120" y="2816"/>
                    </a:lnTo>
                    <a:lnTo>
                      <a:pt x="3114" y="2820"/>
                    </a:lnTo>
                    <a:lnTo>
                      <a:pt x="3114" y="2822"/>
                    </a:lnTo>
                    <a:lnTo>
                      <a:pt x="3114" y="2824"/>
                    </a:lnTo>
                    <a:lnTo>
                      <a:pt x="3116" y="2826"/>
                    </a:lnTo>
                    <a:lnTo>
                      <a:pt x="3114" y="2828"/>
                    </a:lnTo>
                    <a:lnTo>
                      <a:pt x="3110" y="2832"/>
                    </a:lnTo>
                    <a:lnTo>
                      <a:pt x="3104" y="2834"/>
                    </a:lnTo>
                    <a:lnTo>
                      <a:pt x="3104" y="2836"/>
                    </a:lnTo>
                    <a:lnTo>
                      <a:pt x="3106" y="2836"/>
                    </a:lnTo>
                    <a:lnTo>
                      <a:pt x="3110" y="2840"/>
                    </a:lnTo>
                    <a:lnTo>
                      <a:pt x="3116" y="2844"/>
                    </a:lnTo>
                    <a:lnTo>
                      <a:pt x="3120" y="2850"/>
                    </a:lnTo>
                    <a:lnTo>
                      <a:pt x="3122" y="2854"/>
                    </a:lnTo>
                    <a:lnTo>
                      <a:pt x="3122" y="2858"/>
                    </a:lnTo>
                    <a:lnTo>
                      <a:pt x="3120" y="2862"/>
                    </a:lnTo>
                    <a:lnTo>
                      <a:pt x="3118" y="2864"/>
                    </a:lnTo>
                    <a:lnTo>
                      <a:pt x="3116" y="2862"/>
                    </a:lnTo>
                    <a:lnTo>
                      <a:pt x="3112" y="2860"/>
                    </a:lnTo>
                    <a:lnTo>
                      <a:pt x="3110" y="2862"/>
                    </a:lnTo>
                    <a:lnTo>
                      <a:pt x="3108" y="2864"/>
                    </a:lnTo>
                    <a:lnTo>
                      <a:pt x="3106" y="2868"/>
                    </a:lnTo>
                    <a:lnTo>
                      <a:pt x="3102" y="2868"/>
                    </a:lnTo>
                    <a:lnTo>
                      <a:pt x="3100" y="2876"/>
                    </a:lnTo>
                    <a:lnTo>
                      <a:pt x="3100" y="2880"/>
                    </a:lnTo>
                    <a:lnTo>
                      <a:pt x="3102" y="2882"/>
                    </a:lnTo>
                    <a:lnTo>
                      <a:pt x="3104" y="2882"/>
                    </a:lnTo>
                    <a:lnTo>
                      <a:pt x="3106" y="2880"/>
                    </a:lnTo>
                    <a:lnTo>
                      <a:pt x="3112" y="2878"/>
                    </a:lnTo>
                    <a:lnTo>
                      <a:pt x="3120" y="2874"/>
                    </a:lnTo>
                    <a:lnTo>
                      <a:pt x="3124" y="2874"/>
                    </a:lnTo>
                    <a:lnTo>
                      <a:pt x="3124" y="2872"/>
                    </a:lnTo>
                    <a:lnTo>
                      <a:pt x="3124" y="2868"/>
                    </a:lnTo>
                    <a:lnTo>
                      <a:pt x="3124" y="2866"/>
                    </a:lnTo>
                    <a:lnTo>
                      <a:pt x="3128" y="2866"/>
                    </a:lnTo>
                    <a:lnTo>
                      <a:pt x="3132" y="2866"/>
                    </a:lnTo>
                    <a:lnTo>
                      <a:pt x="3136" y="2864"/>
                    </a:lnTo>
                    <a:lnTo>
                      <a:pt x="3142" y="2856"/>
                    </a:lnTo>
                    <a:lnTo>
                      <a:pt x="3148" y="2848"/>
                    </a:lnTo>
                    <a:lnTo>
                      <a:pt x="3152" y="2844"/>
                    </a:lnTo>
                    <a:lnTo>
                      <a:pt x="3156" y="2840"/>
                    </a:lnTo>
                    <a:lnTo>
                      <a:pt x="3162" y="2836"/>
                    </a:lnTo>
                    <a:lnTo>
                      <a:pt x="3164" y="2834"/>
                    </a:lnTo>
                    <a:lnTo>
                      <a:pt x="3168" y="2832"/>
                    </a:lnTo>
                    <a:lnTo>
                      <a:pt x="3176" y="2830"/>
                    </a:lnTo>
                    <a:lnTo>
                      <a:pt x="3182" y="2830"/>
                    </a:lnTo>
                    <a:lnTo>
                      <a:pt x="3186" y="2828"/>
                    </a:lnTo>
                    <a:lnTo>
                      <a:pt x="3188" y="2826"/>
                    </a:lnTo>
                    <a:lnTo>
                      <a:pt x="3190" y="2822"/>
                    </a:lnTo>
                    <a:lnTo>
                      <a:pt x="3194" y="2822"/>
                    </a:lnTo>
                    <a:lnTo>
                      <a:pt x="3196" y="2824"/>
                    </a:lnTo>
                    <a:lnTo>
                      <a:pt x="3200" y="2822"/>
                    </a:lnTo>
                    <a:lnTo>
                      <a:pt x="3202" y="2820"/>
                    </a:lnTo>
                    <a:lnTo>
                      <a:pt x="3206" y="2820"/>
                    </a:lnTo>
                    <a:lnTo>
                      <a:pt x="3212" y="2820"/>
                    </a:lnTo>
                    <a:lnTo>
                      <a:pt x="3220" y="2818"/>
                    </a:lnTo>
                    <a:lnTo>
                      <a:pt x="3226" y="2816"/>
                    </a:lnTo>
                    <a:lnTo>
                      <a:pt x="3230" y="2812"/>
                    </a:lnTo>
                    <a:lnTo>
                      <a:pt x="3232" y="2808"/>
                    </a:lnTo>
                    <a:lnTo>
                      <a:pt x="3230" y="2812"/>
                    </a:lnTo>
                    <a:lnTo>
                      <a:pt x="3232" y="2818"/>
                    </a:lnTo>
                    <a:lnTo>
                      <a:pt x="3236" y="2824"/>
                    </a:lnTo>
                    <a:lnTo>
                      <a:pt x="3242" y="2828"/>
                    </a:lnTo>
                    <a:lnTo>
                      <a:pt x="3244" y="2830"/>
                    </a:lnTo>
                    <a:lnTo>
                      <a:pt x="3246" y="2828"/>
                    </a:lnTo>
                    <a:lnTo>
                      <a:pt x="3250" y="2828"/>
                    </a:lnTo>
                    <a:lnTo>
                      <a:pt x="3254" y="2828"/>
                    </a:lnTo>
                    <a:lnTo>
                      <a:pt x="3264" y="2832"/>
                    </a:lnTo>
                    <a:lnTo>
                      <a:pt x="3268" y="2836"/>
                    </a:lnTo>
                    <a:lnTo>
                      <a:pt x="3272" y="2840"/>
                    </a:lnTo>
                    <a:lnTo>
                      <a:pt x="3274" y="2846"/>
                    </a:lnTo>
                    <a:lnTo>
                      <a:pt x="3272" y="2850"/>
                    </a:lnTo>
                    <a:lnTo>
                      <a:pt x="3264" y="2868"/>
                    </a:lnTo>
                    <a:lnTo>
                      <a:pt x="3262" y="2876"/>
                    </a:lnTo>
                    <a:lnTo>
                      <a:pt x="3262" y="2878"/>
                    </a:lnTo>
                    <a:lnTo>
                      <a:pt x="3264" y="2880"/>
                    </a:lnTo>
                    <a:lnTo>
                      <a:pt x="3266" y="2884"/>
                    </a:lnTo>
                    <a:lnTo>
                      <a:pt x="3262" y="2886"/>
                    </a:lnTo>
                    <a:lnTo>
                      <a:pt x="3258" y="2892"/>
                    </a:lnTo>
                    <a:lnTo>
                      <a:pt x="3254" y="2900"/>
                    </a:lnTo>
                    <a:lnTo>
                      <a:pt x="3250" y="2906"/>
                    </a:lnTo>
                    <a:lnTo>
                      <a:pt x="3248" y="2910"/>
                    </a:lnTo>
                    <a:lnTo>
                      <a:pt x="3244" y="2914"/>
                    </a:lnTo>
                    <a:lnTo>
                      <a:pt x="3242" y="2914"/>
                    </a:lnTo>
                    <a:lnTo>
                      <a:pt x="3252" y="2916"/>
                    </a:lnTo>
                    <a:lnTo>
                      <a:pt x="3258" y="2918"/>
                    </a:lnTo>
                    <a:lnTo>
                      <a:pt x="3260" y="2918"/>
                    </a:lnTo>
                    <a:lnTo>
                      <a:pt x="3258" y="2920"/>
                    </a:lnTo>
                    <a:lnTo>
                      <a:pt x="3258" y="2922"/>
                    </a:lnTo>
                    <a:lnTo>
                      <a:pt x="3254" y="2924"/>
                    </a:lnTo>
                    <a:lnTo>
                      <a:pt x="3256" y="2926"/>
                    </a:lnTo>
                    <a:lnTo>
                      <a:pt x="3262" y="2928"/>
                    </a:lnTo>
                    <a:lnTo>
                      <a:pt x="3268" y="2928"/>
                    </a:lnTo>
                    <a:lnTo>
                      <a:pt x="3270" y="2930"/>
                    </a:lnTo>
                    <a:lnTo>
                      <a:pt x="3270" y="2932"/>
                    </a:lnTo>
                    <a:lnTo>
                      <a:pt x="3270" y="2934"/>
                    </a:lnTo>
                    <a:lnTo>
                      <a:pt x="3270" y="2938"/>
                    </a:lnTo>
                    <a:lnTo>
                      <a:pt x="3274" y="2936"/>
                    </a:lnTo>
                    <a:lnTo>
                      <a:pt x="3278" y="2934"/>
                    </a:lnTo>
                    <a:lnTo>
                      <a:pt x="3280" y="2930"/>
                    </a:lnTo>
                    <a:lnTo>
                      <a:pt x="3282" y="2924"/>
                    </a:lnTo>
                    <a:lnTo>
                      <a:pt x="3284" y="2922"/>
                    </a:lnTo>
                    <a:lnTo>
                      <a:pt x="3292" y="2926"/>
                    </a:lnTo>
                    <a:lnTo>
                      <a:pt x="3300" y="2934"/>
                    </a:lnTo>
                    <a:lnTo>
                      <a:pt x="3302" y="2934"/>
                    </a:lnTo>
                    <a:lnTo>
                      <a:pt x="3304" y="2930"/>
                    </a:lnTo>
                    <a:lnTo>
                      <a:pt x="3304" y="2928"/>
                    </a:lnTo>
                    <a:lnTo>
                      <a:pt x="3306" y="2926"/>
                    </a:lnTo>
                    <a:lnTo>
                      <a:pt x="3312" y="2928"/>
                    </a:lnTo>
                    <a:lnTo>
                      <a:pt x="3318" y="2930"/>
                    </a:lnTo>
                    <a:lnTo>
                      <a:pt x="3324" y="2930"/>
                    </a:lnTo>
                    <a:lnTo>
                      <a:pt x="3324" y="2934"/>
                    </a:lnTo>
                    <a:lnTo>
                      <a:pt x="3322" y="2934"/>
                    </a:lnTo>
                    <a:lnTo>
                      <a:pt x="3320" y="2938"/>
                    </a:lnTo>
                    <a:lnTo>
                      <a:pt x="3320" y="2942"/>
                    </a:lnTo>
                    <a:lnTo>
                      <a:pt x="3324" y="2948"/>
                    </a:lnTo>
                    <a:lnTo>
                      <a:pt x="3326" y="2954"/>
                    </a:lnTo>
                    <a:lnTo>
                      <a:pt x="3326" y="2958"/>
                    </a:lnTo>
                    <a:lnTo>
                      <a:pt x="3324" y="2960"/>
                    </a:lnTo>
                    <a:lnTo>
                      <a:pt x="3324" y="2962"/>
                    </a:lnTo>
                    <a:lnTo>
                      <a:pt x="3324" y="2966"/>
                    </a:lnTo>
                    <a:lnTo>
                      <a:pt x="3328" y="2970"/>
                    </a:lnTo>
                    <a:lnTo>
                      <a:pt x="3332" y="2974"/>
                    </a:lnTo>
                    <a:lnTo>
                      <a:pt x="3334" y="2976"/>
                    </a:lnTo>
                    <a:lnTo>
                      <a:pt x="3334" y="2980"/>
                    </a:lnTo>
                    <a:lnTo>
                      <a:pt x="3332" y="2982"/>
                    </a:lnTo>
                    <a:lnTo>
                      <a:pt x="3330" y="2980"/>
                    </a:lnTo>
                    <a:lnTo>
                      <a:pt x="3328" y="2976"/>
                    </a:lnTo>
                    <a:lnTo>
                      <a:pt x="3326" y="2974"/>
                    </a:lnTo>
                    <a:lnTo>
                      <a:pt x="3322" y="2974"/>
                    </a:lnTo>
                    <a:lnTo>
                      <a:pt x="3312" y="2974"/>
                    </a:lnTo>
                    <a:lnTo>
                      <a:pt x="3310" y="2974"/>
                    </a:lnTo>
                    <a:lnTo>
                      <a:pt x="3312" y="2978"/>
                    </a:lnTo>
                    <a:lnTo>
                      <a:pt x="3312" y="2980"/>
                    </a:lnTo>
                    <a:lnTo>
                      <a:pt x="3312" y="2982"/>
                    </a:lnTo>
                    <a:lnTo>
                      <a:pt x="3310" y="2982"/>
                    </a:lnTo>
                    <a:lnTo>
                      <a:pt x="3308" y="2980"/>
                    </a:lnTo>
                    <a:lnTo>
                      <a:pt x="3306" y="2980"/>
                    </a:lnTo>
                    <a:lnTo>
                      <a:pt x="3302" y="2984"/>
                    </a:lnTo>
                    <a:lnTo>
                      <a:pt x="3302" y="2988"/>
                    </a:lnTo>
                    <a:lnTo>
                      <a:pt x="3304" y="2992"/>
                    </a:lnTo>
                    <a:lnTo>
                      <a:pt x="3308" y="2994"/>
                    </a:lnTo>
                    <a:lnTo>
                      <a:pt x="3312" y="2992"/>
                    </a:lnTo>
                    <a:lnTo>
                      <a:pt x="3314" y="2992"/>
                    </a:lnTo>
                    <a:lnTo>
                      <a:pt x="3316" y="2998"/>
                    </a:lnTo>
                    <a:lnTo>
                      <a:pt x="3318" y="3014"/>
                    </a:lnTo>
                    <a:lnTo>
                      <a:pt x="3318" y="3020"/>
                    </a:lnTo>
                    <a:lnTo>
                      <a:pt x="3320" y="3022"/>
                    </a:lnTo>
                    <a:lnTo>
                      <a:pt x="3324" y="3026"/>
                    </a:lnTo>
                    <a:lnTo>
                      <a:pt x="3324" y="3028"/>
                    </a:lnTo>
                    <a:lnTo>
                      <a:pt x="3322" y="3030"/>
                    </a:lnTo>
                    <a:lnTo>
                      <a:pt x="3324" y="3034"/>
                    </a:lnTo>
                    <a:lnTo>
                      <a:pt x="3326" y="3038"/>
                    </a:lnTo>
                    <a:lnTo>
                      <a:pt x="3324" y="3042"/>
                    </a:lnTo>
                    <a:lnTo>
                      <a:pt x="3320" y="3046"/>
                    </a:lnTo>
                    <a:lnTo>
                      <a:pt x="3316" y="3054"/>
                    </a:lnTo>
                    <a:lnTo>
                      <a:pt x="3308" y="3070"/>
                    </a:lnTo>
                    <a:lnTo>
                      <a:pt x="3308" y="3076"/>
                    </a:lnTo>
                    <a:lnTo>
                      <a:pt x="3308" y="3078"/>
                    </a:lnTo>
                    <a:lnTo>
                      <a:pt x="3310" y="3082"/>
                    </a:lnTo>
                    <a:lnTo>
                      <a:pt x="3310" y="3084"/>
                    </a:lnTo>
                    <a:lnTo>
                      <a:pt x="3312" y="3088"/>
                    </a:lnTo>
                    <a:lnTo>
                      <a:pt x="3312" y="3092"/>
                    </a:lnTo>
                    <a:lnTo>
                      <a:pt x="3314" y="3096"/>
                    </a:lnTo>
                    <a:lnTo>
                      <a:pt x="3312" y="3096"/>
                    </a:lnTo>
                    <a:lnTo>
                      <a:pt x="3308" y="3096"/>
                    </a:lnTo>
                    <a:lnTo>
                      <a:pt x="3308" y="3100"/>
                    </a:lnTo>
                    <a:lnTo>
                      <a:pt x="3310" y="3104"/>
                    </a:lnTo>
                    <a:lnTo>
                      <a:pt x="3312" y="3104"/>
                    </a:lnTo>
                    <a:lnTo>
                      <a:pt x="3316" y="3104"/>
                    </a:lnTo>
                    <a:lnTo>
                      <a:pt x="3316" y="3110"/>
                    </a:lnTo>
                    <a:lnTo>
                      <a:pt x="3316" y="3116"/>
                    </a:lnTo>
                    <a:lnTo>
                      <a:pt x="3318" y="3118"/>
                    </a:lnTo>
                    <a:lnTo>
                      <a:pt x="3322" y="3116"/>
                    </a:lnTo>
                    <a:lnTo>
                      <a:pt x="3326" y="3110"/>
                    </a:lnTo>
                    <a:lnTo>
                      <a:pt x="3330" y="3104"/>
                    </a:lnTo>
                    <a:lnTo>
                      <a:pt x="3330" y="3106"/>
                    </a:lnTo>
                    <a:lnTo>
                      <a:pt x="3330" y="3110"/>
                    </a:lnTo>
                    <a:lnTo>
                      <a:pt x="3330" y="3112"/>
                    </a:lnTo>
                    <a:lnTo>
                      <a:pt x="3334" y="3110"/>
                    </a:lnTo>
                    <a:lnTo>
                      <a:pt x="3334" y="3108"/>
                    </a:lnTo>
                    <a:lnTo>
                      <a:pt x="3338" y="3102"/>
                    </a:lnTo>
                    <a:lnTo>
                      <a:pt x="3342" y="3098"/>
                    </a:lnTo>
                    <a:lnTo>
                      <a:pt x="3346" y="3094"/>
                    </a:lnTo>
                    <a:lnTo>
                      <a:pt x="3348" y="3094"/>
                    </a:lnTo>
                    <a:lnTo>
                      <a:pt x="3348" y="3096"/>
                    </a:lnTo>
                    <a:lnTo>
                      <a:pt x="3346" y="3100"/>
                    </a:lnTo>
                    <a:lnTo>
                      <a:pt x="3344" y="3106"/>
                    </a:lnTo>
                    <a:lnTo>
                      <a:pt x="3346" y="3108"/>
                    </a:lnTo>
                    <a:lnTo>
                      <a:pt x="3350" y="3110"/>
                    </a:lnTo>
                    <a:lnTo>
                      <a:pt x="3354" y="3108"/>
                    </a:lnTo>
                    <a:lnTo>
                      <a:pt x="3356" y="3106"/>
                    </a:lnTo>
                    <a:lnTo>
                      <a:pt x="3356" y="3104"/>
                    </a:lnTo>
                    <a:lnTo>
                      <a:pt x="3354" y="3096"/>
                    </a:lnTo>
                    <a:lnTo>
                      <a:pt x="3354" y="3094"/>
                    </a:lnTo>
                    <a:lnTo>
                      <a:pt x="3356" y="3092"/>
                    </a:lnTo>
                    <a:lnTo>
                      <a:pt x="3358" y="3092"/>
                    </a:lnTo>
                    <a:lnTo>
                      <a:pt x="3358" y="3094"/>
                    </a:lnTo>
                    <a:lnTo>
                      <a:pt x="3360" y="3102"/>
                    </a:lnTo>
                    <a:lnTo>
                      <a:pt x="3362" y="3100"/>
                    </a:lnTo>
                    <a:lnTo>
                      <a:pt x="3366" y="3096"/>
                    </a:lnTo>
                    <a:lnTo>
                      <a:pt x="3368" y="3094"/>
                    </a:lnTo>
                    <a:lnTo>
                      <a:pt x="3368" y="3092"/>
                    </a:lnTo>
                    <a:lnTo>
                      <a:pt x="3364" y="3088"/>
                    </a:lnTo>
                    <a:lnTo>
                      <a:pt x="3362" y="3086"/>
                    </a:lnTo>
                    <a:lnTo>
                      <a:pt x="3366" y="3084"/>
                    </a:lnTo>
                    <a:lnTo>
                      <a:pt x="3376" y="3084"/>
                    </a:lnTo>
                    <a:lnTo>
                      <a:pt x="3384" y="3086"/>
                    </a:lnTo>
                    <a:lnTo>
                      <a:pt x="3390" y="3090"/>
                    </a:lnTo>
                    <a:lnTo>
                      <a:pt x="3394" y="3090"/>
                    </a:lnTo>
                    <a:lnTo>
                      <a:pt x="3396" y="3088"/>
                    </a:lnTo>
                    <a:lnTo>
                      <a:pt x="3396" y="3084"/>
                    </a:lnTo>
                    <a:lnTo>
                      <a:pt x="3396" y="3082"/>
                    </a:lnTo>
                    <a:lnTo>
                      <a:pt x="3400" y="3078"/>
                    </a:lnTo>
                    <a:lnTo>
                      <a:pt x="3406" y="3076"/>
                    </a:lnTo>
                    <a:lnTo>
                      <a:pt x="3412" y="3078"/>
                    </a:lnTo>
                    <a:lnTo>
                      <a:pt x="3418" y="3078"/>
                    </a:lnTo>
                    <a:lnTo>
                      <a:pt x="3422" y="3076"/>
                    </a:lnTo>
                    <a:lnTo>
                      <a:pt x="3428" y="3070"/>
                    </a:lnTo>
                    <a:lnTo>
                      <a:pt x="3434" y="3058"/>
                    </a:lnTo>
                    <a:lnTo>
                      <a:pt x="3438" y="3044"/>
                    </a:lnTo>
                    <a:lnTo>
                      <a:pt x="3440" y="3032"/>
                    </a:lnTo>
                    <a:lnTo>
                      <a:pt x="3440" y="3026"/>
                    </a:lnTo>
                    <a:lnTo>
                      <a:pt x="3436" y="3026"/>
                    </a:lnTo>
                    <a:lnTo>
                      <a:pt x="3434" y="3026"/>
                    </a:lnTo>
                    <a:lnTo>
                      <a:pt x="3432" y="3018"/>
                    </a:lnTo>
                    <a:lnTo>
                      <a:pt x="3434" y="3008"/>
                    </a:lnTo>
                    <a:lnTo>
                      <a:pt x="3436" y="3002"/>
                    </a:lnTo>
                    <a:lnTo>
                      <a:pt x="3436" y="2994"/>
                    </a:lnTo>
                    <a:lnTo>
                      <a:pt x="3436" y="2980"/>
                    </a:lnTo>
                    <a:lnTo>
                      <a:pt x="3432" y="2964"/>
                    </a:lnTo>
                    <a:lnTo>
                      <a:pt x="3426" y="2948"/>
                    </a:lnTo>
                    <a:lnTo>
                      <a:pt x="3418" y="2934"/>
                    </a:lnTo>
                    <a:lnTo>
                      <a:pt x="3410" y="2922"/>
                    </a:lnTo>
                    <a:lnTo>
                      <a:pt x="3402" y="2910"/>
                    </a:lnTo>
                    <a:lnTo>
                      <a:pt x="3398" y="2902"/>
                    </a:lnTo>
                    <a:lnTo>
                      <a:pt x="3392" y="2886"/>
                    </a:lnTo>
                    <a:lnTo>
                      <a:pt x="3388" y="2882"/>
                    </a:lnTo>
                    <a:lnTo>
                      <a:pt x="3386" y="2880"/>
                    </a:lnTo>
                    <a:lnTo>
                      <a:pt x="3380" y="2876"/>
                    </a:lnTo>
                    <a:lnTo>
                      <a:pt x="3374" y="2866"/>
                    </a:lnTo>
                    <a:lnTo>
                      <a:pt x="3370" y="2862"/>
                    </a:lnTo>
                    <a:lnTo>
                      <a:pt x="3366" y="2858"/>
                    </a:lnTo>
                    <a:lnTo>
                      <a:pt x="3360" y="2856"/>
                    </a:lnTo>
                    <a:lnTo>
                      <a:pt x="3354" y="2856"/>
                    </a:lnTo>
                    <a:lnTo>
                      <a:pt x="3352" y="2852"/>
                    </a:lnTo>
                    <a:lnTo>
                      <a:pt x="3352" y="2850"/>
                    </a:lnTo>
                    <a:lnTo>
                      <a:pt x="3354" y="2848"/>
                    </a:lnTo>
                    <a:lnTo>
                      <a:pt x="3356" y="2848"/>
                    </a:lnTo>
                    <a:lnTo>
                      <a:pt x="3358" y="2848"/>
                    </a:lnTo>
                    <a:lnTo>
                      <a:pt x="3360" y="2848"/>
                    </a:lnTo>
                    <a:lnTo>
                      <a:pt x="3360" y="2838"/>
                    </a:lnTo>
                    <a:lnTo>
                      <a:pt x="3358" y="2830"/>
                    </a:lnTo>
                    <a:lnTo>
                      <a:pt x="3358" y="2826"/>
                    </a:lnTo>
                    <a:lnTo>
                      <a:pt x="3360" y="2822"/>
                    </a:lnTo>
                    <a:lnTo>
                      <a:pt x="3362" y="2822"/>
                    </a:lnTo>
                    <a:lnTo>
                      <a:pt x="3368" y="2820"/>
                    </a:lnTo>
                    <a:lnTo>
                      <a:pt x="3372" y="2818"/>
                    </a:lnTo>
                    <a:lnTo>
                      <a:pt x="3374" y="2814"/>
                    </a:lnTo>
                    <a:lnTo>
                      <a:pt x="3376" y="2810"/>
                    </a:lnTo>
                    <a:lnTo>
                      <a:pt x="3378" y="2808"/>
                    </a:lnTo>
                    <a:lnTo>
                      <a:pt x="3384" y="2810"/>
                    </a:lnTo>
                    <a:lnTo>
                      <a:pt x="3386" y="2810"/>
                    </a:lnTo>
                    <a:lnTo>
                      <a:pt x="3390" y="2810"/>
                    </a:lnTo>
                    <a:lnTo>
                      <a:pt x="3396" y="2806"/>
                    </a:lnTo>
                    <a:lnTo>
                      <a:pt x="3402" y="2800"/>
                    </a:lnTo>
                    <a:lnTo>
                      <a:pt x="3426" y="2776"/>
                    </a:lnTo>
                    <a:lnTo>
                      <a:pt x="3434" y="2768"/>
                    </a:lnTo>
                    <a:lnTo>
                      <a:pt x="3442" y="2766"/>
                    </a:lnTo>
                    <a:lnTo>
                      <a:pt x="3444" y="2764"/>
                    </a:lnTo>
                    <a:lnTo>
                      <a:pt x="3446" y="2762"/>
                    </a:lnTo>
                    <a:lnTo>
                      <a:pt x="3448" y="2754"/>
                    </a:lnTo>
                    <a:lnTo>
                      <a:pt x="3448" y="2746"/>
                    </a:lnTo>
                    <a:lnTo>
                      <a:pt x="3448" y="2738"/>
                    </a:lnTo>
                    <a:lnTo>
                      <a:pt x="3448" y="2734"/>
                    </a:lnTo>
                    <a:lnTo>
                      <a:pt x="3448" y="2732"/>
                    </a:lnTo>
                    <a:lnTo>
                      <a:pt x="3446" y="2730"/>
                    </a:lnTo>
                    <a:lnTo>
                      <a:pt x="3444" y="2728"/>
                    </a:lnTo>
                    <a:lnTo>
                      <a:pt x="3444" y="2724"/>
                    </a:lnTo>
                    <a:lnTo>
                      <a:pt x="3450" y="2714"/>
                    </a:lnTo>
                    <a:lnTo>
                      <a:pt x="3464" y="2694"/>
                    </a:lnTo>
                    <a:lnTo>
                      <a:pt x="3474" y="2684"/>
                    </a:lnTo>
                    <a:lnTo>
                      <a:pt x="3478" y="2682"/>
                    </a:lnTo>
                    <a:lnTo>
                      <a:pt x="3480" y="2684"/>
                    </a:lnTo>
                    <a:lnTo>
                      <a:pt x="3482" y="2684"/>
                    </a:lnTo>
                    <a:lnTo>
                      <a:pt x="3488" y="2682"/>
                    </a:lnTo>
                    <a:lnTo>
                      <a:pt x="3492" y="2678"/>
                    </a:lnTo>
                    <a:lnTo>
                      <a:pt x="3492" y="2674"/>
                    </a:lnTo>
                    <a:lnTo>
                      <a:pt x="3492" y="2666"/>
                    </a:lnTo>
                    <a:lnTo>
                      <a:pt x="3492" y="2664"/>
                    </a:lnTo>
                    <a:lnTo>
                      <a:pt x="3498" y="2664"/>
                    </a:lnTo>
                    <a:lnTo>
                      <a:pt x="3506" y="2666"/>
                    </a:lnTo>
                    <a:lnTo>
                      <a:pt x="3510" y="2664"/>
                    </a:lnTo>
                    <a:lnTo>
                      <a:pt x="3514" y="2658"/>
                    </a:lnTo>
                    <a:lnTo>
                      <a:pt x="3518" y="2650"/>
                    </a:lnTo>
                    <a:lnTo>
                      <a:pt x="3524" y="2640"/>
                    </a:lnTo>
                    <a:lnTo>
                      <a:pt x="3524" y="2632"/>
                    </a:lnTo>
                    <a:lnTo>
                      <a:pt x="3526" y="2628"/>
                    </a:lnTo>
                    <a:lnTo>
                      <a:pt x="3528" y="2626"/>
                    </a:lnTo>
                    <a:lnTo>
                      <a:pt x="3532" y="2626"/>
                    </a:lnTo>
                    <a:lnTo>
                      <a:pt x="3536" y="2626"/>
                    </a:lnTo>
                    <a:lnTo>
                      <a:pt x="3536" y="2628"/>
                    </a:lnTo>
                    <a:lnTo>
                      <a:pt x="3536" y="2634"/>
                    </a:lnTo>
                    <a:lnTo>
                      <a:pt x="3534" y="2638"/>
                    </a:lnTo>
                    <a:lnTo>
                      <a:pt x="3536" y="2638"/>
                    </a:lnTo>
                    <a:lnTo>
                      <a:pt x="3538" y="2638"/>
                    </a:lnTo>
                    <a:lnTo>
                      <a:pt x="3542" y="2636"/>
                    </a:lnTo>
                    <a:lnTo>
                      <a:pt x="3548" y="2632"/>
                    </a:lnTo>
                    <a:lnTo>
                      <a:pt x="3550" y="2632"/>
                    </a:lnTo>
                    <a:lnTo>
                      <a:pt x="3552" y="2634"/>
                    </a:lnTo>
                    <a:lnTo>
                      <a:pt x="3552" y="2638"/>
                    </a:lnTo>
                    <a:lnTo>
                      <a:pt x="3552" y="2646"/>
                    </a:lnTo>
                    <a:lnTo>
                      <a:pt x="3554" y="2648"/>
                    </a:lnTo>
                    <a:lnTo>
                      <a:pt x="3556" y="2650"/>
                    </a:lnTo>
                    <a:lnTo>
                      <a:pt x="3570" y="2654"/>
                    </a:lnTo>
                    <a:lnTo>
                      <a:pt x="3580" y="2660"/>
                    </a:lnTo>
                    <a:lnTo>
                      <a:pt x="3584" y="2660"/>
                    </a:lnTo>
                    <a:lnTo>
                      <a:pt x="3590" y="2658"/>
                    </a:lnTo>
                    <a:lnTo>
                      <a:pt x="3598" y="2656"/>
                    </a:lnTo>
                    <a:lnTo>
                      <a:pt x="3608" y="2652"/>
                    </a:lnTo>
                    <a:lnTo>
                      <a:pt x="3616" y="2650"/>
                    </a:lnTo>
                    <a:lnTo>
                      <a:pt x="3622" y="2644"/>
                    </a:lnTo>
                    <a:lnTo>
                      <a:pt x="3632" y="2638"/>
                    </a:lnTo>
                    <a:lnTo>
                      <a:pt x="3648" y="2628"/>
                    </a:lnTo>
                    <a:lnTo>
                      <a:pt x="3658" y="2620"/>
                    </a:lnTo>
                    <a:lnTo>
                      <a:pt x="3666" y="2610"/>
                    </a:lnTo>
                    <a:lnTo>
                      <a:pt x="3686" y="2584"/>
                    </a:lnTo>
                    <a:lnTo>
                      <a:pt x="3712" y="2550"/>
                    </a:lnTo>
                    <a:lnTo>
                      <a:pt x="3728" y="2530"/>
                    </a:lnTo>
                    <a:lnTo>
                      <a:pt x="3748" y="2508"/>
                    </a:lnTo>
                    <a:lnTo>
                      <a:pt x="3768" y="2488"/>
                    </a:lnTo>
                    <a:lnTo>
                      <a:pt x="3780" y="2468"/>
                    </a:lnTo>
                    <a:lnTo>
                      <a:pt x="3790" y="2454"/>
                    </a:lnTo>
                    <a:lnTo>
                      <a:pt x="3796" y="2440"/>
                    </a:lnTo>
                    <a:lnTo>
                      <a:pt x="3804" y="2418"/>
                    </a:lnTo>
                    <a:lnTo>
                      <a:pt x="3808" y="2408"/>
                    </a:lnTo>
                    <a:lnTo>
                      <a:pt x="3816" y="2400"/>
                    </a:lnTo>
                    <a:lnTo>
                      <a:pt x="3824" y="2394"/>
                    </a:lnTo>
                    <a:lnTo>
                      <a:pt x="3828" y="2388"/>
                    </a:lnTo>
                    <a:lnTo>
                      <a:pt x="3832" y="2378"/>
                    </a:lnTo>
                    <a:lnTo>
                      <a:pt x="3834" y="2372"/>
                    </a:lnTo>
                    <a:lnTo>
                      <a:pt x="3838" y="2366"/>
                    </a:lnTo>
                    <a:lnTo>
                      <a:pt x="3844" y="2358"/>
                    </a:lnTo>
                    <a:lnTo>
                      <a:pt x="3854" y="2346"/>
                    </a:lnTo>
                    <a:lnTo>
                      <a:pt x="3860" y="2340"/>
                    </a:lnTo>
                    <a:lnTo>
                      <a:pt x="3866" y="2334"/>
                    </a:lnTo>
                    <a:lnTo>
                      <a:pt x="3874" y="2316"/>
                    </a:lnTo>
                    <a:lnTo>
                      <a:pt x="3880" y="2296"/>
                    </a:lnTo>
                    <a:lnTo>
                      <a:pt x="3882" y="2276"/>
                    </a:lnTo>
                    <a:lnTo>
                      <a:pt x="3884" y="2256"/>
                    </a:lnTo>
                    <a:lnTo>
                      <a:pt x="3884" y="2238"/>
                    </a:lnTo>
                    <a:lnTo>
                      <a:pt x="3882" y="2224"/>
                    </a:lnTo>
                    <a:lnTo>
                      <a:pt x="3880" y="2212"/>
                    </a:lnTo>
                    <a:lnTo>
                      <a:pt x="3878" y="2204"/>
                    </a:lnTo>
                    <a:lnTo>
                      <a:pt x="3878" y="2198"/>
                    </a:lnTo>
                    <a:lnTo>
                      <a:pt x="3880" y="2192"/>
                    </a:lnTo>
                    <a:lnTo>
                      <a:pt x="3882" y="2188"/>
                    </a:lnTo>
                    <a:lnTo>
                      <a:pt x="3888" y="2178"/>
                    </a:lnTo>
                    <a:lnTo>
                      <a:pt x="3892" y="2170"/>
                    </a:lnTo>
                    <a:lnTo>
                      <a:pt x="3896" y="2160"/>
                    </a:lnTo>
                    <a:lnTo>
                      <a:pt x="3898" y="2150"/>
                    </a:lnTo>
                    <a:lnTo>
                      <a:pt x="3904" y="2142"/>
                    </a:lnTo>
                    <a:lnTo>
                      <a:pt x="3914" y="2128"/>
                    </a:lnTo>
                    <a:lnTo>
                      <a:pt x="3920" y="2122"/>
                    </a:lnTo>
                    <a:lnTo>
                      <a:pt x="3922" y="2116"/>
                    </a:lnTo>
                    <a:lnTo>
                      <a:pt x="3920" y="2110"/>
                    </a:lnTo>
                    <a:lnTo>
                      <a:pt x="3916" y="2104"/>
                    </a:lnTo>
                    <a:lnTo>
                      <a:pt x="3910" y="2098"/>
                    </a:lnTo>
                    <a:lnTo>
                      <a:pt x="3908" y="2094"/>
                    </a:lnTo>
                    <a:lnTo>
                      <a:pt x="3908" y="2090"/>
                    </a:lnTo>
                    <a:lnTo>
                      <a:pt x="3910" y="2086"/>
                    </a:lnTo>
                    <a:lnTo>
                      <a:pt x="3910" y="2078"/>
                    </a:lnTo>
                    <a:lnTo>
                      <a:pt x="3910" y="2072"/>
                    </a:lnTo>
                    <a:lnTo>
                      <a:pt x="3906" y="2066"/>
                    </a:lnTo>
                    <a:lnTo>
                      <a:pt x="3904" y="2062"/>
                    </a:lnTo>
                    <a:lnTo>
                      <a:pt x="3906" y="2058"/>
                    </a:lnTo>
                    <a:lnTo>
                      <a:pt x="3914" y="2052"/>
                    </a:lnTo>
                    <a:lnTo>
                      <a:pt x="3918" y="2050"/>
                    </a:lnTo>
                    <a:lnTo>
                      <a:pt x="3920" y="2046"/>
                    </a:lnTo>
                    <a:lnTo>
                      <a:pt x="3918" y="2042"/>
                    </a:lnTo>
                    <a:lnTo>
                      <a:pt x="3910" y="2034"/>
                    </a:lnTo>
                    <a:lnTo>
                      <a:pt x="3892" y="2020"/>
                    </a:lnTo>
                    <a:lnTo>
                      <a:pt x="3880" y="2010"/>
                    </a:lnTo>
                    <a:lnTo>
                      <a:pt x="3864" y="1990"/>
                    </a:lnTo>
                    <a:lnTo>
                      <a:pt x="3858" y="1986"/>
                    </a:lnTo>
                    <a:lnTo>
                      <a:pt x="3854" y="1984"/>
                    </a:lnTo>
                    <a:lnTo>
                      <a:pt x="3842" y="1984"/>
                    </a:lnTo>
                    <a:lnTo>
                      <a:pt x="3832" y="1986"/>
                    </a:lnTo>
                    <a:lnTo>
                      <a:pt x="3826" y="1986"/>
                    </a:lnTo>
                    <a:lnTo>
                      <a:pt x="3820" y="1984"/>
                    </a:lnTo>
                    <a:lnTo>
                      <a:pt x="3814" y="1982"/>
                    </a:lnTo>
                    <a:lnTo>
                      <a:pt x="3812" y="1984"/>
                    </a:lnTo>
                    <a:lnTo>
                      <a:pt x="3808" y="1996"/>
                    </a:lnTo>
                    <a:lnTo>
                      <a:pt x="3804" y="2004"/>
                    </a:lnTo>
                    <a:lnTo>
                      <a:pt x="3800" y="2012"/>
                    </a:lnTo>
                    <a:lnTo>
                      <a:pt x="3792" y="2018"/>
                    </a:lnTo>
                    <a:lnTo>
                      <a:pt x="3780" y="2024"/>
                    </a:lnTo>
                    <a:lnTo>
                      <a:pt x="3772" y="2026"/>
                    </a:lnTo>
                    <a:lnTo>
                      <a:pt x="3766" y="2026"/>
                    </a:lnTo>
                    <a:lnTo>
                      <a:pt x="3764" y="2024"/>
                    </a:lnTo>
                    <a:lnTo>
                      <a:pt x="3762" y="2022"/>
                    </a:lnTo>
                    <a:lnTo>
                      <a:pt x="3760" y="2018"/>
                    </a:lnTo>
                    <a:lnTo>
                      <a:pt x="3762" y="2014"/>
                    </a:lnTo>
                    <a:lnTo>
                      <a:pt x="3764" y="2002"/>
                    </a:lnTo>
                    <a:lnTo>
                      <a:pt x="3768" y="1992"/>
                    </a:lnTo>
                    <a:lnTo>
                      <a:pt x="3772" y="1984"/>
                    </a:lnTo>
                    <a:lnTo>
                      <a:pt x="3770" y="1982"/>
                    </a:lnTo>
                    <a:lnTo>
                      <a:pt x="3768" y="1980"/>
                    </a:lnTo>
                    <a:lnTo>
                      <a:pt x="3766" y="1980"/>
                    </a:lnTo>
                    <a:lnTo>
                      <a:pt x="3760" y="1982"/>
                    </a:lnTo>
                    <a:lnTo>
                      <a:pt x="3750" y="1986"/>
                    </a:lnTo>
                    <a:lnTo>
                      <a:pt x="3746" y="1992"/>
                    </a:lnTo>
                    <a:lnTo>
                      <a:pt x="3746" y="1996"/>
                    </a:lnTo>
                    <a:lnTo>
                      <a:pt x="3748" y="2000"/>
                    </a:lnTo>
                    <a:lnTo>
                      <a:pt x="3750" y="2002"/>
                    </a:lnTo>
                    <a:lnTo>
                      <a:pt x="3750" y="2004"/>
                    </a:lnTo>
                    <a:lnTo>
                      <a:pt x="3746" y="2008"/>
                    </a:lnTo>
                    <a:lnTo>
                      <a:pt x="3738" y="2008"/>
                    </a:lnTo>
                    <a:lnTo>
                      <a:pt x="3732" y="2008"/>
                    </a:lnTo>
                    <a:lnTo>
                      <a:pt x="3730" y="2008"/>
                    </a:lnTo>
                    <a:lnTo>
                      <a:pt x="3728" y="2006"/>
                    </a:lnTo>
                    <a:lnTo>
                      <a:pt x="3728" y="2002"/>
                    </a:lnTo>
                    <a:lnTo>
                      <a:pt x="3730" y="1994"/>
                    </a:lnTo>
                    <a:lnTo>
                      <a:pt x="3734" y="1986"/>
                    </a:lnTo>
                    <a:lnTo>
                      <a:pt x="3736" y="1976"/>
                    </a:lnTo>
                    <a:lnTo>
                      <a:pt x="3736" y="1972"/>
                    </a:lnTo>
                    <a:lnTo>
                      <a:pt x="3734" y="1968"/>
                    </a:lnTo>
                    <a:lnTo>
                      <a:pt x="3732" y="1966"/>
                    </a:lnTo>
                    <a:lnTo>
                      <a:pt x="3728" y="1962"/>
                    </a:lnTo>
                    <a:lnTo>
                      <a:pt x="3722" y="1962"/>
                    </a:lnTo>
                    <a:lnTo>
                      <a:pt x="3714" y="1960"/>
                    </a:lnTo>
                    <a:lnTo>
                      <a:pt x="3696" y="1962"/>
                    </a:lnTo>
                    <a:lnTo>
                      <a:pt x="3682" y="1960"/>
                    </a:lnTo>
                    <a:lnTo>
                      <a:pt x="3672" y="1958"/>
                    </a:lnTo>
                    <a:lnTo>
                      <a:pt x="3666" y="1954"/>
                    </a:lnTo>
                    <a:lnTo>
                      <a:pt x="3666" y="1950"/>
                    </a:lnTo>
                    <a:lnTo>
                      <a:pt x="3666" y="1948"/>
                    </a:lnTo>
                    <a:lnTo>
                      <a:pt x="3674" y="1938"/>
                    </a:lnTo>
                    <a:lnTo>
                      <a:pt x="3686" y="1928"/>
                    </a:lnTo>
                    <a:lnTo>
                      <a:pt x="3706" y="1912"/>
                    </a:lnTo>
                    <a:lnTo>
                      <a:pt x="3746" y="1886"/>
                    </a:lnTo>
                    <a:lnTo>
                      <a:pt x="3768" y="1868"/>
                    </a:lnTo>
                    <a:lnTo>
                      <a:pt x="3776" y="1862"/>
                    </a:lnTo>
                    <a:lnTo>
                      <a:pt x="3782" y="1852"/>
                    </a:lnTo>
                    <a:lnTo>
                      <a:pt x="3788" y="1844"/>
                    </a:lnTo>
                    <a:lnTo>
                      <a:pt x="3794" y="1832"/>
                    </a:lnTo>
                    <a:lnTo>
                      <a:pt x="3802" y="1818"/>
                    </a:lnTo>
                    <a:lnTo>
                      <a:pt x="3812" y="1808"/>
                    </a:lnTo>
                    <a:lnTo>
                      <a:pt x="3824" y="1800"/>
                    </a:lnTo>
                    <a:lnTo>
                      <a:pt x="3838" y="1790"/>
                    </a:lnTo>
                    <a:lnTo>
                      <a:pt x="3852" y="1782"/>
                    </a:lnTo>
                    <a:lnTo>
                      <a:pt x="3866" y="1772"/>
                    </a:lnTo>
                    <a:lnTo>
                      <a:pt x="3878" y="1760"/>
                    </a:lnTo>
                    <a:lnTo>
                      <a:pt x="3882" y="1752"/>
                    </a:lnTo>
                    <a:lnTo>
                      <a:pt x="3886" y="1746"/>
                    </a:lnTo>
                    <a:lnTo>
                      <a:pt x="3894" y="1728"/>
                    </a:lnTo>
                    <a:lnTo>
                      <a:pt x="3908" y="1712"/>
                    </a:lnTo>
                    <a:lnTo>
                      <a:pt x="3926" y="1696"/>
                    </a:lnTo>
                    <a:lnTo>
                      <a:pt x="3944" y="1682"/>
                    </a:lnTo>
                    <a:lnTo>
                      <a:pt x="3966" y="1672"/>
                    </a:lnTo>
                    <a:lnTo>
                      <a:pt x="3986" y="1664"/>
                    </a:lnTo>
                    <a:lnTo>
                      <a:pt x="4006" y="1660"/>
                    </a:lnTo>
                    <a:lnTo>
                      <a:pt x="4014" y="1660"/>
                    </a:lnTo>
                    <a:lnTo>
                      <a:pt x="4022" y="1662"/>
                    </a:lnTo>
                    <a:lnTo>
                      <a:pt x="4036" y="1664"/>
                    </a:lnTo>
                    <a:lnTo>
                      <a:pt x="4048" y="1666"/>
                    </a:lnTo>
                    <a:lnTo>
                      <a:pt x="4068" y="1664"/>
                    </a:lnTo>
                    <a:lnTo>
                      <a:pt x="4082" y="1664"/>
                    </a:lnTo>
                    <a:lnTo>
                      <a:pt x="4090" y="1666"/>
                    </a:lnTo>
                    <a:lnTo>
                      <a:pt x="4098" y="1670"/>
                    </a:lnTo>
                    <a:lnTo>
                      <a:pt x="4104" y="1672"/>
                    </a:lnTo>
                    <a:lnTo>
                      <a:pt x="4108" y="1672"/>
                    </a:lnTo>
                    <a:lnTo>
                      <a:pt x="4110" y="1670"/>
                    </a:lnTo>
                    <a:lnTo>
                      <a:pt x="4112" y="1666"/>
                    </a:lnTo>
                    <a:lnTo>
                      <a:pt x="4116" y="1662"/>
                    </a:lnTo>
                    <a:lnTo>
                      <a:pt x="4124" y="1660"/>
                    </a:lnTo>
                    <a:lnTo>
                      <a:pt x="4136" y="1658"/>
                    </a:lnTo>
                    <a:lnTo>
                      <a:pt x="4154" y="1660"/>
                    </a:lnTo>
                    <a:lnTo>
                      <a:pt x="4188" y="1668"/>
                    </a:lnTo>
                    <a:lnTo>
                      <a:pt x="4200" y="1670"/>
                    </a:lnTo>
                    <a:lnTo>
                      <a:pt x="4208" y="1670"/>
                    </a:lnTo>
                    <a:lnTo>
                      <a:pt x="4214" y="1670"/>
                    </a:lnTo>
                    <a:lnTo>
                      <a:pt x="4220" y="1666"/>
                    </a:lnTo>
                    <a:lnTo>
                      <a:pt x="4224" y="1658"/>
                    </a:lnTo>
                    <a:lnTo>
                      <a:pt x="4228" y="1648"/>
                    </a:lnTo>
                    <a:lnTo>
                      <a:pt x="4230" y="1646"/>
                    </a:lnTo>
                    <a:lnTo>
                      <a:pt x="4236" y="1644"/>
                    </a:lnTo>
                    <a:lnTo>
                      <a:pt x="4250" y="1642"/>
                    </a:lnTo>
                    <a:lnTo>
                      <a:pt x="4272" y="1642"/>
                    </a:lnTo>
                    <a:lnTo>
                      <a:pt x="4294" y="1644"/>
                    </a:lnTo>
                    <a:lnTo>
                      <a:pt x="4314" y="1648"/>
                    </a:lnTo>
                    <a:lnTo>
                      <a:pt x="4322" y="1652"/>
                    </a:lnTo>
                    <a:lnTo>
                      <a:pt x="4328" y="1656"/>
                    </a:lnTo>
                    <a:lnTo>
                      <a:pt x="4330" y="1660"/>
                    </a:lnTo>
                    <a:lnTo>
                      <a:pt x="4330" y="1664"/>
                    </a:lnTo>
                    <a:lnTo>
                      <a:pt x="4328" y="1670"/>
                    </a:lnTo>
                    <a:lnTo>
                      <a:pt x="4320" y="1676"/>
                    </a:lnTo>
                    <a:lnTo>
                      <a:pt x="4314" y="1682"/>
                    </a:lnTo>
                    <a:lnTo>
                      <a:pt x="4312" y="1686"/>
                    </a:lnTo>
                    <a:lnTo>
                      <a:pt x="4312" y="1688"/>
                    </a:lnTo>
                    <a:lnTo>
                      <a:pt x="4314" y="1690"/>
                    </a:lnTo>
                    <a:lnTo>
                      <a:pt x="4324" y="1692"/>
                    </a:lnTo>
                    <a:lnTo>
                      <a:pt x="4340" y="1690"/>
                    </a:lnTo>
                    <a:lnTo>
                      <a:pt x="4358" y="1688"/>
                    </a:lnTo>
                    <a:lnTo>
                      <a:pt x="4374" y="1684"/>
                    </a:lnTo>
                    <a:lnTo>
                      <a:pt x="4386" y="1680"/>
                    </a:lnTo>
                    <a:lnTo>
                      <a:pt x="4394" y="1676"/>
                    </a:lnTo>
                    <a:lnTo>
                      <a:pt x="4398" y="1670"/>
                    </a:lnTo>
                    <a:lnTo>
                      <a:pt x="4404" y="1670"/>
                    </a:lnTo>
                    <a:lnTo>
                      <a:pt x="4410" y="1674"/>
                    </a:lnTo>
                    <a:lnTo>
                      <a:pt x="4418" y="1678"/>
                    </a:lnTo>
                    <a:lnTo>
                      <a:pt x="4426" y="1682"/>
                    </a:lnTo>
                    <a:lnTo>
                      <a:pt x="4436" y="1684"/>
                    </a:lnTo>
                    <a:lnTo>
                      <a:pt x="4448" y="1682"/>
                    </a:lnTo>
                    <a:lnTo>
                      <a:pt x="4454" y="1680"/>
                    </a:lnTo>
                    <a:lnTo>
                      <a:pt x="4462" y="1676"/>
                    </a:lnTo>
                    <a:lnTo>
                      <a:pt x="4466" y="1672"/>
                    </a:lnTo>
                    <a:lnTo>
                      <a:pt x="4468" y="1668"/>
                    </a:lnTo>
                    <a:lnTo>
                      <a:pt x="4468" y="1664"/>
                    </a:lnTo>
                    <a:lnTo>
                      <a:pt x="4466" y="1660"/>
                    </a:lnTo>
                    <a:lnTo>
                      <a:pt x="4458" y="1652"/>
                    </a:lnTo>
                    <a:lnTo>
                      <a:pt x="4448" y="1646"/>
                    </a:lnTo>
                    <a:lnTo>
                      <a:pt x="4442" y="1642"/>
                    </a:lnTo>
                    <a:lnTo>
                      <a:pt x="4440" y="1636"/>
                    </a:lnTo>
                    <a:lnTo>
                      <a:pt x="4438" y="1632"/>
                    </a:lnTo>
                    <a:lnTo>
                      <a:pt x="4438" y="1626"/>
                    </a:lnTo>
                    <a:lnTo>
                      <a:pt x="4440" y="1618"/>
                    </a:lnTo>
                    <a:lnTo>
                      <a:pt x="4446" y="1612"/>
                    </a:lnTo>
                    <a:lnTo>
                      <a:pt x="4456" y="1602"/>
                    </a:lnTo>
                    <a:lnTo>
                      <a:pt x="4468" y="1592"/>
                    </a:lnTo>
                    <a:lnTo>
                      <a:pt x="4496" y="1572"/>
                    </a:lnTo>
                    <a:lnTo>
                      <a:pt x="4514" y="1556"/>
                    </a:lnTo>
                    <a:lnTo>
                      <a:pt x="4536" y="1530"/>
                    </a:lnTo>
                    <a:lnTo>
                      <a:pt x="4546" y="1522"/>
                    </a:lnTo>
                    <a:lnTo>
                      <a:pt x="4562" y="1514"/>
                    </a:lnTo>
                    <a:lnTo>
                      <a:pt x="4584" y="1508"/>
                    </a:lnTo>
                    <a:lnTo>
                      <a:pt x="4616" y="1502"/>
                    </a:lnTo>
                    <a:lnTo>
                      <a:pt x="4630" y="1502"/>
                    </a:lnTo>
                    <a:lnTo>
                      <a:pt x="4642" y="1504"/>
                    </a:lnTo>
                    <a:lnTo>
                      <a:pt x="4650" y="1508"/>
                    </a:lnTo>
                    <a:lnTo>
                      <a:pt x="4656" y="1514"/>
                    </a:lnTo>
                    <a:lnTo>
                      <a:pt x="4660" y="1520"/>
                    </a:lnTo>
                    <a:lnTo>
                      <a:pt x="4664" y="1528"/>
                    </a:lnTo>
                    <a:lnTo>
                      <a:pt x="4664" y="1546"/>
                    </a:lnTo>
                    <a:lnTo>
                      <a:pt x="4666" y="1562"/>
                    </a:lnTo>
                    <a:lnTo>
                      <a:pt x="4666" y="1568"/>
                    </a:lnTo>
                    <a:lnTo>
                      <a:pt x="4668" y="1574"/>
                    </a:lnTo>
                    <a:lnTo>
                      <a:pt x="4672" y="1578"/>
                    </a:lnTo>
                    <a:lnTo>
                      <a:pt x="4676" y="1580"/>
                    </a:lnTo>
                    <a:lnTo>
                      <a:pt x="4684" y="1578"/>
                    </a:lnTo>
                    <a:lnTo>
                      <a:pt x="4694" y="1574"/>
                    </a:lnTo>
                    <a:lnTo>
                      <a:pt x="4714" y="1562"/>
                    </a:lnTo>
                    <a:lnTo>
                      <a:pt x="4728" y="1550"/>
                    </a:lnTo>
                    <a:lnTo>
                      <a:pt x="4738" y="1540"/>
                    </a:lnTo>
                    <a:lnTo>
                      <a:pt x="4746" y="1530"/>
                    </a:lnTo>
                    <a:lnTo>
                      <a:pt x="4752" y="1524"/>
                    </a:lnTo>
                    <a:lnTo>
                      <a:pt x="4758" y="1520"/>
                    </a:lnTo>
                    <a:lnTo>
                      <a:pt x="4766" y="1518"/>
                    </a:lnTo>
                    <a:lnTo>
                      <a:pt x="4778" y="1520"/>
                    </a:lnTo>
                    <a:lnTo>
                      <a:pt x="4784" y="1522"/>
                    </a:lnTo>
                    <a:lnTo>
                      <a:pt x="4788" y="1520"/>
                    </a:lnTo>
                    <a:lnTo>
                      <a:pt x="4790" y="1518"/>
                    </a:lnTo>
                    <a:lnTo>
                      <a:pt x="4792" y="1514"/>
                    </a:lnTo>
                    <a:lnTo>
                      <a:pt x="4790" y="1502"/>
                    </a:lnTo>
                    <a:lnTo>
                      <a:pt x="4788" y="1486"/>
                    </a:lnTo>
                    <a:lnTo>
                      <a:pt x="4788" y="1472"/>
                    </a:lnTo>
                    <a:lnTo>
                      <a:pt x="4790" y="1464"/>
                    </a:lnTo>
                    <a:lnTo>
                      <a:pt x="4792" y="1458"/>
                    </a:lnTo>
                    <a:lnTo>
                      <a:pt x="4796" y="1452"/>
                    </a:lnTo>
                    <a:lnTo>
                      <a:pt x="4802" y="1448"/>
                    </a:lnTo>
                    <a:lnTo>
                      <a:pt x="4812" y="1446"/>
                    </a:lnTo>
                    <a:lnTo>
                      <a:pt x="4824" y="1446"/>
                    </a:lnTo>
                    <a:lnTo>
                      <a:pt x="4854" y="1446"/>
                    </a:lnTo>
                    <a:lnTo>
                      <a:pt x="4856" y="1448"/>
                    </a:lnTo>
                    <a:lnTo>
                      <a:pt x="4858" y="1448"/>
                    </a:lnTo>
                    <a:lnTo>
                      <a:pt x="4854" y="1452"/>
                    </a:lnTo>
                    <a:lnTo>
                      <a:pt x="4848" y="1460"/>
                    </a:lnTo>
                    <a:lnTo>
                      <a:pt x="4838" y="1472"/>
                    </a:lnTo>
                    <a:lnTo>
                      <a:pt x="4830" y="1490"/>
                    </a:lnTo>
                    <a:lnTo>
                      <a:pt x="4828" y="1500"/>
                    </a:lnTo>
                    <a:lnTo>
                      <a:pt x="4824" y="1512"/>
                    </a:lnTo>
                    <a:lnTo>
                      <a:pt x="4822" y="1526"/>
                    </a:lnTo>
                    <a:lnTo>
                      <a:pt x="4818" y="1536"/>
                    </a:lnTo>
                    <a:lnTo>
                      <a:pt x="4814" y="1544"/>
                    </a:lnTo>
                    <a:lnTo>
                      <a:pt x="4810" y="1552"/>
                    </a:lnTo>
                    <a:lnTo>
                      <a:pt x="4798" y="1564"/>
                    </a:lnTo>
                    <a:lnTo>
                      <a:pt x="4784" y="1572"/>
                    </a:lnTo>
                    <a:lnTo>
                      <a:pt x="4766" y="1582"/>
                    </a:lnTo>
                    <a:lnTo>
                      <a:pt x="4748" y="1594"/>
                    </a:lnTo>
                    <a:lnTo>
                      <a:pt x="4726" y="1612"/>
                    </a:lnTo>
                    <a:lnTo>
                      <a:pt x="4716" y="1622"/>
                    </a:lnTo>
                    <a:lnTo>
                      <a:pt x="4704" y="1636"/>
                    </a:lnTo>
                    <a:lnTo>
                      <a:pt x="4664" y="1686"/>
                    </a:lnTo>
                    <a:lnTo>
                      <a:pt x="4646" y="1706"/>
                    </a:lnTo>
                    <a:lnTo>
                      <a:pt x="4630" y="1722"/>
                    </a:lnTo>
                    <a:lnTo>
                      <a:pt x="4614" y="1734"/>
                    </a:lnTo>
                    <a:lnTo>
                      <a:pt x="4600" y="1744"/>
                    </a:lnTo>
                    <a:lnTo>
                      <a:pt x="4584" y="1752"/>
                    </a:lnTo>
                    <a:lnTo>
                      <a:pt x="4568" y="1756"/>
                    </a:lnTo>
                    <a:lnTo>
                      <a:pt x="4554" y="1760"/>
                    </a:lnTo>
                    <a:lnTo>
                      <a:pt x="4546" y="1764"/>
                    </a:lnTo>
                    <a:lnTo>
                      <a:pt x="4544" y="1770"/>
                    </a:lnTo>
                    <a:lnTo>
                      <a:pt x="4542" y="1776"/>
                    </a:lnTo>
                    <a:lnTo>
                      <a:pt x="4542" y="1784"/>
                    </a:lnTo>
                    <a:lnTo>
                      <a:pt x="4540" y="1792"/>
                    </a:lnTo>
                    <a:lnTo>
                      <a:pt x="4532" y="1802"/>
                    </a:lnTo>
                    <a:lnTo>
                      <a:pt x="4520" y="1812"/>
                    </a:lnTo>
                    <a:lnTo>
                      <a:pt x="4514" y="1820"/>
                    </a:lnTo>
                    <a:lnTo>
                      <a:pt x="4508" y="1828"/>
                    </a:lnTo>
                    <a:lnTo>
                      <a:pt x="4502" y="1840"/>
                    </a:lnTo>
                    <a:lnTo>
                      <a:pt x="4498" y="1854"/>
                    </a:lnTo>
                    <a:lnTo>
                      <a:pt x="4496" y="1868"/>
                    </a:lnTo>
                    <a:lnTo>
                      <a:pt x="4494" y="1886"/>
                    </a:lnTo>
                    <a:lnTo>
                      <a:pt x="4494" y="1922"/>
                    </a:lnTo>
                    <a:lnTo>
                      <a:pt x="4496" y="1962"/>
                    </a:lnTo>
                    <a:lnTo>
                      <a:pt x="4502" y="2006"/>
                    </a:lnTo>
                    <a:lnTo>
                      <a:pt x="4508" y="2050"/>
                    </a:lnTo>
                    <a:lnTo>
                      <a:pt x="4518" y="2092"/>
                    </a:lnTo>
                    <a:lnTo>
                      <a:pt x="4520" y="2110"/>
                    </a:lnTo>
                    <a:lnTo>
                      <a:pt x="4522" y="2132"/>
                    </a:lnTo>
                    <a:lnTo>
                      <a:pt x="4526" y="2152"/>
                    </a:lnTo>
                    <a:lnTo>
                      <a:pt x="4530" y="2168"/>
                    </a:lnTo>
                    <a:lnTo>
                      <a:pt x="4532" y="2172"/>
                    </a:lnTo>
                    <a:lnTo>
                      <a:pt x="4536" y="2176"/>
                    </a:lnTo>
                    <a:lnTo>
                      <a:pt x="4542" y="2178"/>
                    </a:lnTo>
                    <a:lnTo>
                      <a:pt x="4548" y="2176"/>
                    </a:lnTo>
                    <a:lnTo>
                      <a:pt x="4556" y="2172"/>
                    </a:lnTo>
                    <a:lnTo>
                      <a:pt x="4564" y="2164"/>
                    </a:lnTo>
                    <a:lnTo>
                      <a:pt x="4574" y="2152"/>
                    </a:lnTo>
                    <a:lnTo>
                      <a:pt x="4588" y="2136"/>
                    </a:lnTo>
                    <a:lnTo>
                      <a:pt x="4594" y="2124"/>
                    </a:lnTo>
                    <a:lnTo>
                      <a:pt x="4600" y="2114"/>
                    </a:lnTo>
                    <a:lnTo>
                      <a:pt x="4608" y="2094"/>
                    </a:lnTo>
                    <a:lnTo>
                      <a:pt x="4610" y="2080"/>
                    </a:lnTo>
                    <a:lnTo>
                      <a:pt x="4612" y="2068"/>
                    </a:lnTo>
                    <a:lnTo>
                      <a:pt x="4612" y="2060"/>
                    </a:lnTo>
                    <a:lnTo>
                      <a:pt x="4614" y="2056"/>
                    </a:lnTo>
                    <a:lnTo>
                      <a:pt x="4618" y="2054"/>
                    </a:lnTo>
                    <a:lnTo>
                      <a:pt x="4626" y="2050"/>
                    </a:lnTo>
                    <a:lnTo>
                      <a:pt x="4644" y="2050"/>
                    </a:lnTo>
                    <a:lnTo>
                      <a:pt x="4654" y="2048"/>
                    </a:lnTo>
                    <a:lnTo>
                      <a:pt x="4660" y="2046"/>
                    </a:lnTo>
                    <a:lnTo>
                      <a:pt x="4664" y="2042"/>
                    </a:lnTo>
                    <a:lnTo>
                      <a:pt x="4668" y="2038"/>
                    </a:lnTo>
                    <a:lnTo>
                      <a:pt x="4670" y="2024"/>
                    </a:lnTo>
                    <a:lnTo>
                      <a:pt x="4670" y="2010"/>
                    </a:lnTo>
                    <a:lnTo>
                      <a:pt x="4670" y="1996"/>
                    </a:lnTo>
                    <a:lnTo>
                      <a:pt x="4672" y="1988"/>
                    </a:lnTo>
                    <a:lnTo>
                      <a:pt x="4676" y="1982"/>
                    </a:lnTo>
                    <a:lnTo>
                      <a:pt x="4680" y="1976"/>
                    </a:lnTo>
                    <a:lnTo>
                      <a:pt x="4686" y="1972"/>
                    </a:lnTo>
                    <a:lnTo>
                      <a:pt x="4694" y="1968"/>
                    </a:lnTo>
                    <a:lnTo>
                      <a:pt x="4704" y="1968"/>
                    </a:lnTo>
                    <a:lnTo>
                      <a:pt x="4730" y="1964"/>
                    </a:lnTo>
                    <a:lnTo>
                      <a:pt x="4740" y="1960"/>
                    </a:lnTo>
                    <a:lnTo>
                      <a:pt x="4744" y="1956"/>
                    </a:lnTo>
                    <a:lnTo>
                      <a:pt x="4748" y="1952"/>
                    </a:lnTo>
                    <a:lnTo>
                      <a:pt x="4750" y="1948"/>
                    </a:lnTo>
                    <a:lnTo>
                      <a:pt x="4750" y="1944"/>
                    </a:lnTo>
                    <a:lnTo>
                      <a:pt x="4748" y="1938"/>
                    </a:lnTo>
                    <a:lnTo>
                      <a:pt x="4744" y="1926"/>
                    </a:lnTo>
                    <a:lnTo>
                      <a:pt x="4740" y="1912"/>
                    </a:lnTo>
                    <a:lnTo>
                      <a:pt x="4738" y="1904"/>
                    </a:lnTo>
                    <a:lnTo>
                      <a:pt x="4738" y="1896"/>
                    </a:lnTo>
                    <a:lnTo>
                      <a:pt x="4740" y="1888"/>
                    </a:lnTo>
                    <a:lnTo>
                      <a:pt x="4744" y="1880"/>
                    </a:lnTo>
                    <a:lnTo>
                      <a:pt x="4748" y="1874"/>
                    </a:lnTo>
                    <a:lnTo>
                      <a:pt x="4752" y="1870"/>
                    </a:lnTo>
                    <a:lnTo>
                      <a:pt x="4756" y="1866"/>
                    </a:lnTo>
                    <a:lnTo>
                      <a:pt x="4760" y="1866"/>
                    </a:lnTo>
                    <a:lnTo>
                      <a:pt x="4770" y="1866"/>
                    </a:lnTo>
                    <a:lnTo>
                      <a:pt x="4778" y="1870"/>
                    </a:lnTo>
                    <a:lnTo>
                      <a:pt x="4784" y="1874"/>
                    </a:lnTo>
                    <a:lnTo>
                      <a:pt x="4792" y="1874"/>
                    </a:lnTo>
                    <a:lnTo>
                      <a:pt x="4794" y="1874"/>
                    </a:lnTo>
                    <a:lnTo>
                      <a:pt x="4796" y="1872"/>
                    </a:lnTo>
                    <a:lnTo>
                      <a:pt x="4800" y="1862"/>
                    </a:lnTo>
                    <a:lnTo>
                      <a:pt x="4800" y="1854"/>
                    </a:lnTo>
                    <a:lnTo>
                      <a:pt x="4800" y="1846"/>
                    </a:lnTo>
                    <a:lnTo>
                      <a:pt x="4798" y="1840"/>
                    </a:lnTo>
                    <a:lnTo>
                      <a:pt x="4796" y="1836"/>
                    </a:lnTo>
                    <a:lnTo>
                      <a:pt x="4788" y="1828"/>
                    </a:lnTo>
                    <a:lnTo>
                      <a:pt x="4782" y="1822"/>
                    </a:lnTo>
                    <a:lnTo>
                      <a:pt x="4774" y="1816"/>
                    </a:lnTo>
                    <a:lnTo>
                      <a:pt x="4772" y="1814"/>
                    </a:lnTo>
                    <a:lnTo>
                      <a:pt x="4772" y="1810"/>
                    </a:lnTo>
                    <a:lnTo>
                      <a:pt x="4772" y="1806"/>
                    </a:lnTo>
                    <a:lnTo>
                      <a:pt x="4774" y="1802"/>
                    </a:lnTo>
                    <a:lnTo>
                      <a:pt x="4782" y="1790"/>
                    </a:lnTo>
                    <a:lnTo>
                      <a:pt x="4790" y="1780"/>
                    </a:lnTo>
                    <a:lnTo>
                      <a:pt x="4794" y="1772"/>
                    </a:lnTo>
                    <a:lnTo>
                      <a:pt x="4794" y="1766"/>
                    </a:lnTo>
                    <a:lnTo>
                      <a:pt x="4792" y="1760"/>
                    </a:lnTo>
                    <a:lnTo>
                      <a:pt x="4788" y="1756"/>
                    </a:lnTo>
                    <a:lnTo>
                      <a:pt x="4782" y="1752"/>
                    </a:lnTo>
                    <a:lnTo>
                      <a:pt x="4768" y="1748"/>
                    </a:lnTo>
                    <a:lnTo>
                      <a:pt x="4756" y="1744"/>
                    </a:lnTo>
                    <a:lnTo>
                      <a:pt x="4750" y="1740"/>
                    </a:lnTo>
                    <a:lnTo>
                      <a:pt x="4746" y="1738"/>
                    </a:lnTo>
                    <a:lnTo>
                      <a:pt x="4746" y="1732"/>
                    </a:lnTo>
                    <a:lnTo>
                      <a:pt x="4748" y="1728"/>
                    </a:lnTo>
                    <a:lnTo>
                      <a:pt x="4752" y="1720"/>
                    </a:lnTo>
                    <a:lnTo>
                      <a:pt x="4762" y="1712"/>
                    </a:lnTo>
                    <a:lnTo>
                      <a:pt x="4782" y="1694"/>
                    </a:lnTo>
                    <a:lnTo>
                      <a:pt x="4794" y="1678"/>
                    </a:lnTo>
                    <a:lnTo>
                      <a:pt x="4800" y="1664"/>
                    </a:lnTo>
                    <a:lnTo>
                      <a:pt x="4804" y="1652"/>
                    </a:lnTo>
                    <a:lnTo>
                      <a:pt x="4806" y="1642"/>
                    </a:lnTo>
                    <a:lnTo>
                      <a:pt x="4810" y="1634"/>
                    </a:lnTo>
                    <a:lnTo>
                      <a:pt x="4816" y="1628"/>
                    </a:lnTo>
                    <a:lnTo>
                      <a:pt x="4828" y="1622"/>
                    </a:lnTo>
                    <a:lnTo>
                      <a:pt x="4840" y="1618"/>
                    </a:lnTo>
                    <a:lnTo>
                      <a:pt x="4848" y="1618"/>
                    </a:lnTo>
                    <a:lnTo>
                      <a:pt x="4852" y="1620"/>
                    </a:lnTo>
                    <a:lnTo>
                      <a:pt x="4854" y="1622"/>
                    </a:lnTo>
                    <a:lnTo>
                      <a:pt x="4856" y="1624"/>
                    </a:lnTo>
                    <a:lnTo>
                      <a:pt x="4862" y="1622"/>
                    </a:lnTo>
                    <a:lnTo>
                      <a:pt x="4872" y="1616"/>
                    </a:lnTo>
                    <a:lnTo>
                      <a:pt x="4888" y="1606"/>
                    </a:lnTo>
                    <a:lnTo>
                      <a:pt x="4900" y="1598"/>
                    </a:lnTo>
                    <a:lnTo>
                      <a:pt x="4908" y="1592"/>
                    </a:lnTo>
                    <a:lnTo>
                      <a:pt x="4914" y="1592"/>
                    </a:lnTo>
                    <a:lnTo>
                      <a:pt x="4916" y="1592"/>
                    </a:lnTo>
                    <a:lnTo>
                      <a:pt x="4918" y="1596"/>
                    </a:lnTo>
                    <a:lnTo>
                      <a:pt x="4918" y="1600"/>
                    </a:lnTo>
                    <a:lnTo>
                      <a:pt x="4914" y="1612"/>
                    </a:lnTo>
                    <a:lnTo>
                      <a:pt x="4910" y="1624"/>
                    </a:lnTo>
                    <a:lnTo>
                      <a:pt x="4910" y="1628"/>
                    </a:lnTo>
                    <a:lnTo>
                      <a:pt x="4910" y="1632"/>
                    </a:lnTo>
                    <a:lnTo>
                      <a:pt x="4912" y="1632"/>
                    </a:lnTo>
                    <a:lnTo>
                      <a:pt x="4916" y="1632"/>
                    </a:lnTo>
                    <a:lnTo>
                      <a:pt x="4934" y="1618"/>
                    </a:lnTo>
                    <a:lnTo>
                      <a:pt x="4958" y="1600"/>
                    </a:lnTo>
                    <a:lnTo>
                      <a:pt x="4980" y="1588"/>
                    </a:lnTo>
                    <a:lnTo>
                      <a:pt x="4990" y="1586"/>
                    </a:lnTo>
                    <a:lnTo>
                      <a:pt x="5000" y="1584"/>
                    </a:lnTo>
                    <a:lnTo>
                      <a:pt x="5016" y="1584"/>
                    </a:lnTo>
                    <a:lnTo>
                      <a:pt x="5032" y="1588"/>
                    </a:lnTo>
                    <a:lnTo>
                      <a:pt x="5048" y="1596"/>
                    </a:lnTo>
                    <a:lnTo>
                      <a:pt x="5060" y="1606"/>
                    </a:lnTo>
                    <a:lnTo>
                      <a:pt x="5072" y="1618"/>
                    </a:lnTo>
                    <a:lnTo>
                      <a:pt x="5080" y="1628"/>
                    </a:lnTo>
                    <a:lnTo>
                      <a:pt x="5082" y="1630"/>
                    </a:lnTo>
                    <a:lnTo>
                      <a:pt x="5084" y="1628"/>
                    </a:lnTo>
                    <a:lnTo>
                      <a:pt x="5086" y="1620"/>
                    </a:lnTo>
                    <a:lnTo>
                      <a:pt x="5094" y="1608"/>
                    </a:lnTo>
                    <a:lnTo>
                      <a:pt x="5108" y="1592"/>
                    </a:lnTo>
                    <a:lnTo>
                      <a:pt x="5118" y="1584"/>
                    </a:lnTo>
                    <a:lnTo>
                      <a:pt x="5132" y="1574"/>
                    </a:lnTo>
                    <a:lnTo>
                      <a:pt x="5148" y="1564"/>
                    </a:lnTo>
                    <a:lnTo>
                      <a:pt x="5168" y="1552"/>
                    </a:lnTo>
                    <a:lnTo>
                      <a:pt x="5186" y="1542"/>
                    </a:lnTo>
                    <a:lnTo>
                      <a:pt x="5202" y="1532"/>
                    </a:lnTo>
                    <a:lnTo>
                      <a:pt x="5236" y="1508"/>
                    </a:lnTo>
                    <a:lnTo>
                      <a:pt x="5252" y="1496"/>
                    </a:lnTo>
                    <a:lnTo>
                      <a:pt x="5272" y="1484"/>
                    </a:lnTo>
                    <a:lnTo>
                      <a:pt x="5290" y="1474"/>
                    </a:lnTo>
                    <a:lnTo>
                      <a:pt x="5312" y="1466"/>
                    </a:lnTo>
                    <a:lnTo>
                      <a:pt x="5330" y="1460"/>
                    </a:lnTo>
                    <a:lnTo>
                      <a:pt x="5348" y="1456"/>
                    </a:lnTo>
                    <a:lnTo>
                      <a:pt x="5362" y="1454"/>
                    </a:lnTo>
                    <a:lnTo>
                      <a:pt x="5374" y="1454"/>
                    </a:lnTo>
                    <a:lnTo>
                      <a:pt x="5396" y="1456"/>
                    </a:lnTo>
                    <a:lnTo>
                      <a:pt x="5410" y="1460"/>
                    </a:lnTo>
                    <a:lnTo>
                      <a:pt x="5422" y="1464"/>
                    </a:lnTo>
                    <a:lnTo>
                      <a:pt x="5430" y="1466"/>
                    </a:lnTo>
                    <a:lnTo>
                      <a:pt x="5434" y="1466"/>
                    </a:lnTo>
                    <a:lnTo>
                      <a:pt x="5438" y="1464"/>
                    </a:lnTo>
                    <a:lnTo>
                      <a:pt x="5448" y="1458"/>
                    </a:lnTo>
                    <a:lnTo>
                      <a:pt x="5454" y="1448"/>
                    </a:lnTo>
                    <a:lnTo>
                      <a:pt x="5458" y="1440"/>
                    </a:lnTo>
                    <a:lnTo>
                      <a:pt x="5456" y="1432"/>
                    </a:lnTo>
                    <a:lnTo>
                      <a:pt x="5450" y="1422"/>
                    </a:lnTo>
                    <a:lnTo>
                      <a:pt x="5436" y="1400"/>
                    </a:lnTo>
                    <a:lnTo>
                      <a:pt x="5428" y="1386"/>
                    </a:lnTo>
                    <a:lnTo>
                      <a:pt x="5420" y="1368"/>
                    </a:lnTo>
                    <a:lnTo>
                      <a:pt x="5412" y="1348"/>
                    </a:lnTo>
                    <a:lnTo>
                      <a:pt x="5404" y="1338"/>
                    </a:lnTo>
                    <a:lnTo>
                      <a:pt x="5400" y="1336"/>
                    </a:lnTo>
                    <a:lnTo>
                      <a:pt x="5396" y="1336"/>
                    </a:lnTo>
                    <a:lnTo>
                      <a:pt x="5390" y="1336"/>
                    </a:lnTo>
                    <a:lnTo>
                      <a:pt x="5384" y="1338"/>
                    </a:lnTo>
                    <a:lnTo>
                      <a:pt x="5378" y="1338"/>
                    </a:lnTo>
                    <a:lnTo>
                      <a:pt x="5376" y="1336"/>
                    </a:lnTo>
                    <a:lnTo>
                      <a:pt x="5374" y="1334"/>
                    </a:lnTo>
                    <a:lnTo>
                      <a:pt x="5368" y="1322"/>
                    </a:lnTo>
                    <a:lnTo>
                      <a:pt x="5368" y="1316"/>
                    </a:lnTo>
                    <a:lnTo>
                      <a:pt x="5368" y="1312"/>
                    </a:lnTo>
                    <a:lnTo>
                      <a:pt x="5372" y="1310"/>
                    </a:lnTo>
                    <a:lnTo>
                      <a:pt x="5374" y="1308"/>
                    </a:lnTo>
                    <a:lnTo>
                      <a:pt x="5384" y="1308"/>
                    </a:lnTo>
                    <a:lnTo>
                      <a:pt x="5398" y="1310"/>
                    </a:lnTo>
                    <a:lnTo>
                      <a:pt x="5414" y="1312"/>
                    </a:lnTo>
                    <a:lnTo>
                      <a:pt x="5432" y="1310"/>
                    </a:lnTo>
                    <a:lnTo>
                      <a:pt x="5440" y="1308"/>
                    </a:lnTo>
                    <a:lnTo>
                      <a:pt x="5448" y="1304"/>
                    </a:lnTo>
                    <a:lnTo>
                      <a:pt x="5454" y="1298"/>
                    </a:lnTo>
                    <a:lnTo>
                      <a:pt x="5462" y="1292"/>
                    </a:lnTo>
                    <a:lnTo>
                      <a:pt x="5478" y="1272"/>
                    </a:lnTo>
                    <a:lnTo>
                      <a:pt x="5478" y="1258"/>
                    </a:lnTo>
                    <a:lnTo>
                      <a:pt x="5486" y="1248"/>
                    </a:lnTo>
                    <a:lnTo>
                      <a:pt x="5490" y="1244"/>
                    </a:lnTo>
                    <a:lnTo>
                      <a:pt x="5490" y="1240"/>
                    </a:lnTo>
                    <a:lnTo>
                      <a:pt x="5490" y="1236"/>
                    </a:lnTo>
                    <a:lnTo>
                      <a:pt x="5488" y="1232"/>
                    </a:lnTo>
                    <a:lnTo>
                      <a:pt x="5480" y="1220"/>
                    </a:lnTo>
                    <a:lnTo>
                      <a:pt x="5478" y="1216"/>
                    </a:lnTo>
                    <a:lnTo>
                      <a:pt x="5478" y="1204"/>
                    </a:lnTo>
                    <a:lnTo>
                      <a:pt x="5480" y="1200"/>
                    </a:lnTo>
                    <a:lnTo>
                      <a:pt x="5484" y="1200"/>
                    </a:lnTo>
                    <a:lnTo>
                      <a:pt x="5490" y="1200"/>
                    </a:lnTo>
                    <a:lnTo>
                      <a:pt x="5496" y="1202"/>
                    </a:lnTo>
                    <a:lnTo>
                      <a:pt x="5502" y="1206"/>
                    </a:lnTo>
                    <a:lnTo>
                      <a:pt x="5510" y="1212"/>
                    </a:lnTo>
                    <a:lnTo>
                      <a:pt x="5516" y="1220"/>
                    </a:lnTo>
                    <a:lnTo>
                      <a:pt x="5520" y="1230"/>
                    </a:lnTo>
                    <a:lnTo>
                      <a:pt x="5524" y="1238"/>
                    </a:lnTo>
                    <a:lnTo>
                      <a:pt x="5530" y="1242"/>
                    </a:lnTo>
                    <a:lnTo>
                      <a:pt x="5536" y="1244"/>
                    </a:lnTo>
                    <a:lnTo>
                      <a:pt x="5542" y="1246"/>
                    </a:lnTo>
                    <a:lnTo>
                      <a:pt x="5556" y="1244"/>
                    </a:lnTo>
                    <a:lnTo>
                      <a:pt x="5572" y="1242"/>
                    </a:lnTo>
                    <a:lnTo>
                      <a:pt x="5588" y="1238"/>
                    </a:lnTo>
                    <a:lnTo>
                      <a:pt x="5596" y="1238"/>
                    </a:lnTo>
                    <a:lnTo>
                      <a:pt x="5604" y="1238"/>
                    </a:lnTo>
                    <a:lnTo>
                      <a:pt x="5610" y="1242"/>
                    </a:lnTo>
                    <a:lnTo>
                      <a:pt x="5618" y="1246"/>
                    </a:lnTo>
                    <a:lnTo>
                      <a:pt x="5624" y="1252"/>
                    </a:lnTo>
                    <a:lnTo>
                      <a:pt x="5628" y="1262"/>
                    </a:lnTo>
                    <a:lnTo>
                      <a:pt x="5638" y="1278"/>
                    </a:lnTo>
                    <a:lnTo>
                      <a:pt x="5648" y="1290"/>
                    </a:lnTo>
                    <a:lnTo>
                      <a:pt x="5656" y="1294"/>
                    </a:lnTo>
                    <a:lnTo>
                      <a:pt x="5664" y="1296"/>
                    </a:lnTo>
                    <a:lnTo>
                      <a:pt x="5674" y="1298"/>
                    </a:lnTo>
                    <a:lnTo>
                      <a:pt x="5682" y="1298"/>
                    </a:lnTo>
                    <a:lnTo>
                      <a:pt x="5690" y="1302"/>
                    </a:lnTo>
                    <a:lnTo>
                      <a:pt x="5696" y="1310"/>
                    </a:lnTo>
                    <a:lnTo>
                      <a:pt x="5700" y="1316"/>
                    </a:lnTo>
                    <a:lnTo>
                      <a:pt x="5706" y="1320"/>
                    </a:lnTo>
                    <a:lnTo>
                      <a:pt x="5710" y="1322"/>
                    </a:lnTo>
                    <a:lnTo>
                      <a:pt x="5716" y="1322"/>
                    </a:lnTo>
                    <a:lnTo>
                      <a:pt x="5726" y="1322"/>
                    </a:lnTo>
                    <a:lnTo>
                      <a:pt x="5738" y="1318"/>
                    </a:lnTo>
                    <a:lnTo>
                      <a:pt x="5748" y="1310"/>
                    </a:lnTo>
                    <a:lnTo>
                      <a:pt x="5756" y="1298"/>
                    </a:lnTo>
                    <a:lnTo>
                      <a:pt x="5764" y="1284"/>
                    </a:lnTo>
                    <a:lnTo>
                      <a:pt x="5766" y="1268"/>
                    </a:lnTo>
                    <a:lnTo>
                      <a:pt x="5768" y="1254"/>
                    </a:lnTo>
                    <a:lnTo>
                      <a:pt x="5770" y="1248"/>
                    </a:lnTo>
                    <a:lnTo>
                      <a:pt x="5774" y="1246"/>
                    </a:lnTo>
                    <a:lnTo>
                      <a:pt x="5782" y="1240"/>
                    </a:lnTo>
                    <a:lnTo>
                      <a:pt x="5792" y="1238"/>
                    </a:lnTo>
                    <a:lnTo>
                      <a:pt x="5802" y="1238"/>
                    </a:lnTo>
                    <a:lnTo>
                      <a:pt x="5816" y="1234"/>
                    </a:lnTo>
                    <a:lnTo>
                      <a:pt x="5830" y="1228"/>
                    </a:lnTo>
                    <a:lnTo>
                      <a:pt x="5836" y="1222"/>
                    </a:lnTo>
                    <a:lnTo>
                      <a:pt x="5844" y="1216"/>
                    </a:lnTo>
                    <a:lnTo>
                      <a:pt x="5854" y="1204"/>
                    </a:lnTo>
                    <a:lnTo>
                      <a:pt x="5856" y="1198"/>
                    </a:lnTo>
                    <a:lnTo>
                      <a:pt x="5856" y="1196"/>
                    </a:lnTo>
                    <a:lnTo>
                      <a:pt x="5854" y="1194"/>
                    </a:lnTo>
                    <a:lnTo>
                      <a:pt x="5846" y="1194"/>
                    </a:lnTo>
                    <a:lnTo>
                      <a:pt x="5836" y="1192"/>
                    </a:lnTo>
                    <a:lnTo>
                      <a:pt x="5824" y="1188"/>
                    </a:lnTo>
                    <a:lnTo>
                      <a:pt x="5816" y="1184"/>
                    </a:lnTo>
                    <a:lnTo>
                      <a:pt x="5810" y="1180"/>
                    </a:lnTo>
                    <a:lnTo>
                      <a:pt x="5804" y="1174"/>
                    </a:lnTo>
                    <a:lnTo>
                      <a:pt x="5798" y="1166"/>
                    </a:lnTo>
                    <a:close/>
                  </a:path>
                </a:pathLst>
              </a:custGeom>
              <a:solidFill>
                <a:srgbClr val="C00000"/>
              </a:solid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40" name="Freeform 6004">
                <a:extLst>
                  <a:ext uri="{FF2B5EF4-FFF2-40B4-BE49-F238E27FC236}">
                    <a16:creationId xmlns:a16="http://schemas.microsoft.com/office/drawing/2014/main" id="{9EB492D9-9491-4177-6ABE-DE4A26FF8C04}"/>
                  </a:ext>
                </a:extLst>
              </p:cNvPr>
              <p:cNvSpPr>
                <a:spLocks/>
              </p:cNvSpPr>
              <p:nvPr/>
            </p:nvSpPr>
            <p:spPr bwMode="auto">
              <a:xfrm>
                <a:off x="3537764" y="3604257"/>
                <a:ext cx="5081" cy="6348"/>
              </a:xfrm>
              <a:custGeom>
                <a:avLst/>
                <a:gdLst/>
                <a:ahLst/>
                <a:cxnLst>
                  <a:cxn ang="0">
                    <a:pos x="0" y="6"/>
                  </a:cxn>
                  <a:cxn ang="0">
                    <a:pos x="0" y="6"/>
                  </a:cxn>
                  <a:cxn ang="0">
                    <a:pos x="2" y="8"/>
                  </a:cxn>
                  <a:cxn ang="0">
                    <a:pos x="4" y="10"/>
                  </a:cxn>
                  <a:cxn ang="0">
                    <a:pos x="6" y="8"/>
                  </a:cxn>
                  <a:cxn ang="0">
                    <a:pos x="8" y="4"/>
                  </a:cxn>
                  <a:cxn ang="0">
                    <a:pos x="8" y="4"/>
                  </a:cxn>
                  <a:cxn ang="0">
                    <a:pos x="6" y="0"/>
                  </a:cxn>
                  <a:cxn ang="0">
                    <a:pos x="4" y="2"/>
                  </a:cxn>
                  <a:cxn ang="0">
                    <a:pos x="2" y="4"/>
                  </a:cxn>
                  <a:cxn ang="0">
                    <a:pos x="0" y="6"/>
                  </a:cxn>
                  <a:cxn ang="0">
                    <a:pos x="0" y="6"/>
                  </a:cxn>
                </a:cxnLst>
                <a:rect l="0" t="0" r="r" b="b"/>
                <a:pathLst>
                  <a:path w="8" h="10">
                    <a:moveTo>
                      <a:pt x="0" y="6"/>
                    </a:moveTo>
                    <a:lnTo>
                      <a:pt x="0" y="6"/>
                    </a:lnTo>
                    <a:lnTo>
                      <a:pt x="2" y="8"/>
                    </a:lnTo>
                    <a:lnTo>
                      <a:pt x="4" y="10"/>
                    </a:lnTo>
                    <a:lnTo>
                      <a:pt x="6" y="8"/>
                    </a:lnTo>
                    <a:lnTo>
                      <a:pt x="8" y="4"/>
                    </a:lnTo>
                    <a:lnTo>
                      <a:pt x="8" y="4"/>
                    </a:lnTo>
                    <a:lnTo>
                      <a:pt x="6" y="0"/>
                    </a:lnTo>
                    <a:lnTo>
                      <a:pt x="4" y="2"/>
                    </a:lnTo>
                    <a:lnTo>
                      <a:pt x="2" y="4"/>
                    </a:lnTo>
                    <a:lnTo>
                      <a:pt x="0" y="6"/>
                    </a:lnTo>
                    <a:lnTo>
                      <a:pt x="0" y="6"/>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grpSp>
            <p:nvGrpSpPr>
              <p:cNvPr id="241" name="Gruppe 224">
                <a:extLst>
                  <a:ext uri="{FF2B5EF4-FFF2-40B4-BE49-F238E27FC236}">
                    <a16:creationId xmlns:a16="http://schemas.microsoft.com/office/drawing/2014/main" id="{B27839C3-F12E-2CE9-5ECE-932CCCA042F9}"/>
                  </a:ext>
                </a:extLst>
              </p:cNvPr>
              <p:cNvGrpSpPr/>
              <p:nvPr/>
            </p:nvGrpSpPr>
            <p:grpSpPr bwMode="auto">
              <a:xfrm>
                <a:off x="61887" y="752420"/>
                <a:ext cx="3986398" cy="2950877"/>
                <a:chOff x="93979" y="699453"/>
                <a:chExt cx="3986530" cy="2951480"/>
              </a:xfrm>
              <a:grpFill/>
            </p:grpSpPr>
            <p:sp>
              <p:nvSpPr>
                <p:cNvPr id="249" name="Freeform 6016">
                  <a:extLst>
                    <a:ext uri="{FF2B5EF4-FFF2-40B4-BE49-F238E27FC236}">
                      <a16:creationId xmlns:a16="http://schemas.microsoft.com/office/drawing/2014/main" id="{FD6F4C72-4DC8-C6B3-CE27-D23C474E991B}"/>
                    </a:ext>
                  </a:extLst>
                </p:cNvPr>
                <p:cNvSpPr>
                  <a:spLocks/>
                </p:cNvSpPr>
                <p:nvPr/>
              </p:nvSpPr>
              <p:spPr bwMode="auto">
                <a:xfrm>
                  <a:off x="1352550" y="1099503"/>
                  <a:ext cx="40640" cy="26670"/>
                </a:xfrm>
                <a:custGeom>
                  <a:avLst/>
                  <a:gdLst/>
                  <a:ahLst/>
                  <a:cxnLst>
                    <a:cxn ang="0">
                      <a:pos x="54" y="2"/>
                    </a:cxn>
                    <a:cxn ang="0">
                      <a:pos x="54" y="2"/>
                    </a:cxn>
                    <a:cxn ang="0">
                      <a:pos x="32" y="12"/>
                    </a:cxn>
                    <a:cxn ang="0">
                      <a:pos x="10" y="24"/>
                    </a:cxn>
                    <a:cxn ang="0">
                      <a:pos x="4" y="30"/>
                    </a:cxn>
                    <a:cxn ang="0">
                      <a:pos x="0" y="36"/>
                    </a:cxn>
                    <a:cxn ang="0">
                      <a:pos x="2" y="38"/>
                    </a:cxn>
                    <a:cxn ang="0">
                      <a:pos x="4" y="40"/>
                    </a:cxn>
                    <a:cxn ang="0">
                      <a:pos x="16" y="42"/>
                    </a:cxn>
                    <a:cxn ang="0">
                      <a:pos x="16" y="42"/>
                    </a:cxn>
                    <a:cxn ang="0">
                      <a:pos x="22" y="42"/>
                    </a:cxn>
                    <a:cxn ang="0">
                      <a:pos x="28" y="42"/>
                    </a:cxn>
                    <a:cxn ang="0">
                      <a:pos x="40" y="36"/>
                    </a:cxn>
                    <a:cxn ang="0">
                      <a:pos x="50" y="28"/>
                    </a:cxn>
                    <a:cxn ang="0">
                      <a:pos x="58" y="20"/>
                    </a:cxn>
                    <a:cxn ang="0">
                      <a:pos x="62" y="10"/>
                    </a:cxn>
                    <a:cxn ang="0">
                      <a:pos x="64" y="4"/>
                    </a:cxn>
                    <a:cxn ang="0">
                      <a:pos x="64" y="2"/>
                    </a:cxn>
                    <a:cxn ang="0">
                      <a:pos x="62" y="0"/>
                    </a:cxn>
                    <a:cxn ang="0">
                      <a:pos x="58" y="0"/>
                    </a:cxn>
                    <a:cxn ang="0">
                      <a:pos x="54" y="2"/>
                    </a:cxn>
                    <a:cxn ang="0">
                      <a:pos x="54" y="2"/>
                    </a:cxn>
                  </a:cxnLst>
                  <a:rect l="0" t="0" r="r" b="b"/>
                  <a:pathLst>
                    <a:path w="64" h="42">
                      <a:moveTo>
                        <a:pt x="54" y="2"/>
                      </a:moveTo>
                      <a:lnTo>
                        <a:pt x="54" y="2"/>
                      </a:lnTo>
                      <a:lnTo>
                        <a:pt x="32" y="12"/>
                      </a:lnTo>
                      <a:lnTo>
                        <a:pt x="10" y="24"/>
                      </a:lnTo>
                      <a:lnTo>
                        <a:pt x="4" y="30"/>
                      </a:lnTo>
                      <a:lnTo>
                        <a:pt x="0" y="36"/>
                      </a:lnTo>
                      <a:lnTo>
                        <a:pt x="2" y="38"/>
                      </a:lnTo>
                      <a:lnTo>
                        <a:pt x="4" y="40"/>
                      </a:lnTo>
                      <a:lnTo>
                        <a:pt x="16" y="42"/>
                      </a:lnTo>
                      <a:lnTo>
                        <a:pt x="16" y="42"/>
                      </a:lnTo>
                      <a:lnTo>
                        <a:pt x="22" y="42"/>
                      </a:lnTo>
                      <a:lnTo>
                        <a:pt x="28" y="42"/>
                      </a:lnTo>
                      <a:lnTo>
                        <a:pt x="40" y="36"/>
                      </a:lnTo>
                      <a:lnTo>
                        <a:pt x="50" y="28"/>
                      </a:lnTo>
                      <a:lnTo>
                        <a:pt x="58" y="20"/>
                      </a:lnTo>
                      <a:lnTo>
                        <a:pt x="62" y="10"/>
                      </a:lnTo>
                      <a:lnTo>
                        <a:pt x="64" y="4"/>
                      </a:lnTo>
                      <a:lnTo>
                        <a:pt x="64" y="2"/>
                      </a:lnTo>
                      <a:lnTo>
                        <a:pt x="62" y="0"/>
                      </a:lnTo>
                      <a:lnTo>
                        <a:pt x="58" y="0"/>
                      </a:lnTo>
                      <a:lnTo>
                        <a:pt x="54" y="2"/>
                      </a:lnTo>
                      <a:lnTo>
                        <a:pt x="54" y="2"/>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50" name="Freeform 6017">
                  <a:extLst>
                    <a:ext uri="{FF2B5EF4-FFF2-40B4-BE49-F238E27FC236}">
                      <a16:creationId xmlns:a16="http://schemas.microsoft.com/office/drawing/2014/main" id="{FE096C02-9792-C7EB-13E9-3279552818F2}"/>
                    </a:ext>
                  </a:extLst>
                </p:cNvPr>
                <p:cNvSpPr>
                  <a:spLocks/>
                </p:cNvSpPr>
                <p:nvPr/>
              </p:nvSpPr>
              <p:spPr bwMode="auto">
                <a:xfrm>
                  <a:off x="1184910" y="1173163"/>
                  <a:ext cx="270510" cy="165100"/>
                </a:xfrm>
                <a:custGeom>
                  <a:avLst/>
                  <a:gdLst/>
                  <a:ahLst/>
                  <a:cxnLst>
                    <a:cxn ang="0">
                      <a:pos x="20" y="198"/>
                    </a:cxn>
                    <a:cxn ang="0">
                      <a:pos x="68" y="214"/>
                    </a:cxn>
                    <a:cxn ang="0">
                      <a:pos x="92" y="232"/>
                    </a:cxn>
                    <a:cxn ang="0">
                      <a:pos x="106" y="256"/>
                    </a:cxn>
                    <a:cxn ang="0">
                      <a:pos x="116" y="260"/>
                    </a:cxn>
                    <a:cxn ang="0">
                      <a:pos x="146" y="248"/>
                    </a:cxn>
                    <a:cxn ang="0">
                      <a:pos x="168" y="236"/>
                    </a:cxn>
                    <a:cxn ang="0">
                      <a:pos x="184" y="238"/>
                    </a:cxn>
                    <a:cxn ang="0">
                      <a:pos x="208" y="232"/>
                    </a:cxn>
                    <a:cxn ang="0">
                      <a:pos x="216" y="226"/>
                    </a:cxn>
                    <a:cxn ang="0">
                      <a:pos x="224" y="200"/>
                    </a:cxn>
                    <a:cxn ang="0">
                      <a:pos x="232" y="178"/>
                    </a:cxn>
                    <a:cxn ang="0">
                      <a:pos x="254" y="172"/>
                    </a:cxn>
                    <a:cxn ang="0">
                      <a:pos x="266" y="158"/>
                    </a:cxn>
                    <a:cxn ang="0">
                      <a:pos x="280" y="140"/>
                    </a:cxn>
                    <a:cxn ang="0">
                      <a:pos x="322" y="124"/>
                    </a:cxn>
                    <a:cxn ang="0">
                      <a:pos x="392" y="94"/>
                    </a:cxn>
                    <a:cxn ang="0">
                      <a:pos x="418" y="86"/>
                    </a:cxn>
                    <a:cxn ang="0">
                      <a:pos x="424" y="72"/>
                    </a:cxn>
                    <a:cxn ang="0">
                      <a:pos x="408" y="64"/>
                    </a:cxn>
                    <a:cxn ang="0">
                      <a:pos x="370" y="40"/>
                    </a:cxn>
                    <a:cxn ang="0">
                      <a:pos x="334" y="22"/>
                    </a:cxn>
                    <a:cxn ang="0">
                      <a:pos x="302" y="22"/>
                    </a:cxn>
                    <a:cxn ang="0">
                      <a:pos x="284" y="30"/>
                    </a:cxn>
                    <a:cxn ang="0">
                      <a:pos x="276" y="40"/>
                    </a:cxn>
                    <a:cxn ang="0">
                      <a:pos x="272" y="36"/>
                    </a:cxn>
                    <a:cxn ang="0">
                      <a:pos x="268" y="26"/>
                    </a:cxn>
                    <a:cxn ang="0">
                      <a:pos x="260" y="26"/>
                    </a:cxn>
                    <a:cxn ang="0">
                      <a:pos x="234" y="22"/>
                    </a:cxn>
                    <a:cxn ang="0">
                      <a:pos x="192" y="2"/>
                    </a:cxn>
                    <a:cxn ang="0">
                      <a:pos x="168" y="0"/>
                    </a:cxn>
                    <a:cxn ang="0">
                      <a:pos x="138" y="6"/>
                    </a:cxn>
                    <a:cxn ang="0">
                      <a:pos x="54" y="16"/>
                    </a:cxn>
                    <a:cxn ang="0">
                      <a:pos x="50" y="20"/>
                    </a:cxn>
                    <a:cxn ang="0">
                      <a:pos x="56" y="28"/>
                    </a:cxn>
                    <a:cxn ang="0">
                      <a:pos x="64" y="46"/>
                    </a:cxn>
                    <a:cxn ang="0">
                      <a:pos x="76" y="52"/>
                    </a:cxn>
                    <a:cxn ang="0">
                      <a:pos x="86" y="60"/>
                    </a:cxn>
                    <a:cxn ang="0">
                      <a:pos x="74" y="72"/>
                    </a:cxn>
                    <a:cxn ang="0">
                      <a:pos x="72" y="80"/>
                    </a:cxn>
                    <a:cxn ang="0">
                      <a:pos x="58" y="84"/>
                    </a:cxn>
                    <a:cxn ang="0">
                      <a:pos x="56" y="90"/>
                    </a:cxn>
                    <a:cxn ang="0">
                      <a:pos x="48" y="106"/>
                    </a:cxn>
                    <a:cxn ang="0">
                      <a:pos x="46" y="114"/>
                    </a:cxn>
                    <a:cxn ang="0">
                      <a:pos x="56" y="122"/>
                    </a:cxn>
                    <a:cxn ang="0">
                      <a:pos x="44" y="126"/>
                    </a:cxn>
                    <a:cxn ang="0">
                      <a:pos x="30" y="130"/>
                    </a:cxn>
                    <a:cxn ang="0">
                      <a:pos x="34" y="140"/>
                    </a:cxn>
                    <a:cxn ang="0">
                      <a:pos x="22" y="160"/>
                    </a:cxn>
                    <a:cxn ang="0">
                      <a:pos x="4" y="182"/>
                    </a:cxn>
                    <a:cxn ang="0">
                      <a:pos x="0" y="192"/>
                    </a:cxn>
                    <a:cxn ang="0">
                      <a:pos x="2" y="196"/>
                    </a:cxn>
                  </a:cxnLst>
                  <a:rect l="0" t="0" r="r" b="b"/>
                  <a:pathLst>
                    <a:path w="426" h="260">
                      <a:moveTo>
                        <a:pt x="2" y="196"/>
                      </a:moveTo>
                      <a:lnTo>
                        <a:pt x="2" y="196"/>
                      </a:lnTo>
                      <a:lnTo>
                        <a:pt x="20" y="198"/>
                      </a:lnTo>
                      <a:lnTo>
                        <a:pt x="38" y="204"/>
                      </a:lnTo>
                      <a:lnTo>
                        <a:pt x="68" y="214"/>
                      </a:lnTo>
                      <a:lnTo>
                        <a:pt x="68" y="214"/>
                      </a:lnTo>
                      <a:lnTo>
                        <a:pt x="78" y="220"/>
                      </a:lnTo>
                      <a:lnTo>
                        <a:pt x="86" y="226"/>
                      </a:lnTo>
                      <a:lnTo>
                        <a:pt x="92" y="232"/>
                      </a:lnTo>
                      <a:lnTo>
                        <a:pt x="96" y="240"/>
                      </a:lnTo>
                      <a:lnTo>
                        <a:pt x="102" y="252"/>
                      </a:lnTo>
                      <a:lnTo>
                        <a:pt x="106" y="256"/>
                      </a:lnTo>
                      <a:lnTo>
                        <a:pt x="110" y="260"/>
                      </a:lnTo>
                      <a:lnTo>
                        <a:pt x="110" y="260"/>
                      </a:lnTo>
                      <a:lnTo>
                        <a:pt x="116" y="260"/>
                      </a:lnTo>
                      <a:lnTo>
                        <a:pt x="122" y="260"/>
                      </a:lnTo>
                      <a:lnTo>
                        <a:pt x="134" y="256"/>
                      </a:lnTo>
                      <a:lnTo>
                        <a:pt x="146" y="248"/>
                      </a:lnTo>
                      <a:lnTo>
                        <a:pt x="160" y="240"/>
                      </a:lnTo>
                      <a:lnTo>
                        <a:pt x="160" y="240"/>
                      </a:lnTo>
                      <a:lnTo>
                        <a:pt x="168" y="236"/>
                      </a:lnTo>
                      <a:lnTo>
                        <a:pt x="172" y="234"/>
                      </a:lnTo>
                      <a:lnTo>
                        <a:pt x="180" y="236"/>
                      </a:lnTo>
                      <a:lnTo>
                        <a:pt x="184" y="238"/>
                      </a:lnTo>
                      <a:lnTo>
                        <a:pt x="190" y="238"/>
                      </a:lnTo>
                      <a:lnTo>
                        <a:pt x="198" y="236"/>
                      </a:lnTo>
                      <a:lnTo>
                        <a:pt x="208" y="232"/>
                      </a:lnTo>
                      <a:lnTo>
                        <a:pt x="208" y="232"/>
                      </a:lnTo>
                      <a:lnTo>
                        <a:pt x="212" y="230"/>
                      </a:lnTo>
                      <a:lnTo>
                        <a:pt x="216" y="226"/>
                      </a:lnTo>
                      <a:lnTo>
                        <a:pt x="222" y="218"/>
                      </a:lnTo>
                      <a:lnTo>
                        <a:pt x="224" y="210"/>
                      </a:lnTo>
                      <a:lnTo>
                        <a:pt x="224" y="200"/>
                      </a:lnTo>
                      <a:lnTo>
                        <a:pt x="224" y="192"/>
                      </a:lnTo>
                      <a:lnTo>
                        <a:pt x="226" y="184"/>
                      </a:lnTo>
                      <a:lnTo>
                        <a:pt x="232" y="178"/>
                      </a:lnTo>
                      <a:lnTo>
                        <a:pt x="244" y="174"/>
                      </a:lnTo>
                      <a:lnTo>
                        <a:pt x="244" y="174"/>
                      </a:lnTo>
                      <a:lnTo>
                        <a:pt x="254" y="172"/>
                      </a:lnTo>
                      <a:lnTo>
                        <a:pt x="260" y="170"/>
                      </a:lnTo>
                      <a:lnTo>
                        <a:pt x="264" y="164"/>
                      </a:lnTo>
                      <a:lnTo>
                        <a:pt x="266" y="158"/>
                      </a:lnTo>
                      <a:lnTo>
                        <a:pt x="268" y="152"/>
                      </a:lnTo>
                      <a:lnTo>
                        <a:pt x="272" y="146"/>
                      </a:lnTo>
                      <a:lnTo>
                        <a:pt x="280" y="140"/>
                      </a:lnTo>
                      <a:lnTo>
                        <a:pt x="292" y="136"/>
                      </a:lnTo>
                      <a:lnTo>
                        <a:pt x="292" y="136"/>
                      </a:lnTo>
                      <a:lnTo>
                        <a:pt x="322" y="124"/>
                      </a:lnTo>
                      <a:lnTo>
                        <a:pt x="348" y="112"/>
                      </a:lnTo>
                      <a:lnTo>
                        <a:pt x="370" y="102"/>
                      </a:lnTo>
                      <a:lnTo>
                        <a:pt x="392" y="94"/>
                      </a:lnTo>
                      <a:lnTo>
                        <a:pt x="392" y="94"/>
                      </a:lnTo>
                      <a:lnTo>
                        <a:pt x="408" y="90"/>
                      </a:lnTo>
                      <a:lnTo>
                        <a:pt x="418" y="86"/>
                      </a:lnTo>
                      <a:lnTo>
                        <a:pt x="424" y="82"/>
                      </a:lnTo>
                      <a:lnTo>
                        <a:pt x="426" y="76"/>
                      </a:lnTo>
                      <a:lnTo>
                        <a:pt x="424" y="72"/>
                      </a:lnTo>
                      <a:lnTo>
                        <a:pt x="420" y="70"/>
                      </a:lnTo>
                      <a:lnTo>
                        <a:pt x="408" y="64"/>
                      </a:lnTo>
                      <a:lnTo>
                        <a:pt x="408" y="64"/>
                      </a:lnTo>
                      <a:lnTo>
                        <a:pt x="398" y="60"/>
                      </a:lnTo>
                      <a:lnTo>
                        <a:pt x="390" y="54"/>
                      </a:lnTo>
                      <a:lnTo>
                        <a:pt x="370" y="40"/>
                      </a:lnTo>
                      <a:lnTo>
                        <a:pt x="360" y="32"/>
                      </a:lnTo>
                      <a:lnTo>
                        <a:pt x="348" y="26"/>
                      </a:lnTo>
                      <a:lnTo>
                        <a:pt x="334" y="22"/>
                      </a:lnTo>
                      <a:lnTo>
                        <a:pt x="318" y="22"/>
                      </a:lnTo>
                      <a:lnTo>
                        <a:pt x="318" y="22"/>
                      </a:lnTo>
                      <a:lnTo>
                        <a:pt x="302" y="22"/>
                      </a:lnTo>
                      <a:lnTo>
                        <a:pt x="294" y="24"/>
                      </a:lnTo>
                      <a:lnTo>
                        <a:pt x="288" y="26"/>
                      </a:lnTo>
                      <a:lnTo>
                        <a:pt x="284" y="30"/>
                      </a:lnTo>
                      <a:lnTo>
                        <a:pt x="282" y="36"/>
                      </a:lnTo>
                      <a:lnTo>
                        <a:pt x="280" y="38"/>
                      </a:lnTo>
                      <a:lnTo>
                        <a:pt x="276" y="40"/>
                      </a:lnTo>
                      <a:lnTo>
                        <a:pt x="276" y="40"/>
                      </a:lnTo>
                      <a:lnTo>
                        <a:pt x="272" y="40"/>
                      </a:lnTo>
                      <a:lnTo>
                        <a:pt x="272" y="36"/>
                      </a:lnTo>
                      <a:lnTo>
                        <a:pt x="272" y="32"/>
                      </a:lnTo>
                      <a:lnTo>
                        <a:pt x="272" y="30"/>
                      </a:lnTo>
                      <a:lnTo>
                        <a:pt x="268" y="26"/>
                      </a:lnTo>
                      <a:lnTo>
                        <a:pt x="268" y="26"/>
                      </a:lnTo>
                      <a:lnTo>
                        <a:pt x="266" y="26"/>
                      </a:lnTo>
                      <a:lnTo>
                        <a:pt x="260" y="26"/>
                      </a:lnTo>
                      <a:lnTo>
                        <a:pt x="250" y="24"/>
                      </a:lnTo>
                      <a:lnTo>
                        <a:pt x="234" y="22"/>
                      </a:lnTo>
                      <a:lnTo>
                        <a:pt x="234" y="22"/>
                      </a:lnTo>
                      <a:lnTo>
                        <a:pt x="218" y="16"/>
                      </a:lnTo>
                      <a:lnTo>
                        <a:pt x="208" y="12"/>
                      </a:lnTo>
                      <a:lnTo>
                        <a:pt x="192" y="2"/>
                      </a:lnTo>
                      <a:lnTo>
                        <a:pt x="186" y="0"/>
                      </a:lnTo>
                      <a:lnTo>
                        <a:pt x="178" y="0"/>
                      </a:lnTo>
                      <a:lnTo>
                        <a:pt x="168" y="0"/>
                      </a:lnTo>
                      <a:lnTo>
                        <a:pt x="154" y="2"/>
                      </a:lnTo>
                      <a:lnTo>
                        <a:pt x="154" y="2"/>
                      </a:lnTo>
                      <a:lnTo>
                        <a:pt x="138" y="6"/>
                      </a:lnTo>
                      <a:lnTo>
                        <a:pt x="120" y="8"/>
                      </a:lnTo>
                      <a:lnTo>
                        <a:pt x="82" y="12"/>
                      </a:lnTo>
                      <a:lnTo>
                        <a:pt x="54" y="16"/>
                      </a:lnTo>
                      <a:lnTo>
                        <a:pt x="48" y="18"/>
                      </a:lnTo>
                      <a:lnTo>
                        <a:pt x="48" y="18"/>
                      </a:lnTo>
                      <a:lnTo>
                        <a:pt x="50" y="20"/>
                      </a:lnTo>
                      <a:lnTo>
                        <a:pt x="50" y="20"/>
                      </a:lnTo>
                      <a:lnTo>
                        <a:pt x="54" y="24"/>
                      </a:lnTo>
                      <a:lnTo>
                        <a:pt x="56" y="28"/>
                      </a:lnTo>
                      <a:lnTo>
                        <a:pt x="58" y="36"/>
                      </a:lnTo>
                      <a:lnTo>
                        <a:pt x="60" y="42"/>
                      </a:lnTo>
                      <a:lnTo>
                        <a:pt x="64" y="46"/>
                      </a:lnTo>
                      <a:lnTo>
                        <a:pt x="68" y="48"/>
                      </a:lnTo>
                      <a:lnTo>
                        <a:pt x="76" y="52"/>
                      </a:lnTo>
                      <a:lnTo>
                        <a:pt x="76" y="52"/>
                      </a:lnTo>
                      <a:lnTo>
                        <a:pt x="84" y="56"/>
                      </a:lnTo>
                      <a:lnTo>
                        <a:pt x="86" y="58"/>
                      </a:lnTo>
                      <a:lnTo>
                        <a:pt x="86" y="60"/>
                      </a:lnTo>
                      <a:lnTo>
                        <a:pt x="84" y="64"/>
                      </a:lnTo>
                      <a:lnTo>
                        <a:pt x="76" y="68"/>
                      </a:lnTo>
                      <a:lnTo>
                        <a:pt x="74" y="72"/>
                      </a:lnTo>
                      <a:lnTo>
                        <a:pt x="72" y="76"/>
                      </a:lnTo>
                      <a:lnTo>
                        <a:pt x="72" y="76"/>
                      </a:lnTo>
                      <a:lnTo>
                        <a:pt x="72" y="80"/>
                      </a:lnTo>
                      <a:lnTo>
                        <a:pt x="70" y="82"/>
                      </a:lnTo>
                      <a:lnTo>
                        <a:pt x="64" y="82"/>
                      </a:lnTo>
                      <a:lnTo>
                        <a:pt x="58" y="84"/>
                      </a:lnTo>
                      <a:lnTo>
                        <a:pt x="56" y="86"/>
                      </a:lnTo>
                      <a:lnTo>
                        <a:pt x="56" y="90"/>
                      </a:lnTo>
                      <a:lnTo>
                        <a:pt x="56" y="90"/>
                      </a:lnTo>
                      <a:lnTo>
                        <a:pt x="56" y="94"/>
                      </a:lnTo>
                      <a:lnTo>
                        <a:pt x="54" y="98"/>
                      </a:lnTo>
                      <a:lnTo>
                        <a:pt x="48" y="106"/>
                      </a:lnTo>
                      <a:lnTo>
                        <a:pt x="44" y="110"/>
                      </a:lnTo>
                      <a:lnTo>
                        <a:pt x="44" y="112"/>
                      </a:lnTo>
                      <a:lnTo>
                        <a:pt x="46" y="114"/>
                      </a:lnTo>
                      <a:lnTo>
                        <a:pt x="46" y="114"/>
                      </a:lnTo>
                      <a:lnTo>
                        <a:pt x="54" y="118"/>
                      </a:lnTo>
                      <a:lnTo>
                        <a:pt x="56" y="122"/>
                      </a:lnTo>
                      <a:lnTo>
                        <a:pt x="56" y="124"/>
                      </a:lnTo>
                      <a:lnTo>
                        <a:pt x="54" y="124"/>
                      </a:lnTo>
                      <a:lnTo>
                        <a:pt x="44" y="126"/>
                      </a:lnTo>
                      <a:lnTo>
                        <a:pt x="44" y="126"/>
                      </a:lnTo>
                      <a:lnTo>
                        <a:pt x="34" y="128"/>
                      </a:lnTo>
                      <a:lnTo>
                        <a:pt x="30" y="130"/>
                      </a:lnTo>
                      <a:lnTo>
                        <a:pt x="30" y="134"/>
                      </a:lnTo>
                      <a:lnTo>
                        <a:pt x="34" y="140"/>
                      </a:lnTo>
                      <a:lnTo>
                        <a:pt x="34" y="140"/>
                      </a:lnTo>
                      <a:lnTo>
                        <a:pt x="34" y="144"/>
                      </a:lnTo>
                      <a:lnTo>
                        <a:pt x="32" y="150"/>
                      </a:lnTo>
                      <a:lnTo>
                        <a:pt x="22" y="160"/>
                      </a:lnTo>
                      <a:lnTo>
                        <a:pt x="10" y="172"/>
                      </a:lnTo>
                      <a:lnTo>
                        <a:pt x="6" y="178"/>
                      </a:lnTo>
                      <a:lnTo>
                        <a:pt x="4" y="182"/>
                      </a:lnTo>
                      <a:lnTo>
                        <a:pt x="4" y="182"/>
                      </a:lnTo>
                      <a:lnTo>
                        <a:pt x="2" y="188"/>
                      </a:lnTo>
                      <a:lnTo>
                        <a:pt x="0" y="192"/>
                      </a:lnTo>
                      <a:lnTo>
                        <a:pt x="0" y="194"/>
                      </a:lnTo>
                      <a:lnTo>
                        <a:pt x="2" y="196"/>
                      </a:lnTo>
                      <a:lnTo>
                        <a:pt x="2" y="196"/>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51" name="Freeform 6018">
                  <a:extLst>
                    <a:ext uri="{FF2B5EF4-FFF2-40B4-BE49-F238E27FC236}">
                      <a16:creationId xmlns:a16="http://schemas.microsoft.com/office/drawing/2014/main" id="{444F12C3-BE73-4C50-7BAC-09549E23C03F}"/>
                    </a:ext>
                  </a:extLst>
                </p:cNvPr>
                <p:cNvSpPr>
                  <a:spLocks/>
                </p:cNvSpPr>
                <p:nvPr/>
              </p:nvSpPr>
              <p:spPr bwMode="auto">
                <a:xfrm>
                  <a:off x="1258570" y="1024573"/>
                  <a:ext cx="190500" cy="87630"/>
                </a:xfrm>
                <a:custGeom>
                  <a:avLst/>
                  <a:gdLst/>
                  <a:ahLst/>
                  <a:cxnLst>
                    <a:cxn ang="0">
                      <a:pos x="12" y="124"/>
                    </a:cxn>
                    <a:cxn ang="0">
                      <a:pos x="16" y="130"/>
                    </a:cxn>
                    <a:cxn ang="0">
                      <a:pos x="36" y="120"/>
                    </a:cxn>
                    <a:cxn ang="0">
                      <a:pos x="50" y="118"/>
                    </a:cxn>
                    <a:cxn ang="0">
                      <a:pos x="66" y="124"/>
                    </a:cxn>
                    <a:cxn ang="0">
                      <a:pos x="76" y="124"/>
                    </a:cxn>
                    <a:cxn ang="0">
                      <a:pos x="88" y="114"/>
                    </a:cxn>
                    <a:cxn ang="0">
                      <a:pos x="94" y="122"/>
                    </a:cxn>
                    <a:cxn ang="0">
                      <a:pos x="112" y="138"/>
                    </a:cxn>
                    <a:cxn ang="0">
                      <a:pos x="132" y="132"/>
                    </a:cxn>
                    <a:cxn ang="0">
                      <a:pos x="138" y="114"/>
                    </a:cxn>
                    <a:cxn ang="0">
                      <a:pos x="146" y="110"/>
                    </a:cxn>
                    <a:cxn ang="0">
                      <a:pos x="156" y="114"/>
                    </a:cxn>
                    <a:cxn ang="0">
                      <a:pos x="174" y="94"/>
                    </a:cxn>
                    <a:cxn ang="0">
                      <a:pos x="182" y="76"/>
                    </a:cxn>
                    <a:cxn ang="0">
                      <a:pos x="186" y="66"/>
                    </a:cxn>
                    <a:cxn ang="0">
                      <a:pos x="206" y="56"/>
                    </a:cxn>
                    <a:cxn ang="0">
                      <a:pos x="208" y="64"/>
                    </a:cxn>
                    <a:cxn ang="0">
                      <a:pos x="206" y="88"/>
                    </a:cxn>
                    <a:cxn ang="0">
                      <a:pos x="214" y="96"/>
                    </a:cxn>
                    <a:cxn ang="0">
                      <a:pos x="236" y="100"/>
                    </a:cxn>
                    <a:cxn ang="0">
                      <a:pos x="244" y="92"/>
                    </a:cxn>
                    <a:cxn ang="0">
                      <a:pos x="246" y="80"/>
                    </a:cxn>
                    <a:cxn ang="0">
                      <a:pos x="274" y="74"/>
                    </a:cxn>
                    <a:cxn ang="0">
                      <a:pos x="294" y="60"/>
                    </a:cxn>
                    <a:cxn ang="0">
                      <a:pos x="280" y="42"/>
                    </a:cxn>
                    <a:cxn ang="0">
                      <a:pos x="272" y="36"/>
                    </a:cxn>
                    <a:cxn ang="0">
                      <a:pos x="278" y="28"/>
                    </a:cxn>
                    <a:cxn ang="0">
                      <a:pos x="300" y="18"/>
                    </a:cxn>
                    <a:cxn ang="0">
                      <a:pos x="288" y="8"/>
                    </a:cxn>
                    <a:cxn ang="0">
                      <a:pos x="258" y="0"/>
                    </a:cxn>
                    <a:cxn ang="0">
                      <a:pos x="244" y="4"/>
                    </a:cxn>
                    <a:cxn ang="0">
                      <a:pos x="234" y="16"/>
                    </a:cxn>
                    <a:cxn ang="0">
                      <a:pos x="202" y="12"/>
                    </a:cxn>
                    <a:cxn ang="0">
                      <a:pos x="160" y="18"/>
                    </a:cxn>
                    <a:cxn ang="0">
                      <a:pos x="128" y="38"/>
                    </a:cxn>
                    <a:cxn ang="0">
                      <a:pos x="102" y="58"/>
                    </a:cxn>
                    <a:cxn ang="0">
                      <a:pos x="82" y="66"/>
                    </a:cxn>
                    <a:cxn ang="0">
                      <a:pos x="66" y="78"/>
                    </a:cxn>
                    <a:cxn ang="0">
                      <a:pos x="44" y="90"/>
                    </a:cxn>
                    <a:cxn ang="0">
                      <a:pos x="28" y="86"/>
                    </a:cxn>
                    <a:cxn ang="0">
                      <a:pos x="12" y="96"/>
                    </a:cxn>
                    <a:cxn ang="0">
                      <a:pos x="2" y="112"/>
                    </a:cxn>
                    <a:cxn ang="0">
                      <a:pos x="14" y="116"/>
                    </a:cxn>
                  </a:cxnLst>
                  <a:rect l="0" t="0" r="r" b="b"/>
                  <a:pathLst>
                    <a:path w="300" h="138">
                      <a:moveTo>
                        <a:pt x="14" y="120"/>
                      </a:moveTo>
                      <a:lnTo>
                        <a:pt x="14" y="120"/>
                      </a:lnTo>
                      <a:lnTo>
                        <a:pt x="12" y="124"/>
                      </a:lnTo>
                      <a:lnTo>
                        <a:pt x="12" y="126"/>
                      </a:lnTo>
                      <a:lnTo>
                        <a:pt x="14" y="128"/>
                      </a:lnTo>
                      <a:lnTo>
                        <a:pt x="16" y="130"/>
                      </a:lnTo>
                      <a:lnTo>
                        <a:pt x="24" y="128"/>
                      </a:lnTo>
                      <a:lnTo>
                        <a:pt x="36" y="120"/>
                      </a:lnTo>
                      <a:lnTo>
                        <a:pt x="36" y="120"/>
                      </a:lnTo>
                      <a:lnTo>
                        <a:pt x="42" y="118"/>
                      </a:lnTo>
                      <a:lnTo>
                        <a:pt x="46" y="116"/>
                      </a:lnTo>
                      <a:lnTo>
                        <a:pt x="50" y="118"/>
                      </a:lnTo>
                      <a:lnTo>
                        <a:pt x="52" y="118"/>
                      </a:lnTo>
                      <a:lnTo>
                        <a:pt x="60" y="124"/>
                      </a:lnTo>
                      <a:lnTo>
                        <a:pt x="66" y="124"/>
                      </a:lnTo>
                      <a:lnTo>
                        <a:pt x="72" y="126"/>
                      </a:lnTo>
                      <a:lnTo>
                        <a:pt x="72" y="126"/>
                      </a:lnTo>
                      <a:lnTo>
                        <a:pt x="76" y="124"/>
                      </a:lnTo>
                      <a:lnTo>
                        <a:pt x="82" y="122"/>
                      </a:lnTo>
                      <a:lnTo>
                        <a:pt x="86" y="116"/>
                      </a:lnTo>
                      <a:lnTo>
                        <a:pt x="88" y="114"/>
                      </a:lnTo>
                      <a:lnTo>
                        <a:pt x="90" y="114"/>
                      </a:lnTo>
                      <a:lnTo>
                        <a:pt x="94" y="122"/>
                      </a:lnTo>
                      <a:lnTo>
                        <a:pt x="94" y="122"/>
                      </a:lnTo>
                      <a:lnTo>
                        <a:pt x="98" y="130"/>
                      </a:lnTo>
                      <a:lnTo>
                        <a:pt x="104" y="134"/>
                      </a:lnTo>
                      <a:lnTo>
                        <a:pt x="112" y="138"/>
                      </a:lnTo>
                      <a:lnTo>
                        <a:pt x="118" y="138"/>
                      </a:lnTo>
                      <a:lnTo>
                        <a:pt x="126" y="136"/>
                      </a:lnTo>
                      <a:lnTo>
                        <a:pt x="132" y="132"/>
                      </a:lnTo>
                      <a:lnTo>
                        <a:pt x="136" y="124"/>
                      </a:lnTo>
                      <a:lnTo>
                        <a:pt x="138" y="114"/>
                      </a:lnTo>
                      <a:lnTo>
                        <a:pt x="138" y="114"/>
                      </a:lnTo>
                      <a:lnTo>
                        <a:pt x="138" y="106"/>
                      </a:lnTo>
                      <a:lnTo>
                        <a:pt x="140" y="104"/>
                      </a:lnTo>
                      <a:lnTo>
                        <a:pt x="146" y="110"/>
                      </a:lnTo>
                      <a:lnTo>
                        <a:pt x="150" y="114"/>
                      </a:lnTo>
                      <a:lnTo>
                        <a:pt x="154" y="114"/>
                      </a:lnTo>
                      <a:lnTo>
                        <a:pt x="156" y="114"/>
                      </a:lnTo>
                      <a:lnTo>
                        <a:pt x="160" y="112"/>
                      </a:lnTo>
                      <a:lnTo>
                        <a:pt x="164" y="108"/>
                      </a:lnTo>
                      <a:lnTo>
                        <a:pt x="174" y="94"/>
                      </a:lnTo>
                      <a:lnTo>
                        <a:pt x="174" y="94"/>
                      </a:lnTo>
                      <a:lnTo>
                        <a:pt x="180" y="82"/>
                      </a:lnTo>
                      <a:lnTo>
                        <a:pt x="182" y="76"/>
                      </a:lnTo>
                      <a:lnTo>
                        <a:pt x="182" y="68"/>
                      </a:lnTo>
                      <a:lnTo>
                        <a:pt x="184" y="66"/>
                      </a:lnTo>
                      <a:lnTo>
                        <a:pt x="186" y="66"/>
                      </a:lnTo>
                      <a:lnTo>
                        <a:pt x="198" y="58"/>
                      </a:lnTo>
                      <a:lnTo>
                        <a:pt x="198" y="58"/>
                      </a:lnTo>
                      <a:lnTo>
                        <a:pt x="206" y="56"/>
                      </a:lnTo>
                      <a:lnTo>
                        <a:pt x="208" y="58"/>
                      </a:lnTo>
                      <a:lnTo>
                        <a:pt x="210" y="58"/>
                      </a:lnTo>
                      <a:lnTo>
                        <a:pt x="208" y="64"/>
                      </a:lnTo>
                      <a:lnTo>
                        <a:pt x="206" y="72"/>
                      </a:lnTo>
                      <a:lnTo>
                        <a:pt x="204" y="80"/>
                      </a:lnTo>
                      <a:lnTo>
                        <a:pt x="206" y="88"/>
                      </a:lnTo>
                      <a:lnTo>
                        <a:pt x="208" y="92"/>
                      </a:lnTo>
                      <a:lnTo>
                        <a:pt x="210" y="94"/>
                      </a:lnTo>
                      <a:lnTo>
                        <a:pt x="214" y="96"/>
                      </a:lnTo>
                      <a:lnTo>
                        <a:pt x="222" y="98"/>
                      </a:lnTo>
                      <a:lnTo>
                        <a:pt x="222" y="98"/>
                      </a:lnTo>
                      <a:lnTo>
                        <a:pt x="236" y="100"/>
                      </a:lnTo>
                      <a:lnTo>
                        <a:pt x="242" y="98"/>
                      </a:lnTo>
                      <a:lnTo>
                        <a:pt x="246" y="96"/>
                      </a:lnTo>
                      <a:lnTo>
                        <a:pt x="244" y="92"/>
                      </a:lnTo>
                      <a:lnTo>
                        <a:pt x="244" y="86"/>
                      </a:lnTo>
                      <a:lnTo>
                        <a:pt x="244" y="82"/>
                      </a:lnTo>
                      <a:lnTo>
                        <a:pt x="246" y="80"/>
                      </a:lnTo>
                      <a:lnTo>
                        <a:pt x="254" y="78"/>
                      </a:lnTo>
                      <a:lnTo>
                        <a:pt x="254" y="78"/>
                      </a:lnTo>
                      <a:lnTo>
                        <a:pt x="274" y="74"/>
                      </a:lnTo>
                      <a:lnTo>
                        <a:pt x="284" y="70"/>
                      </a:lnTo>
                      <a:lnTo>
                        <a:pt x="290" y="66"/>
                      </a:lnTo>
                      <a:lnTo>
                        <a:pt x="294" y="60"/>
                      </a:lnTo>
                      <a:lnTo>
                        <a:pt x="294" y="54"/>
                      </a:lnTo>
                      <a:lnTo>
                        <a:pt x="290" y="48"/>
                      </a:lnTo>
                      <a:lnTo>
                        <a:pt x="280" y="42"/>
                      </a:lnTo>
                      <a:lnTo>
                        <a:pt x="280" y="42"/>
                      </a:lnTo>
                      <a:lnTo>
                        <a:pt x="274" y="38"/>
                      </a:lnTo>
                      <a:lnTo>
                        <a:pt x="272" y="36"/>
                      </a:lnTo>
                      <a:lnTo>
                        <a:pt x="272" y="34"/>
                      </a:lnTo>
                      <a:lnTo>
                        <a:pt x="272" y="32"/>
                      </a:lnTo>
                      <a:lnTo>
                        <a:pt x="278" y="28"/>
                      </a:lnTo>
                      <a:lnTo>
                        <a:pt x="288" y="24"/>
                      </a:lnTo>
                      <a:lnTo>
                        <a:pt x="296" y="22"/>
                      </a:lnTo>
                      <a:lnTo>
                        <a:pt x="300" y="18"/>
                      </a:lnTo>
                      <a:lnTo>
                        <a:pt x="300" y="16"/>
                      </a:lnTo>
                      <a:lnTo>
                        <a:pt x="298" y="14"/>
                      </a:lnTo>
                      <a:lnTo>
                        <a:pt x="288" y="8"/>
                      </a:lnTo>
                      <a:lnTo>
                        <a:pt x="288" y="8"/>
                      </a:lnTo>
                      <a:lnTo>
                        <a:pt x="266" y="0"/>
                      </a:lnTo>
                      <a:lnTo>
                        <a:pt x="258" y="0"/>
                      </a:lnTo>
                      <a:lnTo>
                        <a:pt x="254" y="0"/>
                      </a:lnTo>
                      <a:lnTo>
                        <a:pt x="248" y="2"/>
                      </a:lnTo>
                      <a:lnTo>
                        <a:pt x="244" y="4"/>
                      </a:lnTo>
                      <a:lnTo>
                        <a:pt x="238" y="14"/>
                      </a:lnTo>
                      <a:lnTo>
                        <a:pt x="238" y="14"/>
                      </a:lnTo>
                      <a:lnTo>
                        <a:pt x="234" y="16"/>
                      </a:lnTo>
                      <a:lnTo>
                        <a:pt x="232" y="16"/>
                      </a:lnTo>
                      <a:lnTo>
                        <a:pt x="224" y="16"/>
                      </a:lnTo>
                      <a:lnTo>
                        <a:pt x="202" y="12"/>
                      </a:lnTo>
                      <a:lnTo>
                        <a:pt x="186" y="12"/>
                      </a:lnTo>
                      <a:lnTo>
                        <a:pt x="170" y="14"/>
                      </a:lnTo>
                      <a:lnTo>
                        <a:pt x="160" y="18"/>
                      </a:lnTo>
                      <a:lnTo>
                        <a:pt x="150" y="22"/>
                      </a:lnTo>
                      <a:lnTo>
                        <a:pt x="140" y="28"/>
                      </a:lnTo>
                      <a:lnTo>
                        <a:pt x="128" y="38"/>
                      </a:lnTo>
                      <a:lnTo>
                        <a:pt x="128" y="38"/>
                      </a:lnTo>
                      <a:lnTo>
                        <a:pt x="112" y="50"/>
                      </a:lnTo>
                      <a:lnTo>
                        <a:pt x="102" y="58"/>
                      </a:lnTo>
                      <a:lnTo>
                        <a:pt x="94" y="62"/>
                      </a:lnTo>
                      <a:lnTo>
                        <a:pt x="90" y="62"/>
                      </a:lnTo>
                      <a:lnTo>
                        <a:pt x="82" y="66"/>
                      </a:lnTo>
                      <a:lnTo>
                        <a:pt x="76" y="70"/>
                      </a:lnTo>
                      <a:lnTo>
                        <a:pt x="66" y="78"/>
                      </a:lnTo>
                      <a:lnTo>
                        <a:pt x="66" y="78"/>
                      </a:lnTo>
                      <a:lnTo>
                        <a:pt x="58" y="86"/>
                      </a:lnTo>
                      <a:lnTo>
                        <a:pt x="50" y="88"/>
                      </a:lnTo>
                      <a:lnTo>
                        <a:pt x="44" y="90"/>
                      </a:lnTo>
                      <a:lnTo>
                        <a:pt x="38" y="88"/>
                      </a:lnTo>
                      <a:lnTo>
                        <a:pt x="34" y="86"/>
                      </a:lnTo>
                      <a:lnTo>
                        <a:pt x="28" y="86"/>
                      </a:lnTo>
                      <a:lnTo>
                        <a:pt x="20" y="90"/>
                      </a:lnTo>
                      <a:lnTo>
                        <a:pt x="12" y="96"/>
                      </a:lnTo>
                      <a:lnTo>
                        <a:pt x="12" y="96"/>
                      </a:lnTo>
                      <a:lnTo>
                        <a:pt x="4" y="104"/>
                      </a:lnTo>
                      <a:lnTo>
                        <a:pt x="0" y="108"/>
                      </a:lnTo>
                      <a:lnTo>
                        <a:pt x="2" y="112"/>
                      </a:lnTo>
                      <a:lnTo>
                        <a:pt x="4" y="112"/>
                      </a:lnTo>
                      <a:lnTo>
                        <a:pt x="12" y="114"/>
                      </a:lnTo>
                      <a:lnTo>
                        <a:pt x="14" y="116"/>
                      </a:lnTo>
                      <a:lnTo>
                        <a:pt x="14" y="120"/>
                      </a:lnTo>
                      <a:lnTo>
                        <a:pt x="14" y="120"/>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52" name="Freeform 6019">
                  <a:extLst>
                    <a:ext uri="{FF2B5EF4-FFF2-40B4-BE49-F238E27FC236}">
                      <a16:creationId xmlns:a16="http://schemas.microsoft.com/office/drawing/2014/main" id="{2C794607-90D9-1D81-5CAA-087D83CEE95F}"/>
                    </a:ext>
                  </a:extLst>
                </p:cNvPr>
                <p:cNvSpPr>
                  <a:spLocks/>
                </p:cNvSpPr>
                <p:nvPr/>
              </p:nvSpPr>
              <p:spPr bwMode="auto">
                <a:xfrm>
                  <a:off x="1468120" y="1056323"/>
                  <a:ext cx="35560" cy="10160"/>
                </a:xfrm>
                <a:custGeom>
                  <a:avLst/>
                  <a:gdLst/>
                  <a:ahLst/>
                  <a:cxnLst>
                    <a:cxn ang="0">
                      <a:pos x="0" y="8"/>
                    </a:cxn>
                    <a:cxn ang="0">
                      <a:pos x="0" y="8"/>
                    </a:cxn>
                    <a:cxn ang="0">
                      <a:pos x="0" y="12"/>
                    </a:cxn>
                    <a:cxn ang="0">
                      <a:pos x="4" y="14"/>
                    </a:cxn>
                    <a:cxn ang="0">
                      <a:pos x="18" y="16"/>
                    </a:cxn>
                    <a:cxn ang="0">
                      <a:pos x="38" y="16"/>
                    </a:cxn>
                    <a:cxn ang="0">
                      <a:pos x="46" y="14"/>
                    </a:cxn>
                    <a:cxn ang="0">
                      <a:pos x="54" y="12"/>
                    </a:cxn>
                    <a:cxn ang="0">
                      <a:pos x="54" y="12"/>
                    </a:cxn>
                    <a:cxn ang="0">
                      <a:pos x="56" y="10"/>
                    </a:cxn>
                    <a:cxn ang="0">
                      <a:pos x="56" y="8"/>
                    </a:cxn>
                    <a:cxn ang="0">
                      <a:pos x="54" y="6"/>
                    </a:cxn>
                    <a:cxn ang="0">
                      <a:pos x="46" y="2"/>
                    </a:cxn>
                    <a:cxn ang="0">
                      <a:pos x="36" y="2"/>
                    </a:cxn>
                    <a:cxn ang="0">
                      <a:pos x="26" y="0"/>
                    </a:cxn>
                    <a:cxn ang="0">
                      <a:pos x="16" y="2"/>
                    </a:cxn>
                    <a:cxn ang="0">
                      <a:pos x="6" y="4"/>
                    </a:cxn>
                    <a:cxn ang="0">
                      <a:pos x="0" y="8"/>
                    </a:cxn>
                    <a:cxn ang="0">
                      <a:pos x="0" y="8"/>
                    </a:cxn>
                  </a:cxnLst>
                  <a:rect l="0" t="0" r="r" b="b"/>
                  <a:pathLst>
                    <a:path w="56" h="16">
                      <a:moveTo>
                        <a:pt x="0" y="8"/>
                      </a:moveTo>
                      <a:lnTo>
                        <a:pt x="0" y="8"/>
                      </a:lnTo>
                      <a:lnTo>
                        <a:pt x="0" y="12"/>
                      </a:lnTo>
                      <a:lnTo>
                        <a:pt x="4" y="14"/>
                      </a:lnTo>
                      <a:lnTo>
                        <a:pt x="18" y="16"/>
                      </a:lnTo>
                      <a:lnTo>
                        <a:pt x="38" y="16"/>
                      </a:lnTo>
                      <a:lnTo>
                        <a:pt x="46" y="14"/>
                      </a:lnTo>
                      <a:lnTo>
                        <a:pt x="54" y="12"/>
                      </a:lnTo>
                      <a:lnTo>
                        <a:pt x="54" y="12"/>
                      </a:lnTo>
                      <a:lnTo>
                        <a:pt x="56" y="10"/>
                      </a:lnTo>
                      <a:lnTo>
                        <a:pt x="56" y="8"/>
                      </a:lnTo>
                      <a:lnTo>
                        <a:pt x="54" y="6"/>
                      </a:lnTo>
                      <a:lnTo>
                        <a:pt x="46" y="2"/>
                      </a:lnTo>
                      <a:lnTo>
                        <a:pt x="36" y="2"/>
                      </a:lnTo>
                      <a:lnTo>
                        <a:pt x="26" y="0"/>
                      </a:lnTo>
                      <a:lnTo>
                        <a:pt x="16" y="2"/>
                      </a:lnTo>
                      <a:lnTo>
                        <a:pt x="6" y="4"/>
                      </a:lnTo>
                      <a:lnTo>
                        <a:pt x="0" y="8"/>
                      </a:lnTo>
                      <a:lnTo>
                        <a:pt x="0" y="8"/>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53" name="Freeform 6020">
                  <a:extLst>
                    <a:ext uri="{FF2B5EF4-FFF2-40B4-BE49-F238E27FC236}">
                      <a16:creationId xmlns:a16="http://schemas.microsoft.com/office/drawing/2014/main" id="{A0F978C8-0181-B423-98B5-FAF04D99E3B7}"/>
                    </a:ext>
                  </a:extLst>
                </p:cNvPr>
                <p:cNvSpPr>
                  <a:spLocks/>
                </p:cNvSpPr>
                <p:nvPr/>
              </p:nvSpPr>
              <p:spPr bwMode="auto">
                <a:xfrm>
                  <a:off x="1464310" y="996633"/>
                  <a:ext cx="34290" cy="19050"/>
                </a:xfrm>
                <a:custGeom>
                  <a:avLst/>
                  <a:gdLst/>
                  <a:ahLst/>
                  <a:cxnLst>
                    <a:cxn ang="0">
                      <a:pos x="42" y="30"/>
                    </a:cxn>
                    <a:cxn ang="0">
                      <a:pos x="42" y="30"/>
                    </a:cxn>
                    <a:cxn ang="0">
                      <a:pos x="52" y="28"/>
                    </a:cxn>
                    <a:cxn ang="0">
                      <a:pos x="54" y="26"/>
                    </a:cxn>
                    <a:cxn ang="0">
                      <a:pos x="54" y="24"/>
                    </a:cxn>
                    <a:cxn ang="0">
                      <a:pos x="50" y="18"/>
                    </a:cxn>
                    <a:cxn ang="0">
                      <a:pos x="40" y="8"/>
                    </a:cxn>
                    <a:cxn ang="0">
                      <a:pos x="40" y="8"/>
                    </a:cxn>
                    <a:cxn ang="0">
                      <a:pos x="34" y="4"/>
                    </a:cxn>
                    <a:cxn ang="0">
                      <a:pos x="26" y="0"/>
                    </a:cxn>
                    <a:cxn ang="0">
                      <a:pos x="22" y="0"/>
                    </a:cxn>
                    <a:cxn ang="0">
                      <a:pos x="16" y="0"/>
                    </a:cxn>
                    <a:cxn ang="0">
                      <a:pos x="6" y="4"/>
                    </a:cxn>
                    <a:cxn ang="0">
                      <a:pos x="0" y="8"/>
                    </a:cxn>
                    <a:cxn ang="0">
                      <a:pos x="0" y="8"/>
                    </a:cxn>
                    <a:cxn ang="0">
                      <a:pos x="0" y="12"/>
                    </a:cxn>
                    <a:cxn ang="0">
                      <a:pos x="0" y="14"/>
                    </a:cxn>
                    <a:cxn ang="0">
                      <a:pos x="8" y="22"/>
                    </a:cxn>
                    <a:cxn ang="0">
                      <a:pos x="24" y="28"/>
                    </a:cxn>
                    <a:cxn ang="0">
                      <a:pos x="32" y="28"/>
                    </a:cxn>
                    <a:cxn ang="0">
                      <a:pos x="42" y="30"/>
                    </a:cxn>
                    <a:cxn ang="0">
                      <a:pos x="42" y="30"/>
                    </a:cxn>
                  </a:cxnLst>
                  <a:rect l="0" t="0" r="r" b="b"/>
                  <a:pathLst>
                    <a:path w="54" h="30">
                      <a:moveTo>
                        <a:pt x="42" y="30"/>
                      </a:moveTo>
                      <a:lnTo>
                        <a:pt x="42" y="30"/>
                      </a:lnTo>
                      <a:lnTo>
                        <a:pt x="52" y="28"/>
                      </a:lnTo>
                      <a:lnTo>
                        <a:pt x="54" y="26"/>
                      </a:lnTo>
                      <a:lnTo>
                        <a:pt x="54" y="24"/>
                      </a:lnTo>
                      <a:lnTo>
                        <a:pt x="50" y="18"/>
                      </a:lnTo>
                      <a:lnTo>
                        <a:pt x="40" y="8"/>
                      </a:lnTo>
                      <a:lnTo>
                        <a:pt x="40" y="8"/>
                      </a:lnTo>
                      <a:lnTo>
                        <a:pt x="34" y="4"/>
                      </a:lnTo>
                      <a:lnTo>
                        <a:pt x="26" y="0"/>
                      </a:lnTo>
                      <a:lnTo>
                        <a:pt x="22" y="0"/>
                      </a:lnTo>
                      <a:lnTo>
                        <a:pt x="16" y="0"/>
                      </a:lnTo>
                      <a:lnTo>
                        <a:pt x="6" y="4"/>
                      </a:lnTo>
                      <a:lnTo>
                        <a:pt x="0" y="8"/>
                      </a:lnTo>
                      <a:lnTo>
                        <a:pt x="0" y="8"/>
                      </a:lnTo>
                      <a:lnTo>
                        <a:pt x="0" y="12"/>
                      </a:lnTo>
                      <a:lnTo>
                        <a:pt x="0" y="14"/>
                      </a:lnTo>
                      <a:lnTo>
                        <a:pt x="8" y="22"/>
                      </a:lnTo>
                      <a:lnTo>
                        <a:pt x="24" y="28"/>
                      </a:lnTo>
                      <a:lnTo>
                        <a:pt x="32" y="28"/>
                      </a:lnTo>
                      <a:lnTo>
                        <a:pt x="42" y="30"/>
                      </a:lnTo>
                      <a:lnTo>
                        <a:pt x="42" y="30"/>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54" name="Freeform 6021">
                  <a:extLst>
                    <a:ext uri="{FF2B5EF4-FFF2-40B4-BE49-F238E27FC236}">
                      <a16:creationId xmlns:a16="http://schemas.microsoft.com/office/drawing/2014/main" id="{05BF1F77-4739-79B3-FE6A-A66A5C341B99}"/>
                    </a:ext>
                  </a:extLst>
                </p:cNvPr>
                <p:cNvSpPr>
                  <a:spLocks/>
                </p:cNvSpPr>
                <p:nvPr/>
              </p:nvSpPr>
              <p:spPr bwMode="auto">
                <a:xfrm>
                  <a:off x="1504950" y="994093"/>
                  <a:ext cx="97790" cy="39370"/>
                </a:xfrm>
                <a:custGeom>
                  <a:avLst/>
                  <a:gdLst/>
                  <a:ahLst/>
                  <a:cxnLst>
                    <a:cxn ang="0">
                      <a:pos x="106" y="56"/>
                    </a:cxn>
                    <a:cxn ang="0">
                      <a:pos x="106" y="56"/>
                    </a:cxn>
                    <a:cxn ang="0">
                      <a:pos x="120" y="52"/>
                    </a:cxn>
                    <a:cxn ang="0">
                      <a:pos x="130" y="48"/>
                    </a:cxn>
                    <a:cxn ang="0">
                      <a:pos x="136" y="44"/>
                    </a:cxn>
                    <a:cxn ang="0">
                      <a:pos x="138" y="40"/>
                    </a:cxn>
                    <a:cxn ang="0">
                      <a:pos x="138" y="34"/>
                    </a:cxn>
                    <a:cxn ang="0">
                      <a:pos x="132" y="30"/>
                    </a:cxn>
                    <a:cxn ang="0">
                      <a:pos x="124" y="28"/>
                    </a:cxn>
                    <a:cxn ang="0">
                      <a:pos x="114" y="26"/>
                    </a:cxn>
                    <a:cxn ang="0">
                      <a:pos x="114" y="26"/>
                    </a:cxn>
                    <a:cxn ang="0">
                      <a:pos x="104" y="24"/>
                    </a:cxn>
                    <a:cxn ang="0">
                      <a:pos x="104" y="24"/>
                    </a:cxn>
                    <a:cxn ang="0">
                      <a:pos x="118" y="22"/>
                    </a:cxn>
                    <a:cxn ang="0">
                      <a:pos x="138" y="16"/>
                    </a:cxn>
                    <a:cxn ang="0">
                      <a:pos x="148" y="12"/>
                    </a:cxn>
                    <a:cxn ang="0">
                      <a:pos x="152" y="8"/>
                    </a:cxn>
                    <a:cxn ang="0">
                      <a:pos x="152" y="8"/>
                    </a:cxn>
                    <a:cxn ang="0">
                      <a:pos x="154" y="4"/>
                    </a:cxn>
                    <a:cxn ang="0">
                      <a:pos x="152" y="2"/>
                    </a:cxn>
                    <a:cxn ang="0">
                      <a:pos x="148" y="0"/>
                    </a:cxn>
                    <a:cxn ang="0">
                      <a:pos x="138" y="0"/>
                    </a:cxn>
                    <a:cxn ang="0">
                      <a:pos x="124" y="0"/>
                    </a:cxn>
                    <a:cxn ang="0">
                      <a:pos x="90" y="4"/>
                    </a:cxn>
                    <a:cxn ang="0">
                      <a:pos x="50" y="8"/>
                    </a:cxn>
                    <a:cxn ang="0">
                      <a:pos x="50" y="8"/>
                    </a:cxn>
                    <a:cxn ang="0">
                      <a:pos x="18" y="14"/>
                    </a:cxn>
                    <a:cxn ang="0">
                      <a:pos x="8" y="18"/>
                    </a:cxn>
                    <a:cxn ang="0">
                      <a:pos x="4" y="22"/>
                    </a:cxn>
                    <a:cxn ang="0">
                      <a:pos x="0" y="26"/>
                    </a:cxn>
                    <a:cxn ang="0">
                      <a:pos x="0" y="30"/>
                    </a:cxn>
                    <a:cxn ang="0">
                      <a:pos x="8" y="46"/>
                    </a:cxn>
                    <a:cxn ang="0">
                      <a:pos x="8" y="46"/>
                    </a:cxn>
                    <a:cxn ang="0">
                      <a:pos x="14" y="52"/>
                    </a:cxn>
                    <a:cxn ang="0">
                      <a:pos x="22" y="58"/>
                    </a:cxn>
                    <a:cxn ang="0">
                      <a:pos x="32" y="60"/>
                    </a:cxn>
                    <a:cxn ang="0">
                      <a:pos x="46" y="62"/>
                    </a:cxn>
                    <a:cxn ang="0">
                      <a:pos x="74" y="60"/>
                    </a:cxn>
                    <a:cxn ang="0">
                      <a:pos x="106" y="56"/>
                    </a:cxn>
                    <a:cxn ang="0">
                      <a:pos x="106" y="56"/>
                    </a:cxn>
                  </a:cxnLst>
                  <a:rect l="0" t="0" r="r" b="b"/>
                  <a:pathLst>
                    <a:path w="154" h="62">
                      <a:moveTo>
                        <a:pt x="106" y="56"/>
                      </a:moveTo>
                      <a:lnTo>
                        <a:pt x="106" y="56"/>
                      </a:lnTo>
                      <a:lnTo>
                        <a:pt x="120" y="52"/>
                      </a:lnTo>
                      <a:lnTo>
                        <a:pt x="130" y="48"/>
                      </a:lnTo>
                      <a:lnTo>
                        <a:pt x="136" y="44"/>
                      </a:lnTo>
                      <a:lnTo>
                        <a:pt x="138" y="40"/>
                      </a:lnTo>
                      <a:lnTo>
                        <a:pt x="138" y="34"/>
                      </a:lnTo>
                      <a:lnTo>
                        <a:pt x="132" y="30"/>
                      </a:lnTo>
                      <a:lnTo>
                        <a:pt x="124" y="28"/>
                      </a:lnTo>
                      <a:lnTo>
                        <a:pt x="114" y="26"/>
                      </a:lnTo>
                      <a:lnTo>
                        <a:pt x="114" y="26"/>
                      </a:lnTo>
                      <a:lnTo>
                        <a:pt x="104" y="24"/>
                      </a:lnTo>
                      <a:lnTo>
                        <a:pt x="104" y="24"/>
                      </a:lnTo>
                      <a:lnTo>
                        <a:pt x="118" y="22"/>
                      </a:lnTo>
                      <a:lnTo>
                        <a:pt x="138" y="16"/>
                      </a:lnTo>
                      <a:lnTo>
                        <a:pt x="148" y="12"/>
                      </a:lnTo>
                      <a:lnTo>
                        <a:pt x="152" y="8"/>
                      </a:lnTo>
                      <a:lnTo>
                        <a:pt x="152" y="8"/>
                      </a:lnTo>
                      <a:lnTo>
                        <a:pt x="154" y="4"/>
                      </a:lnTo>
                      <a:lnTo>
                        <a:pt x="152" y="2"/>
                      </a:lnTo>
                      <a:lnTo>
                        <a:pt x="148" y="0"/>
                      </a:lnTo>
                      <a:lnTo>
                        <a:pt x="138" y="0"/>
                      </a:lnTo>
                      <a:lnTo>
                        <a:pt x="124" y="0"/>
                      </a:lnTo>
                      <a:lnTo>
                        <a:pt x="90" y="4"/>
                      </a:lnTo>
                      <a:lnTo>
                        <a:pt x="50" y="8"/>
                      </a:lnTo>
                      <a:lnTo>
                        <a:pt x="50" y="8"/>
                      </a:lnTo>
                      <a:lnTo>
                        <a:pt x="18" y="14"/>
                      </a:lnTo>
                      <a:lnTo>
                        <a:pt x="8" y="18"/>
                      </a:lnTo>
                      <a:lnTo>
                        <a:pt x="4" y="22"/>
                      </a:lnTo>
                      <a:lnTo>
                        <a:pt x="0" y="26"/>
                      </a:lnTo>
                      <a:lnTo>
                        <a:pt x="0" y="30"/>
                      </a:lnTo>
                      <a:lnTo>
                        <a:pt x="8" y="46"/>
                      </a:lnTo>
                      <a:lnTo>
                        <a:pt x="8" y="46"/>
                      </a:lnTo>
                      <a:lnTo>
                        <a:pt x="14" y="52"/>
                      </a:lnTo>
                      <a:lnTo>
                        <a:pt x="22" y="58"/>
                      </a:lnTo>
                      <a:lnTo>
                        <a:pt x="32" y="60"/>
                      </a:lnTo>
                      <a:lnTo>
                        <a:pt x="46" y="62"/>
                      </a:lnTo>
                      <a:lnTo>
                        <a:pt x="74" y="60"/>
                      </a:lnTo>
                      <a:lnTo>
                        <a:pt x="106" y="56"/>
                      </a:lnTo>
                      <a:lnTo>
                        <a:pt x="106" y="56"/>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55" name="Freeform 6022">
                  <a:extLst>
                    <a:ext uri="{FF2B5EF4-FFF2-40B4-BE49-F238E27FC236}">
                      <a16:creationId xmlns:a16="http://schemas.microsoft.com/office/drawing/2014/main" id="{20CC89D6-666C-735B-5E05-61545A2CF225}"/>
                    </a:ext>
                  </a:extLst>
                </p:cNvPr>
                <p:cNvSpPr>
                  <a:spLocks/>
                </p:cNvSpPr>
                <p:nvPr/>
              </p:nvSpPr>
              <p:spPr bwMode="auto">
                <a:xfrm>
                  <a:off x="1772920" y="1067753"/>
                  <a:ext cx="143510" cy="87630"/>
                </a:xfrm>
                <a:custGeom>
                  <a:avLst/>
                  <a:gdLst/>
                  <a:ahLst/>
                  <a:cxnLst>
                    <a:cxn ang="0">
                      <a:pos x="144" y="12"/>
                    </a:cxn>
                    <a:cxn ang="0">
                      <a:pos x="130" y="4"/>
                    </a:cxn>
                    <a:cxn ang="0">
                      <a:pos x="104" y="4"/>
                    </a:cxn>
                    <a:cxn ang="0">
                      <a:pos x="88" y="8"/>
                    </a:cxn>
                    <a:cxn ang="0">
                      <a:pos x="78" y="14"/>
                    </a:cxn>
                    <a:cxn ang="0">
                      <a:pos x="84" y="22"/>
                    </a:cxn>
                    <a:cxn ang="0">
                      <a:pos x="124" y="62"/>
                    </a:cxn>
                    <a:cxn ang="0">
                      <a:pos x="102" y="50"/>
                    </a:cxn>
                    <a:cxn ang="0">
                      <a:pos x="82" y="34"/>
                    </a:cxn>
                    <a:cxn ang="0">
                      <a:pos x="74" y="24"/>
                    </a:cxn>
                    <a:cxn ang="0">
                      <a:pos x="64" y="20"/>
                    </a:cxn>
                    <a:cxn ang="0">
                      <a:pos x="54" y="18"/>
                    </a:cxn>
                    <a:cxn ang="0">
                      <a:pos x="32" y="20"/>
                    </a:cxn>
                    <a:cxn ang="0">
                      <a:pos x="26" y="26"/>
                    </a:cxn>
                    <a:cxn ang="0">
                      <a:pos x="32" y="36"/>
                    </a:cxn>
                    <a:cxn ang="0">
                      <a:pos x="46" y="52"/>
                    </a:cxn>
                    <a:cxn ang="0">
                      <a:pos x="56" y="64"/>
                    </a:cxn>
                    <a:cxn ang="0">
                      <a:pos x="42" y="60"/>
                    </a:cxn>
                    <a:cxn ang="0">
                      <a:pos x="32" y="62"/>
                    </a:cxn>
                    <a:cxn ang="0">
                      <a:pos x="26" y="66"/>
                    </a:cxn>
                    <a:cxn ang="0">
                      <a:pos x="8" y="74"/>
                    </a:cxn>
                    <a:cxn ang="0">
                      <a:pos x="0" y="78"/>
                    </a:cxn>
                    <a:cxn ang="0">
                      <a:pos x="4" y="86"/>
                    </a:cxn>
                    <a:cxn ang="0">
                      <a:pos x="8" y="88"/>
                    </a:cxn>
                    <a:cxn ang="0">
                      <a:pos x="26" y="90"/>
                    </a:cxn>
                    <a:cxn ang="0">
                      <a:pos x="66" y="86"/>
                    </a:cxn>
                    <a:cxn ang="0">
                      <a:pos x="122" y="76"/>
                    </a:cxn>
                    <a:cxn ang="0">
                      <a:pos x="136" y="76"/>
                    </a:cxn>
                    <a:cxn ang="0">
                      <a:pos x="138" y="80"/>
                    </a:cxn>
                    <a:cxn ang="0">
                      <a:pos x="106" y="90"/>
                    </a:cxn>
                    <a:cxn ang="0">
                      <a:pos x="92" y="98"/>
                    </a:cxn>
                    <a:cxn ang="0">
                      <a:pos x="90" y="104"/>
                    </a:cxn>
                    <a:cxn ang="0">
                      <a:pos x="92" y="106"/>
                    </a:cxn>
                    <a:cxn ang="0">
                      <a:pos x="100" y="120"/>
                    </a:cxn>
                    <a:cxn ang="0">
                      <a:pos x="104" y="136"/>
                    </a:cxn>
                    <a:cxn ang="0">
                      <a:pos x="116" y="136"/>
                    </a:cxn>
                    <a:cxn ang="0">
                      <a:pos x="126" y="134"/>
                    </a:cxn>
                    <a:cxn ang="0">
                      <a:pos x="142" y="128"/>
                    </a:cxn>
                    <a:cxn ang="0">
                      <a:pos x="166" y="132"/>
                    </a:cxn>
                    <a:cxn ang="0">
                      <a:pos x="200" y="128"/>
                    </a:cxn>
                    <a:cxn ang="0">
                      <a:pos x="208" y="122"/>
                    </a:cxn>
                    <a:cxn ang="0">
                      <a:pos x="208" y="112"/>
                    </a:cxn>
                    <a:cxn ang="0">
                      <a:pos x="202" y="100"/>
                    </a:cxn>
                    <a:cxn ang="0">
                      <a:pos x="202" y="88"/>
                    </a:cxn>
                    <a:cxn ang="0">
                      <a:pos x="210" y="88"/>
                    </a:cxn>
                    <a:cxn ang="0">
                      <a:pos x="214" y="92"/>
                    </a:cxn>
                    <a:cxn ang="0">
                      <a:pos x="226" y="98"/>
                    </a:cxn>
                    <a:cxn ang="0">
                      <a:pos x="224" y="90"/>
                    </a:cxn>
                    <a:cxn ang="0">
                      <a:pos x="216" y="76"/>
                    </a:cxn>
                    <a:cxn ang="0">
                      <a:pos x="212" y="60"/>
                    </a:cxn>
                    <a:cxn ang="0">
                      <a:pos x="208" y="30"/>
                    </a:cxn>
                    <a:cxn ang="0">
                      <a:pos x="196" y="10"/>
                    </a:cxn>
                    <a:cxn ang="0">
                      <a:pos x="184" y="4"/>
                    </a:cxn>
                    <a:cxn ang="0">
                      <a:pos x="164" y="0"/>
                    </a:cxn>
                    <a:cxn ang="0">
                      <a:pos x="156" y="6"/>
                    </a:cxn>
                    <a:cxn ang="0">
                      <a:pos x="148" y="14"/>
                    </a:cxn>
                    <a:cxn ang="0">
                      <a:pos x="144" y="12"/>
                    </a:cxn>
                  </a:cxnLst>
                  <a:rect l="0" t="0" r="r" b="b"/>
                  <a:pathLst>
                    <a:path w="226" h="138">
                      <a:moveTo>
                        <a:pt x="144" y="12"/>
                      </a:moveTo>
                      <a:lnTo>
                        <a:pt x="144" y="12"/>
                      </a:lnTo>
                      <a:lnTo>
                        <a:pt x="138" y="6"/>
                      </a:lnTo>
                      <a:lnTo>
                        <a:pt x="130" y="4"/>
                      </a:lnTo>
                      <a:lnTo>
                        <a:pt x="118" y="2"/>
                      </a:lnTo>
                      <a:lnTo>
                        <a:pt x="104" y="4"/>
                      </a:lnTo>
                      <a:lnTo>
                        <a:pt x="88" y="8"/>
                      </a:lnTo>
                      <a:lnTo>
                        <a:pt x="88" y="8"/>
                      </a:lnTo>
                      <a:lnTo>
                        <a:pt x="80" y="10"/>
                      </a:lnTo>
                      <a:lnTo>
                        <a:pt x="78" y="14"/>
                      </a:lnTo>
                      <a:lnTo>
                        <a:pt x="80" y="18"/>
                      </a:lnTo>
                      <a:lnTo>
                        <a:pt x="84" y="22"/>
                      </a:lnTo>
                      <a:lnTo>
                        <a:pt x="102" y="38"/>
                      </a:lnTo>
                      <a:lnTo>
                        <a:pt x="124" y="62"/>
                      </a:lnTo>
                      <a:lnTo>
                        <a:pt x="124" y="62"/>
                      </a:lnTo>
                      <a:lnTo>
                        <a:pt x="102" y="50"/>
                      </a:lnTo>
                      <a:lnTo>
                        <a:pt x="90" y="42"/>
                      </a:lnTo>
                      <a:lnTo>
                        <a:pt x="82" y="34"/>
                      </a:lnTo>
                      <a:lnTo>
                        <a:pt x="78" y="28"/>
                      </a:lnTo>
                      <a:lnTo>
                        <a:pt x="74" y="24"/>
                      </a:lnTo>
                      <a:lnTo>
                        <a:pt x="70" y="22"/>
                      </a:lnTo>
                      <a:lnTo>
                        <a:pt x="64" y="20"/>
                      </a:lnTo>
                      <a:lnTo>
                        <a:pt x="54" y="18"/>
                      </a:lnTo>
                      <a:lnTo>
                        <a:pt x="54" y="18"/>
                      </a:lnTo>
                      <a:lnTo>
                        <a:pt x="40" y="18"/>
                      </a:lnTo>
                      <a:lnTo>
                        <a:pt x="32" y="20"/>
                      </a:lnTo>
                      <a:lnTo>
                        <a:pt x="28" y="22"/>
                      </a:lnTo>
                      <a:lnTo>
                        <a:pt x="26" y="26"/>
                      </a:lnTo>
                      <a:lnTo>
                        <a:pt x="28" y="30"/>
                      </a:lnTo>
                      <a:lnTo>
                        <a:pt x="32" y="36"/>
                      </a:lnTo>
                      <a:lnTo>
                        <a:pt x="46" y="52"/>
                      </a:lnTo>
                      <a:lnTo>
                        <a:pt x="46" y="52"/>
                      </a:lnTo>
                      <a:lnTo>
                        <a:pt x="56" y="64"/>
                      </a:lnTo>
                      <a:lnTo>
                        <a:pt x="56" y="64"/>
                      </a:lnTo>
                      <a:lnTo>
                        <a:pt x="52" y="62"/>
                      </a:lnTo>
                      <a:lnTo>
                        <a:pt x="42" y="60"/>
                      </a:lnTo>
                      <a:lnTo>
                        <a:pt x="36" y="60"/>
                      </a:lnTo>
                      <a:lnTo>
                        <a:pt x="32" y="62"/>
                      </a:lnTo>
                      <a:lnTo>
                        <a:pt x="32" y="62"/>
                      </a:lnTo>
                      <a:lnTo>
                        <a:pt x="26" y="66"/>
                      </a:lnTo>
                      <a:lnTo>
                        <a:pt x="20" y="70"/>
                      </a:lnTo>
                      <a:lnTo>
                        <a:pt x="8" y="74"/>
                      </a:lnTo>
                      <a:lnTo>
                        <a:pt x="4" y="76"/>
                      </a:lnTo>
                      <a:lnTo>
                        <a:pt x="0" y="78"/>
                      </a:lnTo>
                      <a:lnTo>
                        <a:pt x="0" y="82"/>
                      </a:lnTo>
                      <a:lnTo>
                        <a:pt x="4" y="86"/>
                      </a:lnTo>
                      <a:lnTo>
                        <a:pt x="4" y="86"/>
                      </a:lnTo>
                      <a:lnTo>
                        <a:pt x="8" y="88"/>
                      </a:lnTo>
                      <a:lnTo>
                        <a:pt x="12" y="90"/>
                      </a:lnTo>
                      <a:lnTo>
                        <a:pt x="26" y="90"/>
                      </a:lnTo>
                      <a:lnTo>
                        <a:pt x="44" y="88"/>
                      </a:lnTo>
                      <a:lnTo>
                        <a:pt x="66" y="86"/>
                      </a:lnTo>
                      <a:lnTo>
                        <a:pt x="106" y="78"/>
                      </a:lnTo>
                      <a:lnTo>
                        <a:pt x="122" y="76"/>
                      </a:lnTo>
                      <a:lnTo>
                        <a:pt x="136" y="76"/>
                      </a:lnTo>
                      <a:lnTo>
                        <a:pt x="136" y="76"/>
                      </a:lnTo>
                      <a:lnTo>
                        <a:pt x="140" y="78"/>
                      </a:lnTo>
                      <a:lnTo>
                        <a:pt x="138" y="80"/>
                      </a:lnTo>
                      <a:lnTo>
                        <a:pt x="118" y="86"/>
                      </a:lnTo>
                      <a:lnTo>
                        <a:pt x="106" y="90"/>
                      </a:lnTo>
                      <a:lnTo>
                        <a:pt x="96" y="94"/>
                      </a:lnTo>
                      <a:lnTo>
                        <a:pt x="92" y="98"/>
                      </a:lnTo>
                      <a:lnTo>
                        <a:pt x="90" y="100"/>
                      </a:lnTo>
                      <a:lnTo>
                        <a:pt x="90" y="104"/>
                      </a:lnTo>
                      <a:lnTo>
                        <a:pt x="92" y="106"/>
                      </a:lnTo>
                      <a:lnTo>
                        <a:pt x="92" y="106"/>
                      </a:lnTo>
                      <a:lnTo>
                        <a:pt x="98" y="114"/>
                      </a:lnTo>
                      <a:lnTo>
                        <a:pt x="100" y="120"/>
                      </a:lnTo>
                      <a:lnTo>
                        <a:pt x="102" y="132"/>
                      </a:lnTo>
                      <a:lnTo>
                        <a:pt x="104" y="136"/>
                      </a:lnTo>
                      <a:lnTo>
                        <a:pt x="108" y="138"/>
                      </a:lnTo>
                      <a:lnTo>
                        <a:pt x="116" y="136"/>
                      </a:lnTo>
                      <a:lnTo>
                        <a:pt x="126" y="134"/>
                      </a:lnTo>
                      <a:lnTo>
                        <a:pt x="126" y="134"/>
                      </a:lnTo>
                      <a:lnTo>
                        <a:pt x="136" y="130"/>
                      </a:lnTo>
                      <a:lnTo>
                        <a:pt x="142" y="128"/>
                      </a:lnTo>
                      <a:lnTo>
                        <a:pt x="166" y="132"/>
                      </a:lnTo>
                      <a:lnTo>
                        <a:pt x="166" y="132"/>
                      </a:lnTo>
                      <a:lnTo>
                        <a:pt x="184" y="132"/>
                      </a:lnTo>
                      <a:lnTo>
                        <a:pt x="200" y="128"/>
                      </a:lnTo>
                      <a:lnTo>
                        <a:pt x="206" y="126"/>
                      </a:lnTo>
                      <a:lnTo>
                        <a:pt x="208" y="122"/>
                      </a:lnTo>
                      <a:lnTo>
                        <a:pt x="210" y="118"/>
                      </a:lnTo>
                      <a:lnTo>
                        <a:pt x="208" y="112"/>
                      </a:lnTo>
                      <a:lnTo>
                        <a:pt x="208" y="112"/>
                      </a:lnTo>
                      <a:lnTo>
                        <a:pt x="202" y="100"/>
                      </a:lnTo>
                      <a:lnTo>
                        <a:pt x="202" y="92"/>
                      </a:lnTo>
                      <a:lnTo>
                        <a:pt x="202" y="88"/>
                      </a:lnTo>
                      <a:lnTo>
                        <a:pt x="206" y="88"/>
                      </a:lnTo>
                      <a:lnTo>
                        <a:pt x="210" y="88"/>
                      </a:lnTo>
                      <a:lnTo>
                        <a:pt x="214" y="92"/>
                      </a:lnTo>
                      <a:lnTo>
                        <a:pt x="214" y="92"/>
                      </a:lnTo>
                      <a:lnTo>
                        <a:pt x="224" y="98"/>
                      </a:lnTo>
                      <a:lnTo>
                        <a:pt x="226" y="98"/>
                      </a:lnTo>
                      <a:lnTo>
                        <a:pt x="226" y="98"/>
                      </a:lnTo>
                      <a:lnTo>
                        <a:pt x="224" y="90"/>
                      </a:lnTo>
                      <a:lnTo>
                        <a:pt x="216" y="76"/>
                      </a:lnTo>
                      <a:lnTo>
                        <a:pt x="216" y="76"/>
                      </a:lnTo>
                      <a:lnTo>
                        <a:pt x="214" y="68"/>
                      </a:lnTo>
                      <a:lnTo>
                        <a:pt x="212" y="60"/>
                      </a:lnTo>
                      <a:lnTo>
                        <a:pt x="210" y="40"/>
                      </a:lnTo>
                      <a:lnTo>
                        <a:pt x="208" y="30"/>
                      </a:lnTo>
                      <a:lnTo>
                        <a:pt x="204" y="20"/>
                      </a:lnTo>
                      <a:lnTo>
                        <a:pt x="196" y="10"/>
                      </a:lnTo>
                      <a:lnTo>
                        <a:pt x="184" y="4"/>
                      </a:lnTo>
                      <a:lnTo>
                        <a:pt x="184" y="4"/>
                      </a:lnTo>
                      <a:lnTo>
                        <a:pt x="172" y="0"/>
                      </a:lnTo>
                      <a:lnTo>
                        <a:pt x="164" y="0"/>
                      </a:lnTo>
                      <a:lnTo>
                        <a:pt x="160" y="2"/>
                      </a:lnTo>
                      <a:lnTo>
                        <a:pt x="156" y="6"/>
                      </a:lnTo>
                      <a:lnTo>
                        <a:pt x="152" y="14"/>
                      </a:lnTo>
                      <a:lnTo>
                        <a:pt x="148" y="14"/>
                      </a:lnTo>
                      <a:lnTo>
                        <a:pt x="144" y="12"/>
                      </a:lnTo>
                      <a:lnTo>
                        <a:pt x="144" y="12"/>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56" name="Freeform 6023">
                  <a:extLst>
                    <a:ext uri="{FF2B5EF4-FFF2-40B4-BE49-F238E27FC236}">
                      <a16:creationId xmlns:a16="http://schemas.microsoft.com/office/drawing/2014/main" id="{F2F68778-F1CF-895B-0DB2-5BB4C6C61AA7}"/>
                    </a:ext>
                  </a:extLst>
                </p:cNvPr>
                <p:cNvSpPr>
                  <a:spLocks/>
                </p:cNvSpPr>
                <p:nvPr/>
              </p:nvSpPr>
              <p:spPr bwMode="auto">
                <a:xfrm>
                  <a:off x="1842770" y="887413"/>
                  <a:ext cx="36830" cy="25400"/>
                </a:xfrm>
                <a:custGeom>
                  <a:avLst/>
                  <a:gdLst/>
                  <a:ahLst/>
                  <a:cxnLst>
                    <a:cxn ang="0">
                      <a:pos x="30" y="32"/>
                    </a:cxn>
                    <a:cxn ang="0">
                      <a:pos x="30" y="32"/>
                    </a:cxn>
                    <a:cxn ang="0">
                      <a:pos x="40" y="38"/>
                    </a:cxn>
                    <a:cxn ang="0">
                      <a:pos x="46" y="40"/>
                    </a:cxn>
                    <a:cxn ang="0">
                      <a:pos x="50" y="40"/>
                    </a:cxn>
                    <a:cxn ang="0">
                      <a:pos x="54" y="38"/>
                    </a:cxn>
                    <a:cxn ang="0">
                      <a:pos x="56" y="34"/>
                    </a:cxn>
                    <a:cxn ang="0">
                      <a:pos x="58" y="28"/>
                    </a:cxn>
                    <a:cxn ang="0">
                      <a:pos x="56" y="20"/>
                    </a:cxn>
                    <a:cxn ang="0">
                      <a:pos x="56" y="20"/>
                    </a:cxn>
                    <a:cxn ang="0">
                      <a:pos x="52" y="12"/>
                    </a:cxn>
                    <a:cxn ang="0">
                      <a:pos x="46" y="6"/>
                    </a:cxn>
                    <a:cxn ang="0">
                      <a:pos x="36" y="2"/>
                    </a:cxn>
                    <a:cxn ang="0">
                      <a:pos x="26" y="0"/>
                    </a:cxn>
                    <a:cxn ang="0">
                      <a:pos x="16" y="0"/>
                    </a:cxn>
                    <a:cxn ang="0">
                      <a:pos x="6" y="2"/>
                    </a:cxn>
                    <a:cxn ang="0">
                      <a:pos x="2" y="6"/>
                    </a:cxn>
                    <a:cxn ang="0">
                      <a:pos x="0" y="10"/>
                    </a:cxn>
                    <a:cxn ang="0">
                      <a:pos x="0" y="14"/>
                    </a:cxn>
                    <a:cxn ang="0">
                      <a:pos x="0" y="14"/>
                    </a:cxn>
                    <a:cxn ang="0">
                      <a:pos x="0" y="18"/>
                    </a:cxn>
                    <a:cxn ang="0">
                      <a:pos x="4" y="22"/>
                    </a:cxn>
                    <a:cxn ang="0">
                      <a:pos x="10" y="24"/>
                    </a:cxn>
                    <a:cxn ang="0">
                      <a:pos x="18" y="26"/>
                    </a:cxn>
                    <a:cxn ang="0">
                      <a:pos x="24" y="28"/>
                    </a:cxn>
                    <a:cxn ang="0">
                      <a:pos x="30" y="32"/>
                    </a:cxn>
                    <a:cxn ang="0">
                      <a:pos x="30" y="32"/>
                    </a:cxn>
                  </a:cxnLst>
                  <a:rect l="0" t="0" r="r" b="b"/>
                  <a:pathLst>
                    <a:path w="58" h="40">
                      <a:moveTo>
                        <a:pt x="30" y="32"/>
                      </a:moveTo>
                      <a:lnTo>
                        <a:pt x="30" y="32"/>
                      </a:lnTo>
                      <a:lnTo>
                        <a:pt x="40" y="38"/>
                      </a:lnTo>
                      <a:lnTo>
                        <a:pt x="46" y="40"/>
                      </a:lnTo>
                      <a:lnTo>
                        <a:pt x="50" y="40"/>
                      </a:lnTo>
                      <a:lnTo>
                        <a:pt x="54" y="38"/>
                      </a:lnTo>
                      <a:lnTo>
                        <a:pt x="56" y="34"/>
                      </a:lnTo>
                      <a:lnTo>
                        <a:pt x="58" y="28"/>
                      </a:lnTo>
                      <a:lnTo>
                        <a:pt x="56" y="20"/>
                      </a:lnTo>
                      <a:lnTo>
                        <a:pt x="56" y="20"/>
                      </a:lnTo>
                      <a:lnTo>
                        <a:pt x="52" y="12"/>
                      </a:lnTo>
                      <a:lnTo>
                        <a:pt x="46" y="6"/>
                      </a:lnTo>
                      <a:lnTo>
                        <a:pt x="36" y="2"/>
                      </a:lnTo>
                      <a:lnTo>
                        <a:pt x="26" y="0"/>
                      </a:lnTo>
                      <a:lnTo>
                        <a:pt x="16" y="0"/>
                      </a:lnTo>
                      <a:lnTo>
                        <a:pt x="6" y="2"/>
                      </a:lnTo>
                      <a:lnTo>
                        <a:pt x="2" y="6"/>
                      </a:lnTo>
                      <a:lnTo>
                        <a:pt x="0" y="10"/>
                      </a:lnTo>
                      <a:lnTo>
                        <a:pt x="0" y="14"/>
                      </a:lnTo>
                      <a:lnTo>
                        <a:pt x="0" y="14"/>
                      </a:lnTo>
                      <a:lnTo>
                        <a:pt x="0" y="18"/>
                      </a:lnTo>
                      <a:lnTo>
                        <a:pt x="4" y="22"/>
                      </a:lnTo>
                      <a:lnTo>
                        <a:pt x="10" y="24"/>
                      </a:lnTo>
                      <a:lnTo>
                        <a:pt x="18" y="26"/>
                      </a:lnTo>
                      <a:lnTo>
                        <a:pt x="24" y="28"/>
                      </a:lnTo>
                      <a:lnTo>
                        <a:pt x="30" y="32"/>
                      </a:lnTo>
                      <a:lnTo>
                        <a:pt x="30" y="32"/>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57" name="Freeform 6024">
                  <a:extLst>
                    <a:ext uri="{FF2B5EF4-FFF2-40B4-BE49-F238E27FC236}">
                      <a16:creationId xmlns:a16="http://schemas.microsoft.com/office/drawing/2014/main" id="{A12C9D06-32EE-0F29-7ECF-8D7F29E44955}"/>
                    </a:ext>
                  </a:extLst>
                </p:cNvPr>
                <p:cNvSpPr>
                  <a:spLocks/>
                </p:cNvSpPr>
                <p:nvPr/>
              </p:nvSpPr>
              <p:spPr bwMode="auto">
                <a:xfrm>
                  <a:off x="1507490" y="963613"/>
                  <a:ext cx="102870" cy="24130"/>
                </a:xfrm>
                <a:custGeom>
                  <a:avLst/>
                  <a:gdLst/>
                  <a:ahLst/>
                  <a:cxnLst>
                    <a:cxn ang="0">
                      <a:pos x="20" y="34"/>
                    </a:cxn>
                    <a:cxn ang="0">
                      <a:pos x="20" y="34"/>
                    </a:cxn>
                    <a:cxn ang="0">
                      <a:pos x="26" y="32"/>
                    </a:cxn>
                    <a:cxn ang="0">
                      <a:pos x="34" y="32"/>
                    </a:cxn>
                    <a:cxn ang="0">
                      <a:pos x="60" y="36"/>
                    </a:cxn>
                    <a:cxn ang="0">
                      <a:pos x="60" y="36"/>
                    </a:cxn>
                    <a:cxn ang="0">
                      <a:pos x="72" y="38"/>
                    </a:cxn>
                    <a:cxn ang="0">
                      <a:pos x="76" y="36"/>
                    </a:cxn>
                    <a:cxn ang="0">
                      <a:pos x="84" y="34"/>
                    </a:cxn>
                    <a:cxn ang="0">
                      <a:pos x="108" y="34"/>
                    </a:cxn>
                    <a:cxn ang="0">
                      <a:pos x="108" y="34"/>
                    </a:cxn>
                    <a:cxn ang="0">
                      <a:pos x="124" y="36"/>
                    </a:cxn>
                    <a:cxn ang="0">
                      <a:pos x="138" y="34"/>
                    </a:cxn>
                    <a:cxn ang="0">
                      <a:pos x="150" y="32"/>
                    </a:cxn>
                    <a:cxn ang="0">
                      <a:pos x="158" y="28"/>
                    </a:cxn>
                    <a:cxn ang="0">
                      <a:pos x="162" y="24"/>
                    </a:cxn>
                    <a:cxn ang="0">
                      <a:pos x="162" y="22"/>
                    </a:cxn>
                    <a:cxn ang="0">
                      <a:pos x="160" y="18"/>
                    </a:cxn>
                    <a:cxn ang="0">
                      <a:pos x="152" y="12"/>
                    </a:cxn>
                    <a:cxn ang="0">
                      <a:pos x="138" y="6"/>
                    </a:cxn>
                    <a:cxn ang="0">
                      <a:pos x="138" y="6"/>
                    </a:cxn>
                    <a:cxn ang="0">
                      <a:pos x="122" y="0"/>
                    </a:cxn>
                    <a:cxn ang="0">
                      <a:pos x="108" y="0"/>
                    </a:cxn>
                    <a:cxn ang="0">
                      <a:pos x="96" y="0"/>
                    </a:cxn>
                    <a:cxn ang="0">
                      <a:pos x="86" y="2"/>
                    </a:cxn>
                    <a:cxn ang="0">
                      <a:pos x="64" y="10"/>
                    </a:cxn>
                    <a:cxn ang="0">
                      <a:pos x="52" y="14"/>
                    </a:cxn>
                    <a:cxn ang="0">
                      <a:pos x="36" y="16"/>
                    </a:cxn>
                    <a:cxn ang="0">
                      <a:pos x="36" y="16"/>
                    </a:cxn>
                    <a:cxn ang="0">
                      <a:pos x="22" y="20"/>
                    </a:cxn>
                    <a:cxn ang="0">
                      <a:pos x="10" y="24"/>
                    </a:cxn>
                    <a:cxn ang="0">
                      <a:pos x="4" y="28"/>
                    </a:cxn>
                    <a:cxn ang="0">
                      <a:pos x="0" y="30"/>
                    </a:cxn>
                    <a:cxn ang="0">
                      <a:pos x="0" y="34"/>
                    </a:cxn>
                    <a:cxn ang="0">
                      <a:pos x="4" y="36"/>
                    </a:cxn>
                    <a:cxn ang="0">
                      <a:pos x="10" y="36"/>
                    </a:cxn>
                    <a:cxn ang="0">
                      <a:pos x="20" y="34"/>
                    </a:cxn>
                    <a:cxn ang="0">
                      <a:pos x="20" y="34"/>
                    </a:cxn>
                  </a:cxnLst>
                  <a:rect l="0" t="0" r="r" b="b"/>
                  <a:pathLst>
                    <a:path w="162" h="38">
                      <a:moveTo>
                        <a:pt x="20" y="34"/>
                      </a:moveTo>
                      <a:lnTo>
                        <a:pt x="20" y="34"/>
                      </a:lnTo>
                      <a:lnTo>
                        <a:pt x="26" y="32"/>
                      </a:lnTo>
                      <a:lnTo>
                        <a:pt x="34" y="32"/>
                      </a:lnTo>
                      <a:lnTo>
                        <a:pt x="60" y="36"/>
                      </a:lnTo>
                      <a:lnTo>
                        <a:pt x="60" y="36"/>
                      </a:lnTo>
                      <a:lnTo>
                        <a:pt x="72" y="38"/>
                      </a:lnTo>
                      <a:lnTo>
                        <a:pt x="76" y="36"/>
                      </a:lnTo>
                      <a:lnTo>
                        <a:pt x="84" y="34"/>
                      </a:lnTo>
                      <a:lnTo>
                        <a:pt x="108" y="34"/>
                      </a:lnTo>
                      <a:lnTo>
                        <a:pt x="108" y="34"/>
                      </a:lnTo>
                      <a:lnTo>
                        <a:pt x="124" y="36"/>
                      </a:lnTo>
                      <a:lnTo>
                        <a:pt x="138" y="34"/>
                      </a:lnTo>
                      <a:lnTo>
                        <a:pt x="150" y="32"/>
                      </a:lnTo>
                      <a:lnTo>
                        <a:pt x="158" y="28"/>
                      </a:lnTo>
                      <a:lnTo>
                        <a:pt x="162" y="24"/>
                      </a:lnTo>
                      <a:lnTo>
                        <a:pt x="162" y="22"/>
                      </a:lnTo>
                      <a:lnTo>
                        <a:pt x="160" y="18"/>
                      </a:lnTo>
                      <a:lnTo>
                        <a:pt x="152" y="12"/>
                      </a:lnTo>
                      <a:lnTo>
                        <a:pt x="138" y="6"/>
                      </a:lnTo>
                      <a:lnTo>
                        <a:pt x="138" y="6"/>
                      </a:lnTo>
                      <a:lnTo>
                        <a:pt x="122" y="0"/>
                      </a:lnTo>
                      <a:lnTo>
                        <a:pt x="108" y="0"/>
                      </a:lnTo>
                      <a:lnTo>
                        <a:pt x="96" y="0"/>
                      </a:lnTo>
                      <a:lnTo>
                        <a:pt x="86" y="2"/>
                      </a:lnTo>
                      <a:lnTo>
                        <a:pt x="64" y="10"/>
                      </a:lnTo>
                      <a:lnTo>
                        <a:pt x="52" y="14"/>
                      </a:lnTo>
                      <a:lnTo>
                        <a:pt x="36" y="16"/>
                      </a:lnTo>
                      <a:lnTo>
                        <a:pt x="36" y="16"/>
                      </a:lnTo>
                      <a:lnTo>
                        <a:pt x="22" y="20"/>
                      </a:lnTo>
                      <a:lnTo>
                        <a:pt x="10" y="24"/>
                      </a:lnTo>
                      <a:lnTo>
                        <a:pt x="4" y="28"/>
                      </a:lnTo>
                      <a:lnTo>
                        <a:pt x="0" y="30"/>
                      </a:lnTo>
                      <a:lnTo>
                        <a:pt x="0" y="34"/>
                      </a:lnTo>
                      <a:lnTo>
                        <a:pt x="4" y="36"/>
                      </a:lnTo>
                      <a:lnTo>
                        <a:pt x="10" y="36"/>
                      </a:lnTo>
                      <a:lnTo>
                        <a:pt x="20" y="34"/>
                      </a:lnTo>
                      <a:lnTo>
                        <a:pt x="20" y="34"/>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58" name="Freeform 6025">
                  <a:extLst>
                    <a:ext uri="{FF2B5EF4-FFF2-40B4-BE49-F238E27FC236}">
                      <a16:creationId xmlns:a16="http://schemas.microsoft.com/office/drawing/2014/main" id="{77A01E51-95BA-149F-14D1-7EA6798B6A19}"/>
                    </a:ext>
                  </a:extLst>
                </p:cNvPr>
                <p:cNvSpPr>
                  <a:spLocks/>
                </p:cNvSpPr>
                <p:nvPr/>
              </p:nvSpPr>
              <p:spPr bwMode="auto">
                <a:xfrm>
                  <a:off x="1703070" y="928053"/>
                  <a:ext cx="168910" cy="82550"/>
                </a:xfrm>
                <a:custGeom>
                  <a:avLst/>
                  <a:gdLst/>
                  <a:ahLst/>
                  <a:cxnLst>
                    <a:cxn ang="0">
                      <a:pos x="30" y="40"/>
                    </a:cxn>
                    <a:cxn ang="0">
                      <a:pos x="32" y="50"/>
                    </a:cxn>
                    <a:cxn ang="0">
                      <a:pos x="40" y="46"/>
                    </a:cxn>
                    <a:cxn ang="0">
                      <a:pos x="52" y="44"/>
                    </a:cxn>
                    <a:cxn ang="0">
                      <a:pos x="66" y="54"/>
                    </a:cxn>
                    <a:cxn ang="0">
                      <a:pos x="72" y="62"/>
                    </a:cxn>
                    <a:cxn ang="0">
                      <a:pos x="68" y="70"/>
                    </a:cxn>
                    <a:cxn ang="0">
                      <a:pos x="44" y="68"/>
                    </a:cxn>
                    <a:cxn ang="0">
                      <a:pos x="26" y="70"/>
                    </a:cxn>
                    <a:cxn ang="0">
                      <a:pos x="24" y="74"/>
                    </a:cxn>
                    <a:cxn ang="0">
                      <a:pos x="24" y="82"/>
                    </a:cxn>
                    <a:cxn ang="0">
                      <a:pos x="36" y="90"/>
                    </a:cxn>
                    <a:cxn ang="0">
                      <a:pos x="60" y="92"/>
                    </a:cxn>
                    <a:cxn ang="0">
                      <a:pos x="78" y="88"/>
                    </a:cxn>
                    <a:cxn ang="0">
                      <a:pos x="108" y="82"/>
                    </a:cxn>
                    <a:cxn ang="0">
                      <a:pos x="114" y="86"/>
                    </a:cxn>
                    <a:cxn ang="0">
                      <a:pos x="120" y="92"/>
                    </a:cxn>
                    <a:cxn ang="0">
                      <a:pos x="146" y="90"/>
                    </a:cxn>
                    <a:cxn ang="0">
                      <a:pos x="156" y="90"/>
                    </a:cxn>
                    <a:cxn ang="0">
                      <a:pos x="170" y="92"/>
                    </a:cxn>
                    <a:cxn ang="0">
                      <a:pos x="182" y="102"/>
                    </a:cxn>
                    <a:cxn ang="0">
                      <a:pos x="194" y="120"/>
                    </a:cxn>
                    <a:cxn ang="0">
                      <a:pos x="204" y="126"/>
                    </a:cxn>
                    <a:cxn ang="0">
                      <a:pos x="220" y="130"/>
                    </a:cxn>
                    <a:cxn ang="0">
                      <a:pos x="244" y="128"/>
                    </a:cxn>
                    <a:cxn ang="0">
                      <a:pos x="254" y="126"/>
                    </a:cxn>
                    <a:cxn ang="0">
                      <a:pos x="266" y="122"/>
                    </a:cxn>
                    <a:cxn ang="0">
                      <a:pos x="266" y="114"/>
                    </a:cxn>
                    <a:cxn ang="0">
                      <a:pos x="258" y="102"/>
                    </a:cxn>
                    <a:cxn ang="0">
                      <a:pos x="234" y="82"/>
                    </a:cxn>
                    <a:cxn ang="0">
                      <a:pos x="238" y="78"/>
                    </a:cxn>
                    <a:cxn ang="0">
                      <a:pos x="242" y="76"/>
                    </a:cxn>
                    <a:cxn ang="0">
                      <a:pos x="248" y="68"/>
                    </a:cxn>
                    <a:cxn ang="0">
                      <a:pos x="242" y="58"/>
                    </a:cxn>
                    <a:cxn ang="0">
                      <a:pos x="224" y="50"/>
                    </a:cxn>
                    <a:cxn ang="0">
                      <a:pos x="210" y="48"/>
                    </a:cxn>
                    <a:cxn ang="0">
                      <a:pos x="186" y="44"/>
                    </a:cxn>
                    <a:cxn ang="0">
                      <a:pos x="184" y="40"/>
                    </a:cxn>
                    <a:cxn ang="0">
                      <a:pos x="176" y="32"/>
                    </a:cxn>
                    <a:cxn ang="0">
                      <a:pos x="164" y="28"/>
                    </a:cxn>
                    <a:cxn ang="0">
                      <a:pos x="140" y="26"/>
                    </a:cxn>
                    <a:cxn ang="0">
                      <a:pos x="130" y="32"/>
                    </a:cxn>
                    <a:cxn ang="0">
                      <a:pos x="124" y="36"/>
                    </a:cxn>
                    <a:cxn ang="0">
                      <a:pos x="118" y="28"/>
                    </a:cxn>
                    <a:cxn ang="0">
                      <a:pos x="114" y="24"/>
                    </a:cxn>
                    <a:cxn ang="0">
                      <a:pos x="96" y="10"/>
                    </a:cxn>
                    <a:cxn ang="0">
                      <a:pos x="58" y="0"/>
                    </a:cxn>
                    <a:cxn ang="0">
                      <a:pos x="22" y="2"/>
                    </a:cxn>
                    <a:cxn ang="0">
                      <a:pos x="10" y="8"/>
                    </a:cxn>
                    <a:cxn ang="0">
                      <a:pos x="2" y="18"/>
                    </a:cxn>
                    <a:cxn ang="0">
                      <a:pos x="0" y="28"/>
                    </a:cxn>
                    <a:cxn ang="0">
                      <a:pos x="8" y="34"/>
                    </a:cxn>
                    <a:cxn ang="0">
                      <a:pos x="20" y="30"/>
                    </a:cxn>
                    <a:cxn ang="0">
                      <a:pos x="28" y="34"/>
                    </a:cxn>
                    <a:cxn ang="0">
                      <a:pos x="30" y="40"/>
                    </a:cxn>
                  </a:cxnLst>
                  <a:rect l="0" t="0" r="r" b="b"/>
                  <a:pathLst>
                    <a:path w="266" h="130">
                      <a:moveTo>
                        <a:pt x="30" y="40"/>
                      </a:moveTo>
                      <a:lnTo>
                        <a:pt x="30" y="40"/>
                      </a:lnTo>
                      <a:lnTo>
                        <a:pt x="30" y="48"/>
                      </a:lnTo>
                      <a:lnTo>
                        <a:pt x="32" y="50"/>
                      </a:lnTo>
                      <a:lnTo>
                        <a:pt x="36" y="50"/>
                      </a:lnTo>
                      <a:lnTo>
                        <a:pt x="40" y="46"/>
                      </a:lnTo>
                      <a:lnTo>
                        <a:pt x="46" y="44"/>
                      </a:lnTo>
                      <a:lnTo>
                        <a:pt x="52" y="44"/>
                      </a:lnTo>
                      <a:lnTo>
                        <a:pt x="58" y="46"/>
                      </a:lnTo>
                      <a:lnTo>
                        <a:pt x="66" y="54"/>
                      </a:lnTo>
                      <a:lnTo>
                        <a:pt x="66" y="54"/>
                      </a:lnTo>
                      <a:lnTo>
                        <a:pt x="72" y="62"/>
                      </a:lnTo>
                      <a:lnTo>
                        <a:pt x="72" y="66"/>
                      </a:lnTo>
                      <a:lnTo>
                        <a:pt x="68" y="70"/>
                      </a:lnTo>
                      <a:lnTo>
                        <a:pt x="60" y="70"/>
                      </a:lnTo>
                      <a:lnTo>
                        <a:pt x="44" y="68"/>
                      </a:lnTo>
                      <a:lnTo>
                        <a:pt x="34" y="68"/>
                      </a:lnTo>
                      <a:lnTo>
                        <a:pt x="26" y="70"/>
                      </a:lnTo>
                      <a:lnTo>
                        <a:pt x="26" y="70"/>
                      </a:lnTo>
                      <a:lnTo>
                        <a:pt x="24" y="74"/>
                      </a:lnTo>
                      <a:lnTo>
                        <a:pt x="22" y="78"/>
                      </a:lnTo>
                      <a:lnTo>
                        <a:pt x="24" y="82"/>
                      </a:lnTo>
                      <a:lnTo>
                        <a:pt x="28" y="86"/>
                      </a:lnTo>
                      <a:lnTo>
                        <a:pt x="36" y="90"/>
                      </a:lnTo>
                      <a:lnTo>
                        <a:pt x="46" y="92"/>
                      </a:lnTo>
                      <a:lnTo>
                        <a:pt x="60" y="92"/>
                      </a:lnTo>
                      <a:lnTo>
                        <a:pt x="78" y="88"/>
                      </a:lnTo>
                      <a:lnTo>
                        <a:pt x="78" y="88"/>
                      </a:lnTo>
                      <a:lnTo>
                        <a:pt x="98" y="82"/>
                      </a:lnTo>
                      <a:lnTo>
                        <a:pt x="108" y="82"/>
                      </a:lnTo>
                      <a:lnTo>
                        <a:pt x="112" y="82"/>
                      </a:lnTo>
                      <a:lnTo>
                        <a:pt x="114" y="86"/>
                      </a:lnTo>
                      <a:lnTo>
                        <a:pt x="116" y="88"/>
                      </a:lnTo>
                      <a:lnTo>
                        <a:pt x="120" y="92"/>
                      </a:lnTo>
                      <a:lnTo>
                        <a:pt x="130" y="92"/>
                      </a:lnTo>
                      <a:lnTo>
                        <a:pt x="146" y="90"/>
                      </a:lnTo>
                      <a:lnTo>
                        <a:pt x="146" y="90"/>
                      </a:lnTo>
                      <a:lnTo>
                        <a:pt x="156" y="90"/>
                      </a:lnTo>
                      <a:lnTo>
                        <a:pt x="164" y="90"/>
                      </a:lnTo>
                      <a:lnTo>
                        <a:pt x="170" y="92"/>
                      </a:lnTo>
                      <a:lnTo>
                        <a:pt x="174" y="94"/>
                      </a:lnTo>
                      <a:lnTo>
                        <a:pt x="182" y="102"/>
                      </a:lnTo>
                      <a:lnTo>
                        <a:pt x="186" y="110"/>
                      </a:lnTo>
                      <a:lnTo>
                        <a:pt x="194" y="120"/>
                      </a:lnTo>
                      <a:lnTo>
                        <a:pt x="198" y="124"/>
                      </a:lnTo>
                      <a:lnTo>
                        <a:pt x="204" y="126"/>
                      </a:lnTo>
                      <a:lnTo>
                        <a:pt x="210" y="128"/>
                      </a:lnTo>
                      <a:lnTo>
                        <a:pt x="220" y="130"/>
                      </a:lnTo>
                      <a:lnTo>
                        <a:pt x="230" y="130"/>
                      </a:lnTo>
                      <a:lnTo>
                        <a:pt x="244" y="128"/>
                      </a:lnTo>
                      <a:lnTo>
                        <a:pt x="244" y="128"/>
                      </a:lnTo>
                      <a:lnTo>
                        <a:pt x="254" y="126"/>
                      </a:lnTo>
                      <a:lnTo>
                        <a:pt x="262" y="124"/>
                      </a:lnTo>
                      <a:lnTo>
                        <a:pt x="266" y="122"/>
                      </a:lnTo>
                      <a:lnTo>
                        <a:pt x="266" y="118"/>
                      </a:lnTo>
                      <a:lnTo>
                        <a:pt x="266" y="114"/>
                      </a:lnTo>
                      <a:lnTo>
                        <a:pt x="264" y="110"/>
                      </a:lnTo>
                      <a:lnTo>
                        <a:pt x="258" y="102"/>
                      </a:lnTo>
                      <a:lnTo>
                        <a:pt x="240" y="88"/>
                      </a:lnTo>
                      <a:lnTo>
                        <a:pt x="234" y="82"/>
                      </a:lnTo>
                      <a:lnTo>
                        <a:pt x="234" y="80"/>
                      </a:lnTo>
                      <a:lnTo>
                        <a:pt x="238" y="78"/>
                      </a:lnTo>
                      <a:lnTo>
                        <a:pt x="238" y="78"/>
                      </a:lnTo>
                      <a:lnTo>
                        <a:pt x="242" y="76"/>
                      </a:lnTo>
                      <a:lnTo>
                        <a:pt x="246" y="72"/>
                      </a:lnTo>
                      <a:lnTo>
                        <a:pt x="248" y="68"/>
                      </a:lnTo>
                      <a:lnTo>
                        <a:pt x="246" y="64"/>
                      </a:lnTo>
                      <a:lnTo>
                        <a:pt x="242" y="58"/>
                      </a:lnTo>
                      <a:lnTo>
                        <a:pt x="236" y="54"/>
                      </a:lnTo>
                      <a:lnTo>
                        <a:pt x="224" y="50"/>
                      </a:lnTo>
                      <a:lnTo>
                        <a:pt x="210" y="48"/>
                      </a:lnTo>
                      <a:lnTo>
                        <a:pt x="210" y="48"/>
                      </a:lnTo>
                      <a:lnTo>
                        <a:pt x="190" y="46"/>
                      </a:lnTo>
                      <a:lnTo>
                        <a:pt x="186" y="44"/>
                      </a:lnTo>
                      <a:lnTo>
                        <a:pt x="186" y="42"/>
                      </a:lnTo>
                      <a:lnTo>
                        <a:pt x="184" y="40"/>
                      </a:lnTo>
                      <a:lnTo>
                        <a:pt x="182" y="36"/>
                      </a:lnTo>
                      <a:lnTo>
                        <a:pt x="176" y="32"/>
                      </a:lnTo>
                      <a:lnTo>
                        <a:pt x="164" y="28"/>
                      </a:lnTo>
                      <a:lnTo>
                        <a:pt x="164" y="28"/>
                      </a:lnTo>
                      <a:lnTo>
                        <a:pt x="150" y="26"/>
                      </a:lnTo>
                      <a:lnTo>
                        <a:pt x="140" y="26"/>
                      </a:lnTo>
                      <a:lnTo>
                        <a:pt x="134" y="28"/>
                      </a:lnTo>
                      <a:lnTo>
                        <a:pt x="130" y="32"/>
                      </a:lnTo>
                      <a:lnTo>
                        <a:pt x="126" y="34"/>
                      </a:lnTo>
                      <a:lnTo>
                        <a:pt x="124" y="36"/>
                      </a:lnTo>
                      <a:lnTo>
                        <a:pt x="122" y="34"/>
                      </a:lnTo>
                      <a:lnTo>
                        <a:pt x="118" y="28"/>
                      </a:lnTo>
                      <a:lnTo>
                        <a:pt x="118" y="28"/>
                      </a:lnTo>
                      <a:lnTo>
                        <a:pt x="114" y="24"/>
                      </a:lnTo>
                      <a:lnTo>
                        <a:pt x="110" y="18"/>
                      </a:lnTo>
                      <a:lnTo>
                        <a:pt x="96" y="10"/>
                      </a:lnTo>
                      <a:lnTo>
                        <a:pt x="78" y="4"/>
                      </a:lnTo>
                      <a:lnTo>
                        <a:pt x="58" y="0"/>
                      </a:lnTo>
                      <a:lnTo>
                        <a:pt x="40" y="0"/>
                      </a:lnTo>
                      <a:lnTo>
                        <a:pt x="22" y="2"/>
                      </a:lnTo>
                      <a:lnTo>
                        <a:pt x="14" y="4"/>
                      </a:lnTo>
                      <a:lnTo>
                        <a:pt x="10" y="8"/>
                      </a:lnTo>
                      <a:lnTo>
                        <a:pt x="4" y="12"/>
                      </a:lnTo>
                      <a:lnTo>
                        <a:pt x="2" y="18"/>
                      </a:lnTo>
                      <a:lnTo>
                        <a:pt x="2" y="18"/>
                      </a:lnTo>
                      <a:lnTo>
                        <a:pt x="0" y="28"/>
                      </a:lnTo>
                      <a:lnTo>
                        <a:pt x="2" y="32"/>
                      </a:lnTo>
                      <a:lnTo>
                        <a:pt x="8" y="34"/>
                      </a:lnTo>
                      <a:lnTo>
                        <a:pt x="14" y="32"/>
                      </a:lnTo>
                      <a:lnTo>
                        <a:pt x="20" y="30"/>
                      </a:lnTo>
                      <a:lnTo>
                        <a:pt x="24" y="30"/>
                      </a:lnTo>
                      <a:lnTo>
                        <a:pt x="28" y="34"/>
                      </a:lnTo>
                      <a:lnTo>
                        <a:pt x="30" y="40"/>
                      </a:lnTo>
                      <a:lnTo>
                        <a:pt x="30" y="40"/>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59" name="Freeform 6026">
                  <a:extLst>
                    <a:ext uri="{FF2B5EF4-FFF2-40B4-BE49-F238E27FC236}">
                      <a16:creationId xmlns:a16="http://schemas.microsoft.com/office/drawing/2014/main" id="{748F1C93-36CB-D922-840F-09A6FEBDEE0F}"/>
                    </a:ext>
                  </a:extLst>
                </p:cNvPr>
                <p:cNvSpPr>
                  <a:spLocks/>
                </p:cNvSpPr>
                <p:nvPr/>
              </p:nvSpPr>
              <p:spPr bwMode="auto">
                <a:xfrm>
                  <a:off x="1694180" y="1013143"/>
                  <a:ext cx="44450" cy="33020"/>
                </a:xfrm>
                <a:custGeom>
                  <a:avLst/>
                  <a:gdLst/>
                  <a:ahLst/>
                  <a:cxnLst>
                    <a:cxn ang="0">
                      <a:pos x="56" y="52"/>
                    </a:cxn>
                    <a:cxn ang="0">
                      <a:pos x="56" y="52"/>
                    </a:cxn>
                    <a:cxn ang="0">
                      <a:pos x="66" y="50"/>
                    </a:cxn>
                    <a:cxn ang="0">
                      <a:pos x="68" y="48"/>
                    </a:cxn>
                    <a:cxn ang="0">
                      <a:pos x="70" y="46"/>
                    </a:cxn>
                    <a:cxn ang="0">
                      <a:pos x="70" y="44"/>
                    </a:cxn>
                    <a:cxn ang="0">
                      <a:pos x="68" y="40"/>
                    </a:cxn>
                    <a:cxn ang="0">
                      <a:pos x="56" y="26"/>
                    </a:cxn>
                    <a:cxn ang="0">
                      <a:pos x="56" y="26"/>
                    </a:cxn>
                    <a:cxn ang="0">
                      <a:pos x="46" y="18"/>
                    </a:cxn>
                    <a:cxn ang="0">
                      <a:pos x="36" y="12"/>
                    </a:cxn>
                    <a:cxn ang="0">
                      <a:pos x="26" y="6"/>
                    </a:cxn>
                    <a:cxn ang="0">
                      <a:pos x="16" y="2"/>
                    </a:cxn>
                    <a:cxn ang="0">
                      <a:pos x="8" y="0"/>
                    </a:cxn>
                    <a:cxn ang="0">
                      <a:pos x="2" y="0"/>
                    </a:cxn>
                    <a:cxn ang="0">
                      <a:pos x="0" y="2"/>
                    </a:cxn>
                    <a:cxn ang="0">
                      <a:pos x="0" y="8"/>
                    </a:cxn>
                    <a:cxn ang="0">
                      <a:pos x="0" y="8"/>
                    </a:cxn>
                    <a:cxn ang="0">
                      <a:pos x="8" y="22"/>
                    </a:cxn>
                    <a:cxn ang="0">
                      <a:pos x="18" y="36"/>
                    </a:cxn>
                    <a:cxn ang="0">
                      <a:pos x="24" y="44"/>
                    </a:cxn>
                    <a:cxn ang="0">
                      <a:pos x="32" y="48"/>
                    </a:cxn>
                    <a:cxn ang="0">
                      <a:pos x="42" y="52"/>
                    </a:cxn>
                    <a:cxn ang="0">
                      <a:pos x="56" y="52"/>
                    </a:cxn>
                    <a:cxn ang="0">
                      <a:pos x="56" y="52"/>
                    </a:cxn>
                  </a:cxnLst>
                  <a:rect l="0" t="0" r="r" b="b"/>
                  <a:pathLst>
                    <a:path w="70" h="52">
                      <a:moveTo>
                        <a:pt x="56" y="52"/>
                      </a:moveTo>
                      <a:lnTo>
                        <a:pt x="56" y="52"/>
                      </a:lnTo>
                      <a:lnTo>
                        <a:pt x="66" y="50"/>
                      </a:lnTo>
                      <a:lnTo>
                        <a:pt x="68" y="48"/>
                      </a:lnTo>
                      <a:lnTo>
                        <a:pt x="70" y="46"/>
                      </a:lnTo>
                      <a:lnTo>
                        <a:pt x="70" y="44"/>
                      </a:lnTo>
                      <a:lnTo>
                        <a:pt x="68" y="40"/>
                      </a:lnTo>
                      <a:lnTo>
                        <a:pt x="56" y="26"/>
                      </a:lnTo>
                      <a:lnTo>
                        <a:pt x="56" y="26"/>
                      </a:lnTo>
                      <a:lnTo>
                        <a:pt x="46" y="18"/>
                      </a:lnTo>
                      <a:lnTo>
                        <a:pt x="36" y="12"/>
                      </a:lnTo>
                      <a:lnTo>
                        <a:pt x="26" y="6"/>
                      </a:lnTo>
                      <a:lnTo>
                        <a:pt x="16" y="2"/>
                      </a:lnTo>
                      <a:lnTo>
                        <a:pt x="8" y="0"/>
                      </a:lnTo>
                      <a:lnTo>
                        <a:pt x="2" y="0"/>
                      </a:lnTo>
                      <a:lnTo>
                        <a:pt x="0" y="2"/>
                      </a:lnTo>
                      <a:lnTo>
                        <a:pt x="0" y="8"/>
                      </a:lnTo>
                      <a:lnTo>
                        <a:pt x="0" y="8"/>
                      </a:lnTo>
                      <a:lnTo>
                        <a:pt x="8" y="22"/>
                      </a:lnTo>
                      <a:lnTo>
                        <a:pt x="18" y="36"/>
                      </a:lnTo>
                      <a:lnTo>
                        <a:pt x="24" y="44"/>
                      </a:lnTo>
                      <a:lnTo>
                        <a:pt x="32" y="48"/>
                      </a:lnTo>
                      <a:lnTo>
                        <a:pt x="42" y="52"/>
                      </a:lnTo>
                      <a:lnTo>
                        <a:pt x="56" y="52"/>
                      </a:lnTo>
                      <a:lnTo>
                        <a:pt x="56" y="52"/>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60" name="Freeform 6027">
                  <a:extLst>
                    <a:ext uri="{FF2B5EF4-FFF2-40B4-BE49-F238E27FC236}">
                      <a16:creationId xmlns:a16="http://schemas.microsoft.com/office/drawing/2014/main" id="{65F1D847-CEAB-E4AE-1C27-B42179BD4A3E}"/>
                    </a:ext>
                  </a:extLst>
                </p:cNvPr>
                <p:cNvSpPr>
                  <a:spLocks/>
                </p:cNvSpPr>
                <p:nvPr/>
              </p:nvSpPr>
              <p:spPr bwMode="auto">
                <a:xfrm>
                  <a:off x="1883410" y="957263"/>
                  <a:ext cx="95250" cy="54610"/>
                </a:xfrm>
                <a:custGeom>
                  <a:avLst/>
                  <a:gdLst/>
                  <a:ahLst/>
                  <a:cxnLst>
                    <a:cxn ang="0">
                      <a:pos x="14" y="38"/>
                    </a:cxn>
                    <a:cxn ang="0">
                      <a:pos x="22" y="44"/>
                    </a:cxn>
                    <a:cxn ang="0">
                      <a:pos x="44" y="54"/>
                    </a:cxn>
                    <a:cxn ang="0">
                      <a:pos x="50" y="56"/>
                    </a:cxn>
                    <a:cxn ang="0">
                      <a:pos x="52" y="58"/>
                    </a:cxn>
                    <a:cxn ang="0">
                      <a:pos x="42" y="64"/>
                    </a:cxn>
                    <a:cxn ang="0">
                      <a:pos x="32" y="68"/>
                    </a:cxn>
                    <a:cxn ang="0">
                      <a:pos x="40" y="68"/>
                    </a:cxn>
                    <a:cxn ang="0">
                      <a:pos x="50" y="70"/>
                    </a:cxn>
                    <a:cxn ang="0">
                      <a:pos x="56" y="76"/>
                    </a:cxn>
                    <a:cxn ang="0">
                      <a:pos x="60" y="84"/>
                    </a:cxn>
                    <a:cxn ang="0">
                      <a:pos x="66" y="86"/>
                    </a:cxn>
                    <a:cxn ang="0">
                      <a:pos x="74" y="82"/>
                    </a:cxn>
                    <a:cxn ang="0">
                      <a:pos x="98" y="76"/>
                    </a:cxn>
                    <a:cxn ang="0">
                      <a:pos x="132" y="70"/>
                    </a:cxn>
                    <a:cxn ang="0">
                      <a:pos x="142" y="64"/>
                    </a:cxn>
                    <a:cxn ang="0">
                      <a:pos x="140" y="60"/>
                    </a:cxn>
                    <a:cxn ang="0">
                      <a:pos x="140" y="52"/>
                    </a:cxn>
                    <a:cxn ang="0">
                      <a:pos x="150" y="42"/>
                    </a:cxn>
                    <a:cxn ang="0">
                      <a:pos x="148" y="36"/>
                    </a:cxn>
                    <a:cxn ang="0">
                      <a:pos x="140" y="32"/>
                    </a:cxn>
                    <a:cxn ang="0">
                      <a:pos x="122" y="24"/>
                    </a:cxn>
                    <a:cxn ang="0">
                      <a:pos x="100" y="22"/>
                    </a:cxn>
                    <a:cxn ang="0">
                      <a:pos x="82" y="14"/>
                    </a:cxn>
                    <a:cxn ang="0">
                      <a:pos x="68" y="8"/>
                    </a:cxn>
                    <a:cxn ang="0">
                      <a:pos x="42" y="0"/>
                    </a:cxn>
                    <a:cxn ang="0">
                      <a:pos x="18" y="0"/>
                    </a:cxn>
                    <a:cxn ang="0">
                      <a:pos x="8" y="8"/>
                    </a:cxn>
                    <a:cxn ang="0">
                      <a:pos x="8" y="14"/>
                    </a:cxn>
                    <a:cxn ang="0">
                      <a:pos x="10" y="20"/>
                    </a:cxn>
                    <a:cxn ang="0">
                      <a:pos x="6" y="28"/>
                    </a:cxn>
                    <a:cxn ang="0">
                      <a:pos x="0" y="30"/>
                    </a:cxn>
                    <a:cxn ang="0">
                      <a:pos x="14" y="38"/>
                    </a:cxn>
                  </a:cxnLst>
                  <a:rect l="0" t="0" r="r" b="b"/>
                  <a:pathLst>
                    <a:path w="150" h="86">
                      <a:moveTo>
                        <a:pt x="14" y="38"/>
                      </a:moveTo>
                      <a:lnTo>
                        <a:pt x="14" y="38"/>
                      </a:lnTo>
                      <a:lnTo>
                        <a:pt x="20" y="42"/>
                      </a:lnTo>
                      <a:lnTo>
                        <a:pt x="22" y="44"/>
                      </a:lnTo>
                      <a:lnTo>
                        <a:pt x="28" y="48"/>
                      </a:lnTo>
                      <a:lnTo>
                        <a:pt x="44" y="54"/>
                      </a:lnTo>
                      <a:lnTo>
                        <a:pt x="44" y="54"/>
                      </a:lnTo>
                      <a:lnTo>
                        <a:pt x="50" y="56"/>
                      </a:lnTo>
                      <a:lnTo>
                        <a:pt x="52" y="58"/>
                      </a:lnTo>
                      <a:lnTo>
                        <a:pt x="52" y="58"/>
                      </a:lnTo>
                      <a:lnTo>
                        <a:pt x="48" y="62"/>
                      </a:lnTo>
                      <a:lnTo>
                        <a:pt x="42" y="64"/>
                      </a:lnTo>
                      <a:lnTo>
                        <a:pt x="32" y="66"/>
                      </a:lnTo>
                      <a:lnTo>
                        <a:pt x="32" y="68"/>
                      </a:lnTo>
                      <a:lnTo>
                        <a:pt x="34" y="68"/>
                      </a:lnTo>
                      <a:lnTo>
                        <a:pt x="40" y="68"/>
                      </a:lnTo>
                      <a:lnTo>
                        <a:pt x="40" y="68"/>
                      </a:lnTo>
                      <a:lnTo>
                        <a:pt x="50" y="70"/>
                      </a:lnTo>
                      <a:lnTo>
                        <a:pt x="54" y="74"/>
                      </a:lnTo>
                      <a:lnTo>
                        <a:pt x="56" y="76"/>
                      </a:lnTo>
                      <a:lnTo>
                        <a:pt x="58" y="80"/>
                      </a:lnTo>
                      <a:lnTo>
                        <a:pt x="60" y="84"/>
                      </a:lnTo>
                      <a:lnTo>
                        <a:pt x="62" y="86"/>
                      </a:lnTo>
                      <a:lnTo>
                        <a:pt x="66" y="86"/>
                      </a:lnTo>
                      <a:lnTo>
                        <a:pt x="74" y="82"/>
                      </a:lnTo>
                      <a:lnTo>
                        <a:pt x="74" y="82"/>
                      </a:lnTo>
                      <a:lnTo>
                        <a:pt x="86" y="78"/>
                      </a:lnTo>
                      <a:lnTo>
                        <a:pt x="98" y="76"/>
                      </a:lnTo>
                      <a:lnTo>
                        <a:pt x="122" y="72"/>
                      </a:lnTo>
                      <a:lnTo>
                        <a:pt x="132" y="70"/>
                      </a:lnTo>
                      <a:lnTo>
                        <a:pt x="138" y="68"/>
                      </a:lnTo>
                      <a:lnTo>
                        <a:pt x="142" y="64"/>
                      </a:lnTo>
                      <a:lnTo>
                        <a:pt x="140" y="60"/>
                      </a:lnTo>
                      <a:lnTo>
                        <a:pt x="140" y="60"/>
                      </a:lnTo>
                      <a:lnTo>
                        <a:pt x="138" y="54"/>
                      </a:lnTo>
                      <a:lnTo>
                        <a:pt x="140" y="52"/>
                      </a:lnTo>
                      <a:lnTo>
                        <a:pt x="146" y="46"/>
                      </a:lnTo>
                      <a:lnTo>
                        <a:pt x="150" y="42"/>
                      </a:lnTo>
                      <a:lnTo>
                        <a:pt x="150" y="40"/>
                      </a:lnTo>
                      <a:lnTo>
                        <a:pt x="148" y="36"/>
                      </a:lnTo>
                      <a:lnTo>
                        <a:pt x="140" y="32"/>
                      </a:lnTo>
                      <a:lnTo>
                        <a:pt x="140" y="32"/>
                      </a:lnTo>
                      <a:lnTo>
                        <a:pt x="128" y="26"/>
                      </a:lnTo>
                      <a:lnTo>
                        <a:pt x="122" y="24"/>
                      </a:lnTo>
                      <a:lnTo>
                        <a:pt x="110" y="24"/>
                      </a:lnTo>
                      <a:lnTo>
                        <a:pt x="100" y="22"/>
                      </a:lnTo>
                      <a:lnTo>
                        <a:pt x="92" y="20"/>
                      </a:lnTo>
                      <a:lnTo>
                        <a:pt x="82" y="14"/>
                      </a:lnTo>
                      <a:lnTo>
                        <a:pt x="82" y="14"/>
                      </a:lnTo>
                      <a:lnTo>
                        <a:pt x="68" y="8"/>
                      </a:lnTo>
                      <a:lnTo>
                        <a:pt x="56" y="2"/>
                      </a:lnTo>
                      <a:lnTo>
                        <a:pt x="42" y="0"/>
                      </a:lnTo>
                      <a:lnTo>
                        <a:pt x="30" y="0"/>
                      </a:lnTo>
                      <a:lnTo>
                        <a:pt x="18" y="0"/>
                      </a:lnTo>
                      <a:lnTo>
                        <a:pt x="10" y="4"/>
                      </a:lnTo>
                      <a:lnTo>
                        <a:pt x="8" y="8"/>
                      </a:lnTo>
                      <a:lnTo>
                        <a:pt x="8" y="12"/>
                      </a:lnTo>
                      <a:lnTo>
                        <a:pt x="8" y="14"/>
                      </a:lnTo>
                      <a:lnTo>
                        <a:pt x="8" y="14"/>
                      </a:lnTo>
                      <a:lnTo>
                        <a:pt x="10" y="20"/>
                      </a:lnTo>
                      <a:lnTo>
                        <a:pt x="10" y="24"/>
                      </a:lnTo>
                      <a:lnTo>
                        <a:pt x="6" y="28"/>
                      </a:lnTo>
                      <a:lnTo>
                        <a:pt x="2" y="30"/>
                      </a:lnTo>
                      <a:lnTo>
                        <a:pt x="0" y="30"/>
                      </a:lnTo>
                      <a:lnTo>
                        <a:pt x="0" y="32"/>
                      </a:lnTo>
                      <a:lnTo>
                        <a:pt x="14" y="38"/>
                      </a:lnTo>
                      <a:lnTo>
                        <a:pt x="14" y="38"/>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61" name="Freeform 6033">
                  <a:extLst>
                    <a:ext uri="{FF2B5EF4-FFF2-40B4-BE49-F238E27FC236}">
                      <a16:creationId xmlns:a16="http://schemas.microsoft.com/office/drawing/2014/main" id="{05F20B80-ECC5-0CAB-40DC-F94DD7A70676}"/>
                    </a:ext>
                  </a:extLst>
                </p:cNvPr>
                <p:cNvSpPr>
                  <a:spLocks/>
                </p:cNvSpPr>
                <p:nvPr/>
              </p:nvSpPr>
              <p:spPr bwMode="auto">
                <a:xfrm>
                  <a:off x="646430" y="1806893"/>
                  <a:ext cx="15240" cy="8890"/>
                </a:xfrm>
                <a:custGeom>
                  <a:avLst/>
                  <a:gdLst/>
                  <a:ahLst/>
                  <a:cxnLst>
                    <a:cxn ang="0">
                      <a:pos x="14" y="0"/>
                    </a:cxn>
                    <a:cxn ang="0">
                      <a:pos x="14" y="0"/>
                    </a:cxn>
                    <a:cxn ang="0">
                      <a:pos x="6" y="0"/>
                    </a:cxn>
                    <a:cxn ang="0">
                      <a:pos x="2" y="2"/>
                    </a:cxn>
                    <a:cxn ang="0">
                      <a:pos x="0" y="6"/>
                    </a:cxn>
                    <a:cxn ang="0">
                      <a:pos x="2" y="12"/>
                    </a:cxn>
                    <a:cxn ang="0">
                      <a:pos x="2" y="12"/>
                    </a:cxn>
                    <a:cxn ang="0">
                      <a:pos x="4" y="14"/>
                    </a:cxn>
                    <a:cxn ang="0">
                      <a:pos x="8" y="14"/>
                    </a:cxn>
                    <a:cxn ang="0">
                      <a:pos x="20" y="8"/>
                    </a:cxn>
                    <a:cxn ang="0">
                      <a:pos x="20" y="8"/>
                    </a:cxn>
                    <a:cxn ang="0">
                      <a:pos x="24" y="6"/>
                    </a:cxn>
                    <a:cxn ang="0">
                      <a:pos x="24" y="4"/>
                    </a:cxn>
                    <a:cxn ang="0">
                      <a:pos x="20" y="2"/>
                    </a:cxn>
                    <a:cxn ang="0">
                      <a:pos x="14" y="0"/>
                    </a:cxn>
                    <a:cxn ang="0">
                      <a:pos x="14" y="0"/>
                    </a:cxn>
                  </a:cxnLst>
                  <a:rect l="0" t="0" r="r" b="b"/>
                  <a:pathLst>
                    <a:path w="24" h="14">
                      <a:moveTo>
                        <a:pt x="14" y="0"/>
                      </a:moveTo>
                      <a:lnTo>
                        <a:pt x="14" y="0"/>
                      </a:lnTo>
                      <a:lnTo>
                        <a:pt x="6" y="0"/>
                      </a:lnTo>
                      <a:lnTo>
                        <a:pt x="2" y="2"/>
                      </a:lnTo>
                      <a:lnTo>
                        <a:pt x="0" y="6"/>
                      </a:lnTo>
                      <a:lnTo>
                        <a:pt x="2" y="12"/>
                      </a:lnTo>
                      <a:lnTo>
                        <a:pt x="2" y="12"/>
                      </a:lnTo>
                      <a:lnTo>
                        <a:pt x="4" y="14"/>
                      </a:lnTo>
                      <a:lnTo>
                        <a:pt x="8" y="14"/>
                      </a:lnTo>
                      <a:lnTo>
                        <a:pt x="20" y="8"/>
                      </a:lnTo>
                      <a:lnTo>
                        <a:pt x="20" y="8"/>
                      </a:lnTo>
                      <a:lnTo>
                        <a:pt x="24" y="6"/>
                      </a:lnTo>
                      <a:lnTo>
                        <a:pt x="24" y="4"/>
                      </a:lnTo>
                      <a:lnTo>
                        <a:pt x="20" y="2"/>
                      </a:lnTo>
                      <a:lnTo>
                        <a:pt x="14" y="0"/>
                      </a:lnTo>
                      <a:lnTo>
                        <a:pt x="14" y="0"/>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62" name="Freeform 6037">
                  <a:extLst>
                    <a:ext uri="{FF2B5EF4-FFF2-40B4-BE49-F238E27FC236}">
                      <a16:creationId xmlns:a16="http://schemas.microsoft.com/office/drawing/2014/main" id="{B0BA248A-58F7-B57D-AC69-141E30CE3C76}"/>
                    </a:ext>
                  </a:extLst>
                </p:cNvPr>
                <p:cNvSpPr>
                  <a:spLocks/>
                </p:cNvSpPr>
                <p:nvPr/>
              </p:nvSpPr>
              <p:spPr bwMode="auto">
                <a:xfrm>
                  <a:off x="615950" y="1811973"/>
                  <a:ext cx="24130" cy="22860"/>
                </a:xfrm>
                <a:custGeom>
                  <a:avLst/>
                  <a:gdLst/>
                  <a:ahLst/>
                  <a:cxnLst>
                    <a:cxn ang="0">
                      <a:pos x="28" y="2"/>
                    </a:cxn>
                    <a:cxn ang="0">
                      <a:pos x="28" y="2"/>
                    </a:cxn>
                    <a:cxn ang="0">
                      <a:pos x="18" y="16"/>
                    </a:cxn>
                    <a:cxn ang="0">
                      <a:pos x="0" y="34"/>
                    </a:cxn>
                    <a:cxn ang="0">
                      <a:pos x="0" y="34"/>
                    </a:cxn>
                    <a:cxn ang="0">
                      <a:pos x="0" y="36"/>
                    </a:cxn>
                    <a:cxn ang="0">
                      <a:pos x="4" y="36"/>
                    </a:cxn>
                    <a:cxn ang="0">
                      <a:pos x="16" y="32"/>
                    </a:cxn>
                    <a:cxn ang="0">
                      <a:pos x="16" y="32"/>
                    </a:cxn>
                    <a:cxn ang="0">
                      <a:pos x="20" y="30"/>
                    </a:cxn>
                    <a:cxn ang="0">
                      <a:pos x="22" y="26"/>
                    </a:cxn>
                    <a:cxn ang="0">
                      <a:pos x="26" y="20"/>
                    </a:cxn>
                    <a:cxn ang="0">
                      <a:pos x="32" y="12"/>
                    </a:cxn>
                    <a:cxn ang="0">
                      <a:pos x="32" y="12"/>
                    </a:cxn>
                    <a:cxn ang="0">
                      <a:pos x="36" y="4"/>
                    </a:cxn>
                    <a:cxn ang="0">
                      <a:pos x="38" y="2"/>
                    </a:cxn>
                    <a:cxn ang="0">
                      <a:pos x="36" y="0"/>
                    </a:cxn>
                    <a:cxn ang="0">
                      <a:pos x="32" y="0"/>
                    </a:cxn>
                    <a:cxn ang="0">
                      <a:pos x="28" y="2"/>
                    </a:cxn>
                    <a:cxn ang="0">
                      <a:pos x="28" y="2"/>
                    </a:cxn>
                  </a:cxnLst>
                  <a:rect l="0" t="0" r="r" b="b"/>
                  <a:pathLst>
                    <a:path w="38" h="36">
                      <a:moveTo>
                        <a:pt x="28" y="2"/>
                      </a:moveTo>
                      <a:lnTo>
                        <a:pt x="28" y="2"/>
                      </a:lnTo>
                      <a:lnTo>
                        <a:pt x="18" y="16"/>
                      </a:lnTo>
                      <a:lnTo>
                        <a:pt x="0" y="34"/>
                      </a:lnTo>
                      <a:lnTo>
                        <a:pt x="0" y="34"/>
                      </a:lnTo>
                      <a:lnTo>
                        <a:pt x="0" y="36"/>
                      </a:lnTo>
                      <a:lnTo>
                        <a:pt x="4" y="36"/>
                      </a:lnTo>
                      <a:lnTo>
                        <a:pt x="16" y="32"/>
                      </a:lnTo>
                      <a:lnTo>
                        <a:pt x="16" y="32"/>
                      </a:lnTo>
                      <a:lnTo>
                        <a:pt x="20" y="30"/>
                      </a:lnTo>
                      <a:lnTo>
                        <a:pt x="22" y="26"/>
                      </a:lnTo>
                      <a:lnTo>
                        <a:pt x="26" y="20"/>
                      </a:lnTo>
                      <a:lnTo>
                        <a:pt x="32" y="12"/>
                      </a:lnTo>
                      <a:lnTo>
                        <a:pt x="32" y="12"/>
                      </a:lnTo>
                      <a:lnTo>
                        <a:pt x="36" y="4"/>
                      </a:lnTo>
                      <a:lnTo>
                        <a:pt x="38" y="2"/>
                      </a:lnTo>
                      <a:lnTo>
                        <a:pt x="36" y="0"/>
                      </a:lnTo>
                      <a:lnTo>
                        <a:pt x="32" y="0"/>
                      </a:lnTo>
                      <a:lnTo>
                        <a:pt x="28" y="2"/>
                      </a:lnTo>
                      <a:lnTo>
                        <a:pt x="28" y="2"/>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63" name="Freeform 6054">
                  <a:extLst>
                    <a:ext uri="{FF2B5EF4-FFF2-40B4-BE49-F238E27FC236}">
                      <a16:creationId xmlns:a16="http://schemas.microsoft.com/office/drawing/2014/main" id="{8B5C942A-60CB-F499-09E9-3224994021A1}"/>
                    </a:ext>
                  </a:extLst>
                </p:cNvPr>
                <p:cNvSpPr>
                  <a:spLocks/>
                </p:cNvSpPr>
                <p:nvPr/>
              </p:nvSpPr>
              <p:spPr bwMode="auto">
                <a:xfrm>
                  <a:off x="1395730" y="1058863"/>
                  <a:ext cx="317500" cy="121920"/>
                </a:xfrm>
                <a:custGeom>
                  <a:avLst/>
                  <a:gdLst/>
                  <a:ahLst/>
                  <a:cxnLst>
                    <a:cxn ang="0">
                      <a:pos x="314" y="78"/>
                    </a:cxn>
                    <a:cxn ang="0">
                      <a:pos x="338" y="86"/>
                    </a:cxn>
                    <a:cxn ang="0">
                      <a:pos x="354" y="100"/>
                    </a:cxn>
                    <a:cxn ang="0">
                      <a:pos x="340" y="106"/>
                    </a:cxn>
                    <a:cxn ang="0">
                      <a:pos x="280" y="102"/>
                    </a:cxn>
                    <a:cxn ang="0">
                      <a:pos x="258" y="102"/>
                    </a:cxn>
                    <a:cxn ang="0">
                      <a:pos x="236" y="72"/>
                    </a:cxn>
                    <a:cxn ang="0">
                      <a:pos x="186" y="46"/>
                    </a:cxn>
                    <a:cxn ang="0">
                      <a:pos x="154" y="54"/>
                    </a:cxn>
                    <a:cxn ang="0">
                      <a:pos x="138" y="36"/>
                    </a:cxn>
                    <a:cxn ang="0">
                      <a:pos x="102" y="32"/>
                    </a:cxn>
                    <a:cxn ang="0">
                      <a:pos x="42" y="58"/>
                    </a:cxn>
                    <a:cxn ang="0">
                      <a:pos x="46" y="66"/>
                    </a:cxn>
                    <a:cxn ang="0">
                      <a:pos x="22" y="88"/>
                    </a:cxn>
                    <a:cxn ang="0">
                      <a:pos x="24" y="98"/>
                    </a:cxn>
                    <a:cxn ang="0">
                      <a:pos x="14" y="110"/>
                    </a:cxn>
                    <a:cxn ang="0">
                      <a:pos x="6" y="132"/>
                    </a:cxn>
                    <a:cxn ang="0">
                      <a:pos x="66" y="146"/>
                    </a:cxn>
                    <a:cxn ang="0">
                      <a:pos x="94" y="138"/>
                    </a:cxn>
                    <a:cxn ang="0">
                      <a:pos x="106" y="146"/>
                    </a:cxn>
                    <a:cxn ang="0">
                      <a:pos x="124" y="148"/>
                    </a:cxn>
                    <a:cxn ang="0">
                      <a:pos x="144" y="126"/>
                    </a:cxn>
                    <a:cxn ang="0">
                      <a:pos x="152" y="130"/>
                    </a:cxn>
                    <a:cxn ang="0">
                      <a:pos x="158" y="140"/>
                    </a:cxn>
                    <a:cxn ang="0">
                      <a:pos x="232" y="132"/>
                    </a:cxn>
                    <a:cxn ang="0">
                      <a:pos x="264" y="134"/>
                    </a:cxn>
                    <a:cxn ang="0">
                      <a:pos x="212" y="148"/>
                    </a:cxn>
                    <a:cxn ang="0">
                      <a:pos x="144" y="160"/>
                    </a:cxn>
                    <a:cxn ang="0">
                      <a:pos x="134" y="176"/>
                    </a:cxn>
                    <a:cxn ang="0">
                      <a:pos x="166" y="190"/>
                    </a:cxn>
                    <a:cxn ang="0">
                      <a:pos x="234" y="184"/>
                    </a:cxn>
                    <a:cxn ang="0">
                      <a:pos x="296" y="164"/>
                    </a:cxn>
                    <a:cxn ang="0">
                      <a:pos x="350" y="146"/>
                    </a:cxn>
                    <a:cxn ang="0">
                      <a:pos x="378" y="152"/>
                    </a:cxn>
                    <a:cxn ang="0">
                      <a:pos x="394" y="144"/>
                    </a:cxn>
                    <a:cxn ang="0">
                      <a:pos x="420" y="150"/>
                    </a:cxn>
                    <a:cxn ang="0">
                      <a:pos x="460" y="138"/>
                    </a:cxn>
                    <a:cxn ang="0">
                      <a:pos x="492" y="106"/>
                    </a:cxn>
                    <a:cxn ang="0">
                      <a:pos x="498" y="84"/>
                    </a:cxn>
                    <a:cxn ang="0">
                      <a:pos x="470" y="68"/>
                    </a:cxn>
                    <a:cxn ang="0">
                      <a:pos x="436" y="70"/>
                    </a:cxn>
                    <a:cxn ang="0">
                      <a:pos x="398" y="80"/>
                    </a:cxn>
                    <a:cxn ang="0">
                      <a:pos x="400" y="68"/>
                    </a:cxn>
                    <a:cxn ang="0">
                      <a:pos x="384" y="60"/>
                    </a:cxn>
                    <a:cxn ang="0">
                      <a:pos x="384" y="52"/>
                    </a:cxn>
                    <a:cxn ang="0">
                      <a:pos x="382" y="40"/>
                    </a:cxn>
                    <a:cxn ang="0">
                      <a:pos x="370" y="18"/>
                    </a:cxn>
                    <a:cxn ang="0">
                      <a:pos x="358" y="0"/>
                    </a:cxn>
                    <a:cxn ang="0">
                      <a:pos x="300" y="28"/>
                    </a:cxn>
                    <a:cxn ang="0">
                      <a:pos x="290" y="40"/>
                    </a:cxn>
                    <a:cxn ang="0">
                      <a:pos x="318" y="54"/>
                    </a:cxn>
                    <a:cxn ang="0">
                      <a:pos x="328" y="66"/>
                    </a:cxn>
                  </a:cxnLst>
                  <a:rect l="0" t="0" r="r" b="b"/>
                  <a:pathLst>
                    <a:path w="500" h="192">
                      <a:moveTo>
                        <a:pt x="322" y="70"/>
                      </a:moveTo>
                      <a:lnTo>
                        <a:pt x="322" y="70"/>
                      </a:lnTo>
                      <a:lnTo>
                        <a:pt x="316" y="76"/>
                      </a:lnTo>
                      <a:lnTo>
                        <a:pt x="314" y="78"/>
                      </a:lnTo>
                      <a:lnTo>
                        <a:pt x="316" y="80"/>
                      </a:lnTo>
                      <a:lnTo>
                        <a:pt x="320" y="82"/>
                      </a:lnTo>
                      <a:lnTo>
                        <a:pt x="330" y="84"/>
                      </a:lnTo>
                      <a:lnTo>
                        <a:pt x="338" y="86"/>
                      </a:lnTo>
                      <a:lnTo>
                        <a:pt x="348" y="90"/>
                      </a:lnTo>
                      <a:lnTo>
                        <a:pt x="354" y="94"/>
                      </a:lnTo>
                      <a:lnTo>
                        <a:pt x="356" y="96"/>
                      </a:lnTo>
                      <a:lnTo>
                        <a:pt x="354" y="100"/>
                      </a:lnTo>
                      <a:lnTo>
                        <a:pt x="354" y="100"/>
                      </a:lnTo>
                      <a:lnTo>
                        <a:pt x="352" y="104"/>
                      </a:lnTo>
                      <a:lnTo>
                        <a:pt x="346" y="108"/>
                      </a:lnTo>
                      <a:lnTo>
                        <a:pt x="340" y="106"/>
                      </a:lnTo>
                      <a:lnTo>
                        <a:pt x="332" y="106"/>
                      </a:lnTo>
                      <a:lnTo>
                        <a:pt x="310" y="102"/>
                      </a:lnTo>
                      <a:lnTo>
                        <a:pt x="296" y="100"/>
                      </a:lnTo>
                      <a:lnTo>
                        <a:pt x="280" y="102"/>
                      </a:lnTo>
                      <a:lnTo>
                        <a:pt x="280" y="102"/>
                      </a:lnTo>
                      <a:lnTo>
                        <a:pt x="268" y="104"/>
                      </a:lnTo>
                      <a:lnTo>
                        <a:pt x="260" y="104"/>
                      </a:lnTo>
                      <a:lnTo>
                        <a:pt x="258" y="102"/>
                      </a:lnTo>
                      <a:lnTo>
                        <a:pt x="256" y="98"/>
                      </a:lnTo>
                      <a:lnTo>
                        <a:pt x="252" y="90"/>
                      </a:lnTo>
                      <a:lnTo>
                        <a:pt x="246" y="82"/>
                      </a:lnTo>
                      <a:lnTo>
                        <a:pt x="236" y="72"/>
                      </a:lnTo>
                      <a:lnTo>
                        <a:pt x="220" y="60"/>
                      </a:lnTo>
                      <a:lnTo>
                        <a:pt x="220" y="60"/>
                      </a:lnTo>
                      <a:lnTo>
                        <a:pt x="200" y="50"/>
                      </a:lnTo>
                      <a:lnTo>
                        <a:pt x="186" y="46"/>
                      </a:lnTo>
                      <a:lnTo>
                        <a:pt x="174" y="46"/>
                      </a:lnTo>
                      <a:lnTo>
                        <a:pt x="166" y="50"/>
                      </a:lnTo>
                      <a:lnTo>
                        <a:pt x="160" y="52"/>
                      </a:lnTo>
                      <a:lnTo>
                        <a:pt x="154" y="54"/>
                      </a:lnTo>
                      <a:lnTo>
                        <a:pt x="150" y="52"/>
                      </a:lnTo>
                      <a:lnTo>
                        <a:pt x="144" y="44"/>
                      </a:lnTo>
                      <a:lnTo>
                        <a:pt x="144" y="44"/>
                      </a:lnTo>
                      <a:lnTo>
                        <a:pt x="138" y="36"/>
                      </a:lnTo>
                      <a:lnTo>
                        <a:pt x="130" y="30"/>
                      </a:lnTo>
                      <a:lnTo>
                        <a:pt x="122" y="30"/>
                      </a:lnTo>
                      <a:lnTo>
                        <a:pt x="112" y="30"/>
                      </a:lnTo>
                      <a:lnTo>
                        <a:pt x="102" y="32"/>
                      </a:lnTo>
                      <a:lnTo>
                        <a:pt x="88" y="38"/>
                      </a:lnTo>
                      <a:lnTo>
                        <a:pt x="60" y="50"/>
                      </a:lnTo>
                      <a:lnTo>
                        <a:pt x="60" y="50"/>
                      </a:lnTo>
                      <a:lnTo>
                        <a:pt x="42" y="58"/>
                      </a:lnTo>
                      <a:lnTo>
                        <a:pt x="40" y="60"/>
                      </a:lnTo>
                      <a:lnTo>
                        <a:pt x="42" y="60"/>
                      </a:lnTo>
                      <a:lnTo>
                        <a:pt x="44" y="64"/>
                      </a:lnTo>
                      <a:lnTo>
                        <a:pt x="46" y="66"/>
                      </a:lnTo>
                      <a:lnTo>
                        <a:pt x="42" y="72"/>
                      </a:lnTo>
                      <a:lnTo>
                        <a:pt x="32" y="80"/>
                      </a:lnTo>
                      <a:lnTo>
                        <a:pt x="32" y="80"/>
                      </a:lnTo>
                      <a:lnTo>
                        <a:pt x="22" y="88"/>
                      </a:lnTo>
                      <a:lnTo>
                        <a:pt x="20" y="94"/>
                      </a:lnTo>
                      <a:lnTo>
                        <a:pt x="20" y="96"/>
                      </a:lnTo>
                      <a:lnTo>
                        <a:pt x="22" y="98"/>
                      </a:lnTo>
                      <a:lnTo>
                        <a:pt x="24" y="98"/>
                      </a:lnTo>
                      <a:lnTo>
                        <a:pt x="26" y="100"/>
                      </a:lnTo>
                      <a:lnTo>
                        <a:pt x="22" y="104"/>
                      </a:lnTo>
                      <a:lnTo>
                        <a:pt x="14" y="110"/>
                      </a:lnTo>
                      <a:lnTo>
                        <a:pt x="14" y="110"/>
                      </a:lnTo>
                      <a:lnTo>
                        <a:pt x="4" y="118"/>
                      </a:lnTo>
                      <a:lnTo>
                        <a:pt x="0" y="124"/>
                      </a:lnTo>
                      <a:lnTo>
                        <a:pt x="2" y="128"/>
                      </a:lnTo>
                      <a:lnTo>
                        <a:pt x="6" y="132"/>
                      </a:lnTo>
                      <a:lnTo>
                        <a:pt x="26" y="138"/>
                      </a:lnTo>
                      <a:lnTo>
                        <a:pt x="54" y="144"/>
                      </a:lnTo>
                      <a:lnTo>
                        <a:pt x="54" y="144"/>
                      </a:lnTo>
                      <a:lnTo>
                        <a:pt x="66" y="146"/>
                      </a:lnTo>
                      <a:lnTo>
                        <a:pt x="76" y="146"/>
                      </a:lnTo>
                      <a:lnTo>
                        <a:pt x="84" y="144"/>
                      </a:lnTo>
                      <a:lnTo>
                        <a:pt x="88" y="142"/>
                      </a:lnTo>
                      <a:lnTo>
                        <a:pt x="94" y="138"/>
                      </a:lnTo>
                      <a:lnTo>
                        <a:pt x="96" y="136"/>
                      </a:lnTo>
                      <a:lnTo>
                        <a:pt x="98" y="140"/>
                      </a:lnTo>
                      <a:lnTo>
                        <a:pt x="98" y="140"/>
                      </a:lnTo>
                      <a:lnTo>
                        <a:pt x="106" y="146"/>
                      </a:lnTo>
                      <a:lnTo>
                        <a:pt x="110" y="148"/>
                      </a:lnTo>
                      <a:lnTo>
                        <a:pt x="114" y="150"/>
                      </a:lnTo>
                      <a:lnTo>
                        <a:pt x="118" y="150"/>
                      </a:lnTo>
                      <a:lnTo>
                        <a:pt x="124" y="148"/>
                      </a:lnTo>
                      <a:lnTo>
                        <a:pt x="128" y="144"/>
                      </a:lnTo>
                      <a:lnTo>
                        <a:pt x="134" y="138"/>
                      </a:lnTo>
                      <a:lnTo>
                        <a:pt x="134" y="138"/>
                      </a:lnTo>
                      <a:lnTo>
                        <a:pt x="144" y="126"/>
                      </a:lnTo>
                      <a:lnTo>
                        <a:pt x="150" y="122"/>
                      </a:lnTo>
                      <a:lnTo>
                        <a:pt x="152" y="122"/>
                      </a:lnTo>
                      <a:lnTo>
                        <a:pt x="154" y="124"/>
                      </a:lnTo>
                      <a:lnTo>
                        <a:pt x="152" y="130"/>
                      </a:lnTo>
                      <a:lnTo>
                        <a:pt x="152" y="130"/>
                      </a:lnTo>
                      <a:lnTo>
                        <a:pt x="150" y="134"/>
                      </a:lnTo>
                      <a:lnTo>
                        <a:pt x="154" y="138"/>
                      </a:lnTo>
                      <a:lnTo>
                        <a:pt x="158" y="140"/>
                      </a:lnTo>
                      <a:lnTo>
                        <a:pt x="166" y="142"/>
                      </a:lnTo>
                      <a:lnTo>
                        <a:pt x="192" y="140"/>
                      </a:lnTo>
                      <a:lnTo>
                        <a:pt x="232" y="132"/>
                      </a:lnTo>
                      <a:lnTo>
                        <a:pt x="232" y="132"/>
                      </a:lnTo>
                      <a:lnTo>
                        <a:pt x="252" y="130"/>
                      </a:lnTo>
                      <a:lnTo>
                        <a:pt x="262" y="130"/>
                      </a:lnTo>
                      <a:lnTo>
                        <a:pt x="266" y="130"/>
                      </a:lnTo>
                      <a:lnTo>
                        <a:pt x="264" y="134"/>
                      </a:lnTo>
                      <a:lnTo>
                        <a:pt x="256" y="138"/>
                      </a:lnTo>
                      <a:lnTo>
                        <a:pt x="244" y="142"/>
                      </a:lnTo>
                      <a:lnTo>
                        <a:pt x="228" y="144"/>
                      </a:lnTo>
                      <a:lnTo>
                        <a:pt x="212" y="148"/>
                      </a:lnTo>
                      <a:lnTo>
                        <a:pt x="212" y="148"/>
                      </a:lnTo>
                      <a:lnTo>
                        <a:pt x="176" y="152"/>
                      </a:lnTo>
                      <a:lnTo>
                        <a:pt x="158" y="156"/>
                      </a:lnTo>
                      <a:lnTo>
                        <a:pt x="144" y="160"/>
                      </a:lnTo>
                      <a:lnTo>
                        <a:pt x="136" y="166"/>
                      </a:lnTo>
                      <a:lnTo>
                        <a:pt x="134" y="168"/>
                      </a:lnTo>
                      <a:lnTo>
                        <a:pt x="134" y="172"/>
                      </a:lnTo>
                      <a:lnTo>
                        <a:pt x="134" y="176"/>
                      </a:lnTo>
                      <a:lnTo>
                        <a:pt x="138" y="178"/>
                      </a:lnTo>
                      <a:lnTo>
                        <a:pt x="152" y="186"/>
                      </a:lnTo>
                      <a:lnTo>
                        <a:pt x="152" y="186"/>
                      </a:lnTo>
                      <a:lnTo>
                        <a:pt x="166" y="190"/>
                      </a:lnTo>
                      <a:lnTo>
                        <a:pt x="178" y="192"/>
                      </a:lnTo>
                      <a:lnTo>
                        <a:pt x="192" y="192"/>
                      </a:lnTo>
                      <a:lnTo>
                        <a:pt x="206" y="190"/>
                      </a:lnTo>
                      <a:lnTo>
                        <a:pt x="234" y="184"/>
                      </a:lnTo>
                      <a:lnTo>
                        <a:pt x="266" y="174"/>
                      </a:lnTo>
                      <a:lnTo>
                        <a:pt x="266" y="174"/>
                      </a:lnTo>
                      <a:lnTo>
                        <a:pt x="282" y="170"/>
                      </a:lnTo>
                      <a:lnTo>
                        <a:pt x="296" y="164"/>
                      </a:lnTo>
                      <a:lnTo>
                        <a:pt x="318" y="154"/>
                      </a:lnTo>
                      <a:lnTo>
                        <a:pt x="328" y="150"/>
                      </a:lnTo>
                      <a:lnTo>
                        <a:pt x="338" y="146"/>
                      </a:lnTo>
                      <a:lnTo>
                        <a:pt x="350" y="146"/>
                      </a:lnTo>
                      <a:lnTo>
                        <a:pt x="360" y="148"/>
                      </a:lnTo>
                      <a:lnTo>
                        <a:pt x="360" y="148"/>
                      </a:lnTo>
                      <a:lnTo>
                        <a:pt x="370" y="150"/>
                      </a:lnTo>
                      <a:lnTo>
                        <a:pt x="378" y="152"/>
                      </a:lnTo>
                      <a:lnTo>
                        <a:pt x="382" y="150"/>
                      </a:lnTo>
                      <a:lnTo>
                        <a:pt x="386" y="148"/>
                      </a:lnTo>
                      <a:lnTo>
                        <a:pt x="388" y="146"/>
                      </a:lnTo>
                      <a:lnTo>
                        <a:pt x="394" y="144"/>
                      </a:lnTo>
                      <a:lnTo>
                        <a:pt x="400" y="144"/>
                      </a:lnTo>
                      <a:lnTo>
                        <a:pt x="410" y="146"/>
                      </a:lnTo>
                      <a:lnTo>
                        <a:pt x="410" y="146"/>
                      </a:lnTo>
                      <a:lnTo>
                        <a:pt x="420" y="150"/>
                      </a:lnTo>
                      <a:lnTo>
                        <a:pt x="430" y="150"/>
                      </a:lnTo>
                      <a:lnTo>
                        <a:pt x="440" y="148"/>
                      </a:lnTo>
                      <a:lnTo>
                        <a:pt x="450" y="144"/>
                      </a:lnTo>
                      <a:lnTo>
                        <a:pt x="460" y="138"/>
                      </a:lnTo>
                      <a:lnTo>
                        <a:pt x="470" y="130"/>
                      </a:lnTo>
                      <a:lnTo>
                        <a:pt x="482" y="120"/>
                      </a:lnTo>
                      <a:lnTo>
                        <a:pt x="492" y="106"/>
                      </a:lnTo>
                      <a:lnTo>
                        <a:pt x="492" y="106"/>
                      </a:lnTo>
                      <a:lnTo>
                        <a:pt x="496" y="100"/>
                      </a:lnTo>
                      <a:lnTo>
                        <a:pt x="500" y="94"/>
                      </a:lnTo>
                      <a:lnTo>
                        <a:pt x="500" y="88"/>
                      </a:lnTo>
                      <a:lnTo>
                        <a:pt x="498" y="84"/>
                      </a:lnTo>
                      <a:lnTo>
                        <a:pt x="496" y="80"/>
                      </a:lnTo>
                      <a:lnTo>
                        <a:pt x="492" y="76"/>
                      </a:lnTo>
                      <a:lnTo>
                        <a:pt x="482" y="70"/>
                      </a:lnTo>
                      <a:lnTo>
                        <a:pt x="470" y="68"/>
                      </a:lnTo>
                      <a:lnTo>
                        <a:pt x="456" y="66"/>
                      </a:lnTo>
                      <a:lnTo>
                        <a:pt x="444" y="68"/>
                      </a:lnTo>
                      <a:lnTo>
                        <a:pt x="436" y="70"/>
                      </a:lnTo>
                      <a:lnTo>
                        <a:pt x="436" y="70"/>
                      </a:lnTo>
                      <a:lnTo>
                        <a:pt x="420" y="76"/>
                      </a:lnTo>
                      <a:lnTo>
                        <a:pt x="406" y="80"/>
                      </a:lnTo>
                      <a:lnTo>
                        <a:pt x="402" y="82"/>
                      </a:lnTo>
                      <a:lnTo>
                        <a:pt x="398" y="80"/>
                      </a:lnTo>
                      <a:lnTo>
                        <a:pt x="398" y="78"/>
                      </a:lnTo>
                      <a:lnTo>
                        <a:pt x="400" y="72"/>
                      </a:lnTo>
                      <a:lnTo>
                        <a:pt x="400" y="72"/>
                      </a:lnTo>
                      <a:lnTo>
                        <a:pt x="400" y="68"/>
                      </a:lnTo>
                      <a:lnTo>
                        <a:pt x="398" y="64"/>
                      </a:lnTo>
                      <a:lnTo>
                        <a:pt x="394" y="62"/>
                      </a:lnTo>
                      <a:lnTo>
                        <a:pt x="390" y="62"/>
                      </a:lnTo>
                      <a:lnTo>
                        <a:pt x="384" y="60"/>
                      </a:lnTo>
                      <a:lnTo>
                        <a:pt x="380" y="60"/>
                      </a:lnTo>
                      <a:lnTo>
                        <a:pt x="380" y="56"/>
                      </a:lnTo>
                      <a:lnTo>
                        <a:pt x="384" y="52"/>
                      </a:lnTo>
                      <a:lnTo>
                        <a:pt x="384" y="52"/>
                      </a:lnTo>
                      <a:lnTo>
                        <a:pt x="388" y="46"/>
                      </a:lnTo>
                      <a:lnTo>
                        <a:pt x="388" y="44"/>
                      </a:lnTo>
                      <a:lnTo>
                        <a:pt x="386" y="42"/>
                      </a:lnTo>
                      <a:lnTo>
                        <a:pt x="382" y="40"/>
                      </a:lnTo>
                      <a:lnTo>
                        <a:pt x="378" y="38"/>
                      </a:lnTo>
                      <a:lnTo>
                        <a:pt x="374" y="34"/>
                      </a:lnTo>
                      <a:lnTo>
                        <a:pt x="372" y="28"/>
                      </a:lnTo>
                      <a:lnTo>
                        <a:pt x="370" y="18"/>
                      </a:lnTo>
                      <a:lnTo>
                        <a:pt x="370" y="18"/>
                      </a:lnTo>
                      <a:lnTo>
                        <a:pt x="368" y="8"/>
                      </a:lnTo>
                      <a:lnTo>
                        <a:pt x="364" y="2"/>
                      </a:lnTo>
                      <a:lnTo>
                        <a:pt x="358" y="0"/>
                      </a:lnTo>
                      <a:lnTo>
                        <a:pt x="350" y="2"/>
                      </a:lnTo>
                      <a:lnTo>
                        <a:pt x="340" y="6"/>
                      </a:lnTo>
                      <a:lnTo>
                        <a:pt x="328" y="12"/>
                      </a:lnTo>
                      <a:lnTo>
                        <a:pt x="300" y="28"/>
                      </a:lnTo>
                      <a:lnTo>
                        <a:pt x="300" y="28"/>
                      </a:lnTo>
                      <a:lnTo>
                        <a:pt x="294" y="32"/>
                      </a:lnTo>
                      <a:lnTo>
                        <a:pt x="292" y="36"/>
                      </a:lnTo>
                      <a:lnTo>
                        <a:pt x="290" y="40"/>
                      </a:lnTo>
                      <a:lnTo>
                        <a:pt x="292" y="42"/>
                      </a:lnTo>
                      <a:lnTo>
                        <a:pt x="298" y="46"/>
                      </a:lnTo>
                      <a:lnTo>
                        <a:pt x="308" y="50"/>
                      </a:lnTo>
                      <a:lnTo>
                        <a:pt x="318" y="54"/>
                      </a:lnTo>
                      <a:lnTo>
                        <a:pt x="326" y="58"/>
                      </a:lnTo>
                      <a:lnTo>
                        <a:pt x="328" y="60"/>
                      </a:lnTo>
                      <a:lnTo>
                        <a:pt x="328" y="64"/>
                      </a:lnTo>
                      <a:lnTo>
                        <a:pt x="328" y="66"/>
                      </a:lnTo>
                      <a:lnTo>
                        <a:pt x="322" y="70"/>
                      </a:lnTo>
                      <a:lnTo>
                        <a:pt x="322" y="70"/>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64" name="Freeform 6074">
                  <a:extLst>
                    <a:ext uri="{FF2B5EF4-FFF2-40B4-BE49-F238E27FC236}">
                      <a16:creationId xmlns:a16="http://schemas.microsoft.com/office/drawing/2014/main" id="{E37FCF71-D570-3A4A-C71A-AEDEB3B451EE}"/>
                    </a:ext>
                  </a:extLst>
                </p:cNvPr>
                <p:cNvSpPr>
                  <a:spLocks/>
                </p:cNvSpPr>
                <p:nvPr/>
              </p:nvSpPr>
              <p:spPr bwMode="auto">
                <a:xfrm>
                  <a:off x="2233930" y="3139123"/>
                  <a:ext cx="278130" cy="109220"/>
                </a:xfrm>
                <a:custGeom>
                  <a:avLst/>
                  <a:gdLst/>
                  <a:ahLst/>
                  <a:cxnLst>
                    <a:cxn ang="0">
                      <a:pos x="416" y="160"/>
                    </a:cxn>
                    <a:cxn ang="0">
                      <a:pos x="436" y="156"/>
                    </a:cxn>
                    <a:cxn ang="0">
                      <a:pos x="428" y="148"/>
                    </a:cxn>
                    <a:cxn ang="0">
                      <a:pos x="414" y="136"/>
                    </a:cxn>
                    <a:cxn ang="0">
                      <a:pos x="384" y="126"/>
                    </a:cxn>
                    <a:cxn ang="0">
                      <a:pos x="374" y="120"/>
                    </a:cxn>
                    <a:cxn ang="0">
                      <a:pos x="376" y="108"/>
                    </a:cxn>
                    <a:cxn ang="0">
                      <a:pos x="358" y="106"/>
                    </a:cxn>
                    <a:cxn ang="0">
                      <a:pos x="350" y="100"/>
                    </a:cxn>
                    <a:cxn ang="0">
                      <a:pos x="338" y="100"/>
                    </a:cxn>
                    <a:cxn ang="0">
                      <a:pos x="326" y="92"/>
                    </a:cxn>
                    <a:cxn ang="0">
                      <a:pos x="300" y="68"/>
                    </a:cxn>
                    <a:cxn ang="0">
                      <a:pos x="300" y="76"/>
                    </a:cxn>
                    <a:cxn ang="0">
                      <a:pos x="292" y="64"/>
                    </a:cxn>
                    <a:cxn ang="0">
                      <a:pos x="286" y="60"/>
                    </a:cxn>
                    <a:cxn ang="0">
                      <a:pos x="260" y="48"/>
                    </a:cxn>
                    <a:cxn ang="0">
                      <a:pos x="230" y="40"/>
                    </a:cxn>
                    <a:cxn ang="0">
                      <a:pos x="216" y="28"/>
                    </a:cxn>
                    <a:cxn ang="0">
                      <a:pos x="194" y="14"/>
                    </a:cxn>
                    <a:cxn ang="0">
                      <a:pos x="180" y="8"/>
                    </a:cxn>
                    <a:cxn ang="0">
                      <a:pos x="164" y="8"/>
                    </a:cxn>
                    <a:cxn ang="0">
                      <a:pos x="150" y="0"/>
                    </a:cxn>
                    <a:cxn ang="0">
                      <a:pos x="136" y="4"/>
                    </a:cxn>
                    <a:cxn ang="0">
                      <a:pos x="112" y="0"/>
                    </a:cxn>
                    <a:cxn ang="0">
                      <a:pos x="92" y="10"/>
                    </a:cxn>
                    <a:cxn ang="0">
                      <a:pos x="56" y="18"/>
                    </a:cxn>
                    <a:cxn ang="0">
                      <a:pos x="24" y="42"/>
                    </a:cxn>
                    <a:cxn ang="0">
                      <a:pos x="24" y="58"/>
                    </a:cxn>
                    <a:cxn ang="0">
                      <a:pos x="2" y="66"/>
                    </a:cxn>
                    <a:cxn ang="0">
                      <a:pos x="4" y="72"/>
                    </a:cxn>
                    <a:cxn ang="0">
                      <a:pos x="18" y="72"/>
                    </a:cxn>
                    <a:cxn ang="0">
                      <a:pos x="24" y="72"/>
                    </a:cxn>
                    <a:cxn ang="0">
                      <a:pos x="40" y="62"/>
                    </a:cxn>
                    <a:cxn ang="0">
                      <a:pos x="70" y="44"/>
                    </a:cxn>
                    <a:cxn ang="0">
                      <a:pos x="92" y="30"/>
                    </a:cxn>
                    <a:cxn ang="0">
                      <a:pos x="132" y="32"/>
                    </a:cxn>
                    <a:cxn ang="0">
                      <a:pos x="124" y="38"/>
                    </a:cxn>
                    <a:cxn ang="0">
                      <a:pos x="118" y="46"/>
                    </a:cxn>
                    <a:cxn ang="0">
                      <a:pos x="164" y="58"/>
                    </a:cxn>
                    <a:cxn ang="0">
                      <a:pos x="186" y="62"/>
                    </a:cxn>
                    <a:cxn ang="0">
                      <a:pos x="214" y="80"/>
                    </a:cxn>
                    <a:cxn ang="0">
                      <a:pos x="242" y="84"/>
                    </a:cxn>
                    <a:cxn ang="0">
                      <a:pos x="256" y="94"/>
                    </a:cxn>
                    <a:cxn ang="0">
                      <a:pos x="268" y="120"/>
                    </a:cxn>
                    <a:cxn ang="0">
                      <a:pos x="288" y="128"/>
                    </a:cxn>
                    <a:cxn ang="0">
                      <a:pos x="318" y="136"/>
                    </a:cxn>
                    <a:cxn ang="0">
                      <a:pos x="310" y="150"/>
                    </a:cxn>
                    <a:cxn ang="0">
                      <a:pos x="290" y="168"/>
                    </a:cxn>
                    <a:cxn ang="0">
                      <a:pos x="348" y="164"/>
                    </a:cxn>
                    <a:cxn ang="0">
                      <a:pos x="382" y="170"/>
                    </a:cxn>
                    <a:cxn ang="0">
                      <a:pos x="400" y="166"/>
                    </a:cxn>
                  </a:cxnLst>
                  <a:rect l="0" t="0" r="r" b="b"/>
                  <a:pathLst>
                    <a:path w="438" h="172">
                      <a:moveTo>
                        <a:pt x="400" y="166"/>
                      </a:moveTo>
                      <a:lnTo>
                        <a:pt x="400" y="166"/>
                      </a:lnTo>
                      <a:lnTo>
                        <a:pt x="410" y="162"/>
                      </a:lnTo>
                      <a:lnTo>
                        <a:pt x="416" y="160"/>
                      </a:lnTo>
                      <a:lnTo>
                        <a:pt x="426" y="160"/>
                      </a:lnTo>
                      <a:lnTo>
                        <a:pt x="432" y="162"/>
                      </a:lnTo>
                      <a:lnTo>
                        <a:pt x="436" y="156"/>
                      </a:lnTo>
                      <a:lnTo>
                        <a:pt x="436" y="156"/>
                      </a:lnTo>
                      <a:lnTo>
                        <a:pt x="438" y="152"/>
                      </a:lnTo>
                      <a:lnTo>
                        <a:pt x="438" y="150"/>
                      </a:lnTo>
                      <a:lnTo>
                        <a:pt x="434" y="150"/>
                      </a:lnTo>
                      <a:lnTo>
                        <a:pt x="428" y="148"/>
                      </a:lnTo>
                      <a:lnTo>
                        <a:pt x="424" y="146"/>
                      </a:lnTo>
                      <a:lnTo>
                        <a:pt x="420" y="144"/>
                      </a:lnTo>
                      <a:lnTo>
                        <a:pt x="420" y="144"/>
                      </a:lnTo>
                      <a:lnTo>
                        <a:pt x="414" y="136"/>
                      </a:lnTo>
                      <a:lnTo>
                        <a:pt x="410" y="132"/>
                      </a:lnTo>
                      <a:lnTo>
                        <a:pt x="400" y="128"/>
                      </a:lnTo>
                      <a:lnTo>
                        <a:pt x="384" y="126"/>
                      </a:lnTo>
                      <a:lnTo>
                        <a:pt x="384" y="126"/>
                      </a:lnTo>
                      <a:lnTo>
                        <a:pt x="372" y="124"/>
                      </a:lnTo>
                      <a:lnTo>
                        <a:pt x="370" y="124"/>
                      </a:lnTo>
                      <a:lnTo>
                        <a:pt x="372" y="122"/>
                      </a:lnTo>
                      <a:lnTo>
                        <a:pt x="374" y="120"/>
                      </a:lnTo>
                      <a:lnTo>
                        <a:pt x="376" y="116"/>
                      </a:lnTo>
                      <a:lnTo>
                        <a:pt x="376" y="112"/>
                      </a:lnTo>
                      <a:lnTo>
                        <a:pt x="376" y="112"/>
                      </a:lnTo>
                      <a:lnTo>
                        <a:pt x="376" y="108"/>
                      </a:lnTo>
                      <a:lnTo>
                        <a:pt x="374" y="108"/>
                      </a:lnTo>
                      <a:lnTo>
                        <a:pt x="368" y="106"/>
                      </a:lnTo>
                      <a:lnTo>
                        <a:pt x="362" y="106"/>
                      </a:lnTo>
                      <a:lnTo>
                        <a:pt x="358" y="106"/>
                      </a:lnTo>
                      <a:lnTo>
                        <a:pt x="356" y="104"/>
                      </a:lnTo>
                      <a:lnTo>
                        <a:pt x="356" y="104"/>
                      </a:lnTo>
                      <a:lnTo>
                        <a:pt x="352" y="102"/>
                      </a:lnTo>
                      <a:lnTo>
                        <a:pt x="350" y="100"/>
                      </a:lnTo>
                      <a:lnTo>
                        <a:pt x="344" y="102"/>
                      </a:lnTo>
                      <a:lnTo>
                        <a:pt x="340" y="102"/>
                      </a:lnTo>
                      <a:lnTo>
                        <a:pt x="338" y="102"/>
                      </a:lnTo>
                      <a:lnTo>
                        <a:pt x="338" y="100"/>
                      </a:lnTo>
                      <a:lnTo>
                        <a:pt x="338" y="100"/>
                      </a:lnTo>
                      <a:lnTo>
                        <a:pt x="334" y="96"/>
                      </a:lnTo>
                      <a:lnTo>
                        <a:pt x="332" y="94"/>
                      </a:lnTo>
                      <a:lnTo>
                        <a:pt x="326" y="92"/>
                      </a:lnTo>
                      <a:lnTo>
                        <a:pt x="320" y="86"/>
                      </a:lnTo>
                      <a:lnTo>
                        <a:pt x="320" y="86"/>
                      </a:lnTo>
                      <a:lnTo>
                        <a:pt x="304" y="70"/>
                      </a:lnTo>
                      <a:lnTo>
                        <a:pt x="300" y="68"/>
                      </a:lnTo>
                      <a:lnTo>
                        <a:pt x="300" y="70"/>
                      </a:lnTo>
                      <a:lnTo>
                        <a:pt x="300" y="72"/>
                      </a:lnTo>
                      <a:lnTo>
                        <a:pt x="300" y="72"/>
                      </a:lnTo>
                      <a:lnTo>
                        <a:pt x="300" y="76"/>
                      </a:lnTo>
                      <a:lnTo>
                        <a:pt x="300" y="76"/>
                      </a:lnTo>
                      <a:lnTo>
                        <a:pt x="296" y="76"/>
                      </a:lnTo>
                      <a:lnTo>
                        <a:pt x="294" y="70"/>
                      </a:lnTo>
                      <a:lnTo>
                        <a:pt x="292" y="64"/>
                      </a:lnTo>
                      <a:lnTo>
                        <a:pt x="292" y="64"/>
                      </a:lnTo>
                      <a:lnTo>
                        <a:pt x="292" y="62"/>
                      </a:lnTo>
                      <a:lnTo>
                        <a:pt x="292" y="60"/>
                      </a:lnTo>
                      <a:lnTo>
                        <a:pt x="286" y="60"/>
                      </a:lnTo>
                      <a:lnTo>
                        <a:pt x="276" y="56"/>
                      </a:lnTo>
                      <a:lnTo>
                        <a:pt x="268" y="54"/>
                      </a:lnTo>
                      <a:lnTo>
                        <a:pt x="260" y="48"/>
                      </a:lnTo>
                      <a:lnTo>
                        <a:pt x="260" y="48"/>
                      </a:lnTo>
                      <a:lnTo>
                        <a:pt x="252" y="42"/>
                      </a:lnTo>
                      <a:lnTo>
                        <a:pt x="244" y="40"/>
                      </a:lnTo>
                      <a:lnTo>
                        <a:pt x="234" y="40"/>
                      </a:lnTo>
                      <a:lnTo>
                        <a:pt x="230" y="40"/>
                      </a:lnTo>
                      <a:lnTo>
                        <a:pt x="226" y="38"/>
                      </a:lnTo>
                      <a:lnTo>
                        <a:pt x="220" y="34"/>
                      </a:lnTo>
                      <a:lnTo>
                        <a:pt x="216" y="28"/>
                      </a:lnTo>
                      <a:lnTo>
                        <a:pt x="216" y="28"/>
                      </a:lnTo>
                      <a:lnTo>
                        <a:pt x="210" y="20"/>
                      </a:lnTo>
                      <a:lnTo>
                        <a:pt x="204" y="16"/>
                      </a:lnTo>
                      <a:lnTo>
                        <a:pt x="200" y="14"/>
                      </a:lnTo>
                      <a:lnTo>
                        <a:pt x="194" y="14"/>
                      </a:lnTo>
                      <a:lnTo>
                        <a:pt x="186" y="14"/>
                      </a:lnTo>
                      <a:lnTo>
                        <a:pt x="182" y="12"/>
                      </a:lnTo>
                      <a:lnTo>
                        <a:pt x="180" y="8"/>
                      </a:lnTo>
                      <a:lnTo>
                        <a:pt x="180" y="8"/>
                      </a:lnTo>
                      <a:lnTo>
                        <a:pt x="176" y="6"/>
                      </a:lnTo>
                      <a:lnTo>
                        <a:pt x="174" y="4"/>
                      </a:lnTo>
                      <a:lnTo>
                        <a:pt x="168" y="6"/>
                      </a:lnTo>
                      <a:lnTo>
                        <a:pt x="164" y="8"/>
                      </a:lnTo>
                      <a:lnTo>
                        <a:pt x="160" y="6"/>
                      </a:lnTo>
                      <a:lnTo>
                        <a:pt x="156" y="4"/>
                      </a:lnTo>
                      <a:lnTo>
                        <a:pt x="156" y="4"/>
                      </a:lnTo>
                      <a:lnTo>
                        <a:pt x="150" y="0"/>
                      </a:lnTo>
                      <a:lnTo>
                        <a:pt x="148" y="2"/>
                      </a:lnTo>
                      <a:lnTo>
                        <a:pt x="146" y="2"/>
                      </a:lnTo>
                      <a:lnTo>
                        <a:pt x="142" y="4"/>
                      </a:lnTo>
                      <a:lnTo>
                        <a:pt x="136" y="4"/>
                      </a:lnTo>
                      <a:lnTo>
                        <a:pt x="126" y="2"/>
                      </a:lnTo>
                      <a:lnTo>
                        <a:pt x="126" y="2"/>
                      </a:lnTo>
                      <a:lnTo>
                        <a:pt x="118" y="0"/>
                      </a:lnTo>
                      <a:lnTo>
                        <a:pt x="112" y="0"/>
                      </a:lnTo>
                      <a:lnTo>
                        <a:pt x="108" y="2"/>
                      </a:lnTo>
                      <a:lnTo>
                        <a:pt x="104" y="4"/>
                      </a:lnTo>
                      <a:lnTo>
                        <a:pt x="98" y="8"/>
                      </a:lnTo>
                      <a:lnTo>
                        <a:pt x="92" y="10"/>
                      </a:lnTo>
                      <a:lnTo>
                        <a:pt x="86" y="10"/>
                      </a:lnTo>
                      <a:lnTo>
                        <a:pt x="86" y="10"/>
                      </a:lnTo>
                      <a:lnTo>
                        <a:pt x="68" y="14"/>
                      </a:lnTo>
                      <a:lnTo>
                        <a:pt x="56" y="18"/>
                      </a:lnTo>
                      <a:lnTo>
                        <a:pt x="44" y="22"/>
                      </a:lnTo>
                      <a:lnTo>
                        <a:pt x="36" y="28"/>
                      </a:lnTo>
                      <a:lnTo>
                        <a:pt x="28" y="34"/>
                      </a:lnTo>
                      <a:lnTo>
                        <a:pt x="24" y="42"/>
                      </a:lnTo>
                      <a:lnTo>
                        <a:pt x="22" y="48"/>
                      </a:lnTo>
                      <a:lnTo>
                        <a:pt x="24" y="54"/>
                      </a:lnTo>
                      <a:lnTo>
                        <a:pt x="24" y="54"/>
                      </a:lnTo>
                      <a:lnTo>
                        <a:pt x="24" y="58"/>
                      </a:lnTo>
                      <a:lnTo>
                        <a:pt x="22" y="60"/>
                      </a:lnTo>
                      <a:lnTo>
                        <a:pt x="14" y="62"/>
                      </a:lnTo>
                      <a:lnTo>
                        <a:pt x="4" y="64"/>
                      </a:lnTo>
                      <a:lnTo>
                        <a:pt x="2" y="66"/>
                      </a:lnTo>
                      <a:lnTo>
                        <a:pt x="0" y="68"/>
                      </a:lnTo>
                      <a:lnTo>
                        <a:pt x="0" y="68"/>
                      </a:lnTo>
                      <a:lnTo>
                        <a:pt x="2" y="70"/>
                      </a:lnTo>
                      <a:lnTo>
                        <a:pt x="4" y="72"/>
                      </a:lnTo>
                      <a:lnTo>
                        <a:pt x="8" y="72"/>
                      </a:lnTo>
                      <a:lnTo>
                        <a:pt x="14" y="72"/>
                      </a:lnTo>
                      <a:lnTo>
                        <a:pt x="16" y="72"/>
                      </a:lnTo>
                      <a:lnTo>
                        <a:pt x="18" y="72"/>
                      </a:lnTo>
                      <a:lnTo>
                        <a:pt x="18" y="72"/>
                      </a:lnTo>
                      <a:lnTo>
                        <a:pt x="18" y="74"/>
                      </a:lnTo>
                      <a:lnTo>
                        <a:pt x="20" y="74"/>
                      </a:lnTo>
                      <a:lnTo>
                        <a:pt x="24" y="72"/>
                      </a:lnTo>
                      <a:lnTo>
                        <a:pt x="30" y="68"/>
                      </a:lnTo>
                      <a:lnTo>
                        <a:pt x="38" y="68"/>
                      </a:lnTo>
                      <a:lnTo>
                        <a:pt x="38" y="68"/>
                      </a:lnTo>
                      <a:lnTo>
                        <a:pt x="40" y="62"/>
                      </a:lnTo>
                      <a:lnTo>
                        <a:pt x="42" y="58"/>
                      </a:lnTo>
                      <a:lnTo>
                        <a:pt x="52" y="54"/>
                      </a:lnTo>
                      <a:lnTo>
                        <a:pt x="62" y="48"/>
                      </a:lnTo>
                      <a:lnTo>
                        <a:pt x="70" y="44"/>
                      </a:lnTo>
                      <a:lnTo>
                        <a:pt x="76" y="40"/>
                      </a:lnTo>
                      <a:lnTo>
                        <a:pt x="76" y="40"/>
                      </a:lnTo>
                      <a:lnTo>
                        <a:pt x="84" y="34"/>
                      </a:lnTo>
                      <a:lnTo>
                        <a:pt x="92" y="30"/>
                      </a:lnTo>
                      <a:lnTo>
                        <a:pt x="100" y="28"/>
                      </a:lnTo>
                      <a:lnTo>
                        <a:pt x="108" y="28"/>
                      </a:lnTo>
                      <a:lnTo>
                        <a:pt x="124" y="28"/>
                      </a:lnTo>
                      <a:lnTo>
                        <a:pt x="132" y="32"/>
                      </a:lnTo>
                      <a:lnTo>
                        <a:pt x="132" y="32"/>
                      </a:lnTo>
                      <a:lnTo>
                        <a:pt x="134" y="34"/>
                      </a:lnTo>
                      <a:lnTo>
                        <a:pt x="132" y="36"/>
                      </a:lnTo>
                      <a:lnTo>
                        <a:pt x="124" y="38"/>
                      </a:lnTo>
                      <a:lnTo>
                        <a:pt x="116" y="42"/>
                      </a:lnTo>
                      <a:lnTo>
                        <a:pt x="116" y="44"/>
                      </a:lnTo>
                      <a:lnTo>
                        <a:pt x="118" y="46"/>
                      </a:lnTo>
                      <a:lnTo>
                        <a:pt x="118" y="46"/>
                      </a:lnTo>
                      <a:lnTo>
                        <a:pt x="126" y="52"/>
                      </a:lnTo>
                      <a:lnTo>
                        <a:pt x="134" y="56"/>
                      </a:lnTo>
                      <a:lnTo>
                        <a:pt x="146" y="58"/>
                      </a:lnTo>
                      <a:lnTo>
                        <a:pt x="164" y="58"/>
                      </a:lnTo>
                      <a:lnTo>
                        <a:pt x="164" y="58"/>
                      </a:lnTo>
                      <a:lnTo>
                        <a:pt x="174" y="58"/>
                      </a:lnTo>
                      <a:lnTo>
                        <a:pt x="180" y="60"/>
                      </a:lnTo>
                      <a:lnTo>
                        <a:pt x="186" y="62"/>
                      </a:lnTo>
                      <a:lnTo>
                        <a:pt x="190" y="66"/>
                      </a:lnTo>
                      <a:lnTo>
                        <a:pt x="200" y="74"/>
                      </a:lnTo>
                      <a:lnTo>
                        <a:pt x="206" y="78"/>
                      </a:lnTo>
                      <a:lnTo>
                        <a:pt x="214" y="80"/>
                      </a:lnTo>
                      <a:lnTo>
                        <a:pt x="214" y="80"/>
                      </a:lnTo>
                      <a:lnTo>
                        <a:pt x="222" y="84"/>
                      </a:lnTo>
                      <a:lnTo>
                        <a:pt x="230" y="84"/>
                      </a:lnTo>
                      <a:lnTo>
                        <a:pt x="242" y="84"/>
                      </a:lnTo>
                      <a:lnTo>
                        <a:pt x="246" y="84"/>
                      </a:lnTo>
                      <a:lnTo>
                        <a:pt x="250" y="86"/>
                      </a:lnTo>
                      <a:lnTo>
                        <a:pt x="252" y="88"/>
                      </a:lnTo>
                      <a:lnTo>
                        <a:pt x="256" y="94"/>
                      </a:lnTo>
                      <a:lnTo>
                        <a:pt x="256" y="94"/>
                      </a:lnTo>
                      <a:lnTo>
                        <a:pt x="260" y="106"/>
                      </a:lnTo>
                      <a:lnTo>
                        <a:pt x="266" y="116"/>
                      </a:lnTo>
                      <a:lnTo>
                        <a:pt x="268" y="120"/>
                      </a:lnTo>
                      <a:lnTo>
                        <a:pt x="274" y="124"/>
                      </a:lnTo>
                      <a:lnTo>
                        <a:pt x="280" y="126"/>
                      </a:lnTo>
                      <a:lnTo>
                        <a:pt x="288" y="128"/>
                      </a:lnTo>
                      <a:lnTo>
                        <a:pt x="288" y="128"/>
                      </a:lnTo>
                      <a:lnTo>
                        <a:pt x="304" y="128"/>
                      </a:lnTo>
                      <a:lnTo>
                        <a:pt x="310" y="130"/>
                      </a:lnTo>
                      <a:lnTo>
                        <a:pt x="316" y="134"/>
                      </a:lnTo>
                      <a:lnTo>
                        <a:pt x="318" y="136"/>
                      </a:lnTo>
                      <a:lnTo>
                        <a:pt x="318" y="140"/>
                      </a:lnTo>
                      <a:lnTo>
                        <a:pt x="316" y="144"/>
                      </a:lnTo>
                      <a:lnTo>
                        <a:pt x="310" y="150"/>
                      </a:lnTo>
                      <a:lnTo>
                        <a:pt x="310" y="150"/>
                      </a:lnTo>
                      <a:lnTo>
                        <a:pt x="298" y="158"/>
                      </a:lnTo>
                      <a:lnTo>
                        <a:pt x="292" y="162"/>
                      </a:lnTo>
                      <a:lnTo>
                        <a:pt x="290" y="166"/>
                      </a:lnTo>
                      <a:lnTo>
                        <a:pt x="290" y="168"/>
                      </a:lnTo>
                      <a:lnTo>
                        <a:pt x="296" y="170"/>
                      </a:lnTo>
                      <a:lnTo>
                        <a:pt x="328" y="166"/>
                      </a:lnTo>
                      <a:lnTo>
                        <a:pt x="328" y="166"/>
                      </a:lnTo>
                      <a:lnTo>
                        <a:pt x="348" y="164"/>
                      </a:lnTo>
                      <a:lnTo>
                        <a:pt x="360" y="166"/>
                      </a:lnTo>
                      <a:lnTo>
                        <a:pt x="370" y="166"/>
                      </a:lnTo>
                      <a:lnTo>
                        <a:pt x="376" y="168"/>
                      </a:lnTo>
                      <a:lnTo>
                        <a:pt x="382" y="170"/>
                      </a:lnTo>
                      <a:lnTo>
                        <a:pt x="386" y="172"/>
                      </a:lnTo>
                      <a:lnTo>
                        <a:pt x="392" y="170"/>
                      </a:lnTo>
                      <a:lnTo>
                        <a:pt x="400" y="166"/>
                      </a:lnTo>
                      <a:lnTo>
                        <a:pt x="400" y="166"/>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65" name="Freeform 6084">
                  <a:extLst>
                    <a:ext uri="{FF2B5EF4-FFF2-40B4-BE49-F238E27FC236}">
                      <a16:creationId xmlns:a16="http://schemas.microsoft.com/office/drawing/2014/main" id="{2B6BE260-56C0-961D-D490-E635A9CF9701}"/>
                    </a:ext>
                  </a:extLst>
                </p:cNvPr>
                <p:cNvSpPr>
                  <a:spLocks/>
                </p:cNvSpPr>
                <p:nvPr/>
              </p:nvSpPr>
              <p:spPr bwMode="auto">
                <a:xfrm>
                  <a:off x="2791460" y="3296603"/>
                  <a:ext cx="5080" cy="5080"/>
                </a:xfrm>
                <a:custGeom>
                  <a:avLst/>
                  <a:gdLst/>
                  <a:ahLst/>
                  <a:cxnLst>
                    <a:cxn ang="0">
                      <a:pos x="0" y="6"/>
                    </a:cxn>
                    <a:cxn ang="0">
                      <a:pos x="0" y="6"/>
                    </a:cxn>
                    <a:cxn ang="0">
                      <a:pos x="0" y="8"/>
                    </a:cxn>
                    <a:cxn ang="0">
                      <a:pos x="4" y="6"/>
                    </a:cxn>
                    <a:cxn ang="0">
                      <a:pos x="6" y="4"/>
                    </a:cxn>
                    <a:cxn ang="0">
                      <a:pos x="8" y="2"/>
                    </a:cxn>
                    <a:cxn ang="0">
                      <a:pos x="8" y="2"/>
                    </a:cxn>
                    <a:cxn ang="0">
                      <a:pos x="6" y="0"/>
                    </a:cxn>
                    <a:cxn ang="0">
                      <a:pos x="2" y="2"/>
                    </a:cxn>
                    <a:cxn ang="0">
                      <a:pos x="0" y="4"/>
                    </a:cxn>
                    <a:cxn ang="0">
                      <a:pos x="0" y="6"/>
                    </a:cxn>
                    <a:cxn ang="0">
                      <a:pos x="0" y="6"/>
                    </a:cxn>
                  </a:cxnLst>
                  <a:rect l="0" t="0" r="r" b="b"/>
                  <a:pathLst>
                    <a:path w="8" h="8">
                      <a:moveTo>
                        <a:pt x="0" y="6"/>
                      </a:moveTo>
                      <a:lnTo>
                        <a:pt x="0" y="6"/>
                      </a:lnTo>
                      <a:lnTo>
                        <a:pt x="0" y="8"/>
                      </a:lnTo>
                      <a:lnTo>
                        <a:pt x="4" y="6"/>
                      </a:lnTo>
                      <a:lnTo>
                        <a:pt x="6" y="4"/>
                      </a:lnTo>
                      <a:lnTo>
                        <a:pt x="8" y="2"/>
                      </a:lnTo>
                      <a:lnTo>
                        <a:pt x="8" y="2"/>
                      </a:lnTo>
                      <a:lnTo>
                        <a:pt x="6" y="0"/>
                      </a:lnTo>
                      <a:lnTo>
                        <a:pt x="2" y="2"/>
                      </a:lnTo>
                      <a:lnTo>
                        <a:pt x="0" y="4"/>
                      </a:lnTo>
                      <a:lnTo>
                        <a:pt x="0" y="6"/>
                      </a:lnTo>
                      <a:lnTo>
                        <a:pt x="0" y="6"/>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66" name="Freeform 6086">
                  <a:extLst>
                    <a:ext uri="{FF2B5EF4-FFF2-40B4-BE49-F238E27FC236}">
                      <a16:creationId xmlns:a16="http://schemas.microsoft.com/office/drawing/2014/main" id="{8C439FD7-2472-1885-0715-056849AAAA64}"/>
                    </a:ext>
                  </a:extLst>
                </p:cNvPr>
                <p:cNvSpPr>
                  <a:spLocks noEditPoints="1"/>
                </p:cNvSpPr>
                <p:nvPr/>
              </p:nvSpPr>
              <p:spPr bwMode="auto">
                <a:xfrm>
                  <a:off x="93979" y="1296353"/>
                  <a:ext cx="2874010" cy="2354580"/>
                </a:xfrm>
                <a:custGeom>
                  <a:avLst/>
                  <a:gdLst/>
                  <a:ahLst/>
                  <a:cxnLst>
                    <a:cxn ang="0">
                      <a:pos x="3400" y="3516"/>
                    </a:cxn>
                    <a:cxn ang="0">
                      <a:pos x="3292" y="3276"/>
                    </a:cxn>
                    <a:cxn ang="0">
                      <a:pos x="3246" y="3102"/>
                    </a:cxn>
                    <a:cxn ang="0">
                      <a:pos x="3116" y="3080"/>
                    </a:cxn>
                    <a:cxn ang="0">
                      <a:pos x="2830" y="2916"/>
                    </a:cxn>
                    <a:cxn ang="0">
                      <a:pos x="3078" y="2572"/>
                    </a:cxn>
                    <a:cxn ang="0">
                      <a:pos x="3134" y="2554"/>
                    </a:cxn>
                    <a:cxn ang="0">
                      <a:pos x="3436" y="2646"/>
                    </a:cxn>
                    <a:cxn ang="0">
                      <a:pos x="3526" y="2642"/>
                    </a:cxn>
                    <a:cxn ang="0">
                      <a:pos x="3686" y="2282"/>
                    </a:cxn>
                    <a:cxn ang="0">
                      <a:pos x="3698" y="2162"/>
                    </a:cxn>
                    <a:cxn ang="0">
                      <a:pos x="3748" y="2092"/>
                    </a:cxn>
                    <a:cxn ang="0">
                      <a:pos x="3924" y="1928"/>
                    </a:cxn>
                    <a:cxn ang="0">
                      <a:pos x="4006" y="1782"/>
                    </a:cxn>
                    <a:cxn ang="0">
                      <a:pos x="4138" y="1824"/>
                    </a:cxn>
                    <a:cxn ang="0">
                      <a:pos x="4150" y="1496"/>
                    </a:cxn>
                    <a:cxn ang="0">
                      <a:pos x="4522" y="1296"/>
                    </a:cxn>
                    <a:cxn ang="0">
                      <a:pos x="4314" y="1090"/>
                    </a:cxn>
                    <a:cxn ang="0">
                      <a:pos x="4060" y="934"/>
                    </a:cxn>
                    <a:cxn ang="0">
                      <a:pos x="3720" y="680"/>
                    </a:cxn>
                    <a:cxn ang="0">
                      <a:pos x="3570" y="1166"/>
                    </a:cxn>
                    <a:cxn ang="0">
                      <a:pos x="3346" y="1132"/>
                    </a:cxn>
                    <a:cxn ang="0">
                      <a:pos x="3060" y="648"/>
                    </a:cxn>
                    <a:cxn ang="0">
                      <a:pos x="3304" y="420"/>
                    </a:cxn>
                    <a:cxn ang="0">
                      <a:pos x="3452" y="258"/>
                    </a:cxn>
                    <a:cxn ang="0">
                      <a:pos x="3282" y="322"/>
                    </a:cxn>
                    <a:cxn ang="0">
                      <a:pos x="3048" y="164"/>
                    </a:cxn>
                    <a:cxn ang="0">
                      <a:pos x="2954" y="232"/>
                    </a:cxn>
                    <a:cxn ang="0">
                      <a:pos x="2726" y="298"/>
                    </a:cxn>
                    <a:cxn ang="0">
                      <a:pos x="2330" y="286"/>
                    </a:cxn>
                    <a:cxn ang="0">
                      <a:pos x="1732" y="136"/>
                    </a:cxn>
                    <a:cxn ang="0">
                      <a:pos x="1406" y="178"/>
                    </a:cxn>
                    <a:cxn ang="0">
                      <a:pos x="636" y="94"/>
                    </a:cxn>
                    <a:cxn ang="0">
                      <a:pos x="54" y="266"/>
                    </a:cxn>
                    <a:cxn ang="0">
                      <a:pos x="28" y="440"/>
                    </a:cxn>
                    <a:cxn ang="0">
                      <a:pos x="270" y="598"/>
                    </a:cxn>
                    <a:cxn ang="0">
                      <a:pos x="246" y="900"/>
                    </a:cxn>
                    <a:cxn ang="0">
                      <a:pos x="218" y="1124"/>
                    </a:cxn>
                    <a:cxn ang="0">
                      <a:pos x="548" y="956"/>
                    </a:cxn>
                    <a:cxn ang="0">
                      <a:pos x="648" y="882"/>
                    </a:cxn>
                    <a:cxn ang="0">
                      <a:pos x="1136" y="842"/>
                    </a:cxn>
                    <a:cxn ang="0">
                      <a:pos x="1412" y="1020"/>
                    </a:cxn>
                    <a:cxn ang="0">
                      <a:pos x="1524" y="1162"/>
                    </a:cxn>
                    <a:cxn ang="0">
                      <a:pos x="1646" y="1306"/>
                    </a:cxn>
                    <a:cxn ang="0">
                      <a:pos x="1750" y="1434"/>
                    </a:cxn>
                    <a:cxn ang="0">
                      <a:pos x="1840" y="1570"/>
                    </a:cxn>
                    <a:cxn ang="0">
                      <a:pos x="1838" y="2170"/>
                    </a:cxn>
                    <a:cxn ang="0">
                      <a:pos x="2146" y="2682"/>
                    </a:cxn>
                    <a:cxn ang="0">
                      <a:pos x="2168" y="2564"/>
                    </a:cxn>
                    <a:cxn ang="0">
                      <a:pos x="2530" y="2998"/>
                    </a:cxn>
                    <a:cxn ang="0">
                      <a:pos x="3202" y="3400"/>
                    </a:cxn>
                    <a:cxn ang="0">
                      <a:pos x="3330" y="3570"/>
                    </a:cxn>
                    <a:cxn ang="0">
                      <a:pos x="3432" y="3656"/>
                    </a:cxn>
                    <a:cxn ang="0">
                      <a:pos x="3562" y="3616"/>
                    </a:cxn>
                    <a:cxn ang="0">
                      <a:pos x="3408" y="1922"/>
                    </a:cxn>
                    <a:cxn ang="0">
                      <a:pos x="3590" y="1870"/>
                    </a:cxn>
                    <a:cxn ang="0">
                      <a:pos x="3578" y="1812"/>
                    </a:cxn>
                    <a:cxn ang="0">
                      <a:pos x="3344" y="1588"/>
                    </a:cxn>
                    <a:cxn ang="0">
                      <a:pos x="3548" y="1750"/>
                    </a:cxn>
                    <a:cxn ang="0">
                      <a:pos x="3418" y="1798"/>
                    </a:cxn>
                    <a:cxn ang="0">
                      <a:pos x="3294" y="1766"/>
                    </a:cxn>
                    <a:cxn ang="0">
                      <a:pos x="3244" y="1726"/>
                    </a:cxn>
                    <a:cxn ang="0">
                      <a:pos x="3258" y="1654"/>
                    </a:cxn>
                  </a:cxnLst>
                  <a:rect l="0" t="0" r="r" b="b"/>
                  <a:pathLst>
                    <a:path w="4526" h="3708">
                      <a:moveTo>
                        <a:pt x="3654" y="3626"/>
                      </a:moveTo>
                      <a:lnTo>
                        <a:pt x="3654" y="3626"/>
                      </a:lnTo>
                      <a:lnTo>
                        <a:pt x="3654" y="3626"/>
                      </a:lnTo>
                      <a:lnTo>
                        <a:pt x="3654" y="3626"/>
                      </a:lnTo>
                      <a:lnTo>
                        <a:pt x="3642" y="3614"/>
                      </a:lnTo>
                      <a:lnTo>
                        <a:pt x="3628" y="3600"/>
                      </a:lnTo>
                      <a:lnTo>
                        <a:pt x="3622" y="3596"/>
                      </a:lnTo>
                      <a:lnTo>
                        <a:pt x="3614" y="3592"/>
                      </a:lnTo>
                      <a:lnTo>
                        <a:pt x="3606" y="3590"/>
                      </a:lnTo>
                      <a:lnTo>
                        <a:pt x="3598" y="3588"/>
                      </a:lnTo>
                      <a:lnTo>
                        <a:pt x="3598" y="3588"/>
                      </a:lnTo>
                      <a:lnTo>
                        <a:pt x="3588" y="3590"/>
                      </a:lnTo>
                      <a:lnTo>
                        <a:pt x="3588" y="3588"/>
                      </a:lnTo>
                      <a:lnTo>
                        <a:pt x="3588" y="3588"/>
                      </a:lnTo>
                      <a:lnTo>
                        <a:pt x="3588" y="3586"/>
                      </a:lnTo>
                      <a:lnTo>
                        <a:pt x="3586" y="3584"/>
                      </a:lnTo>
                      <a:lnTo>
                        <a:pt x="3574" y="3582"/>
                      </a:lnTo>
                      <a:lnTo>
                        <a:pt x="3574" y="3582"/>
                      </a:lnTo>
                      <a:lnTo>
                        <a:pt x="3562" y="3582"/>
                      </a:lnTo>
                      <a:lnTo>
                        <a:pt x="3560" y="3582"/>
                      </a:lnTo>
                      <a:lnTo>
                        <a:pt x="3560" y="3584"/>
                      </a:lnTo>
                      <a:lnTo>
                        <a:pt x="3556" y="3590"/>
                      </a:lnTo>
                      <a:lnTo>
                        <a:pt x="3552" y="3594"/>
                      </a:lnTo>
                      <a:lnTo>
                        <a:pt x="3546" y="3598"/>
                      </a:lnTo>
                      <a:lnTo>
                        <a:pt x="3546" y="3598"/>
                      </a:lnTo>
                      <a:lnTo>
                        <a:pt x="3524" y="3608"/>
                      </a:lnTo>
                      <a:lnTo>
                        <a:pt x="3518" y="3612"/>
                      </a:lnTo>
                      <a:lnTo>
                        <a:pt x="3514" y="3616"/>
                      </a:lnTo>
                      <a:lnTo>
                        <a:pt x="3496" y="3622"/>
                      </a:lnTo>
                      <a:lnTo>
                        <a:pt x="3496" y="3622"/>
                      </a:lnTo>
                      <a:lnTo>
                        <a:pt x="3492" y="3622"/>
                      </a:lnTo>
                      <a:lnTo>
                        <a:pt x="3488" y="3620"/>
                      </a:lnTo>
                      <a:lnTo>
                        <a:pt x="3480" y="3612"/>
                      </a:lnTo>
                      <a:lnTo>
                        <a:pt x="3480" y="3612"/>
                      </a:lnTo>
                      <a:lnTo>
                        <a:pt x="3476" y="3608"/>
                      </a:lnTo>
                      <a:lnTo>
                        <a:pt x="3474" y="3604"/>
                      </a:lnTo>
                      <a:lnTo>
                        <a:pt x="3474" y="3604"/>
                      </a:lnTo>
                      <a:lnTo>
                        <a:pt x="3472" y="3602"/>
                      </a:lnTo>
                      <a:lnTo>
                        <a:pt x="3470" y="3602"/>
                      </a:lnTo>
                      <a:lnTo>
                        <a:pt x="3468" y="3604"/>
                      </a:lnTo>
                      <a:lnTo>
                        <a:pt x="3470" y="3610"/>
                      </a:lnTo>
                      <a:lnTo>
                        <a:pt x="3470" y="3610"/>
                      </a:lnTo>
                      <a:lnTo>
                        <a:pt x="3470" y="3610"/>
                      </a:lnTo>
                      <a:lnTo>
                        <a:pt x="3468" y="3612"/>
                      </a:lnTo>
                      <a:lnTo>
                        <a:pt x="3464" y="3612"/>
                      </a:lnTo>
                      <a:lnTo>
                        <a:pt x="3460" y="3610"/>
                      </a:lnTo>
                      <a:lnTo>
                        <a:pt x="3456" y="3608"/>
                      </a:lnTo>
                      <a:lnTo>
                        <a:pt x="3456" y="3608"/>
                      </a:lnTo>
                      <a:lnTo>
                        <a:pt x="3458" y="3604"/>
                      </a:lnTo>
                      <a:lnTo>
                        <a:pt x="3460" y="3604"/>
                      </a:lnTo>
                      <a:lnTo>
                        <a:pt x="3460" y="3602"/>
                      </a:lnTo>
                      <a:lnTo>
                        <a:pt x="3460" y="3600"/>
                      </a:lnTo>
                      <a:lnTo>
                        <a:pt x="3460" y="3600"/>
                      </a:lnTo>
                      <a:lnTo>
                        <a:pt x="3458" y="3600"/>
                      </a:lnTo>
                      <a:lnTo>
                        <a:pt x="3454" y="3600"/>
                      </a:lnTo>
                      <a:lnTo>
                        <a:pt x="3452" y="3600"/>
                      </a:lnTo>
                      <a:lnTo>
                        <a:pt x="3452" y="3596"/>
                      </a:lnTo>
                      <a:lnTo>
                        <a:pt x="3452" y="3596"/>
                      </a:lnTo>
                      <a:lnTo>
                        <a:pt x="3452" y="3590"/>
                      </a:lnTo>
                      <a:lnTo>
                        <a:pt x="3450" y="3588"/>
                      </a:lnTo>
                      <a:lnTo>
                        <a:pt x="3444" y="3584"/>
                      </a:lnTo>
                      <a:lnTo>
                        <a:pt x="3444" y="3584"/>
                      </a:lnTo>
                      <a:lnTo>
                        <a:pt x="3440" y="3578"/>
                      </a:lnTo>
                      <a:lnTo>
                        <a:pt x="3432" y="3568"/>
                      </a:lnTo>
                      <a:lnTo>
                        <a:pt x="3422" y="3558"/>
                      </a:lnTo>
                      <a:lnTo>
                        <a:pt x="3412" y="3544"/>
                      </a:lnTo>
                      <a:lnTo>
                        <a:pt x="3412" y="3544"/>
                      </a:lnTo>
                      <a:lnTo>
                        <a:pt x="3406" y="3534"/>
                      </a:lnTo>
                      <a:lnTo>
                        <a:pt x="3404" y="3528"/>
                      </a:lnTo>
                      <a:lnTo>
                        <a:pt x="3404" y="3522"/>
                      </a:lnTo>
                      <a:lnTo>
                        <a:pt x="3400" y="3516"/>
                      </a:lnTo>
                      <a:lnTo>
                        <a:pt x="3400" y="3516"/>
                      </a:lnTo>
                      <a:lnTo>
                        <a:pt x="3396" y="3512"/>
                      </a:lnTo>
                      <a:lnTo>
                        <a:pt x="3392" y="3504"/>
                      </a:lnTo>
                      <a:lnTo>
                        <a:pt x="3392" y="3504"/>
                      </a:lnTo>
                      <a:lnTo>
                        <a:pt x="3392" y="3498"/>
                      </a:lnTo>
                      <a:lnTo>
                        <a:pt x="3392" y="3492"/>
                      </a:lnTo>
                      <a:lnTo>
                        <a:pt x="3396" y="3486"/>
                      </a:lnTo>
                      <a:lnTo>
                        <a:pt x="3398" y="3484"/>
                      </a:lnTo>
                      <a:lnTo>
                        <a:pt x="3398" y="3484"/>
                      </a:lnTo>
                      <a:lnTo>
                        <a:pt x="3400" y="3482"/>
                      </a:lnTo>
                      <a:lnTo>
                        <a:pt x="3400" y="3478"/>
                      </a:lnTo>
                      <a:lnTo>
                        <a:pt x="3398" y="3474"/>
                      </a:lnTo>
                      <a:lnTo>
                        <a:pt x="3396" y="3472"/>
                      </a:lnTo>
                      <a:lnTo>
                        <a:pt x="3396" y="3472"/>
                      </a:lnTo>
                      <a:lnTo>
                        <a:pt x="3396" y="3470"/>
                      </a:lnTo>
                      <a:lnTo>
                        <a:pt x="3394" y="3470"/>
                      </a:lnTo>
                      <a:lnTo>
                        <a:pt x="3396" y="3464"/>
                      </a:lnTo>
                      <a:lnTo>
                        <a:pt x="3400" y="3452"/>
                      </a:lnTo>
                      <a:lnTo>
                        <a:pt x="3400" y="3452"/>
                      </a:lnTo>
                      <a:lnTo>
                        <a:pt x="3400" y="3446"/>
                      </a:lnTo>
                      <a:lnTo>
                        <a:pt x="3402" y="3444"/>
                      </a:lnTo>
                      <a:lnTo>
                        <a:pt x="3404" y="3444"/>
                      </a:lnTo>
                      <a:lnTo>
                        <a:pt x="3404" y="3444"/>
                      </a:lnTo>
                      <a:lnTo>
                        <a:pt x="3408" y="3444"/>
                      </a:lnTo>
                      <a:lnTo>
                        <a:pt x="3406" y="3438"/>
                      </a:lnTo>
                      <a:lnTo>
                        <a:pt x="3406" y="3438"/>
                      </a:lnTo>
                      <a:lnTo>
                        <a:pt x="3406" y="3424"/>
                      </a:lnTo>
                      <a:lnTo>
                        <a:pt x="3404" y="3404"/>
                      </a:lnTo>
                      <a:lnTo>
                        <a:pt x="3404" y="3404"/>
                      </a:lnTo>
                      <a:lnTo>
                        <a:pt x="3402" y="3396"/>
                      </a:lnTo>
                      <a:lnTo>
                        <a:pt x="3404" y="3392"/>
                      </a:lnTo>
                      <a:lnTo>
                        <a:pt x="3406" y="3386"/>
                      </a:lnTo>
                      <a:lnTo>
                        <a:pt x="3408" y="3378"/>
                      </a:lnTo>
                      <a:lnTo>
                        <a:pt x="3408" y="3378"/>
                      </a:lnTo>
                      <a:lnTo>
                        <a:pt x="3410" y="3368"/>
                      </a:lnTo>
                      <a:lnTo>
                        <a:pt x="3414" y="3358"/>
                      </a:lnTo>
                      <a:lnTo>
                        <a:pt x="3418" y="3350"/>
                      </a:lnTo>
                      <a:lnTo>
                        <a:pt x="3418" y="3346"/>
                      </a:lnTo>
                      <a:lnTo>
                        <a:pt x="3418" y="3342"/>
                      </a:lnTo>
                      <a:lnTo>
                        <a:pt x="3418" y="3342"/>
                      </a:lnTo>
                      <a:lnTo>
                        <a:pt x="3416" y="3334"/>
                      </a:lnTo>
                      <a:lnTo>
                        <a:pt x="3416" y="3328"/>
                      </a:lnTo>
                      <a:lnTo>
                        <a:pt x="3418" y="3324"/>
                      </a:lnTo>
                      <a:lnTo>
                        <a:pt x="3420" y="3318"/>
                      </a:lnTo>
                      <a:lnTo>
                        <a:pt x="3420" y="3318"/>
                      </a:lnTo>
                      <a:lnTo>
                        <a:pt x="3420" y="3314"/>
                      </a:lnTo>
                      <a:lnTo>
                        <a:pt x="3418" y="3310"/>
                      </a:lnTo>
                      <a:lnTo>
                        <a:pt x="3412" y="3304"/>
                      </a:lnTo>
                      <a:lnTo>
                        <a:pt x="3406" y="3300"/>
                      </a:lnTo>
                      <a:lnTo>
                        <a:pt x="3406" y="3300"/>
                      </a:lnTo>
                      <a:lnTo>
                        <a:pt x="3388" y="3290"/>
                      </a:lnTo>
                      <a:lnTo>
                        <a:pt x="3380" y="3280"/>
                      </a:lnTo>
                      <a:lnTo>
                        <a:pt x="3380" y="3280"/>
                      </a:lnTo>
                      <a:lnTo>
                        <a:pt x="3372" y="3274"/>
                      </a:lnTo>
                      <a:lnTo>
                        <a:pt x="3360" y="3270"/>
                      </a:lnTo>
                      <a:lnTo>
                        <a:pt x="3350" y="3268"/>
                      </a:lnTo>
                      <a:lnTo>
                        <a:pt x="3344" y="3268"/>
                      </a:lnTo>
                      <a:lnTo>
                        <a:pt x="3344" y="3268"/>
                      </a:lnTo>
                      <a:lnTo>
                        <a:pt x="3340" y="3270"/>
                      </a:lnTo>
                      <a:lnTo>
                        <a:pt x="3334" y="3270"/>
                      </a:lnTo>
                      <a:lnTo>
                        <a:pt x="3326" y="3270"/>
                      </a:lnTo>
                      <a:lnTo>
                        <a:pt x="3320" y="3268"/>
                      </a:lnTo>
                      <a:lnTo>
                        <a:pt x="3320" y="3268"/>
                      </a:lnTo>
                      <a:lnTo>
                        <a:pt x="3308" y="3264"/>
                      </a:lnTo>
                      <a:lnTo>
                        <a:pt x="3306" y="3264"/>
                      </a:lnTo>
                      <a:lnTo>
                        <a:pt x="3308" y="3266"/>
                      </a:lnTo>
                      <a:lnTo>
                        <a:pt x="3308" y="3266"/>
                      </a:lnTo>
                      <a:lnTo>
                        <a:pt x="3308" y="3268"/>
                      </a:lnTo>
                      <a:lnTo>
                        <a:pt x="3308" y="3270"/>
                      </a:lnTo>
                      <a:lnTo>
                        <a:pt x="3304" y="3272"/>
                      </a:lnTo>
                      <a:lnTo>
                        <a:pt x="3292" y="3276"/>
                      </a:lnTo>
                      <a:lnTo>
                        <a:pt x="3292" y="3276"/>
                      </a:lnTo>
                      <a:lnTo>
                        <a:pt x="3278" y="3278"/>
                      </a:lnTo>
                      <a:lnTo>
                        <a:pt x="3266" y="3276"/>
                      </a:lnTo>
                      <a:lnTo>
                        <a:pt x="3258" y="3274"/>
                      </a:lnTo>
                      <a:lnTo>
                        <a:pt x="3248" y="3274"/>
                      </a:lnTo>
                      <a:lnTo>
                        <a:pt x="3248" y="3274"/>
                      </a:lnTo>
                      <a:lnTo>
                        <a:pt x="3244" y="3276"/>
                      </a:lnTo>
                      <a:lnTo>
                        <a:pt x="3242" y="3274"/>
                      </a:lnTo>
                      <a:lnTo>
                        <a:pt x="3240" y="3272"/>
                      </a:lnTo>
                      <a:lnTo>
                        <a:pt x="3238" y="3270"/>
                      </a:lnTo>
                      <a:lnTo>
                        <a:pt x="3238" y="3270"/>
                      </a:lnTo>
                      <a:lnTo>
                        <a:pt x="3236" y="3270"/>
                      </a:lnTo>
                      <a:lnTo>
                        <a:pt x="3232" y="3272"/>
                      </a:lnTo>
                      <a:lnTo>
                        <a:pt x="3226" y="3276"/>
                      </a:lnTo>
                      <a:lnTo>
                        <a:pt x="3222" y="3282"/>
                      </a:lnTo>
                      <a:lnTo>
                        <a:pt x="3218" y="3282"/>
                      </a:lnTo>
                      <a:lnTo>
                        <a:pt x="3216" y="3280"/>
                      </a:lnTo>
                      <a:lnTo>
                        <a:pt x="3216" y="3280"/>
                      </a:lnTo>
                      <a:lnTo>
                        <a:pt x="3206" y="3272"/>
                      </a:lnTo>
                      <a:lnTo>
                        <a:pt x="3202" y="3268"/>
                      </a:lnTo>
                      <a:lnTo>
                        <a:pt x="3200" y="3268"/>
                      </a:lnTo>
                      <a:lnTo>
                        <a:pt x="3202" y="3270"/>
                      </a:lnTo>
                      <a:lnTo>
                        <a:pt x="3202" y="3270"/>
                      </a:lnTo>
                      <a:lnTo>
                        <a:pt x="3204" y="3274"/>
                      </a:lnTo>
                      <a:lnTo>
                        <a:pt x="3202" y="3280"/>
                      </a:lnTo>
                      <a:lnTo>
                        <a:pt x="3202" y="3280"/>
                      </a:lnTo>
                      <a:lnTo>
                        <a:pt x="3200" y="3282"/>
                      </a:lnTo>
                      <a:lnTo>
                        <a:pt x="3198" y="3280"/>
                      </a:lnTo>
                      <a:lnTo>
                        <a:pt x="3194" y="3274"/>
                      </a:lnTo>
                      <a:lnTo>
                        <a:pt x="3188" y="3270"/>
                      </a:lnTo>
                      <a:lnTo>
                        <a:pt x="3188" y="3270"/>
                      </a:lnTo>
                      <a:lnTo>
                        <a:pt x="3188" y="3268"/>
                      </a:lnTo>
                      <a:lnTo>
                        <a:pt x="3190" y="3264"/>
                      </a:lnTo>
                      <a:lnTo>
                        <a:pt x="3196" y="3256"/>
                      </a:lnTo>
                      <a:lnTo>
                        <a:pt x="3202" y="3250"/>
                      </a:lnTo>
                      <a:lnTo>
                        <a:pt x="3208" y="3242"/>
                      </a:lnTo>
                      <a:lnTo>
                        <a:pt x="3208" y="3242"/>
                      </a:lnTo>
                      <a:lnTo>
                        <a:pt x="3212" y="3236"/>
                      </a:lnTo>
                      <a:lnTo>
                        <a:pt x="3214" y="3228"/>
                      </a:lnTo>
                      <a:lnTo>
                        <a:pt x="3216" y="3206"/>
                      </a:lnTo>
                      <a:lnTo>
                        <a:pt x="3218" y="3182"/>
                      </a:lnTo>
                      <a:lnTo>
                        <a:pt x="3222" y="3160"/>
                      </a:lnTo>
                      <a:lnTo>
                        <a:pt x="3222" y="3160"/>
                      </a:lnTo>
                      <a:lnTo>
                        <a:pt x="3222" y="3154"/>
                      </a:lnTo>
                      <a:lnTo>
                        <a:pt x="3220" y="3150"/>
                      </a:lnTo>
                      <a:lnTo>
                        <a:pt x="3218" y="3148"/>
                      </a:lnTo>
                      <a:lnTo>
                        <a:pt x="3216" y="3148"/>
                      </a:lnTo>
                      <a:lnTo>
                        <a:pt x="3216" y="3148"/>
                      </a:lnTo>
                      <a:lnTo>
                        <a:pt x="3214" y="3150"/>
                      </a:lnTo>
                      <a:lnTo>
                        <a:pt x="3212" y="3150"/>
                      </a:lnTo>
                      <a:lnTo>
                        <a:pt x="3212" y="3144"/>
                      </a:lnTo>
                      <a:lnTo>
                        <a:pt x="3212" y="3144"/>
                      </a:lnTo>
                      <a:lnTo>
                        <a:pt x="3220" y="3128"/>
                      </a:lnTo>
                      <a:lnTo>
                        <a:pt x="3220" y="3128"/>
                      </a:lnTo>
                      <a:lnTo>
                        <a:pt x="3222" y="3124"/>
                      </a:lnTo>
                      <a:lnTo>
                        <a:pt x="3224" y="3124"/>
                      </a:lnTo>
                      <a:lnTo>
                        <a:pt x="3224" y="3128"/>
                      </a:lnTo>
                      <a:lnTo>
                        <a:pt x="3222" y="3134"/>
                      </a:lnTo>
                      <a:lnTo>
                        <a:pt x="3222" y="3134"/>
                      </a:lnTo>
                      <a:lnTo>
                        <a:pt x="3222" y="3140"/>
                      </a:lnTo>
                      <a:lnTo>
                        <a:pt x="3224" y="3144"/>
                      </a:lnTo>
                      <a:lnTo>
                        <a:pt x="3226" y="3148"/>
                      </a:lnTo>
                      <a:lnTo>
                        <a:pt x="3230" y="3154"/>
                      </a:lnTo>
                      <a:lnTo>
                        <a:pt x="3230" y="3154"/>
                      </a:lnTo>
                      <a:lnTo>
                        <a:pt x="3232" y="3156"/>
                      </a:lnTo>
                      <a:lnTo>
                        <a:pt x="3232" y="3152"/>
                      </a:lnTo>
                      <a:lnTo>
                        <a:pt x="3236" y="3138"/>
                      </a:lnTo>
                      <a:lnTo>
                        <a:pt x="3242" y="3118"/>
                      </a:lnTo>
                      <a:lnTo>
                        <a:pt x="3244" y="3104"/>
                      </a:lnTo>
                      <a:lnTo>
                        <a:pt x="3244" y="3104"/>
                      </a:lnTo>
                      <a:lnTo>
                        <a:pt x="3246" y="3102"/>
                      </a:lnTo>
                      <a:lnTo>
                        <a:pt x="3244" y="3102"/>
                      </a:lnTo>
                      <a:lnTo>
                        <a:pt x="3240" y="3102"/>
                      </a:lnTo>
                      <a:lnTo>
                        <a:pt x="3238" y="3102"/>
                      </a:lnTo>
                      <a:lnTo>
                        <a:pt x="3242" y="3098"/>
                      </a:lnTo>
                      <a:lnTo>
                        <a:pt x="3242" y="3098"/>
                      </a:lnTo>
                      <a:lnTo>
                        <a:pt x="3250" y="3088"/>
                      </a:lnTo>
                      <a:lnTo>
                        <a:pt x="3248" y="3086"/>
                      </a:lnTo>
                      <a:lnTo>
                        <a:pt x="3244" y="3088"/>
                      </a:lnTo>
                      <a:lnTo>
                        <a:pt x="3244" y="3088"/>
                      </a:lnTo>
                      <a:lnTo>
                        <a:pt x="3238" y="3090"/>
                      </a:lnTo>
                      <a:lnTo>
                        <a:pt x="3236" y="3088"/>
                      </a:lnTo>
                      <a:lnTo>
                        <a:pt x="3236" y="3084"/>
                      </a:lnTo>
                      <a:lnTo>
                        <a:pt x="3242" y="3078"/>
                      </a:lnTo>
                      <a:lnTo>
                        <a:pt x="3242" y="3078"/>
                      </a:lnTo>
                      <a:lnTo>
                        <a:pt x="3246" y="3076"/>
                      </a:lnTo>
                      <a:lnTo>
                        <a:pt x="3248" y="3072"/>
                      </a:lnTo>
                      <a:lnTo>
                        <a:pt x="3248" y="3064"/>
                      </a:lnTo>
                      <a:lnTo>
                        <a:pt x="3252" y="3050"/>
                      </a:lnTo>
                      <a:lnTo>
                        <a:pt x="3256" y="3040"/>
                      </a:lnTo>
                      <a:lnTo>
                        <a:pt x="3264" y="3030"/>
                      </a:lnTo>
                      <a:lnTo>
                        <a:pt x="3264" y="3030"/>
                      </a:lnTo>
                      <a:lnTo>
                        <a:pt x="3274" y="3016"/>
                      </a:lnTo>
                      <a:lnTo>
                        <a:pt x="3276" y="3010"/>
                      </a:lnTo>
                      <a:lnTo>
                        <a:pt x="3274" y="3006"/>
                      </a:lnTo>
                      <a:lnTo>
                        <a:pt x="3272" y="3002"/>
                      </a:lnTo>
                      <a:lnTo>
                        <a:pt x="3272" y="3002"/>
                      </a:lnTo>
                      <a:lnTo>
                        <a:pt x="3272" y="2996"/>
                      </a:lnTo>
                      <a:lnTo>
                        <a:pt x="3272" y="2994"/>
                      </a:lnTo>
                      <a:lnTo>
                        <a:pt x="3268" y="2992"/>
                      </a:lnTo>
                      <a:lnTo>
                        <a:pt x="3266" y="2988"/>
                      </a:lnTo>
                      <a:lnTo>
                        <a:pt x="3266" y="2988"/>
                      </a:lnTo>
                      <a:lnTo>
                        <a:pt x="3264" y="2986"/>
                      </a:lnTo>
                      <a:lnTo>
                        <a:pt x="3260" y="2986"/>
                      </a:lnTo>
                      <a:lnTo>
                        <a:pt x="3256" y="2986"/>
                      </a:lnTo>
                      <a:lnTo>
                        <a:pt x="3252" y="2988"/>
                      </a:lnTo>
                      <a:lnTo>
                        <a:pt x="3252" y="2988"/>
                      </a:lnTo>
                      <a:lnTo>
                        <a:pt x="3254" y="2990"/>
                      </a:lnTo>
                      <a:lnTo>
                        <a:pt x="3254" y="2990"/>
                      </a:lnTo>
                      <a:lnTo>
                        <a:pt x="3260" y="2990"/>
                      </a:lnTo>
                      <a:lnTo>
                        <a:pt x="3260" y="2992"/>
                      </a:lnTo>
                      <a:lnTo>
                        <a:pt x="3256" y="2994"/>
                      </a:lnTo>
                      <a:lnTo>
                        <a:pt x="3256" y="2994"/>
                      </a:lnTo>
                      <a:lnTo>
                        <a:pt x="3254" y="2994"/>
                      </a:lnTo>
                      <a:lnTo>
                        <a:pt x="3250" y="2994"/>
                      </a:lnTo>
                      <a:lnTo>
                        <a:pt x="3242" y="2990"/>
                      </a:lnTo>
                      <a:lnTo>
                        <a:pt x="3230" y="2988"/>
                      </a:lnTo>
                      <a:lnTo>
                        <a:pt x="3222" y="2986"/>
                      </a:lnTo>
                      <a:lnTo>
                        <a:pt x="3214" y="2986"/>
                      </a:lnTo>
                      <a:lnTo>
                        <a:pt x="3214" y="2986"/>
                      </a:lnTo>
                      <a:lnTo>
                        <a:pt x="3202" y="2990"/>
                      </a:lnTo>
                      <a:lnTo>
                        <a:pt x="3196" y="2992"/>
                      </a:lnTo>
                      <a:lnTo>
                        <a:pt x="3190" y="2996"/>
                      </a:lnTo>
                      <a:lnTo>
                        <a:pt x="3180" y="2998"/>
                      </a:lnTo>
                      <a:lnTo>
                        <a:pt x="3180" y="2998"/>
                      </a:lnTo>
                      <a:lnTo>
                        <a:pt x="3162" y="3000"/>
                      </a:lnTo>
                      <a:lnTo>
                        <a:pt x="3146" y="3004"/>
                      </a:lnTo>
                      <a:lnTo>
                        <a:pt x="3140" y="3008"/>
                      </a:lnTo>
                      <a:lnTo>
                        <a:pt x="3134" y="3012"/>
                      </a:lnTo>
                      <a:lnTo>
                        <a:pt x="3130" y="3016"/>
                      </a:lnTo>
                      <a:lnTo>
                        <a:pt x="3130" y="3020"/>
                      </a:lnTo>
                      <a:lnTo>
                        <a:pt x="3130" y="3020"/>
                      </a:lnTo>
                      <a:lnTo>
                        <a:pt x="3128" y="3028"/>
                      </a:lnTo>
                      <a:lnTo>
                        <a:pt x="3126" y="3034"/>
                      </a:lnTo>
                      <a:lnTo>
                        <a:pt x="3124" y="3040"/>
                      </a:lnTo>
                      <a:lnTo>
                        <a:pt x="3124" y="3056"/>
                      </a:lnTo>
                      <a:lnTo>
                        <a:pt x="3124" y="3056"/>
                      </a:lnTo>
                      <a:lnTo>
                        <a:pt x="3126" y="3068"/>
                      </a:lnTo>
                      <a:lnTo>
                        <a:pt x="3124" y="3070"/>
                      </a:lnTo>
                      <a:lnTo>
                        <a:pt x="3122" y="3072"/>
                      </a:lnTo>
                      <a:lnTo>
                        <a:pt x="3118" y="3076"/>
                      </a:lnTo>
                      <a:lnTo>
                        <a:pt x="3116" y="3080"/>
                      </a:lnTo>
                      <a:lnTo>
                        <a:pt x="3116" y="3088"/>
                      </a:lnTo>
                      <a:lnTo>
                        <a:pt x="3116" y="3088"/>
                      </a:lnTo>
                      <a:lnTo>
                        <a:pt x="3114" y="3096"/>
                      </a:lnTo>
                      <a:lnTo>
                        <a:pt x="3112" y="3102"/>
                      </a:lnTo>
                      <a:lnTo>
                        <a:pt x="3108" y="3108"/>
                      </a:lnTo>
                      <a:lnTo>
                        <a:pt x="3104" y="3112"/>
                      </a:lnTo>
                      <a:lnTo>
                        <a:pt x="3094" y="3118"/>
                      </a:lnTo>
                      <a:lnTo>
                        <a:pt x="3086" y="3122"/>
                      </a:lnTo>
                      <a:lnTo>
                        <a:pt x="3086" y="3122"/>
                      </a:lnTo>
                      <a:lnTo>
                        <a:pt x="3084" y="3126"/>
                      </a:lnTo>
                      <a:lnTo>
                        <a:pt x="3084" y="3126"/>
                      </a:lnTo>
                      <a:lnTo>
                        <a:pt x="3088" y="3128"/>
                      </a:lnTo>
                      <a:lnTo>
                        <a:pt x="3092" y="3132"/>
                      </a:lnTo>
                      <a:lnTo>
                        <a:pt x="3092" y="3134"/>
                      </a:lnTo>
                      <a:lnTo>
                        <a:pt x="3090" y="3138"/>
                      </a:lnTo>
                      <a:lnTo>
                        <a:pt x="3090" y="3138"/>
                      </a:lnTo>
                      <a:lnTo>
                        <a:pt x="3086" y="3142"/>
                      </a:lnTo>
                      <a:lnTo>
                        <a:pt x="3078" y="3144"/>
                      </a:lnTo>
                      <a:lnTo>
                        <a:pt x="3072" y="3144"/>
                      </a:lnTo>
                      <a:lnTo>
                        <a:pt x="3070" y="3142"/>
                      </a:lnTo>
                      <a:lnTo>
                        <a:pt x="3070" y="3140"/>
                      </a:lnTo>
                      <a:lnTo>
                        <a:pt x="3070" y="3140"/>
                      </a:lnTo>
                      <a:lnTo>
                        <a:pt x="3068" y="3134"/>
                      </a:lnTo>
                      <a:lnTo>
                        <a:pt x="3066" y="3132"/>
                      </a:lnTo>
                      <a:lnTo>
                        <a:pt x="3058" y="3132"/>
                      </a:lnTo>
                      <a:lnTo>
                        <a:pt x="3046" y="3132"/>
                      </a:lnTo>
                      <a:lnTo>
                        <a:pt x="3046" y="3132"/>
                      </a:lnTo>
                      <a:lnTo>
                        <a:pt x="3038" y="3134"/>
                      </a:lnTo>
                      <a:lnTo>
                        <a:pt x="3034" y="3138"/>
                      </a:lnTo>
                      <a:lnTo>
                        <a:pt x="3028" y="3142"/>
                      </a:lnTo>
                      <a:lnTo>
                        <a:pt x="3010" y="3144"/>
                      </a:lnTo>
                      <a:lnTo>
                        <a:pt x="3010" y="3144"/>
                      </a:lnTo>
                      <a:lnTo>
                        <a:pt x="2996" y="3146"/>
                      </a:lnTo>
                      <a:lnTo>
                        <a:pt x="2986" y="3152"/>
                      </a:lnTo>
                      <a:lnTo>
                        <a:pt x="2978" y="3156"/>
                      </a:lnTo>
                      <a:lnTo>
                        <a:pt x="2968" y="3160"/>
                      </a:lnTo>
                      <a:lnTo>
                        <a:pt x="2968" y="3160"/>
                      </a:lnTo>
                      <a:lnTo>
                        <a:pt x="2964" y="3160"/>
                      </a:lnTo>
                      <a:lnTo>
                        <a:pt x="2960" y="3158"/>
                      </a:lnTo>
                      <a:lnTo>
                        <a:pt x="2956" y="3148"/>
                      </a:lnTo>
                      <a:lnTo>
                        <a:pt x="2952" y="3144"/>
                      </a:lnTo>
                      <a:lnTo>
                        <a:pt x="2946" y="3138"/>
                      </a:lnTo>
                      <a:lnTo>
                        <a:pt x="2938" y="3134"/>
                      </a:lnTo>
                      <a:lnTo>
                        <a:pt x="2924" y="3130"/>
                      </a:lnTo>
                      <a:lnTo>
                        <a:pt x="2924" y="3130"/>
                      </a:lnTo>
                      <a:lnTo>
                        <a:pt x="2912" y="3126"/>
                      </a:lnTo>
                      <a:lnTo>
                        <a:pt x="2904" y="3120"/>
                      </a:lnTo>
                      <a:lnTo>
                        <a:pt x="2898" y="3112"/>
                      </a:lnTo>
                      <a:lnTo>
                        <a:pt x="2894" y="3102"/>
                      </a:lnTo>
                      <a:lnTo>
                        <a:pt x="2884" y="3076"/>
                      </a:lnTo>
                      <a:lnTo>
                        <a:pt x="2876" y="3062"/>
                      </a:lnTo>
                      <a:lnTo>
                        <a:pt x="2864" y="3046"/>
                      </a:lnTo>
                      <a:lnTo>
                        <a:pt x="2864" y="3046"/>
                      </a:lnTo>
                      <a:lnTo>
                        <a:pt x="2858" y="3036"/>
                      </a:lnTo>
                      <a:lnTo>
                        <a:pt x="2852" y="3028"/>
                      </a:lnTo>
                      <a:lnTo>
                        <a:pt x="2848" y="3010"/>
                      </a:lnTo>
                      <a:lnTo>
                        <a:pt x="2844" y="2998"/>
                      </a:lnTo>
                      <a:lnTo>
                        <a:pt x="2844" y="2994"/>
                      </a:lnTo>
                      <a:lnTo>
                        <a:pt x="2842" y="2992"/>
                      </a:lnTo>
                      <a:lnTo>
                        <a:pt x="2842" y="2992"/>
                      </a:lnTo>
                      <a:lnTo>
                        <a:pt x="2838" y="2990"/>
                      </a:lnTo>
                      <a:lnTo>
                        <a:pt x="2836" y="2988"/>
                      </a:lnTo>
                      <a:lnTo>
                        <a:pt x="2834" y="2976"/>
                      </a:lnTo>
                      <a:lnTo>
                        <a:pt x="2830" y="2948"/>
                      </a:lnTo>
                      <a:lnTo>
                        <a:pt x="2830" y="2948"/>
                      </a:lnTo>
                      <a:lnTo>
                        <a:pt x="2830" y="2938"/>
                      </a:lnTo>
                      <a:lnTo>
                        <a:pt x="2828" y="2934"/>
                      </a:lnTo>
                      <a:lnTo>
                        <a:pt x="2828" y="2932"/>
                      </a:lnTo>
                      <a:lnTo>
                        <a:pt x="2830" y="2926"/>
                      </a:lnTo>
                      <a:lnTo>
                        <a:pt x="2830" y="2926"/>
                      </a:lnTo>
                      <a:lnTo>
                        <a:pt x="2830" y="2916"/>
                      </a:lnTo>
                      <a:lnTo>
                        <a:pt x="2830" y="2906"/>
                      </a:lnTo>
                      <a:lnTo>
                        <a:pt x="2830" y="2886"/>
                      </a:lnTo>
                      <a:lnTo>
                        <a:pt x="2834" y="2854"/>
                      </a:lnTo>
                      <a:lnTo>
                        <a:pt x="2834" y="2854"/>
                      </a:lnTo>
                      <a:lnTo>
                        <a:pt x="2840" y="2820"/>
                      </a:lnTo>
                      <a:lnTo>
                        <a:pt x="2846" y="2800"/>
                      </a:lnTo>
                      <a:lnTo>
                        <a:pt x="2852" y="2784"/>
                      </a:lnTo>
                      <a:lnTo>
                        <a:pt x="2856" y="2766"/>
                      </a:lnTo>
                      <a:lnTo>
                        <a:pt x="2856" y="2766"/>
                      </a:lnTo>
                      <a:lnTo>
                        <a:pt x="2854" y="2748"/>
                      </a:lnTo>
                      <a:lnTo>
                        <a:pt x="2850" y="2728"/>
                      </a:lnTo>
                      <a:lnTo>
                        <a:pt x="2846" y="2710"/>
                      </a:lnTo>
                      <a:lnTo>
                        <a:pt x="2846" y="2696"/>
                      </a:lnTo>
                      <a:lnTo>
                        <a:pt x="2846" y="2696"/>
                      </a:lnTo>
                      <a:lnTo>
                        <a:pt x="2850" y="2686"/>
                      </a:lnTo>
                      <a:lnTo>
                        <a:pt x="2854" y="2678"/>
                      </a:lnTo>
                      <a:lnTo>
                        <a:pt x="2858" y="2672"/>
                      </a:lnTo>
                      <a:lnTo>
                        <a:pt x="2864" y="2662"/>
                      </a:lnTo>
                      <a:lnTo>
                        <a:pt x="2864" y="2662"/>
                      </a:lnTo>
                      <a:lnTo>
                        <a:pt x="2866" y="2658"/>
                      </a:lnTo>
                      <a:lnTo>
                        <a:pt x="2870" y="2654"/>
                      </a:lnTo>
                      <a:lnTo>
                        <a:pt x="2880" y="2646"/>
                      </a:lnTo>
                      <a:lnTo>
                        <a:pt x="2886" y="2642"/>
                      </a:lnTo>
                      <a:lnTo>
                        <a:pt x="2888" y="2640"/>
                      </a:lnTo>
                      <a:lnTo>
                        <a:pt x="2886" y="2638"/>
                      </a:lnTo>
                      <a:lnTo>
                        <a:pt x="2886" y="2638"/>
                      </a:lnTo>
                      <a:lnTo>
                        <a:pt x="2880" y="2628"/>
                      </a:lnTo>
                      <a:lnTo>
                        <a:pt x="2878" y="2626"/>
                      </a:lnTo>
                      <a:lnTo>
                        <a:pt x="2882" y="2628"/>
                      </a:lnTo>
                      <a:lnTo>
                        <a:pt x="2882" y="2628"/>
                      </a:lnTo>
                      <a:lnTo>
                        <a:pt x="2886" y="2628"/>
                      </a:lnTo>
                      <a:lnTo>
                        <a:pt x="2890" y="2628"/>
                      </a:lnTo>
                      <a:lnTo>
                        <a:pt x="2892" y="2626"/>
                      </a:lnTo>
                      <a:lnTo>
                        <a:pt x="2894" y="2628"/>
                      </a:lnTo>
                      <a:lnTo>
                        <a:pt x="2894" y="2628"/>
                      </a:lnTo>
                      <a:lnTo>
                        <a:pt x="2896" y="2628"/>
                      </a:lnTo>
                      <a:lnTo>
                        <a:pt x="2902" y="2628"/>
                      </a:lnTo>
                      <a:lnTo>
                        <a:pt x="2912" y="2624"/>
                      </a:lnTo>
                      <a:lnTo>
                        <a:pt x="2926" y="2616"/>
                      </a:lnTo>
                      <a:lnTo>
                        <a:pt x="2936" y="2606"/>
                      </a:lnTo>
                      <a:lnTo>
                        <a:pt x="2936" y="2606"/>
                      </a:lnTo>
                      <a:lnTo>
                        <a:pt x="2942" y="2600"/>
                      </a:lnTo>
                      <a:lnTo>
                        <a:pt x="2948" y="2594"/>
                      </a:lnTo>
                      <a:lnTo>
                        <a:pt x="2964" y="2584"/>
                      </a:lnTo>
                      <a:lnTo>
                        <a:pt x="2964" y="2584"/>
                      </a:lnTo>
                      <a:lnTo>
                        <a:pt x="2980" y="2572"/>
                      </a:lnTo>
                      <a:lnTo>
                        <a:pt x="2990" y="2570"/>
                      </a:lnTo>
                      <a:lnTo>
                        <a:pt x="3006" y="2568"/>
                      </a:lnTo>
                      <a:lnTo>
                        <a:pt x="3006" y="2568"/>
                      </a:lnTo>
                      <a:lnTo>
                        <a:pt x="3014" y="2568"/>
                      </a:lnTo>
                      <a:lnTo>
                        <a:pt x="3020" y="2570"/>
                      </a:lnTo>
                      <a:lnTo>
                        <a:pt x="3032" y="2574"/>
                      </a:lnTo>
                      <a:lnTo>
                        <a:pt x="3040" y="2580"/>
                      </a:lnTo>
                      <a:lnTo>
                        <a:pt x="3046" y="2580"/>
                      </a:lnTo>
                      <a:lnTo>
                        <a:pt x="3050" y="2580"/>
                      </a:lnTo>
                      <a:lnTo>
                        <a:pt x="3050" y="2580"/>
                      </a:lnTo>
                      <a:lnTo>
                        <a:pt x="3060" y="2578"/>
                      </a:lnTo>
                      <a:lnTo>
                        <a:pt x="3064" y="2580"/>
                      </a:lnTo>
                      <a:lnTo>
                        <a:pt x="3068" y="2582"/>
                      </a:lnTo>
                      <a:lnTo>
                        <a:pt x="3072" y="2580"/>
                      </a:lnTo>
                      <a:lnTo>
                        <a:pt x="3072" y="2580"/>
                      </a:lnTo>
                      <a:lnTo>
                        <a:pt x="3074" y="2578"/>
                      </a:lnTo>
                      <a:lnTo>
                        <a:pt x="3072" y="2578"/>
                      </a:lnTo>
                      <a:lnTo>
                        <a:pt x="3066" y="2576"/>
                      </a:lnTo>
                      <a:lnTo>
                        <a:pt x="3058" y="2572"/>
                      </a:lnTo>
                      <a:lnTo>
                        <a:pt x="3058" y="2572"/>
                      </a:lnTo>
                      <a:lnTo>
                        <a:pt x="3060" y="2568"/>
                      </a:lnTo>
                      <a:lnTo>
                        <a:pt x="3060" y="2568"/>
                      </a:lnTo>
                      <a:lnTo>
                        <a:pt x="3068" y="2566"/>
                      </a:lnTo>
                      <a:lnTo>
                        <a:pt x="3074" y="2568"/>
                      </a:lnTo>
                      <a:lnTo>
                        <a:pt x="3078" y="2572"/>
                      </a:lnTo>
                      <a:lnTo>
                        <a:pt x="3082" y="2578"/>
                      </a:lnTo>
                      <a:lnTo>
                        <a:pt x="3082" y="2578"/>
                      </a:lnTo>
                      <a:lnTo>
                        <a:pt x="3084" y="2580"/>
                      </a:lnTo>
                      <a:lnTo>
                        <a:pt x="3086" y="2582"/>
                      </a:lnTo>
                      <a:lnTo>
                        <a:pt x="3092" y="2584"/>
                      </a:lnTo>
                      <a:lnTo>
                        <a:pt x="3096" y="2586"/>
                      </a:lnTo>
                      <a:lnTo>
                        <a:pt x="3094" y="2588"/>
                      </a:lnTo>
                      <a:lnTo>
                        <a:pt x="3092" y="2590"/>
                      </a:lnTo>
                      <a:lnTo>
                        <a:pt x="3092" y="2590"/>
                      </a:lnTo>
                      <a:lnTo>
                        <a:pt x="3092" y="2594"/>
                      </a:lnTo>
                      <a:lnTo>
                        <a:pt x="3094" y="2596"/>
                      </a:lnTo>
                      <a:lnTo>
                        <a:pt x="3102" y="2600"/>
                      </a:lnTo>
                      <a:lnTo>
                        <a:pt x="3112" y="2600"/>
                      </a:lnTo>
                      <a:lnTo>
                        <a:pt x="3118" y="2600"/>
                      </a:lnTo>
                      <a:lnTo>
                        <a:pt x="3118" y="2600"/>
                      </a:lnTo>
                      <a:lnTo>
                        <a:pt x="3120" y="2596"/>
                      </a:lnTo>
                      <a:lnTo>
                        <a:pt x="3126" y="2594"/>
                      </a:lnTo>
                      <a:lnTo>
                        <a:pt x="3130" y="2594"/>
                      </a:lnTo>
                      <a:lnTo>
                        <a:pt x="3134" y="2600"/>
                      </a:lnTo>
                      <a:lnTo>
                        <a:pt x="3134" y="2600"/>
                      </a:lnTo>
                      <a:lnTo>
                        <a:pt x="3136" y="2602"/>
                      </a:lnTo>
                      <a:lnTo>
                        <a:pt x="3138" y="2604"/>
                      </a:lnTo>
                      <a:lnTo>
                        <a:pt x="3142" y="2602"/>
                      </a:lnTo>
                      <a:lnTo>
                        <a:pt x="3144" y="2596"/>
                      </a:lnTo>
                      <a:lnTo>
                        <a:pt x="3144" y="2592"/>
                      </a:lnTo>
                      <a:lnTo>
                        <a:pt x="3142" y="2588"/>
                      </a:lnTo>
                      <a:lnTo>
                        <a:pt x="3142" y="2588"/>
                      </a:lnTo>
                      <a:lnTo>
                        <a:pt x="3142" y="2584"/>
                      </a:lnTo>
                      <a:lnTo>
                        <a:pt x="3146" y="2584"/>
                      </a:lnTo>
                      <a:lnTo>
                        <a:pt x="3152" y="2586"/>
                      </a:lnTo>
                      <a:lnTo>
                        <a:pt x="3160" y="2594"/>
                      </a:lnTo>
                      <a:lnTo>
                        <a:pt x="3160" y="2594"/>
                      </a:lnTo>
                      <a:lnTo>
                        <a:pt x="3166" y="2602"/>
                      </a:lnTo>
                      <a:lnTo>
                        <a:pt x="3168" y="2608"/>
                      </a:lnTo>
                      <a:lnTo>
                        <a:pt x="3168" y="2610"/>
                      </a:lnTo>
                      <a:lnTo>
                        <a:pt x="3170" y="2610"/>
                      </a:lnTo>
                      <a:lnTo>
                        <a:pt x="3176" y="2606"/>
                      </a:lnTo>
                      <a:lnTo>
                        <a:pt x="3176" y="2606"/>
                      </a:lnTo>
                      <a:lnTo>
                        <a:pt x="3180" y="2602"/>
                      </a:lnTo>
                      <a:lnTo>
                        <a:pt x="3182" y="2600"/>
                      </a:lnTo>
                      <a:lnTo>
                        <a:pt x="3182" y="2596"/>
                      </a:lnTo>
                      <a:lnTo>
                        <a:pt x="3180" y="2594"/>
                      </a:lnTo>
                      <a:lnTo>
                        <a:pt x="3174" y="2590"/>
                      </a:lnTo>
                      <a:lnTo>
                        <a:pt x="3162" y="2584"/>
                      </a:lnTo>
                      <a:lnTo>
                        <a:pt x="3162" y="2584"/>
                      </a:lnTo>
                      <a:lnTo>
                        <a:pt x="3158" y="2580"/>
                      </a:lnTo>
                      <a:lnTo>
                        <a:pt x="3158" y="2578"/>
                      </a:lnTo>
                      <a:lnTo>
                        <a:pt x="3160" y="2576"/>
                      </a:lnTo>
                      <a:lnTo>
                        <a:pt x="3164" y="2574"/>
                      </a:lnTo>
                      <a:lnTo>
                        <a:pt x="3170" y="2568"/>
                      </a:lnTo>
                      <a:lnTo>
                        <a:pt x="3172" y="2564"/>
                      </a:lnTo>
                      <a:lnTo>
                        <a:pt x="3172" y="2560"/>
                      </a:lnTo>
                      <a:lnTo>
                        <a:pt x="3172" y="2560"/>
                      </a:lnTo>
                      <a:lnTo>
                        <a:pt x="3170" y="2556"/>
                      </a:lnTo>
                      <a:lnTo>
                        <a:pt x="3168" y="2556"/>
                      </a:lnTo>
                      <a:lnTo>
                        <a:pt x="3164" y="2558"/>
                      </a:lnTo>
                      <a:lnTo>
                        <a:pt x="3160" y="2562"/>
                      </a:lnTo>
                      <a:lnTo>
                        <a:pt x="3158" y="2562"/>
                      </a:lnTo>
                      <a:lnTo>
                        <a:pt x="3156" y="2562"/>
                      </a:lnTo>
                      <a:lnTo>
                        <a:pt x="3156" y="2562"/>
                      </a:lnTo>
                      <a:lnTo>
                        <a:pt x="3154" y="2560"/>
                      </a:lnTo>
                      <a:lnTo>
                        <a:pt x="3154" y="2558"/>
                      </a:lnTo>
                      <a:lnTo>
                        <a:pt x="3156" y="2556"/>
                      </a:lnTo>
                      <a:lnTo>
                        <a:pt x="3158" y="2552"/>
                      </a:lnTo>
                      <a:lnTo>
                        <a:pt x="3154" y="2550"/>
                      </a:lnTo>
                      <a:lnTo>
                        <a:pt x="3154" y="2550"/>
                      </a:lnTo>
                      <a:lnTo>
                        <a:pt x="3148" y="2550"/>
                      </a:lnTo>
                      <a:lnTo>
                        <a:pt x="3144" y="2554"/>
                      </a:lnTo>
                      <a:lnTo>
                        <a:pt x="3142" y="2556"/>
                      </a:lnTo>
                      <a:lnTo>
                        <a:pt x="3134" y="2554"/>
                      </a:lnTo>
                      <a:lnTo>
                        <a:pt x="3134" y="2554"/>
                      </a:lnTo>
                      <a:lnTo>
                        <a:pt x="3130" y="2550"/>
                      </a:lnTo>
                      <a:lnTo>
                        <a:pt x="3128" y="2548"/>
                      </a:lnTo>
                      <a:lnTo>
                        <a:pt x="3128" y="2544"/>
                      </a:lnTo>
                      <a:lnTo>
                        <a:pt x="3130" y="2540"/>
                      </a:lnTo>
                      <a:lnTo>
                        <a:pt x="3132" y="2538"/>
                      </a:lnTo>
                      <a:lnTo>
                        <a:pt x="3136" y="2536"/>
                      </a:lnTo>
                      <a:lnTo>
                        <a:pt x="3142" y="2536"/>
                      </a:lnTo>
                      <a:lnTo>
                        <a:pt x="3148" y="2538"/>
                      </a:lnTo>
                      <a:lnTo>
                        <a:pt x="3148" y="2538"/>
                      </a:lnTo>
                      <a:lnTo>
                        <a:pt x="3156" y="2544"/>
                      </a:lnTo>
                      <a:lnTo>
                        <a:pt x="3164" y="2546"/>
                      </a:lnTo>
                      <a:lnTo>
                        <a:pt x="3170" y="2544"/>
                      </a:lnTo>
                      <a:lnTo>
                        <a:pt x="3178" y="2538"/>
                      </a:lnTo>
                      <a:lnTo>
                        <a:pt x="3178" y="2538"/>
                      </a:lnTo>
                      <a:lnTo>
                        <a:pt x="3182" y="2536"/>
                      </a:lnTo>
                      <a:lnTo>
                        <a:pt x="3190" y="2536"/>
                      </a:lnTo>
                      <a:lnTo>
                        <a:pt x="3202" y="2536"/>
                      </a:lnTo>
                      <a:lnTo>
                        <a:pt x="3214" y="2538"/>
                      </a:lnTo>
                      <a:lnTo>
                        <a:pt x="3218" y="2538"/>
                      </a:lnTo>
                      <a:lnTo>
                        <a:pt x="3220" y="2536"/>
                      </a:lnTo>
                      <a:lnTo>
                        <a:pt x="3220" y="2536"/>
                      </a:lnTo>
                      <a:lnTo>
                        <a:pt x="3222" y="2522"/>
                      </a:lnTo>
                      <a:lnTo>
                        <a:pt x="3224" y="2520"/>
                      </a:lnTo>
                      <a:lnTo>
                        <a:pt x="3226" y="2522"/>
                      </a:lnTo>
                      <a:lnTo>
                        <a:pt x="3232" y="2534"/>
                      </a:lnTo>
                      <a:lnTo>
                        <a:pt x="3232" y="2534"/>
                      </a:lnTo>
                      <a:lnTo>
                        <a:pt x="3232" y="2538"/>
                      </a:lnTo>
                      <a:lnTo>
                        <a:pt x="3230" y="2540"/>
                      </a:lnTo>
                      <a:lnTo>
                        <a:pt x="3226" y="2544"/>
                      </a:lnTo>
                      <a:lnTo>
                        <a:pt x="3224" y="2546"/>
                      </a:lnTo>
                      <a:lnTo>
                        <a:pt x="3234" y="2544"/>
                      </a:lnTo>
                      <a:lnTo>
                        <a:pt x="3234" y="2544"/>
                      </a:lnTo>
                      <a:lnTo>
                        <a:pt x="3268" y="2536"/>
                      </a:lnTo>
                      <a:lnTo>
                        <a:pt x="3282" y="2536"/>
                      </a:lnTo>
                      <a:lnTo>
                        <a:pt x="3296" y="2538"/>
                      </a:lnTo>
                      <a:lnTo>
                        <a:pt x="3296" y="2538"/>
                      </a:lnTo>
                      <a:lnTo>
                        <a:pt x="3312" y="2544"/>
                      </a:lnTo>
                      <a:lnTo>
                        <a:pt x="3318" y="2546"/>
                      </a:lnTo>
                      <a:lnTo>
                        <a:pt x="3320" y="2552"/>
                      </a:lnTo>
                      <a:lnTo>
                        <a:pt x="3320" y="2552"/>
                      </a:lnTo>
                      <a:lnTo>
                        <a:pt x="3324" y="2556"/>
                      </a:lnTo>
                      <a:lnTo>
                        <a:pt x="3326" y="2556"/>
                      </a:lnTo>
                      <a:lnTo>
                        <a:pt x="3330" y="2560"/>
                      </a:lnTo>
                      <a:lnTo>
                        <a:pt x="3330" y="2566"/>
                      </a:lnTo>
                      <a:lnTo>
                        <a:pt x="3330" y="2566"/>
                      </a:lnTo>
                      <a:lnTo>
                        <a:pt x="3332" y="2570"/>
                      </a:lnTo>
                      <a:lnTo>
                        <a:pt x="3336" y="2572"/>
                      </a:lnTo>
                      <a:lnTo>
                        <a:pt x="3340" y="2570"/>
                      </a:lnTo>
                      <a:lnTo>
                        <a:pt x="3346" y="2570"/>
                      </a:lnTo>
                      <a:lnTo>
                        <a:pt x="3360" y="2564"/>
                      </a:lnTo>
                      <a:lnTo>
                        <a:pt x="3368" y="2562"/>
                      </a:lnTo>
                      <a:lnTo>
                        <a:pt x="3368" y="2562"/>
                      </a:lnTo>
                      <a:lnTo>
                        <a:pt x="3370" y="2560"/>
                      </a:lnTo>
                      <a:lnTo>
                        <a:pt x="3372" y="2560"/>
                      </a:lnTo>
                      <a:lnTo>
                        <a:pt x="3372" y="2556"/>
                      </a:lnTo>
                      <a:lnTo>
                        <a:pt x="3376" y="2552"/>
                      </a:lnTo>
                      <a:lnTo>
                        <a:pt x="3382" y="2552"/>
                      </a:lnTo>
                      <a:lnTo>
                        <a:pt x="3382" y="2552"/>
                      </a:lnTo>
                      <a:lnTo>
                        <a:pt x="3388" y="2554"/>
                      </a:lnTo>
                      <a:lnTo>
                        <a:pt x="3394" y="2558"/>
                      </a:lnTo>
                      <a:lnTo>
                        <a:pt x="3406" y="2574"/>
                      </a:lnTo>
                      <a:lnTo>
                        <a:pt x="3418" y="2592"/>
                      </a:lnTo>
                      <a:lnTo>
                        <a:pt x="3424" y="2596"/>
                      </a:lnTo>
                      <a:lnTo>
                        <a:pt x="3428" y="2598"/>
                      </a:lnTo>
                      <a:lnTo>
                        <a:pt x="3428" y="2598"/>
                      </a:lnTo>
                      <a:lnTo>
                        <a:pt x="3432" y="2600"/>
                      </a:lnTo>
                      <a:lnTo>
                        <a:pt x="3434" y="2604"/>
                      </a:lnTo>
                      <a:lnTo>
                        <a:pt x="3438" y="2616"/>
                      </a:lnTo>
                      <a:lnTo>
                        <a:pt x="3440" y="2630"/>
                      </a:lnTo>
                      <a:lnTo>
                        <a:pt x="3436" y="2646"/>
                      </a:lnTo>
                      <a:lnTo>
                        <a:pt x="3436" y="2646"/>
                      </a:lnTo>
                      <a:lnTo>
                        <a:pt x="3434" y="2658"/>
                      </a:lnTo>
                      <a:lnTo>
                        <a:pt x="3434" y="2670"/>
                      </a:lnTo>
                      <a:lnTo>
                        <a:pt x="3436" y="2676"/>
                      </a:lnTo>
                      <a:lnTo>
                        <a:pt x="3438" y="2678"/>
                      </a:lnTo>
                      <a:lnTo>
                        <a:pt x="3440" y="2676"/>
                      </a:lnTo>
                      <a:lnTo>
                        <a:pt x="3440" y="2676"/>
                      </a:lnTo>
                      <a:lnTo>
                        <a:pt x="3446" y="2672"/>
                      </a:lnTo>
                      <a:lnTo>
                        <a:pt x="3450" y="2670"/>
                      </a:lnTo>
                      <a:lnTo>
                        <a:pt x="3450" y="2670"/>
                      </a:lnTo>
                      <a:lnTo>
                        <a:pt x="3452" y="2672"/>
                      </a:lnTo>
                      <a:lnTo>
                        <a:pt x="3448" y="2678"/>
                      </a:lnTo>
                      <a:lnTo>
                        <a:pt x="3448" y="2678"/>
                      </a:lnTo>
                      <a:lnTo>
                        <a:pt x="3444" y="2682"/>
                      </a:lnTo>
                      <a:lnTo>
                        <a:pt x="3444" y="2688"/>
                      </a:lnTo>
                      <a:lnTo>
                        <a:pt x="3446" y="2698"/>
                      </a:lnTo>
                      <a:lnTo>
                        <a:pt x="3450" y="2710"/>
                      </a:lnTo>
                      <a:lnTo>
                        <a:pt x="3456" y="2718"/>
                      </a:lnTo>
                      <a:lnTo>
                        <a:pt x="3456" y="2718"/>
                      </a:lnTo>
                      <a:lnTo>
                        <a:pt x="3458" y="2720"/>
                      </a:lnTo>
                      <a:lnTo>
                        <a:pt x="3460" y="2720"/>
                      </a:lnTo>
                      <a:lnTo>
                        <a:pt x="3462" y="2720"/>
                      </a:lnTo>
                      <a:lnTo>
                        <a:pt x="3462" y="2718"/>
                      </a:lnTo>
                      <a:lnTo>
                        <a:pt x="3462" y="2720"/>
                      </a:lnTo>
                      <a:lnTo>
                        <a:pt x="3464" y="2726"/>
                      </a:lnTo>
                      <a:lnTo>
                        <a:pt x="3464" y="2726"/>
                      </a:lnTo>
                      <a:lnTo>
                        <a:pt x="3466" y="2734"/>
                      </a:lnTo>
                      <a:lnTo>
                        <a:pt x="3470" y="2738"/>
                      </a:lnTo>
                      <a:lnTo>
                        <a:pt x="3474" y="2742"/>
                      </a:lnTo>
                      <a:lnTo>
                        <a:pt x="3476" y="2754"/>
                      </a:lnTo>
                      <a:lnTo>
                        <a:pt x="3476" y="2754"/>
                      </a:lnTo>
                      <a:lnTo>
                        <a:pt x="3478" y="2760"/>
                      </a:lnTo>
                      <a:lnTo>
                        <a:pt x="3480" y="2764"/>
                      </a:lnTo>
                      <a:lnTo>
                        <a:pt x="3484" y="2768"/>
                      </a:lnTo>
                      <a:lnTo>
                        <a:pt x="3486" y="2768"/>
                      </a:lnTo>
                      <a:lnTo>
                        <a:pt x="3492" y="2772"/>
                      </a:lnTo>
                      <a:lnTo>
                        <a:pt x="3496" y="2776"/>
                      </a:lnTo>
                      <a:lnTo>
                        <a:pt x="3498" y="2782"/>
                      </a:lnTo>
                      <a:lnTo>
                        <a:pt x="3498" y="2782"/>
                      </a:lnTo>
                      <a:lnTo>
                        <a:pt x="3500" y="2792"/>
                      </a:lnTo>
                      <a:lnTo>
                        <a:pt x="3504" y="2796"/>
                      </a:lnTo>
                      <a:lnTo>
                        <a:pt x="3506" y="2796"/>
                      </a:lnTo>
                      <a:lnTo>
                        <a:pt x="3504" y="2798"/>
                      </a:lnTo>
                      <a:lnTo>
                        <a:pt x="3504" y="2798"/>
                      </a:lnTo>
                      <a:lnTo>
                        <a:pt x="3502" y="2804"/>
                      </a:lnTo>
                      <a:lnTo>
                        <a:pt x="3504" y="2808"/>
                      </a:lnTo>
                      <a:lnTo>
                        <a:pt x="3508" y="2808"/>
                      </a:lnTo>
                      <a:lnTo>
                        <a:pt x="3518" y="2806"/>
                      </a:lnTo>
                      <a:lnTo>
                        <a:pt x="3518" y="2806"/>
                      </a:lnTo>
                      <a:lnTo>
                        <a:pt x="3522" y="2806"/>
                      </a:lnTo>
                      <a:lnTo>
                        <a:pt x="3524" y="2806"/>
                      </a:lnTo>
                      <a:lnTo>
                        <a:pt x="3526" y="2810"/>
                      </a:lnTo>
                      <a:lnTo>
                        <a:pt x="3526" y="2810"/>
                      </a:lnTo>
                      <a:lnTo>
                        <a:pt x="3530" y="2804"/>
                      </a:lnTo>
                      <a:lnTo>
                        <a:pt x="3530" y="2804"/>
                      </a:lnTo>
                      <a:lnTo>
                        <a:pt x="3534" y="2796"/>
                      </a:lnTo>
                      <a:lnTo>
                        <a:pt x="3536" y="2790"/>
                      </a:lnTo>
                      <a:lnTo>
                        <a:pt x="3536" y="2786"/>
                      </a:lnTo>
                      <a:lnTo>
                        <a:pt x="3540" y="2778"/>
                      </a:lnTo>
                      <a:lnTo>
                        <a:pt x="3540" y="2778"/>
                      </a:lnTo>
                      <a:lnTo>
                        <a:pt x="3544" y="2768"/>
                      </a:lnTo>
                      <a:lnTo>
                        <a:pt x="3544" y="2758"/>
                      </a:lnTo>
                      <a:lnTo>
                        <a:pt x="3544" y="2746"/>
                      </a:lnTo>
                      <a:lnTo>
                        <a:pt x="3546" y="2732"/>
                      </a:lnTo>
                      <a:lnTo>
                        <a:pt x="3546" y="2732"/>
                      </a:lnTo>
                      <a:lnTo>
                        <a:pt x="3546" y="2722"/>
                      </a:lnTo>
                      <a:lnTo>
                        <a:pt x="3544" y="2712"/>
                      </a:lnTo>
                      <a:lnTo>
                        <a:pt x="3536" y="2686"/>
                      </a:lnTo>
                      <a:lnTo>
                        <a:pt x="3526" y="2662"/>
                      </a:lnTo>
                      <a:lnTo>
                        <a:pt x="3526" y="2650"/>
                      </a:lnTo>
                      <a:lnTo>
                        <a:pt x="3526" y="2642"/>
                      </a:lnTo>
                      <a:lnTo>
                        <a:pt x="3526" y="2642"/>
                      </a:lnTo>
                      <a:lnTo>
                        <a:pt x="3526" y="2636"/>
                      </a:lnTo>
                      <a:lnTo>
                        <a:pt x="3524" y="2630"/>
                      </a:lnTo>
                      <a:lnTo>
                        <a:pt x="3514" y="2610"/>
                      </a:lnTo>
                      <a:lnTo>
                        <a:pt x="3506" y="2598"/>
                      </a:lnTo>
                      <a:lnTo>
                        <a:pt x="3500" y="2582"/>
                      </a:lnTo>
                      <a:lnTo>
                        <a:pt x="3496" y="2564"/>
                      </a:lnTo>
                      <a:lnTo>
                        <a:pt x="3492" y="2542"/>
                      </a:lnTo>
                      <a:lnTo>
                        <a:pt x="3492" y="2542"/>
                      </a:lnTo>
                      <a:lnTo>
                        <a:pt x="3490" y="2520"/>
                      </a:lnTo>
                      <a:lnTo>
                        <a:pt x="3492" y="2500"/>
                      </a:lnTo>
                      <a:lnTo>
                        <a:pt x="3496" y="2484"/>
                      </a:lnTo>
                      <a:lnTo>
                        <a:pt x="3502" y="2470"/>
                      </a:lnTo>
                      <a:lnTo>
                        <a:pt x="3508" y="2458"/>
                      </a:lnTo>
                      <a:lnTo>
                        <a:pt x="3514" y="2448"/>
                      </a:lnTo>
                      <a:lnTo>
                        <a:pt x="3524" y="2438"/>
                      </a:lnTo>
                      <a:lnTo>
                        <a:pt x="3524" y="2438"/>
                      </a:lnTo>
                      <a:lnTo>
                        <a:pt x="3528" y="2434"/>
                      </a:lnTo>
                      <a:lnTo>
                        <a:pt x="3528" y="2432"/>
                      </a:lnTo>
                      <a:lnTo>
                        <a:pt x="3528" y="2428"/>
                      </a:lnTo>
                      <a:lnTo>
                        <a:pt x="3528" y="2426"/>
                      </a:lnTo>
                      <a:lnTo>
                        <a:pt x="3528" y="2426"/>
                      </a:lnTo>
                      <a:lnTo>
                        <a:pt x="3536" y="2424"/>
                      </a:lnTo>
                      <a:lnTo>
                        <a:pt x="3536" y="2424"/>
                      </a:lnTo>
                      <a:lnTo>
                        <a:pt x="3542" y="2424"/>
                      </a:lnTo>
                      <a:lnTo>
                        <a:pt x="3548" y="2420"/>
                      </a:lnTo>
                      <a:lnTo>
                        <a:pt x="3556" y="2412"/>
                      </a:lnTo>
                      <a:lnTo>
                        <a:pt x="3564" y="2402"/>
                      </a:lnTo>
                      <a:lnTo>
                        <a:pt x="3568" y="2400"/>
                      </a:lnTo>
                      <a:lnTo>
                        <a:pt x="3570" y="2398"/>
                      </a:lnTo>
                      <a:lnTo>
                        <a:pt x="3570" y="2398"/>
                      </a:lnTo>
                      <a:lnTo>
                        <a:pt x="3574" y="2398"/>
                      </a:lnTo>
                      <a:lnTo>
                        <a:pt x="3576" y="2394"/>
                      </a:lnTo>
                      <a:lnTo>
                        <a:pt x="3580" y="2384"/>
                      </a:lnTo>
                      <a:lnTo>
                        <a:pt x="3588" y="2370"/>
                      </a:lnTo>
                      <a:lnTo>
                        <a:pt x="3592" y="2362"/>
                      </a:lnTo>
                      <a:lnTo>
                        <a:pt x="3600" y="2356"/>
                      </a:lnTo>
                      <a:lnTo>
                        <a:pt x="3600" y="2356"/>
                      </a:lnTo>
                      <a:lnTo>
                        <a:pt x="3606" y="2352"/>
                      </a:lnTo>
                      <a:lnTo>
                        <a:pt x="3612" y="2350"/>
                      </a:lnTo>
                      <a:lnTo>
                        <a:pt x="3624" y="2350"/>
                      </a:lnTo>
                      <a:lnTo>
                        <a:pt x="3628" y="2350"/>
                      </a:lnTo>
                      <a:lnTo>
                        <a:pt x="3630" y="2350"/>
                      </a:lnTo>
                      <a:lnTo>
                        <a:pt x="3634" y="2346"/>
                      </a:lnTo>
                      <a:lnTo>
                        <a:pt x="3636" y="2342"/>
                      </a:lnTo>
                      <a:lnTo>
                        <a:pt x="3636" y="2342"/>
                      </a:lnTo>
                      <a:lnTo>
                        <a:pt x="3638" y="2334"/>
                      </a:lnTo>
                      <a:lnTo>
                        <a:pt x="3642" y="2328"/>
                      </a:lnTo>
                      <a:lnTo>
                        <a:pt x="3654" y="2318"/>
                      </a:lnTo>
                      <a:lnTo>
                        <a:pt x="3666" y="2310"/>
                      </a:lnTo>
                      <a:lnTo>
                        <a:pt x="3680" y="2306"/>
                      </a:lnTo>
                      <a:lnTo>
                        <a:pt x="3680" y="2306"/>
                      </a:lnTo>
                      <a:lnTo>
                        <a:pt x="3690" y="2304"/>
                      </a:lnTo>
                      <a:lnTo>
                        <a:pt x="3696" y="2300"/>
                      </a:lnTo>
                      <a:lnTo>
                        <a:pt x="3698" y="2294"/>
                      </a:lnTo>
                      <a:lnTo>
                        <a:pt x="3698" y="2292"/>
                      </a:lnTo>
                      <a:lnTo>
                        <a:pt x="3696" y="2290"/>
                      </a:lnTo>
                      <a:lnTo>
                        <a:pt x="3696" y="2290"/>
                      </a:lnTo>
                      <a:lnTo>
                        <a:pt x="3694" y="2290"/>
                      </a:lnTo>
                      <a:lnTo>
                        <a:pt x="3690" y="2290"/>
                      </a:lnTo>
                      <a:lnTo>
                        <a:pt x="3686" y="2294"/>
                      </a:lnTo>
                      <a:lnTo>
                        <a:pt x="3680" y="2296"/>
                      </a:lnTo>
                      <a:lnTo>
                        <a:pt x="3676" y="2298"/>
                      </a:lnTo>
                      <a:lnTo>
                        <a:pt x="3674" y="2296"/>
                      </a:lnTo>
                      <a:lnTo>
                        <a:pt x="3674" y="2296"/>
                      </a:lnTo>
                      <a:lnTo>
                        <a:pt x="3672" y="2294"/>
                      </a:lnTo>
                      <a:lnTo>
                        <a:pt x="3674" y="2292"/>
                      </a:lnTo>
                      <a:lnTo>
                        <a:pt x="3680" y="2290"/>
                      </a:lnTo>
                      <a:lnTo>
                        <a:pt x="3682" y="2288"/>
                      </a:lnTo>
                      <a:lnTo>
                        <a:pt x="3684" y="2286"/>
                      </a:lnTo>
                      <a:lnTo>
                        <a:pt x="3684" y="2286"/>
                      </a:lnTo>
                      <a:lnTo>
                        <a:pt x="3686" y="2282"/>
                      </a:lnTo>
                      <a:lnTo>
                        <a:pt x="3684" y="2278"/>
                      </a:lnTo>
                      <a:lnTo>
                        <a:pt x="3678" y="2272"/>
                      </a:lnTo>
                      <a:lnTo>
                        <a:pt x="3676" y="2268"/>
                      </a:lnTo>
                      <a:lnTo>
                        <a:pt x="3682" y="2268"/>
                      </a:lnTo>
                      <a:lnTo>
                        <a:pt x="3682" y="2268"/>
                      </a:lnTo>
                      <a:lnTo>
                        <a:pt x="3692" y="2272"/>
                      </a:lnTo>
                      <a:lnTo>
                        <a:pt x="3696" y="2274"/>
                      </a:lnTo>
                      <a:lnTo>
                        <a:pt x="3698" y="2276"/>
                      </a:lnTo>
                      <a:lnTo>
                        <a:pt x="3700" y="2274"/>
                      </a:lnTo>
                      <a:lnTo>
                        <a:pt x="3706" y="2270"/>
                      </a:lnTo>
                      <a:lnTo>
                        <a:pt x="3706" y="2270"/>
                      </a:lnTo>
                      <a:lnTo>
                        <a:pt x="3710" y="2264"/>
                      </a:lnTo>
                      <a:lnTo>
                        <a:pt x="3714" y="2262"/>
                      </a:lnTo>
                      <a:lnTo>
                        <a:pt x="3716" y="2260"/>
                      </a:lnTo>
                      <a:lnTo>
                        <a:pt x="3718" y="2254"/>
                      </a:lnTo>
                      <a:lnTo>
                        <a:pt x="3718" y="2254"/>
                      </a:lnTo>
                      <a:lnTo>
                        <a:pt x="3720" y="2246"/>
                      </a:lnTo>
                      <a:lnTo>
                        <a:pt x="3718" y="2242"/>
                      </a:lnTo>
                      <a:lnTo>
                        <a:pt x="3714" y="2240"/>
                      </a:lnTo>
                      <a:lnTo>
                        <a:pt x="3710" y="2244"/>
                      </a:lnTo>
                      <a:lnTo>
                        <a:pt x="3710" y="2244"/>
                      </a:lnTo>
                      <a:lnTo>
                        <a:pt x="3708" y="2244"/>
                      </a:lnTo>
                      <a:lnTo>
                        <a:pt x="3708" y="2242"/>
                      </a:lnTo>
                      <a:lnTo>
                        <a:pt x="3704" y="2240"/>
                      </a:lnTo>
                      <a:lnTo>
                        <a:pt x="3694" y="2240"/>
                      </a:lnTo>
                      <a:lnTo>
                        <a:pt x="3694" y="2240"/>
                      </a:lnTo>
                      <a:lnTo>
                        <a:pt x="3684" y="2242"/>
                      </a:lnTo>
                      <a:lnTo>
                        <a:pt x="3678" y="2240"/>
                      </a:lnTo>
                      <a:lnTo>
                        <a:pt x="3678" y="2236"/>
                      </a:lnTo>
                      <a:lnTo>
                        <a:pt x="3678" y="2230"/>
                      </a:lnTo>
                      <a:lnTo>
                        <a:pt x="3678" y="2230"/>
                      </a:lnTo>
                      <a:lnTo>
                        <a:pt x="3678" y="2228"/>
                      </a:lnTo>
                      <a:lnTo>
                        <a:pt x="3678" y="2228"/>
                      </a:lnTo>
                      <a:lnTo>
                        <a:pt x="3680" y="2232"/>
                      </a:lnTo>
                      <a:lnTo>
                        <a:pt x="3684" y="2236"/>
                      </a:lnTo>
                      <a:lnTo>
                        <a:pt x="3686" y="2236"/>
                      </a:lnTo>
                      <a:lnTo>
                        <a:pt x="3690" y="2236"/>
                      </a:lnTo>
                      <a:lnTo>
                        <a:pt x="3696" y="2234"/>
                      </a:lnTo>
                      <a:lnTo>
                        <a:pt x="3696" y="2234"/>
                      </a:lnTo>
                      <a:lnTo>
                        <a:pt x="3704" y="2230"/>
                      </a:lnTo>
                      <a:lnTo>
                        <a:pt x="3708" y="2230"/>
                      </a:lnTo>
                      <a:lnTo>
                        <a:pt x="3714" y="2232"/>
                      </a:lnTo>
                      <a:lnTo>
                        <a:pt x="3718" y="2236"/>
                      </a:lnTo>
                      <a:lnTo>
                        <a:pt x="3724" y="2244"/>
                      </a:lnTo>
                      <a:lnTo>
                        <a:pt x="3726" y="2248"/>
                      </a:lnTo>
                      <a:lnTo>
                        <a:pt x="3728" y="2248"/>
                      </a:lnTo>
                      <a:lnTo>
                        <a:pt x="3728" y="2248"/>
                      </a:lnTo>
                      <a:lnTo>
                        <a:pt x="3728" y="2246"/>
                      </a:lnTo>
                      <a:lnTo>
                        <a:pt x="3728" y="2244"/>
                      </a:lnTo>
                      <a:lnTo>
                        <a:pt x="3724" y="2236"/>
                      </a:lnTo>
                      <a:lnTo>
                        <a:pt x="3718" y="2222"/>
                      </a:lnTo>
                      <a:lnTo>
                        <a:pt x="3712" y="2198"/>
                      </a:lnTo>
                      <a:lnTo>
                        <a:pt x="3712" y="2198"/>
                      </a:lnTo>
                      <a:lnTo>
                        <a:pt x="3708" y="2188"/>
                      </a:lnTo>
                      <a:lnTo>
                        <a:pt x="3706" y="2186"/>
                      </a:lnTo>
                      <a:lnTo>
                        <a:pt x="3704" y="2186"/>
                      </a:lnTo>
                      <a:lnTo>
                        <a:pt x="3700" y="2188"/>
                      </a:lnTo>
                      <a:lnTo>
                        <a:pt x="3694" y="2190"/>
                      </a:lnTo>
                      <a:lnTo>
                        <a:pt x="3694" y="2190"/>
                      </a:lnTo>
                      <a:lnTo>
                        <a:pt x="3692" y="2190"/>
                      </a:lnTo>
                      <a:lnTo>
                        <a:pt x="3692" y="2190"/>
                      </a:lnTo>
                      <a:lnTo>
                        <a:pt x="3696" y="2186"/>
                      </a:lnTo>
                      <a:lnTo>
                        <a:pt x="3698" y="2180"/>
                      </a:lnTo>
                      <a:lnTo>
                        <a:pt x="3698" y="2176"/>
                      </a:lnTo>
                      <a:lnTo>
                        <a:pt x="3694" y="2174"/>
                      </a:lnTo>
                      <a:lnTo>
                        <a:pt x="3694" y="2174"/>
                      </a:lnTo>
                      <a:lnTo>
                        <a:pt x="3690" y="2170"/>
                      </a:lnTo>
                      <a:lnTo>
                        <a:pt x="3692" y="2170"/>
                      </a:lnTo>
                      <a:lnTo>
                        <a:pt x="3696" y="2168"/>
                      </a:lnTo>
                      <a:lnTo>
                        <a:pt x="3698" y="2166"/>
                      </a:lnTo>
                      <a:lnTo>
                        <a:pt x="3698" y="2162"/>
                      </a:lnTo>
                      <a:lnTo>
                        <a:pt x="3698" y="2156"/>
                      </a:lnTo>
                      <a:lnTo>
                        <a:pt x="3698" y="2156"/>
                      </a:lnTo>
                      <a:lnTo>
                        <a:pt x="3696" y="2144"/>
                      </a:lnTo>
                      <a:lnTo>
                        <a:pt x="3696" y="2140"/>
                      </a:lnTo>
                      <a:lnTo>
                        <a:pt x="3696" y="2136"/>
                      </a:lnTo>
                      <a:lnTo>
                        <a:pt x="3690" y="2130"/>
                      </a:lnTo>
                      <a:lnTo>
                        <a:pt x="3690" y="2130"/>
                      </a:lnTo>
                      <a:lnTo>
                        <a:pt x="3678" y="2118"/>
                      </a:lnTo>
                      <a:lnTo>
                        <a:pt x="3678" y="2118"/>
                      </a:lnTo>
                      <a:lnTo>
                        <a:pt x="3678" y="2118"/>
                      </a:lnTo>
                      <a:lnTo>
                        <a:pt x="3686" y="2122"/>
                      </a:lnTo>
                      <a:lnTo>
                        <a:pt x="3686" y="2122"/>
                      </a:lnTo>
                      <a:lnTo>
                        <a:pt x="3694" y="2126"/>
                      </a:lnTo>
                      <a:lnTo>
                        <a:pt x="3696" y="2124"/>
                      </a:lnTo>
                      <a:lnTo>
                        <a:pt x="3696" y="2124"/>
                      </a:lnTo>
                      <a:lnTo>
                        <a:pt x="3692" y="2108"/>
                      </a:lnTo>
                      <a:lnTo>
                        <a:pt x="3692" y="2108"/>
                      </a:lnTo>
                      <a:lnTo>
                        <a:pt x="3688" y="2092"/>
                      </a:lnTo>
                      <a:lnTo>
                        <a:pt x="3690" y="2076"/>
                      </a:lnTo>
                      <a:lnTo>
                        <a:pt x="3690" y="2076"/>
                      </a:lnTo>
                      <a:lnTo>
                        <a:pt x="3692" y="2064"/>
                      </a:lnTo>
                      <a:lnTo>
                        <a:pt x="3696" y="2058"/>
                      </a:lnTo>
                      <a:lnTo>
                        <a:pt x="3702" y="2054"/>
                      </a:lnTo>
                      <a:lnTo>
                        <a:pt x="3702" y="2054"/>
                      </a:lnTo>
                      <a:lnTo>
                        <a:pt x="3704" y="2050"/>
                      </a:lnTo>
                      <a:lnTo>
                        <a:pt x="3704" y="2052"/>
                      </a:lnTo>
                      <a:lnTo>
                        <a:pt x="3700" y="2058"/>
                      </a:lnTo>
                      <a:lnTo>
                        <a:pt x="3698" y="2064"/>
                      </a:lnTo>
                      <a:lnTo>
                        <a:pt x="3698" y="2064"/>
                      </a:lnTo>
                      <a:lnTo>
                        <a:pt x="3694" y="2076"/>
                      </a:lnTo>
                      <a:lnTo>
                        <a:pt x="3694" y="2082"/>
                      </a:lnTo>
                      <a:lnTo>
                        <a:pt x="3696" y="2086"/>
                      </a:lnTo>
                      <a:lnTo>
                        <a:pt x="3696" y="2086"/>
                      </a:lnTo>
                      <a:lnTo>
                        <a:pt x="3696" y="2088"/>
                      </a:lnTo>
                      <a:lnTo>
                        <a:pt x="3696" y="2090"/>
                      </a:lnTo>
                      <a:lnTo>
                        <a:pt x="3694" y="2094"/>
                      </a:lnTo>
                      <a:lnTo>
                        <a:pt x="3696" y="2098"/>
                      </a:lnTo>
                      <a:lnTo>
                        <a:pt x="3696" y="2098"/>
                      </a:lnTo>
                      <a:lnTo>
                        <a:pt x="3698" y="2104"/>
                      </a:lnTo>
                      <a:lnTo>
                        <a:pt x="3696" y="2106"/>
                      </a:lnTo>
                      <a:lnTo>
                        <a:pt x="3696" y="2110"/>
                      </a:lnTo>
                      <a:lnTo>
                        <a:pt x="3700" y="2114"/>
                      </a:lnTo>
                      <a:lnTo>
                        <a:pt x="3700" y="2114"/>
                      </a:lnTo>
                      <a:lnTo>
                        <a:pt x="3706" y="2116"/>
                      </a:lnTo>
                      <a:lnTo>
                        <a:pt x="3708" y="2116"/>
                      </a:lnTo>
                      <a:lnTo>
                        <a:pt x="3710" y="2116"/>
                      </a:lnTo>
                      <a:lnTo>
                        <a:pt x="3712" y="2120"/>
                      </a:lnTo>
                      <a:lnTo>
                        <a:pt x="3712" y="2120"/>
                      </a:lnTo>
                      <a:lnTo>
                        <a:pt x="3712" y="2126"/>
                      </a:lnTo>
                      <a:lnTo>
                        <a:pt x="3712" y="2130"/>
                      </a:lnTo>
                      <a:lnTo>
                        <a:pt x="3712" y="2134"/>
                      </a:lnTo>
                      <a:lnTo>
                        <a:pt x="3716" y="2136"/>
                      </a:lnTo>
                      <a:lnTo>
                        <a:pt x="3716" y="2136"/>
                      </a:lnTo>
                      <a:lnTo>
                        <a:pt x="3718" y="2138"/>
                      </a:lnTo>
                      <a:lnTo>
                        <a:pt x="3716" y="2142"/>
                      </a:lnTo>
                      <a:lnTo>
                        <a:pt x="3710" y="2154"/>
                      </a:lnTo>
                      <a:lnTo>
                        <a:pt x="3706" y="2166"/>
                      </a:lnTo>
                      <a:lnTo>
                        <a:pt x="3706" y="2172"/>
                      </a:lnTo>
                      <a:lnTo>
                        <a:pt x="3710" y="2176"/>
                      </a:lnTo>
                      <a:lnTo>
                        <a:pt x="3710" y="2176"/>
                      </a:lnTo>
                      <a:lnTo>
                        <a:pt x="3712" y="2176"/>
                      </a:lnTo>
                      <a:lnTo>
                        <a:pt x="3714" y="2172"/>
                      </a:lnTo>
                      <a:lnTo>
                        <a:pt x="3720" y="2158"/>
                      </a:lnTo>
                      <a:lnTo>
                        <a:pt x="3728" y="2138"/>
                      </a:lnTo>
                      <a:lnTo>
                        <a:pt x="3738" y="2122"/>
                      </a:lnTo>
                      <a:lnTo>
                        <a:pt x="3738" y="2122"/>
                      </a:lnTo>
                      <a:lnTo>
                        <a:pt x="3744" y="2114"/>
                      </a:lnTo>
                      <a:lnTo>
                        <a:pt x="3746" y="2108"/>
                      </a:lnTo>
                      <a:lnTo>
                        <a:pt x="3748" y="2102"/>
                      </a:lnTo>
                      <a:lnTo>
                        <a:pt x="3748" y="2096"/>
                      </a:lnTo>
                      <a:lnTo>
                        <a:pt x="3748" y="2092"/>
                      </a:lnTo>
                      <a:lnTo>
                        <a:pt x="3746" y="2088"/>
                      </a:lnTo>
                      <a:lnTo>
                        <a:pt x="3744" y="2086"/>
                      </a:lnTo>
                      <a:lnTo>
                        <a:pt x="3740" y="2086"/>
                      </a:lnTo>
                      <a:lnTo>
                        <a:pt x="3740" y="2086"/>
                      </a:lnTo>
                      <a:lnTo>
                        <a:pt x="3738" y="2084"/>
                      </a:lnTo>
                      <a:lnTo>
                        <a:pt x="3736" y="2082"/>
                      </a:lnTo>
                      <a:lnTo>
                        <a:pt x="3732" y="2074"/>
                      </a:lnTo>
                      <a:lnTo>
                        <a:pt x="3726" y="2054"/>
                      </a:lnTo>
                      <a:lnTo>
                        <a:pt x="3726" y="2054"/>
                      </a:lnTo>
                      <a:lnTo>
                        <a:pt x="3724" y="2044"/>
                      </a:lnTo>
                      <a:lnTo>
                        <a:pt x="3726" y="2036"/>
                      </a:lnTo>
                      <a:lnTo>
                        <a:pt x="3730" y="2030"/>
                      </a:lnTo>
                      <a:lnTo>
                        <a:pt x="3738" y="2024"/>
                      </a:lnTo>
                      <a:lnTo>
                        <a:pt x="3738" y="2024"/>
                      </a:lnTo>
                      <a:lnTo>
                        <a:pt x="3742" y="2024"/>
                      </a:lnTo>
                      <a:lnTo>
                        <a:pt x="3736" y="2030"/>
                      </a:lnTo>
                      <a:lnTo>
                        <a:pt x="3732" y="2034"/>
                      </a:lnTo>
                      <a:lnTo>
                        <a:pt x="3730" y="2040"/>
                      </a:lnTo>
                      <a:lnTo>
                        <a:pt x="3730" y="2046"/>
                      </a:lnTo>
                      <a:lnTo>
                        <a:pt x="3732" y="2054"/>
                      </a:lnTo>
                      <a:lnTo>
                        <a:pt x="3732" y="2054"/>
                      </a:lnTo>
                      <a:lnTo>
                        <a:pt x="3738" y="2060"/>
                      </a:lnTo>
                      <a:lnTo>
                        <a:pt x="3742" y="2062"/>
                      </a:lnTo>
                      <a:lnTo>
                        <a:pt x="3748" y="2064"/>
                      </a:lnTo>
                      <a:lnTo>
                        <a:pt x="3750" y="2066"/>
                      </a:lnTo>
                      <a:lnTo>
                        <a:pt x="3750" y="2072"/>
                      </a:lnTo>
                      <a:lnTo>
                        <a:pt x="3750" y="2072"/>
                      </a:lnTo>
                      <a:lnTo>
                        <a:pt x="3750" y="2078"/>
                      </a:lnTo>
                      <a:lnTo>
                        <a:pt x="3752" y="2078"/>
                      </a:lnTo>
                      <a:lnTo>
                        <a:pt x="3754" y="2078"/>
                      </a:lnTo>
                      <a:lnTo>
                        <a:pt x="3758" y="2074"/>
                      </a:lnTo>
                      <a:lnTo>
                        <a:pt x="3766" y="2062"/>
                      </a:lnTo>
                      <a:lnTo>
                        <a:pt x="3774" y="2048"/>
                      </a:lnTo>
                      <a:lnTo>
                        <a:pt x="3774" y="2048"/>
                      </a:lnTo>
                      <a:lnTo>
                        <a:pt x="3784" y="2030"/>
                      </a:lnTo>
                      <a:lnTo>
                        <a:pt x="3790" y="2014"/>
                      </a:lnTo>
                      <a:lnTo>
                        <a:pt x="3790" y="2008"/>
                      </a:lnTo>
                      <a:lnTo>
                        <a:pt x="3790" y="2002"/>
                      </a:lnTo>
                      <a:lnTo>
                        <a:pt x="3790" y="2000"/>
                      </a:lnTo>
                      <a:lnTo>
                        <a:pt x="3786" y="1998"/>
                      </a:lnTo>
                      <a:lnTo>
                        <a:pt x="3786" y="1998"/>
                      </a:lnTo>
                      <a:lnTo>
                        <a:pt x="3778" y="1996"/>
                      </a:lnTo>
                      <a:lnTo>
                        <a:pt x="3776" y="1996"/>
                      </a:lnTo>
                      <a:lnTo>
                        <a:pt x="3776" y="1994"/>
                      </a:lnTo>
                      <a:lnTo>
                        <a:pt x="3778" y="1988"/>
                      </a:lnTo>
                      <a:lnTo>
                        <a:pt x="3784" y="1980"/>
                      </a:lnTo>
                      <a:lnTo>
                        <a:pt x="3784" y="1980"/>
                      </a:lnTo>
                      <a:lnTo>
                        <a:pt x="3796" y="1972"/>
                      </a:lnTo>
                      <a:lnTo>
                        <a:pt x="3808" y="1962"/>
                      </a:lnTo>
                      <a:lnTo>
                        <a:pt x="3824" y="1956"/>
                      </a:lnTo>
                      <a:lnTo>
                        <a:pt x="3838" y="1950"/>
                      </a:lnTo>
                      <a:lnTo>
                        <a:pt x="3838" y="1950"/>
                      </a:lnTo>
                      <a:lnTo>
                        <a:pt x="3854" y="1948"/>
                      </a:lnTo>
                      <a:lnTo>
                        <a:pt x="3870" y="1946"/>
                      </a:lnTo>
                      <a:lnTo>
                        <a:pt x="3886" y="1944"/>
                      </a:lnTo>
                      <a:lnTo>
                        <a:pt x="3890" y="1944"/>
                      </a:lnTo>
                      <a:lnTo>
                        <a:pt x="3892" y="1940"/>
                      </a:lnTo>
                      <a:lnTo>
                        <a:pt x="3892" y="1940"/>
                      </a:lnTo>
                      <a:lnTo>
                        <a:pt x="3894" y="1926"/>
                      </a:lnTo>
                      <a:lnTo>
                        <a:pt x="3896" y="1924"/>
                      </a:lnTo>
                      <a:lnTo>
                        <a:pt x="3898" y="1928"/>
                      </a:lnTo>
                      <a:lnTo>
                        <a:pt x="3898" y="1928"/>
                      </a:lnTo>
                      <a:lnTo>
                        <a:pt x="3900" y="1936"/>
                      </a:lnTo>
                      <a:lnTo>
                        <a:pt x="3904" y="1940"/>
                      </a:lnTo>
                      <a:lnTo>
                        <a:pt x="3906" y="1940"/>
                      </a:lnTo>
                      <a:lnTo>
                        <a:pt x="3908" y="1940"/>
                      </a:lnTo>
                      <a:lnTo>
                        <a:pt x="3914" y="1932"/>
                      </a:lnTo>
                      <a:lnTo>
                        <a:pt x="3914" y="1932"/>
                      </a:lnTo>
                      <a:lnTo>
                        <a:pt x="3920" y="1928"/>
                      </a:lnTo>
                      <a:lnTo>
                        <a:pt x="3922" y="1926"/>
                      </a:lnTo>
                      <a:lnTo>
                        <a:pt x="3924" y="1928"/>
                      </a:lnTo>
                      <a:lnTo>
                        <a:pt x="3924" y="1930"/>
                      </a:lnTo>
                      <a:lnTo>
                        <a:pt x="3924" y="1936"/>
                      </a:lnTo>
                      <a:lnTo>
                        <a:pt x="3926" y="1936"/>
                      </a:lnTo>
                      <a:lnTo>
                        <a:pt x="3928" y="1934"/>
                      </a:lnTo>
                      <a:lnTo>
                        <a:pt x="3928" y="1934"/>
                      </a:lnTo>
                      <a:lnTo>
                        <a:pt x="3932" y="1932"/>
                      </a:lnTo>
                      <a:lnTo>
                        <a:pt x="3936" y="1930"/>
                      </a:lnTo>
                      <a:lnTo>
                        <a:pt x="3946" y="1930"/>
                      </a:lnTo>
                      <a:lnTo>
                        <a:pt x="3952" y="1928"/>
                      </a:lnTo>
                      <a:lnTo>
                        <a:pt x="3952" y="1924"/>
                      </a:lnTo>
                      <a:lnTo>
                        <a:pt x="3952" y="1920"/>
                      </a:lnTo>
                      <a:lnTo>
                        <a:pt x="3952" y="1920"/>
                      </a:lnTo>
                      <a:lnTo>
                        <a:pt x="3948" y="1906"/>
                      </a:lnTo>
                      <a:lnTo>
                        <a:pt x="3946" y="1904"/>
                      </a:lnTo>
                      <a:lnTo>
                        <a:pt x="3942" y="1904"/>
                      </a:lnTo>
                      <a:lnTo>
                        <a:pt x="3942" y="1904"/>
                      </a:lnTo>
                      <a:lnTo>
                        <a:pt x="3940" y="1904"/>
                      </a:lnTo>
                      <a:lnTo>
                        <a:pt x="3942" y="1906"/>
                      </a:lnTo>
                      <a:lnTo>
                        <a:pt x="3946" y="1908"/>
                      </a:lnTo>
                      <a:lnTo>
                        <a:pt x="3948" y="1914"/>
                      </a:lnTo>
                      <a:lnTo>
                        <a:pt x="3948" y="1914"/>
                      </a:lnTo>
                      <a:lnTo>
                        <a:pt x="3944" y="1920"/>
                      </a:lnTo>
                      <a:lnTo>
                        <a:pt x="3940" y="1924"/>
                      </a:lnTo>
                      <a:lnTo>
                        <a:pt x="3936" y="1926"/>
                      </a:lnTo>
                      <a:lnTo>
                        <a:pt x="3932" y="1926"/>
                      </a:lnTo>
                      <a:lnTo>
                        <a:pt x="3930" y="1922"/>
                      </a:lnTo>
                      <a:lnTo>
                        <a:pt x="3928" y="1918"/>
                      </a:lnTo>
                      <a:lnTo>
                        <a:pt x="3928" y="1918"/>
                      </a:lnTo>
                      <a:lnTo>
                        <a:pt x="3924" y="1908"/>
                      </a:lnTo>
                      <a:lnTo>
                        <a:pt x="3924" y="1902"/>
                      </a:lnTo>
                      <a:lnTo>
                        <a:pt x="3920" y="1896"/>
                      </a:lnTo>
                      <a:lnTo>
                        <a:pt x="3912" y="1894"/>
                      </a:lnTo>
                      <a:lnTo>
                        <a:pt x="3912" y="1894"/>
                      </a:lnTo>
                      <a:lnTo>
                        <a:pt x="3910" y="1894"/>
                      </a:lnTo>
                      <a:lnTo>
                        <a:pt x="3910" y="1892"/>
                      </a:lnTo>
                      <a:lnTo>
                        <a:pt x="3918" y="1884"/>
                      </a:lnTo>
                      <a:lnTo>
                        <a:pt x="3926" y="1876"/>
                      </a:lnTo>
                      <a:lnTo>
                        <a:pt x="3926" y="1874"/>
                      </a:lnTo>
                      <a:lnTo>
                        <a:pt x="3924" y="1872"/>
                      </a:lnTo>
                      <a:lnTo>
                        <a:pt x="3924" y="1872"/>
                      </a:lnTo>
                      <a:lnTo>
                        <a:pt x="3922" y="1868"/>
                      </a:lnTo>
                      <a:lnTo>
                        <a:pt x="3920" y="1864"/>
                      </a:lnTo>
                      <a:lnTo>
                        <a:pt x="3922" y="1850"/>
                      </a:lnTo>
                      <a:lnTo>
                        <a:pt x="3928" y="1836"/>
                      </a:lnTo>
                      <a:lnTo>
                        <a:pt x="3936" y="1826"/>
                      </a:lnTo>
                      <a:lnTo>
                        <a:pt x="3936" y="1826"/>
                      </a:lnTo>
                      <a:lnTo>
                        <a:pt x="3940" y="1820"/>
                      </a:lnTo>
                      <a:lnTo>
                        <a:pt x="3940" y="1816"/>
                      </a:lnTo>
                      <a:lnTo>
                        <a:pt x="3940" y="1814"/>
                      </a:lnTo>
                      <a:lnTo>
                        <a:pt x="3942" y="1810"/>
                      </a:lnTo>
                      <a:lnTo>
                        <a:pt x="3942" y="1810"/>
                      </a:lnTo>
                      <a:lnTo>
                        <a:pt x="3944" y="1808"/>
                      </a:lnTo>
                      <a:lnTo>
                        <a:pt x="3946" y="1808"/>
                      </a:lnTo>
                      <a:lnTo>
                        <a:pt x="3948" y="1812"/>
                      </a:lnTo>
                      <a:lnTo>
                        <a:pt x="3952" y="1814"/>
                      </a:lnTo>
                      <a:lnTo>
                        <a:pt x="3954" y="1814"/>
                      </a:lnTo>
                      <a:lnTo>
                        <a:pt x="3958" y="1812"/>
                      </a:lnTo>
                      <a:lnTo>
                        <a:pt x="3958" y="1812"/>
                      </a:lnTo>
                      <a:lnTo>
                        <a:pt x="3966" y="1806"/>
                      </a:lnTo>
                      <a:lnTo>
                        <a:pt x="3970" y="1802"/>
                      </a:lnTo>
                      <a:lnTo>
                        <a:pt x="3974" y="1800"/>
                      </a:lnTo>
                      <a:lnTo>
                        <a:pt x="3976" y="1800"/>
                      </a:lnTo>
                      <a:lnTo>
                        <a:pt x="3976" y="1800"/>
                      </a:lnTo>
                      <a:lnTo>
                        <a:pt x="3982" y="1798"/>
                      </a:lnTo>
                      <a:lnTo>
                        <a:pt x="3984" y="1796"/>
                      </a:lnTo>
                      <a:lnTo>
                        <a:pt x="3988" y="1786"/>
                      </a:lnTo>
                      <a:lnTo>
                        <a:pt x="3992" y="1778"/>
                      </a:lnTo>
                      <a:lnTo>
                        <a:pt x="3996" y="1776"/>
                      </a:lnTo>
                      <a:lnTo>
                        <a:pt x="4000" y="1778"/>
                      </a:lnTo>
                      <a:lnTo>
                        <a:pt x="4000" y="1778"/>
                      </a:lnTo>
                      <a:lnTo>
                        <a:pt x="4006" y="1782"/>
                      </a:lnTo>
                      <a:lnTo>
                        <a:pt x="4008" y="1780"/>
                      </a:lnTo>
                      <a:lnTo>
                        <a:pt x="4010" y="1780"/>
                      </a:lnTo>
                      <a:lnTo>
                        <a:pt x="4012" y="1776"/>
                      </a:lnTo>
                      <a:lnTo>
                        <a:pt x="4016" y="1772"/>
                      </a:lnTo>
                      <a:lnTo>
                        <a:pt x="4016" y="1772"/>
                      </a:lnTo>
                      <a:lnTo>
                        <a:pt x="4022" y="1772"/>
                      </a:lnTo>
                      <a:lnTo>
                        <a:pt x="4024" y="1774"/>
                      </a:lnTo>
                      <a:lnTo>
                        <a:pt x="4028" y="1776"/>
                      </a:lnTo>
                      <a:lnTo>
                        <a:pt x="4036" y="1772"/>
                      </a:lnTo>
                      <a:lnTo>
                        <a:pt x="4036" y="1772"/>
                      </a:lnTo>
                      <a:lnTo>
                        <a:pt x="4044" y="1766"/>
                      </a:lnTo>
                      <a:lnTo>
                        <a:pt x="4052" y="1764"/>
                      </a:lnTo>
                      <a:lnTo>
                        <a:pt x="4060" y="1762"/>
                      </a:lnTo>
                      <a:lnTo>
                        <a:pt x="4066" y="1756"/>
                      </a:lnTo>
                      <a:lnTo>
                        <a:pt x="4066" y="1756"/>
                      </a:lnTo>
                      <a:lnTo>
                        <a:pt x="4070" y="1752"/>
                      </a:lnTo>
                      <a:lnTo>
                        <a:pt x="4070" y="1748"/>
                      </a:lnTo>
                      <a:lnTo>
                        <a:pt x="4068" y="1746"/>
                      </a:lnTo>
                      <a:lnTo>
                        <a:pt x="4066" y="1742"/>
                      </a:lnTo>
                      <a:lnTo>
                        <a:pt x="4066" y="1742"/>
                      </a:lnTo>
                      <a:lnTo>
                        <a:pt x="4064" y="1736"/>
                      </a:lnTo>
                      <a:lnTo>
                        <a:pt x="4062" y="1734"/>
                      </a:lnTo>
                      <a:lnTo>
                        <a:pt x="4054" y="1730"/>
                      </a:lnTo>
                      <a:lnTo>
                        <a:pt x="4054" y="1730"/>
                      </a:lnTo>
                      <a:lnTo>
                        <a:pt x="4052" y="1726"/>
                      </a:lnTo>
                      <a:lnTo>
                        <a:pt x="4050" y="1718"/>
                      </a:lnTo>
                      <a:lnTo>
                        <a:pt x="4050" y="1704"/>
                      </a:lnTo>
                      <a:lnTo>
                        <a:pt x="4050" y="1704"/>
                      </a:lnTo>
                      <a:lnTo>
                        <a:pt x="4052" y="1706"/>
                      </a:lnTo>
                      <a:lnTo>
                        <a:pt x="4054" y="1708"/>
                      </a:lnTo>
                      <a:lnTo>
                        <a:pt x="4054" y="1716"/>
                      </a:lnTo>
                      <a:lnTo>
                        <a:pt x="4054" y="1716"/>
                      </a:lnTo>
                      <a:lnTo>
                        <a:pt x="4054" y="1720"/>
                      </a:lnTo>
                      <a:lnTo>
                        <a:pt x="4056" y="1724"/>
                      </a:lnTo>
                      <a:lnTo>
                        <a:pt x="4060" y="1728"/>
                      </a:lnTo>
                      <a:lnTo>
                        <a:pt x="4066" y="1730"/>
                      </a:lnTo>
                      <a:lnTo>
                        <a:pt x="4066" y="1730"/>
                      </a:lnTo>
                      <a:lnTo>
                        <a:pt x="4078" y="1734"/>
                      </a:lnTo>
                      <a:lnTo>
                        <a:pt x="4088" y="1734"/>
                      </a:lnTo>
                      <a:lnTo>
                        <a:pt x="4096" y="1734"/>
                      </a:lnTo>
                      <a:lnTo>
                        <a:pt x="4106" y="1732"/>
                      </a:lnTo>
                      <a:lnTo>
                        <a:pt x="4122" y="1724"/>
                      </a:lnTo>
                      <a:lnTo>
                        <a:pt x="4144" y="1714"/>
                      </a:lnTo>
                      <a:lnTo>
                        <a:pt x="4144" y="1714"/>
                      </a:lnTo>
                      <a:lnTo>
                        <a:pt x="4152" y="1708"/>
                      </a:lnTo>
                      <a:lnTo>
                        <a:pt x="4156" y="1708"/>
                      </a:lnTo>
                      <a:lnTo>
                        <a:pt x="4156" y="1708"/>
                      </a:lnTo>
                      <a:lnTo>
                        <a:pt x="4158" y="1712"/>
                      </a:lnTo>
                      <a:lnTo>
                        <a:pt x="4160" y="1714"/>
                      </a:lnTo>
                      <a:lnTo>
                        <a:pt x="4164" y="1718"/>
                      </a:lnTo>
                      <a:lnTo>
                        <a:pt x="4172" y="1718"/>
                      </a:lnTo>
                      <a:lnTo>
                        <a:pt x="4188" y="1716"/>
                      </a:lnTo>
                      <a:lnTo>
                        <a:pt x="4188" y="1716"/>
                      </a:lnTo>
                      <a:lnTo>
                        <a:pt x="4202" y="1716"/>
                      </a:lnTo>
                      <a:lnTo>
                        <a:pt x="4194" y="1720"/>
                      </a:lnTo>
                      <a:lnTo>
                        <a:pt x="4172" y="1728"/>
                      </a:lnTo>
                      <a:lnTo>
                        <a:pt x="4148" y="1740"/>
                      </a:lnTo>
                      <a:lnTo>
                        <a:pt x="4148" y="1740"/>
                      </a:lnTo>
                      <a:lnTo>
                        <a:pt x="4136" y="1746"/>
                      </a:lnTo>
                      <a:lnTo>
                        <a:pt x="4126" y="1754"/>
                      </a:lnTo>
                      <a:lnTo>
                        <a:pt x="4118" y="1762"/>
                      </a:lnTo>
                      <a:lnTo>
                        <a:pt x="4110" y="1770"/>
                      </a:lnTo>
                      <a:lnTo>
                        <a:pt x="4106" y="1780"/>
                      </a:lnTo>
                      <a:lnTo>
                        <a:pt x="4104" y="1790"/>
                      </a:lnTo>
                      <a:lnTo>
                        <a:pt x="4106" y="1802"/>
                      </a:lnTo>
                      <a:lnTo>
                        <a:pt x="4110" y="1812"/>
                      </a:lnTo>
                      <a:lnTo>
                        <a:pt x="4110" y="1812"/>
                      </a:lnTo>
                      <a:lnTo>
                        <a:pt x="4116" y="1822"/>
                      </a:lnTo>
                      <a:lnTo>
                        <a:pt x="4124" y="1826"/>
                      </a:lnTo>
                      <a:lnTo>
                        <a:pt x="4130" y="1828"/>
                      </a:lnTo>
                      <a:lnTo>
                        <a:pt x="4138" y="1824"/>
                      </a:lnTo>
                      <a:lnTo>
                        <a:pt x="4146" y="1818"/>
                      </a:lnTo>
                      <a:lnTo>
                        <a:pt x="4154" y="1810"/>
                      </a:lnTo>
                      <a:lnTo>
                        <a:pt x="4174" y="1786"/>
                      </a:lnTo>
                      <a:lnTo>
                        <a:pt x="4174" y="1786"/>
                      </a:lnTo>
                      <a:lnTo>
                        <a:pt x="4182" y="1776"/>
                      </a:lnTo>
                      <a:lnTo>
                        <a:pt x="4190" y="1770"/>
                      </a:lnTo>
                      <a:lnTo>
                        <a:pt x="4196" y="1768"/>
                      </a:lnTo>
                      <a:lnTo>
                        <a:pt x="4202" y="1768"/>
                      </a:lnTo>
                      <a:lnTo>
                        <a:pt x="4208" y="1768"/>
                      </a:lnTo>
                      <a:lnTo>
                        <a:pt x="4216" y="1766"/>
                      </a:lnTo>
                      <a:lnTo>
                        <a:pt x="4224" y="1764"/>
                      </a:lnTo>
                      <a:lnTo>
                        <a:pt x="4238" y="1756"/>
                      </a:lnTo>
                      <a:lnTo>
                        <a:pt x="4238" y="1756"/>
                      </a:lnTo>
                      <a:lnTo>
                        <a:pt x="4252" y="1748"/>
                      </a:lnTo>
                      <a:lnTo>
                        <a:pt x="4266" y="1742"/>
                      </a:lnTo>
                      <a:lnTo>
                        <a:pt x="4290" y="1734"/>
                      </a:lnTo>
                      <a:lnTo>
                        <a:pt x="4300" y="1730"/>
                      </a:lnTo>
                      <a:lnTo>
                        <a:pt x="4306" y="1728"/>
                      </a:lnTo>
                      <a:lnTo>
                        <a:pt x="4308" y="1724"/>
                      </a:lnTo>
                      <a:lnTo>
                        <a:pt x="4304" y="1720"/>
                      </a:lnTo>
                      <a:lnTo>
                        <a:pt x="4304" y="1720"/>
                      </a:lnTo>
                      <a:lnTo>
                        <a:pt x="4284" y="1700"/>
                      </a:lnTo>
                      <a:lnTo>
                        <a:pt x="4280" y="1698"/>
                      </a:lnTo>
                      <a:lnTo>
                        <a:pt x="4276" y="1696"/>
                      </a:lnTo>
                      <a:lnTo>
                        <a:pt x="4270" y="1696"/>
                      </a:lnTo>
                      <a:lnTo>
                        <a:pt x="4264" y="1698"/>
                      </a:lnTo>
                      <a:lnTo>
                        <a:pt x="4264" y="1698"/>
                      </a:lnTo>
                      <a:lnTo>
                        <a:pt x="4258" y="1700"/>
                      </a:lnTo>
                      <a:lnTo>
                        <a:pt x="4246" y="1700"/>
                      </a:lnTo>
                      <a:lnTo>
                        <a:pt x="4236" y="1700"/>
                      </a:lnTo>
                      <a:lnTo>
                        <a:pt x="4224" y="1696"/>
                      </a:lnTo>
                      <a:lnTo>
                        <a:pt x="4212" y="1694"/>
                      </a:lnTo>
                      <a:lnTo>
                        <a:pt x="4204" y="1690"/>
                      </a:lnTo>
                      <a:lnTo>
                        <a:pt x="4198" y="1684"/>
                      </a:lnTo>
                      <a:lnTo>
                        <a:pt x="4196" y="1682"/>
                      </a:lnTo>
                      <a:lnTo>
                        <a:pt x="4196" y="1680"/>
                      </a:lnTo>
                      <a:lnTo>
                        <a:pt x="4196" y="1680"/>
                      </a:lnTo>
                      <a:lnTo>
                        <a:pt x="4196" y="1676"/>
                      </a:lnTo>
                      <a:lnTo>
                        <a:pt x="4194" y="1674"/>
                      </a:lnTo>
                      <a:lnTo>
                        <a:pt x="4186" y="1672"/>
                      </a:lnTo>
                      <a:lnTo>
                        <a:pt x="4178" y="1668"/>
                      </a:lnTo>
                      <a:lnTo>
                        <a:pt x="4172" y="1664"/>
                      </a:lnTo>
                      <a:lnTo>
                        <a:pt x="4166" y="1654"/>
                      </a:lnTo>
                      <a:lnTo>
                        <a:pt x="4160" y="1640"/>
                      </a:lnTo>
                      <a:lnTo>
                        <a:pt x="4160" y="1640"/>
                      </a:lnTo>
                      <a:lnTo>
                        <a:pt x="4156" y="1624"/>
                      </a:lnTo>
                      <a:lnTo>
                        <a:pt x="4156" y="1610"/>
                      </a:lnTo>
                      <a:lnTo>
                        <a:pt x="4158" y="1598"/>
                      </a:lnTo>
                      <a:lnTo>
                        <a:pt x="4160" y="1588"/>
                      </a:lnTo>
                      <a:lnTo>
                        <a:pt x="4162" y="1580"/>
                      </a:lnTo>
                      <a:lnTo>
                        <a:pt x="4162" y="1576"/>
                      </a:lnTo>
                      <a:lnTo>
                        <a:pt x="4158" y="1574"/>
                      </a:lnTo>
                      <a:lnTo>
                        <a:pt x="4148" y="1576"/>
                      </a:lnTo>
                      <a:lnTo>
                        <a:pt x="4148" y="1576"/>
                      </a:lnTo>
                      <a:lnTo>
                        <a:pt x="4134" y="1578"/>
                      </a:lnTo>
                      <a:lnTo>
                        <a:pt x="4126" y="1580"/>
                      </a:lnTo>
                      <a:lnTo>
                        <a:pt x="4124" y="1578"/>
                      </a:lnTo>
                      <a:lnTo>
                        <a:pt x="4126" y="1574"/>
                      </a:lnTo>
                      <a:lnTo>
                        <a:pt x="4140" y="1564"/>
                      </a:lnTo>
                      <a:lnTo>
                        <a:pt x="4164" y="1550"/>
                      </a:lnTo>
                      <a:lnTo>
                        <a:pt x="4164" y="1550"/>
                      </a:lnTo>
                      <a:lnTo>
                        <a:pt x="4178" y="1538"/>
                      </a:lnTo>
                      <a:lnTo>
                        <a:pt x="4182" y="1532"/>
                      </a:lnTo>
                      <a:lnTo>
                        <a:pt x="4184" y="1528"/>
                      </a:lnTo>
                      <a:lnTo>
                        <a:pt x="4184" y="1522"/>
                      </a:lnTo>
                      <a:lnTo>
                        <a:pt x="4180" y="1516"/>
                      </a:lnTo>
                      <a:lnTo>
                        <a:pt x="4174" y="1508"/>
                      </a:lnTo>
                      <a:lnTo>
                        <a:pt x="4166" y="1502"/>
                      </a:lnTo>
                      <a:lnTo>
                        <a:pt x="4166" y="1502"/>
                      </a:lnTo>
                      <a:lnTo>
                        <a:pt x="4160" y="1498"/>
                      </a:lnTo>
                      <a:lnTo>
                        <a:pt x="4150" y="1496"/>
                      </a:lnTo>
                      <a:lnTo>
                        <a:pt x="4140" y="1496"/>
                      </a:lnTo>
                      <a:lnTo>
                        <a:pt x="4130" y="1496"/>
                      </a:lnTo>
                      <a:lnTo>
                        <a:pt x="4102" y="1500"/>
                      </a:lnTo>
                      <a:lnTo>
                        <a:pt x="4074" y="1508"/>
                      </a:lnTo>
                      <a:lnTo>
                        <a:pt x="4044" y="1518"/>
                      </a:lnTo>
                      <a:lnTo>
                        <a:pt x="4018" y="1532"/>
                      </a:lnTo>
                      <a:lnTo>
                        <a:pt x="3996" y="1546"/>
                      </a:lnTo>
                      <a:lnTo>
                        <a:pt x="3988" y="1554"/>
                      </a:lnTo>
                      <a:lnTo>
                        <a:pt x="3982" y="1560"/>
                      </a:lnTo>
                      <a:lnTo>
                        <a:pt x="3982" y="1560"/>
                      </a:lnTo>
                      <a:lnTo>
                        <a:pt x="3964" y="1584"/>
                      </a:lnTo>
                      <a:lnTo>
                        <a:pt x="3948" y="1602"/>
                      </a:lnTo>
                      <a:lnTo>
                        <a:pt x="3934" y="1616"/>
                      </a:lnTo>
                      <a:lnTo>
                        <a:pt x="3922" y="1626"/>
                      </a:lnTo>
                      <a:lnTo>
                        <a:pt x="3914" y="1634"/>
                      </a:lnTo>
                      <a:lnTo>
                        <a:pt x="3908" y="1636"/>
                      </a:lnTo>
                      <a:lnTo>
                        <a:pt x="3908" y="1636"/>
                      </a:lnTo>
                      <a:lnTo>
                        <a:pt x="3908" y="1634"/>
                      </a:lnTo>
                      <a:lnTo>
                        <a:pt x="3914" y="1628"/>
                      </a:lnTo>
                      <a:lnTo>
                        <a:pt x="3914" y="1628"/>
                      </a:lnTo>
                      <a:lnTo>
                        <a:pt x="3924" y="1616"/>
                      </a:lnTo>
                      <a:lnTo>
                        <a:pt x="3936" y="1600"/>
                      </a:lnTo>
                      <a:lnTo>
                        <a:pt x="3964" y="1560"/>
                      </a:lnTo>
                      <a:lnTo>
                        <a:pt x="3978" y="1542"/>
                      </a:lnTo>
                      <a:lnTo>
                        <a:pt x="3994" y="1524"/>
                      </a:lnTo>
                      <a:lnTo>
                        <a:pt x="4010" y="1510"/>
                      </a:lnTo>
                      <a:lnTo>
                        <a:pt x="4020" y="1504"/>
                      </a:lnTo>
                      <a:lnTo>
                        <a:pt x="4030" y="1500"/>
                      </a:lnTo>
                      <a:lnTo>
                        <a:pt x="4030" y="1500"/>
                      </a:lnTo>
                      <a:lnTo>
                        <a:pt x="4040" y="1496"/>
                      </a:lnTo>
                      <a:lnTo>
                        <a:pt x="4050" y="1490"/>
                      </a:lnTo>
                      <a:lnTo>
                        <a:pt x="4056" y="1486"/>
                      </a:lnTo>
                      <a:lnTo>
                        <a:pt x="4060" y="1482"/>
                      </a:lnTo>
                      <a:lnTo>
                        <a:pt x="4066" y="1472"/>
                      </a:lnTo>
                      <a:lnTo>
                        <a:pt x="4068" y="1464"/>
                      </a:lnTo>
                      <a:lnTo>
                        <a:pt x="4072" y="1456"/>
                      </a:lnTo>
                      <a:lnTo>
                        <a:pt x="4076" y="1452"/>
                      </a:lnTo>
                      <a:lnTo>
                        <a:pt x="4082" y="1448"/>
                      </a:lnTo>
                      <a:lnTo>
                        <a:pt x="4090" y="1444"/>
                      </a:lnTo>
                      <a:lnTo>
                        <a:pt x="4102" y="1440"/>
                      </a:lnTo>
                      <a:lnTo>
                        <a:pt x="4136" y="1432"/>
                      </a:lnTo>
                      <a:lnTo>
                        <a:pt x="4136" y="1432"/>
                      </a:lnTo>
                      <a:lnTo>
                        <a:pt x="4160" y="1430"/>
                      </a:lnTo>
                      <a:lnTo>
                        <a:pt x="4182" y="1428"/>
                      </a:lnTo>
                      <a:lnTo>
                        <a:pt x="4202" y="1430"/>
                      </a:lnTo>
                      <a:lnTo>
                        <a:pt x="4220" y="1432"/>
                      </a:lnTo>
                      <a:lnTo>
                        <a:pt x="4252" y="1436"/>
                      </a:lnTo>
                      <a:lnTo>
                        <a:pt x="4278" y="1442"/>
                      </a:lnTo>
                      <a:lnTo>
                        <a:pt x="4304" y="1446"/>
                      </a:lnTo>
                      <a:lnTo>
                        <a:pt x="4316" y="1444"/>
                      </a:lnTo>
                      <a:lnTo>
                        <a:pt x="4330" y="1442"/>
                      </a:lnTo>
                      <a:lnTo>
                        <a:pt x="4342" y="1438"/>
                      </a:lnTo>
                      <a:lnTo>
                        <a:pt x="4356" y="1430"/>
                      </a:lnTo>
                      <a:lnTo>
                        <a:pt x="4370" y="1420"/>
                      </a:lnTo>
                      <a:lnTo>
                        <a:pt x="4386" y="1406"/>
                      </a:lnTo>
                      <a:lnTo>
                        <a:pt x="4386" y="1406"/>
                      </a:lnTo>
                      <a:lnTo>
                        <a:pt x="4414" y="1382"/>
                      </a:lnTo>
                      <a:lnTo>
                        <a:pt x="4434" y="1368"/>
                      </a:lnTo>
                      <a:lnTo>
                        <a:pt x="4448" y="1362"/>
                      </a:lnTo>
                      <a:lnTo>
                        <a:pt x="4458" y="1362"/>
                      </a:lnTo>
                      <a:lnTo>
                        <a:pt x="4470" y="1366"/>
                      </a:lnTo>
                      <a:lnTo>
                        <a:pt x="4474" y="1366"/>
                      </a:lnTo>
                      <a:lnTo>
                        <a:pt x="4482" y="1358"/>
                      </a:lnTo>
                      <a:lnTo>
                        <a:pt x="4482" y="1358"/>
                      </a:lnTo>
                      <a:lnTo>
                        <a:pt x="4492" y="1348"/>
                      </a:lnTo>
                      <a:lnTo>
                        <a:pt x="4502" y="1342"/>
                      </a:lnTo>
                      <a:lnTo>
                        <a:pt x="4518" y="1330"/>
                      </a:lnTo>
                      <a:lnTo>
                        <a:pt x="4524" y="1324"/>
                      </a:lnTo>
                      <a:lnTo>
                        <a:pt x="4526" y="1316"/>
                      </a:lnTo>
                      <a:lnTo>
                        <a:pt x="4526" y="1308"/>
                      </a:lnTo>
                      <a:lnTo>
                        <a:pt x="4522" y="1296"/>
                      </a:lnTo>
                      <a:lnTo>
                        <a:pt x="4522" y="1296"/>
                      </a:lnTo>
                      <a:lnTo>
                        <a:pt x="4518" y="1284"/>
                      </a:lnTo>
                      <a:lnTo>
                        <a:pt x="4518" y="1278"/>
                      </a:lnTo>
                      <a:lnTo>
                        <a:pt x="4518" y="1274"/>
                      </a:lnTo>
                      <a:lnTo>
                        <a:pt x="4522" y="1270"/>
                      </a:lnTo>
                      <a:lnTo>
                        <a:pt x="4524" y="1268"/>
                      </a:lnTo>
                      <a:lnTo>
                        <a:pt x="4526" y="1264"/>
                      </a:lnTo>
                      <a:lnTo>
                        <a:pt x="4524" y="1258"/>
                      </a:lnTo>
                      <a:lnTo>
                        <a:pt x="4522" y="1248"/>
                      </a:lnTo>
                      <a:lnTo>
                        <a:pt x="4522" y="1248"/>
                      </a:lnTo>
                      <a:lnTo>
                        <a:pt x="4516" y="1238"/>
                      </a:lnTo>
                      <a:lnTo>
                        <a:pt x="4510" y="1234"/>
                      </a:lnTo>
                      <a:lnTo>
                        <a:pt x="4502" y="1232"/>
                      </a:lnTo>
                      <a:lnTo>
                        <a:pt x="4496" y="1230"/>
                      </a:lnTo>
                      <a:lnTo>
                        <a:pt x="4488" y="1230"/>
                      </a:lnTo>
                      <a:lnTo>
                        <a:pt x="4480" y="1228"/>
                      </a:lnTo>
                      <a:lnTo>
                        <a:pt x="4472" y="1222"/>
                      </a:lnTo>
                      <a:lnTo>
                        <a:pt x="4464" y="1214"/>
                      </a:lnTo>
                      <a:lnTo>
                        <a:pt x="4464" y="1214"/>
                      </a:lnTo>
                      <a:lnTo>
                        <a:pt x="4454" y="1204"/>
                      </a:lnTo>
                      <a:lnTo>
                        <a:pt x="4446" y="1198"/>
                      </a:lnTo>
                      <a:lnTo>
                        <a:pt x="4436" y="1198"/>
                      </a:lnTo>
                      <a:lnTo>
                        <a:pt x="4428" y="1200"/>
                      </a:lnTo>
                      <a:lnTo>
                        <a:pt x="4416" y="1204"/>
                      </a:lnTo>
                      <a:lnTo>
                        <a:pt x="4406" y="1212"/>
                      </a:lnTo>
                      <a:lnTo>
                        <a:pt x="4376" y="1234"/>
                      </a:lnTo>
                      <a:lnTo>
                        <a:pt x="4376" y="1234"/>
                      </a:lnTo>
                      <a:lnTo>
                        <a:pt x="4362" y="1242"/>
                      </a:lnTo>
                      <a:lnTo>
                        <a:pt x="4352" y="1246"/>
                      </a:lnTo>
                      <a:lnTo>
                        <a:pt x="4344" y="1246"/>
                      </a:lnTo>
                      <a:lnTo>
                        <a:pt x="4342" y="1242"/>
                      </a:lnTo>
                      <a:lnTo>
                        <a:pt x="4342" y="1238"/>
                      </a:lnTo>
                      <a:lnTo>
                        <a:pt x="4346" y="1230"/>
                      </a:lnTo>
                      <a:lnTo>
                        <a:pt x="4354" y="1226"/>
                      </a:lnTo>
                      <a:lnTo>
                        <a:pt x="4364" y="1220"/>
                      </a:lnTo>
                      <a:lnTo>
                        <a:pt x="4364" y="1220"/>
                      </a:lnTo>
                      <a:lnTo>
                        <a:pt x="4376" y="1218"/>
                      </a:lnTo>
                      <a:lnTo>
                        <a:pt x="4386" y="1214"/>
                      </a:lnTo>
                      <a:lnTo>
                        <a:pt x="4400" y="1204"/>
                      </a:lnTo>
                      <a:lnTo>
                        <a:pt x="4414" y="1196"/>
                      </a:lnTo>
                      <a:lnTo>
                        <a:pt x="4424" y="1192"/>
                      </a:lnTo>
                      <a:lnTo>
                        <a:pt x="4438" y="1190"/>
                      </a:lnTo>
                      <a:lnTo>
                        <a:pt x="4438" y="1190"/>
                      </a:lnTo>
                      <a:lnTo>
                        <a:pt x="4450" y="1186"/>
                      </a:lnTo>
                      <a:lnTo>
                        <a:pt x="4456" y="1184"/>
                      </a:lnTo>
                      <a:lnTo>
                        <a:pt x="4458" y="1178"/>
                      </a:lnTo>
                      <a:lnTo>
                        <a:pt x="4456" y="1174"/>
                      </a:lnTo>
                      <a:lnTo>
                        <a:pt x="4450" y="1170"/>
                      </a:lnTo>
                      <a:lnTo>
                        <a:pt x="4442" y="1166"/>
                      </a:lnTo>
                      <a:lnTo>
                        <a:pt x="4432" y="1162"/>
                      </a:lnTo>
                      <a:lnTo>
                        <a:pt x="4418" y="1160"/>
                      </a:lnTo>
                      <a:lnTo>
                        <a:pt x="4418" y="1160"/>
                      </a:lnTo>
                      <a:lnTo>
                        <a:pt x="4406" y="1158"/>
                      </a:lnTo>
                      <a:lnTo>
                        <a:pt x="4400" y="1154"/>
                      </a:lnTo>
                      <a:lnTo>
                        <a:pt x="4396" y="1150"/>
                      </a:lnTo>
                      <a:lnTo>
                        <a:pt x="4394" y="1146"/>
                      </a:lnTo>
                      <a:lnTo>
                        <a:pt x="4392" y="1142"/>
                      </a:lnTo>
                      <a:lnTo>
                        <a:pt x="4388" y="1138"/>
                      </a:lnTo>
                      <a:lnTo>
                        <a:pt x="4378" y="1136"/>
                      </a:lnTo>
                      <a:lnTo>
                        <a:pt x="4364" y="1132"/>
                      </a:lnTo>
                      <a:lnTo>
                        <a:pt x="4364" y="1132"/>
                      </a:lnTo>
                      <a:lnTo>
                        <a:pt x="4350" y="1130"/>
                      </a:lnTo>
                      <a:lnTo>
                        <a:pt x="4342" y="1126"/>
                      </a:lnTo>
                      <a:lnTo>
                        <a:pt x="4340" y="1122"/>
                      </a:lnTo>
                      <a:lnTo>
                        <a:pt x="4338" y="1116"/>
                      </a:lnTo>
                      <a:lnTo>
                        <a:pt x="4340" y="1112"/>
                      </a:lnTo>
                      <a:lnTo>
                        <a:pt x="4338" y="1106"/>
                      </a:lnTo>
                      <a:lnTo>
                        <a:pt x="4334" y="1102"/>
                      </a:lnTo>
                      <a:lnTo>
                        <a:pt x="4324" y="1096"/>
                      </a:lnTo>
                      <a:lnTo>
                        <a:pt x="4324" y="1096"/>
                      </a:lnTo>
                      <a:lnTo>
                        <a:pt x="4314" y="1090"/>
                      </a:lnTo>
                      <a:lnTo>
                        <a:pt x="4304" y="1084"/>
                      </a:lnTo>
                      <a:lnTo>
                        <a:pt x="4296" y="1078"/>
                      </a:lnTo>
                      <a:lnTo>
                        <a:pt x="4290" y="1070"/>
                      </a:lnTo>
                      <a:lnTo>
                        <a:pt x="4286" y="1062"/>
                      </a:lnTo>
                      <a:lnTo>
                        <a:pt x="4286" y="1052"/>
                      </a:lnTo>
                      <a:lnTo>
                        <a:pt x="4288" y="1042"/>
                      </a:lnTo>
                      <a:lnTo>
                        <a:pt x="4294" y="1030"/>
                      </a:lnTo>
                      <a:lnTo>
                        <a:pt x="4294" y="1030"/>
                      </a:lnTo>
                      <a:lnTo>
                        <a:pt x="4298" y="1024"/>
                      </a:lnTo>
                      <a:lnTo>
                        <a:pt x="4298" y="1020"/>
                      </a:lnTo>
                      <a:lnTo>
                        <a:pt x="4298" y="1016"/>
                      </a:lnTo>
                      <a:lnTo>
                        <a:pt x="4296" y="1012"/>
                      </a:lnTo>
                      <a:lnTo>
                        <a:pt x="4290" y="1008"/>
                      </a:lnTo>
                      <a:lnTo>
                        <a:pt x="4282" y="1004"/>
                      </a:lnTo>
                      <a:lnTo>
                        <a:pt x="4274" y="1002"/>
                      </a:lnTo>
                      <a:lnTo>
                        <a:pt x="4268" y="998"/>
                      </a:lnTo>
                      <a:lnTo>
                        <a:pt x="4266" y="996"/>
                      </a:lnTo>
                      <a:lnTo>
                        <a:pt x="4266" y="994"/>
                      </a:lnTo>
                      <a:lnTo>
                        <a:pt x="4266" y="990"/>
                      </a:lnTo>
                      <a:lnTo>
                        <a:pt x="4270" y="986"/>
                      </a:lnTo>
                      <a:lnTo>
                        <a:pt x="4270" y="986"/>
                      </a:lnTo>
                      <a:lnTo>
                        <a:pt x="4274" y="978"/>
                      </a:lnTo>
                      <a:lnTo>
                        <a:pt x="4274" y="970"/>
                      </a:lnTo>
                      <a:lnTo>
                        <a:pt x="4270" y="966"/>
                      </a:lnTo>
                      <a:lnTo>
                        <a:pt x="4264" y="960"/>
                      </a:lnTo>
                      <a:lnTo>
                        <a:pt x="4258" y="954"/>
                      </a:lnTo>
                      <a:lnTo>
                        <a:pt x="4252" y="948"/>
                      </a:lnTo>
                      <a:lnTo>
                        <a:pt x="4246" y="940"/>
                      </a:lnTo>
                      <a:lnTo>
                        <a:pt x="4244" y="928"/>
                      </a:lnTo>
                      <a:lnTo>
                        <a:pt x="4244" y="928"/>
                      </a:lnTo>
                      <a:lnTo>
                        <a:pt x="4240" y="912"/>
                      </a:lnTo>
                      <a:lnTo>
                        <a:pt x="4238" y="908"/>
                      </a:lnTo>
                      <a:lnTo>
                        <a:pt x="4236" y="906"/>
                      </a:lnTo>
                      <a:lnTo>
                        <a:pt x="4230" y="902"/>
                      </a:lnTo>
                      <a:lnTo>
                        <a:pt x="4228" y="898"/>
                      </a:lnTo>
                      <a:lnTo>
                        <a:pt x="4226" y="890"/>
                      </a:lnTo>
                      <a:lnTo>
                        <a:pt x="4226" y="890"/>
                      </a:lnTo>
                      <a:lnTo>
                        <a:pt x="4222" y="882"/>
                      </a:lnTo>
                      <a:lnTo>
                        <a:pt x="4218" y="878"/>
                      </a:lnTo>
                      <a:lnTo>
                        <a:pt x="4210" y="872"/>
                      </a:lnTo>
                      <a:lnTo>
                        <a:pt x="4206" y="868"/>
                      </a:lnTo>
                      <a:lnTo>
                        <a:pt x="4200" y="862"/>
                      </a:lnTo>
                      <a:lnTo>
                        <a:pt x="4194" y="852"/>
                      </a:lnTo>
                      <a:lnTo>
                        <a:pt x="4186" y="838"/>
                      </a:lnTo>
                      <a:lnTo>
                        <a:pt x="4186" y="838"/>
                      </a:lnTo>
                      <a:lnTo>
                        <a:pt x="4180" y="824"/>
                      </a:lnTo>
                      <a:lnTo>
                        <a:pt x="4174" y="816"/>
                      </a:lnTo>
                      <a:lnTo>
                        <a:pt x="4168" y="812"/>
                      </a:lnTo>
                      <a:lnTo>
                        <a:pt x="4164" y="812"/>
                      </a:lnTo>
                      <a:lnTo>
                        <a:pt x="4158" y="814"/>
                      </a:lnTo>
                      <a:lnTo>
                        <a:pt x="4154" y="820"/>
                      </a:lnTo>
                      <a:lnTo>
                        <a:pt x="4140" y="836"/>
                      </a:lnTo>
                      <a:lnTo>
                        <a:pt x="4140" y="836"/>
                      </a:lnTo>
                      <a:lnTo>
                        <a:pt x="4132" y="848"/>
                      </a:lnTo>
                      <a:lnTo>
                        <a:pt x="4128" y="860"/>
                      </a:lnTo>
                      <a:lnTo>
                        <a:pt x="4124" y="884"/>
                      </a:lnTo>
                      <a:lnTo>
                        <a:pt x="4120" y="896"/>
                      </a:lnTo>
                      <a:lnTo>
                        <a:pt x="4116" y="904"/>
                      </a:lnTo>
                      <a:lnTo>
                        <a:pt x="4114" y="906"/>
                      </a:lnTo>
                      <a:lnTo>
                        <a:pt x="4110" y="908"/>
                      </a:lnTo>
                      <a:lnTo>
                        <a:pt x="4106" y="908"/>
                      </a:lnTo>
                      <a:lnTo>
                        <a:pt x="4100" y="906"/>
                      </a:lnTo>
                      <a:lnTo>
                        <a:pt x="4100" y="906"/>
                      </a:lnTo>
                      <a:lnTo>
                        <a:pt x="4090" y="904"/>
                      </a:lnTo>
                      <a:lnTo>
                        <a:pt x="4086" y="906"/>
                      </a:lnTo>
                      <a:lnTo>
                        <a:pt x="4084" y="908"/>
                      </a:lnTo>
                      <a:lnTo>
                        <a:pt x="4084" y="912"/>
                      </a:lnTo>
                      <a:lnTo>
                        <a:pt x="4082" y="916"/>
                      </a:lnTo>
                      <a:lnTo>
                        <a:pt x="4080" y="922"/>
                      </a:lnTo>
                      <a:lnTo>
                        <a:pt x="4074" y="928"/>
                      </a:lnTo>
                      <a:lnTo>
                        <a:pt x="4060" y="934"/>
                      </a:lnTo>
                      <a:lnTo>
                        <a:pt x="4060" y="934"/>
                      </a:lnTo>
                      <a:lnTo>
                        <a:pt x="4048" y="936"/>
                      </a:lnTo>
                      <a:lnTo>
                        <a:pt x="4038" y="934"/>
                      </a:lnTo>
                      <a:lnTo>
                        <a:pt x="4030" y="930"/>
                      </a:lnTo>
                      <a:lnTo>
                        <a:pt x="4024" y="922"/>
                      </a:lnTo>
                      <a:lnTo>
                        <a:pt x="4018" y="914"/>
                      </a:lnTo>
                      <a:lnTo>
                        <a:pt x="4010" y="908"/>
                      </a:lnTo>
                      <a:lnTo>
                        <a:pt x="4002" y="902"/>
                      </a:lnTo>
                      <a:lnTo>
                        <a:pt x="3988" y="900"/>
                      </a:lnTo>
                      <a:lnTo>
                        <a:pt x="3988" y="900"/>
                      </a:lnTo>
                      <a:lnTo>
                        <a:pt x="3976" y="900"/>
                      </a:lnTo>
                      <a:lnTo>
                        <a:pt x="3972" y="900"/>
                      </a:lnTo>
                      <a:lnTo>
                        <a:pt x="3970" y="896"/>
                      </a:lnTo>
                      <a:lnTo>
                        <a:pt x="3972" y="892"/>
                      </a:lnTo>
                      <a:lnTo>
                        <a:pt x="3974" y="888"/>
                      </a:lnTo>
                      <a:lnTo>
                        <a:pt x="3976" y="884"/>
                      </a:lnTo>
                      <a:lnTo>
                        <a:pt x="3974" y="880"/>
                      </a:lnTo>
                      <a:lnTo>
                        <a:pt x="3968" y="874"/>
                      </a:lnTo>
                      <a:lnTo>
                        <a:pt x="3968" y="874"/>
                      </a:lnTo>
                      <a:lnTo>
                        <a:pt x="3962" y="870"/>
                      </a:lnTo>
                      <a:lnTo>
                        <a:pt x="3960" y="866"/>
                      </a:lnTo>
                      <a:lnTo>
                        <a:pt x="3962" y="864"/>
                      </a:lnTo>
                      <a:lnTo>
                        <a:pt x="3964" y="860"/>
                      </a:lnTo>
                      <a:lnTo>
                        <a:pt x="3966" y="856"/>
                      </a:lnTo>
                      <a:lnTo>
                        <a:pt x="3968" y="850"/>
                      </a:lnTo>
                      <a:lnTo>
                        <a:pt x="3968" y="844"/>
                      </a:lnTo>
                      <a:lnTo>
                        <a:pt x="3964" y="836"/>
                      </a:lnTo>
                      <a:lnTo>
                        <a:pt x="3964" y="836"/>
                      </a:lnTo>
                      <a:lnTo>
                        <a:pt x="3960" y="824"/>
                      </a:lnTo>
                      <a:lnTo>
                        <a:pt x="3958" y="814"/>
                      </a:lnTo>
                      <a:lnTo>
                        <a:pt x="3962" y="802"/>
                      </a:lnTo>
                      <a:lnTo>
                        <a:pt x="3966" y="794"/>
                      </a:lnTo>
                      <a:lnTo>
                        <a:pt x="3974" y="776"/>
                      </a:lnTo>
                      <a:lnTo>
                        <a:pt x="3974" y="770"/>
                      </a:lnTo>
                      <a:lnTo>
                        <a:pt x="3972" y="764"/>
                      </a:lnTo>
                      <a:lnTo>
                        <a:pt x="3972" y="764"/>
                      </a:lnTo>
                      <a:lnTo>
                        <a:pt x="3968" y="758"/>
                      </a:lnTo>
                      <a:lnTo>
                        <a:pt x="3964" y="758"/>
                      </a:lnTo>
                      <a:lnTo>
                        <a:pt x="3960" y="760"/>
                      </a:lnTo>
                      <a:lnTo>
                        <a:pt x="3958" y="764"/>
                      </a:lnTo>
                      <a:lnTo>
                        <a:pt x="3954" y="770"/>
                      </a:lnTo>
                      <a:lnTo>
                        <a:pt x="3952" y="772"/>
                      </a:lnTo>
                      <a:lnTo>
                        <a:pt x="3950" y="770"/>
                      </a:lnTo>
                      <a:lnTo>
                        <a:pt x="3950" y="770"/>
                      </a:lnTo>
                      <a:lnTo>
                        <a:pt x="3944" y="766"/>
                      </a:lnTo>
                      <a:lnTo>
                        <a:pt x="3936" y="762"/>
                      </a:lnTo>
                      <a:lnTo>
                        <a:pt x="3914" y="756"/>
                      </a:lnTo>
                      <a:lnTo>
                        <a:pt x="3902" y="752"/>
                      </a:lnTo>
                      <a:lnTo>
                        <a:pt x="3894" y="748"/>
                      </a:lnTo>
                      <a:lnTo>
                        <a:pt x="3888" y="742"/>
                      </a:lnTo>
                      <a:lnTo>
                        <a:pt x="3886" y="740"/>
                      </a:lnTo>
                      <a:lnTo>
                        <a:pt x="3886" y="736"/>
                      </a:lnTo>
                      <a:lnTo>
                        <a:pt x="3886" y="736"/>
                      </a:lnTo>
                      <a:lnTo>
                        <a:pt x="3886" y="728"/>
                      </a:lnTo>
                      <a:lnTo>
                        <a:pt x="3882" y="722"/>
                      </a:lnTo>
                      <a:lnTo>
                        <a:pt x="3878" y="716"/>
                      </a:lnTo>
                      <a:lnTo>
                        <a:pt x="3870" y="710"/>
                      </a:lnTo>
                      <a:lnTo>
                        <a:pt x="3826" y="680"/>
                      </a:lnTo>
                      <a:lnTo>
                        <a:pt x="3826" y="680"/>
                      </a:lnTo>
                      <a:lnTo>
                        <a:pt x="3806" y="668"/>
                      </a:lnTo>
                      <a:lnTo>
                        <a:pt x="3800" y="668"/>
                      </a:lnTo>
                      <a:lnTo>
                        <a:pt x="3796" y="666"/>
                      </a:lnTo>
                      <a:lnTo>
                        <a:pt x="3790" y="668"/>
                      </a:lnTo>
                      <a:lnTo>
                        <a:pt x="3788" y="670"/>
                      </a:lnTo>
                      <a:lnTo>
                        <a:pt x="3780" y="678"/>
                      </a:lnTo>
                      <a:lnTo>
                        <a:pt x="3774" y="680"/>
                      </a:lnTo>
                      <a:lnTo>
                        <a:pt x="3768" y="684"/>
                      </a:lnTo>
                      <a:lnTo>
                        <a:pt x="3760" y="684"/>
                      </a:lnTo>
                      <a:lnTo>
                        <a:pt x="3750" y="686"/>
                      </a:lnTo>
                      <a:lnTo>
                        <a:pt x="3736" y="684"/>
                      </a:lnTo>
                      <a:lnTo>
                        <a:pt x="3720" y="680"/>
                      </a:lnTo>
                      <a:lnTo>
                        <a:pt x="3700" y="674"/>
                      </a:lnTo>
                      <a:lnTo>
                        <a:pt x="3676" y="664"/>
                      </a:lnTo>
                      <a:lnTo>
                        <a:pt x="3676" y="664"/>
                      </a:lnTo>
                      <a:lnTo>
                        <a:pt x="3666" y="662"/>
                      </a:lnTo>
                      <a:lnTo>
                        <a:pt x="3656" y="660"/>
                      </a:lnTo>
                      <a:lnTo>
                        <a:pt x="3648" y="660"/>
                      </a:lnTo>
                      <a:lnTo>
                        <a:pt x="3642" y="662"/>
                      </a:lnTo>
                      <a:lnTo>
                        <a:pt x="3636" y="664"/>
                      </a:lnTo>
                      <a:lnTo>
                        <a:pt x="3632" y="668"/>
                      </a:lnTo>
                      <a:lnTo>
                        <a:pt x="3626" y="678"/>
                      </a:lnTo>
                      <a:lnTo>
                        <a:pt x="3622" y="690"/>
                      </a:lnTo>
                      <a:lnTo>
                        <a:pt x="3622" y="702"/>
                      </a:lnTo>
                      <a:lnTo>
                        <a:pt x="3626" y="712"/>
                      </a:lnTo>
                      <a:lnTo>
                        <a:pt x="3630" y="720"/>
                      </a:lnTo>
                      <a:lnTo>
                        <a:pt x="3630" y="720"/>
                      </a:lnTo>
                      <a:lnTo>
                        <a:pt x="3634" y="726"/>
                      </a:lnTo>
                      <a:lnTo>
                        <a:pt x="3636" y="732"/>
                      </a:lnTo>
                      <a:lnTo>
                        <a:pt x="3638" y="738"/>
                      </a:lnTo>
                      <a:lnTo>
                        <a:pt x="3638" y="746"/>
                      </a:lnTo>
                      <a:lnTo>
                        <a:pt x="3634" y="760"/>
                      </a:lnTo>
                      <a:lnTo>
                        <a:pt x="3626" y="772"/>
                      </a:lnTo>
                      <a:lnTo>
                        <a:pt x="3626" y="772"/>
                      </a:lnTo>
                      <a:lnTo>
                        <a:pt x="3622" y="776"/>
                      </a:lnTo>
                      <a:lnTo>
                        <a:pt x="3622" y="780"/>
                      </a:lnTo>
                      <a:lnTo>
                        <a:pt x="3624" y="782"/>
                      </a:lnTo>
                      <a:lnTo>
                        <a:pt x="3626" y="786"/>
                      </a:lnTo>
                      <a:lnTo>
                        <a:pt x="3634" y="794"/>
                      </a:lnTo>
                      <a:lnTo>
                        <a:pt x="3640" y="802"/>
                      </a:lnTo>
                      <a:lnTo>
                        <a:pt x="3644" y="814"/>
                      </a:lnTo>
                      <a:lnTo>
                        <a:pt x="3644" y="814"/>
                      </a:lnTo>
                      <a:lnTo>
                        <a:pt x="3648" y="824"/>
                      </a:lnTo>
                      <a:lnTo>
                        <a:pt x="3650" y="832"/>
                      </a:lnTo>
                      <a:lnTo>
                        <a:pt x="3650" y="840"/>
                      </a:lnTo>
                      <a:lnTo>
                        <a:pt x="3648" y="844"/>
                      </a:lnTo>
                      <a:lnTo>
                        <a:pt x="3642" y="854"/>
                      </a:lnTo>
                      <a:lnTo>
                        <a:pt x="3636" y="870"/>
                      </a:lnTo>
                      <a:lnTo>
                        <a:pt x="3636" y="870"/>
                      </a:lnTo>
                      <a:lnTo>
                        <a:pt x="3634" y="878"/>
                      </a:lnTo>
                      <a:lnTo>
                        <a:pt x="3630" y="882"/>
                      </a:lnTo>
                      <a:lnTo>
                        <a:pt x="3620" y="888"/>
                      </a:lnTo>
                      <a:lnTo>
                        <a:pt x="3616" y="890"/>
                      </a:lnTo>
                      <a:lnTo>
                        <a:pt x="3612" y="894"/>
                      </a:lnTo>
                      <a:lnTo>
                        <a:pt x="3610" y="900"/>
                      </a:lnTo>
                      <a:lnTo>
                        <a:pt x="3606" y="910"/>
                      </a:lnTo>
                      <a:lnTo>
                        <a:pt x="3606" y="910"/>
                      </a:lnTo>
                      <a:lnTo>
                        <a:pt x="3606" y="916"/>
                      </a:lnTo>
                      <a:lnTo>
                        <a:pt x="3608" y="920"/>
                      </a:lnTo>
                      <a:lnTo>
                        <a:pt x="3614" y="926"/>
                      </a:lnTo>
                      <a:lnTo>
                        <a:pt x="3622" y="932"/>
                      </a:lnTo>
                      <a:lnTo>
                        <a:pt x="3634" y="940"/>
                      </a:lnTo>
                      <a:lnTo>
                        <a:pt x="3648" y="950"/>
                      </a:lnTo>
                      <a:lnTo>
                        <a:pt x="3660" y="964"/>
                      </a:lnTo>
                      <a:lnTo>
                        <a:pt x="3666" y="972"/>
                      </a:lnTo>
                      <a:lnTo>
                        <a:pt x="3672" y="984"/>
                      </a:lnTo>
                      <a:lnTo>
                        <a:pt x="3678" y="996"/>
                      </a:lnTo>
                      <a:lnTo>
                        <a:pt x="3684" y="1010"/>
                      </a:lnTo>
                      <a:lnTo>
                        <a:pt x="3684" y="1010"/>
                      </a:lnTo>
                      <a:lnTo>
                        <a:pt x="3686" y="1026"/>
                      </a:lnTo>
                      <a:lnTo>
                        <a:pt x="3688" y="1040"/>
                      </a:lnTo>
                      <a:lnTo>
                        <a:pt x="3688" y="1052"/>
                      </a:lnTo>
                      <a:lnTo>
                        <a:pt x="3684" y="1066"/>
                      </a:lnTo>
                      <a:lnTo>
                        <a:pt x="3680" y="1078"/>
                      </a:lnTo>
                      <a:lnTo>
                        <a:pt x="3674" y="1088"/>
                      </a:lnTo>
                      <a:lnTo>
                        <a:pt x="3668" y="1100"/>
                      </a:lnTo>
                      <a:lnTo>
                        <a:pt x="3660" y="1108"/>
                      </a:lnTo>
                      <a:lnTo>
                        <a:pt x="3642" y="1126"/>
                      </a:lnTo>
                      <a:lnTo>
                        <a:pt x="3624" y="1140"/>
                      </a:lnTo>
                      <a:lnTo>
                        <a:pt x="3604" y="1150"/>
                      </a:lnTo>
                      <a:lnTo>
                        <a:pt x="3584" y="1158"/>
                      </a:lnTo>
                      <a:lnTo>
                        <a:pt x="3584" y="1158"/>
                      </a:lnTo>
                      <a:lnTo>
                        <a:pt x="3570" y="1166"/>
                      </a:lnTo>
                      <a:lnTo>
                        <a:pt x="3562" y="1172"/>
                      </a:lnTo>
                      <a:lnTo>
                        <a:pt x="3562" y="1174"/>
                      </a:lnTo>
                      <a:lnTo>
                        <a:pt x="3562" y="1176"/>
                      </a:lnTo>
                      <a:lnTo>
                        <a:pt x="3566" y="1184"/>
                      </a:lnTo>
                      <a:lnTo>
                        <a:pt x="3572" y="1190"/>
                      </a:lnTo>
                      <a:lnTo>
                        <a:pt x="3578" y="1200"/>
                      </a:lnTo>
                      <a:lnTo>
                        <a:pt x="3582" y="1212"/>
                      </a:lnTo>
                      <a:lnTo>
                        <a:pt x="3584" y="1220"/>
                      </a:lnTo>
                      <a:lnTo>
                        <a:pt x="3584" y="1228"/>
                      </a:lnTo>
                      <a:lnTo>
                        <a:pt x="3584" y="1228"/>
                      </a:lnTo>
                      <a:lnTo>
                        <a:pt x="3586" y="1244"/>
                      </a:lnTo>
                      <a:lnTo>
                        <a:pt x="3588" y="1260"/>
                      </a:lnTo>
                      <a:lnTo>
                        <a:pt x="3598" y="1290"/>
                      </a:lnTo>
                      <a:lnTo>
                        <a:pt x="3602" y="1302"/>
                      </a:lnTo>
                      <a:lnTo>
                        <a:pt x="3604" y="1314"/>
                      </a:lnTo>
                      <a:lnTo>
                        <a:pt x="3604" y="1324"/>
                      </a:lnTo>
                      <a:lnTo>
                        <a:pt x="3600" y="1328"/>
                      </a:lnTo>
                      <a:lnTo>
                        <a:pt x="3598" y="1330"/>
                      </a:lnTo>
                      <a:lnTo>
                        <a:pt x="3598" y="1330"/>
                      </a:lnTo>
                      <a:lnTo>
                        <a:pt x="3594" y="1334"/>
                      </a:lnTo>
                      <a:lnTo>
                        <a:pt x="3592" y="1336"/>
                      </a:lnTo>
                      <a:lnTo>
                        <a:pt x="3590" y="1344"/>
                      </a:lnTo>
                      <a:lnTo>
                        <a:pt x="3592" y="1352"/>
                      </a:lnTo>
                      <a:lnTo>
                        <a:pt x="3594" y="1358"/>
                      </a:lnTo>
                      <a:lnTo>
                        <a:pt x="3596" y="1362"/>
                      </a:lnTo>
                      <a:lnTo>
                        <a:pt x="3594" y="1366"/>
                      </a:lnTo>
                      <a:lnTo>
                        <a:pt x="3590" y="1364"/>
                      </a:lnTo>
                      <a:lnTo>
                        <a:pt x="3580" y="1358"/>
                      </a:lnTo>
                      <a:lnTo>
                        <a:pt x="3580" y="1358"/>
                      </a:lnTo>
                      <a:lnTo>
                        <a:pt x="3570" y="1354"/>
                      </a:lnTo>
                      <a:lnTo>
                        <a:pt x="3568" y="1354"/>
                      </a:lnTo>
                      <a:lnTo>
                        <a:pt x="3566" y="1356"/>
                      </a:lnTo>
                      <a:lnTo>
                        <a:pt x="3562" y="1362"/>
                      </a:lnTo>
                      <a:lnTo>
                        <a:pt x="3562" y="1370"/>
                      </a:lnTo>
                      <a:lnTo>
                        <a:pt x="3562" y="1376"/>
                      </a:lnTo>
                      <a:lnTo>
                        <a:pt x="3560" y="1382"/>
                      </a:lnTo>
                      <a:lnTo>
                        <a:pt x="3558" y="1384"/>
                      </a:lnTo>
                      <a:lnTo>
                        <a:pt x="3554" y="1384"/>
                      </a:lnTo>
                      <a:lnTo>
                        <a:pt x="3546" y="1380"/>
                      </a:lnTo>
                      <a:lnTo>
                        <a:pt x="3546" y="1380"/>
                      </a:lnTo>
                      <a:lnTo>
                        <a:pt x="3536" y="1372"/>
                      </a:lnTo>
                      <a:lnTo>
                        <a:pt x="3530" y="1366"/>
                      </a:lnTo>
                      <a:lnTo>
                        <a:pt x="3522" y="1352"/>
                      </a:lnTo>
                      <a:lnTo>
                        <a:pt x="3516" y="1342"/>
                      </a:lnTo>
                      <a:lnTo>
                        <a:pt x="3508" y="1332"/>
                      </a:lnTo>
                      <a:lnTo>
                        <a:pt x="3494" y="1316"/>
                      </a:lnTo>
                      <a:lnTo>
                        <a:pt x="3474" y="1298"/>
                      </a:lnTo>
                      <a:lnTo>
                        <a:pt x="3474" y="1298"/>
                      </a:lnTo>
                      <a:lnTo>
                        <a:pt x="3464" y="1286"/>
                      </a:lnTo>
                      <a:lnTo>
                        <a:pt x="3458" y="1276"/>
                      </a:lnTo>
                      <a:lnTo>
                        <a:pt x="3456" y="1266"/>
                      </a:lnTo>
                      <a:lnTo>
                        <a:pt x="3456" y="1254"/>
                      </a:lnTo>
                      <a:lnTo>
                        <a:pt x="3456" y="1234"/>
                      </a:lnTo>
                      <a:lnTo>
                        <a:pt x="3456" y="1222"/>
                      </a:lnTo>
                      <a:lnTo>
                        <a:pt x="3454" y="1210"/>
                      </a:lnTo>
                      <a:lnTo>
                        <a:pt x="3454" y="1210"/>
                      </a:lnTo>
                      <a:lnTo>
                        <a:pt x="3450" y="1194"/>
                      </a:lnTo>
                      <a:lnTo>
                        <a:pt x="3450" y="1182"/>
                      </a:lnTo>
                      <a:lnTo>
                        <a:pt x="3454" y="1172"/>
                      </a:lnTo>
                      <a:lnTo>
                        <a:pt x="3456" y="1162"/>
                      </a:lnTo>
                      <a:lnTo>
                        <a:pt x="3458" y="1154"/>
                      </a:lnTo>
                      <a:lnTo>
                        <a:pt x="3456" y="1148"/>
                      </a:lnTo>
                      <a:lnTo>
                        <a:pt x="3452" y="1142"/>
                      </a:lnTo>
                      <a:lnTo>
                        <a:pt x="3440" y="1138"/>
                      </a:lnTo>
                      <a:lnTo>
                        <a:pt x="3440" y="1138"/>
                      </a:lnTo>
                      <a:lnTo>
                        <a:pt x="3414" y="1134"/>
                      </a:lnTo>
                      <a:lnTo>
                        <a:pt x="3394" y="1130"/>
                      </a:lnTo>
                      <a:lnTo>
                        <a:pt x="3378" y="1130"/>
                      </a:lnTo>
                      <a:lnTo>
                        <a:pt x="3368" y="1130"/>
                      </a:lnTo>
                      <a:lnTo>
                        <a:pt x="3354" y="1132"/>
                      </a:lnTo>
                      <a:lnTo>
                        <a:pt x="3346" y="1132"/>
                      </a:lnTo>
                      <a:lnTo>
                        <a:pt x="3340" y="1130"/>
                      </a:lnTo>
                      <a:lnTo>
                        <a:pt x="3340" y="1130"/>
                      </a:lnTo>
                      <a:lnTo>
                        <a:pt x="3334" y="1128"/>
                      </a:lnTo>
                      <a:lnTo>
                        <a:pt x="3330" y="1124"/>
                      </a:lnTo>
                      <a:lnTo>
                        <a:pt x="3322" y="1116"/>
                      </a:lnTo>
                      <a:lnTo>
                        <a:pt x="3316" y="1110"/>
                      </a:lnTo>
                      <a:lnTo>
                        <a:pt x="3306" y="1104"/>
                      </a:lnTo>
                      <a:lnTo>
                        <a:pt x="3290" y="1098"/>
                      </a:lnTo>
                      <a:lnTo>
                        <a:pt x="3268" y="1092"/>
                      </a:lnTo>
                      <a:lnTo>
                        <a:pt x="3268" y="1092"/>
                      </a:lnTo>
                      <a:lnTo>
                        <a:pt x="3246" y="1084"/>
                      </a:lnTo>
                      <a:lnTo>
                        <a:pt x="3236" y="1078"/>
                      </a:lnTo>
                      <a:lnTo>
                        <a:pt x="3232" y="1072"/>
                      </a:lnTo>
                      <a:lnTo>
                        <a:pt x="3230" y="1066"/>
                      </a:lnTo>
                      <a:lnTo>
                        <a:pt x="3226" y="1058"/>
                      </a:lnTo>
                      <a:lnTo>
                        <a:pt x="3216" y="1048"/>
                      </a:lnTo>
                      <a:lnTo>
                        <a:pt x="3198" y="1036"/>
                      </a:lnTo>
                      <a:lnTo>
                        <a:pt x="3166" y="1022"/>
                      </a:lnTo>
                      <a:lnTo>
                        <a:pt x="3166" y="1022"/>
                      </a:lnTo>
                      <a:lnTo>
                        <a:pt x="3146" y="1016"/>
                      </a:lnTo>
                      <a:lnTo>
                        <a:pt x="3130" y="1012"/>
                      </a:lnTo>
                      <a:lnTo>
                        <a:pt x="3114" y="1010"/>
                      </a:lnTo>
                      <a:lnTo>
                        <a:pt x="3102" y="1010"/>
                      </a:lnTo>
                      <a:lnTo>
                        <a:pt x="3090" y="1012"/>
                      </a:lnTo>
                      <a:lnTo>
                        <a:pt x="3080" y="1014"/>
                      </a:lnTo>
                      <a:lnTo>
                        <a:pt x="3064" y="1020"/>
                      </a:lnTo>
                      <a:lnTo>
                        <a:pt x="3052" y="1026"/>
                      </a:lnTo>
                      <a:lnTo>
                        <a:pt x="3046" y="1028"/>
                      </a:lnTo>
                      <a:lnTo>
                        <a:pt x="3044" y="1026"/>
                      </a:lnTo>
                      <a:lnTo>
                        <a:pt x="3042" y="1022"/>
                      </a:lnTo>
                      <a:lnTo>
                        <a:pt x="3040" y="1008"/>
                      </a:lnTo>
                      <a:lnTo>
                        <a:pt x="3040" y="1008"/>
                      </a:lnTo>
                      <a:lnTo>
                        <a:pt x="3040" y="992"/>
                      </a:lnTo>
                      <a:lnTo>
                        <a:pt x="3038" y="978"/>
                      </a:lnTo>
                      <a:lnTo>
                        <a:pt x="3032" y="962"/>
                      </a:lnTo>
                      <a:lnTo>
                        <a:pt x="3026" y="948"/>
                      </a:lnTo>
                      <a:lnTo>
                        <a:pt x="3024" y="938"/>
                      </a:lnTo>
                      <a:lnTo>
                        <a:pt x="3020" y="928"/>
                      </a:lnTo>
                      <a:lnTo>
                        <a:pt x="3020" y="928"/>
                      </a:lnTo>
                      <a:lnTo>
                        <a:pt x="3018" y="922"/>
                      </a:lnTo>
                      <a:lnTo>
                        <a:pt x="3016" y="918"/>
                      </a:lnTo>
                      <a:lnTo>
                        <a:pt x="3012" y="914"/>
                      </a:lnTo>
                      <a:lnTo>
                        <a:pt x="3008" y="914"/>
                      </a:lnTo>
                      <a:lnTo>
                        <a:pt x="2998" y="912"/>
                      </a:lnTo>
                      <a:lnTo>
                        <a:pt x="2986" y="912"/>
                      </a:lnTo>
                      <a:lnTo>
                        <a:pt x="2974" y="910"/>
                      </a:lnTo>
                      <a:lnTo>
                        <a:pt x="2968" y="908"/>
                      </a:lnTo>
                      <a:lnTo>
                        <a:pt x="2962" y="904"/>
                      </a:lnTo>
                      <a:lnTo>
                        <a:pt x="2958" y="898"/>
                      </a:lnTo>
                      <a:lnTo>
                        <a:pt x="2954" y="890"/>
                      </a:lnTo>
                      <a:lnTo>
                        <a:pt x="2950" y="882"/>
                      </a:lnTo>
                      <a:lnTo>
                        <a:pt x="2948" y="868"/>
                      </a:lnTo>
                      <a:lnTo>
                        <a:pt x="2948" y="868"/>
                      </a:lnTo>
                      <a:lnTo>
                        <a:pt x="2948" y="854"/>
                      </a:lnTo>
                      <a:lnTo>
                        <a:pt x="2948" y="840"/>
                      </a:lnTo>
                      <a:lnTo>
                        <a:pt x="2952" y="824"/>
                      </a:lnTo>
                      <a:lnTo>
                        <a:pt x="2956" y="808"/>
                      </a:lnTo>
                      <a:lnTo>
                        <a:pt x="2968" y="778"/>
                      </a:lnTo>
                      <a:lnTo>
                        <a:pt x="2982" y="750"/>
                      </a:lnTo>
                      <a:lnTo>
                        <a:pt x="2998" y="724"/>
                      </a:lnTo>
                      <a:lnTo>
                        <a:pt x="3014" y="706"/>
                      </a:lnTo>
                      <a:lnTo>
                        <a:pt x="3026" y="692"/>
                      </a:lnTo>
                      <a:lnTo>
                        <a:pt x="3030" y="690"/>
                      </a:lnTo>
                      <a:lnTo>
                        <a:pt x="3034" y="690"/>
                      </a:lnTo>
                      <a:lnTo>
                        <a:pt x="3034" y="690"/>
                      </a:lnTo>
                      <a:lnTo>
                        <a:pt x="3038" y="688"/>
                      </a:lnTo>
                      <a:lnTo>
                        <a:pt x="3042" y="684"/>
                      </a:lnTo>
                      <a:lnTo>
                        <a:pt x="3044" y="670"/>
                      </a:lnTo>
                      <a:lnTo>
                        <a:pt x="3048" y="662"/>
                      </a:lnTo>
                      <a:lnTo>
                        <a:pt x="3052" y="654"/>
                      </a:lnTo>
                      <a:lnTo>
                        <a:pt x="3060" y="648"/>
                      </a:lnTo>
                      <a:lnTo>
                        <a:pt x="3070" y="646"/>
                      </a:lnTo>
                      <a:lnTo>
                        <a:pt x="3070" y="646"/>
                      </a:lnTo>
                      <a:lnTo>
                        <a:pt x="3096" y="644"/>
                      </a:lnTo>
                      <a:lnTo>
                        <a:pt x="3106" y="640"/>
                      </a:lnTo>
                      <a:lnTo>
                        <a:pt x="3116" y="636"/>
                      </a:lnTo>
                      <a:lnTo>
                        <a:pt x="3120" y="630"/>
                      </a:lnTo>
                      <a:lnTo>
                        <a:pt x="3120" y="624"/>
                      </a:lnTo>
                      <a:lnTo>
                        <a:pt x="3116" y="614"/>
                      </a:lnTo>
                      <a:lnTo>
                        <a:pt x="3106" y="604"/>
                      </a:lnTo>
                      <a:lnTo>
                        <a:pt x="3106" y="604"/>
                      </a:lnTo>
                      <a:lnTo>
                        <a:pt x="3098" y="596"/>
                      </a:lnTo>
                      <a:lnTo>
                        <a:pt x="3098" y="594"/>
                      </a:lnTo>
                      <a:lnTo>
                        <a:pt x="3098" y="592"/>
                      </a:lnTo>
                      <a:lnTo>
                        <a:pt x="3104" y="590"/>
                      </a:lnTo>
                      <a:lnTo>
                        <a:pt x="3112" y="590"/>
                      </a:lnTo>
                      <a:lnTo>
                        <a:pt x="3124" y="590"/>
                      </a:lnTo>
                      <a:lnTo>
                        <a:pt x="3136" y="586"/>
                      </a:lnTo>
                      <a:lnTo>
                        <a:pt x="3140" y="584"/>
                      </a:lnTo>
                      <a:lnTo>
                        <a:pt x="3144" y="580"/>
                      </a:lnTo>
                      <a:lnTo>
                        <a:pt x="3148" y="576"/>
                      </a:lnTo>
                      <a:lnTo>
                        <a:pt x="3150" y="568"/>
                      </a:lnTo>
                      <a:lnTo>
                        <a:pt x="3150" y="568"/>
                      </a:lnTo>
                      <a:lnTo>
                        <a:pt x="3152" y="562"/>
                      </a:lnTo>
                      <a:lnTo>
                        <a:pt x="3154" y="558"/>
                      </a:lnTo>
                      <a:lnTo>
                        <a:pt x="3156" y="556"/>
                      </a:lnTo>
                      <a:lnTo>
                        <a:pt x="3158" y="556"/>
                      </a:lnTo>
                      <a:lnTo>
                        <a:pt x="3166" y="560"/>
                      </a:lnTo>
                      <a:lnTo>
                        <a:pt x="3176" y="566"/>
                      </a:lnTo>
                      <a:lnTo>
                        <a:pt x="3188" y="570"/>
                      </a:lnTo>
                      <a:lnTo>
                        <a:pt x="3194" y="572"/>
                      </a:lnTo>
                      <a:lnTo>
                        <a:pt x="3200" y="570"/>
                      </a:lnTo>
                      <a:lnTo>
                        <a:pt x="3206" y="568"/>
                      </a:lnTo>
                      <a:lnTo>
                        <a:pt x="3214" y="562"/>
                      </a:lnTo>
                      <a:lnTo>
                        <a:pt x="3220" y="554"/>
                      </a:lnTo>
                      <a:lnTo>
                        <a:pt x="3228" y="542"/>
                      </a:lnTo>
                      <a:lnTo>
                        <a:pt x="3228" y="542"/>
                      </a:lnTo>
                      <a:lnTo>
                        <a:pt x="3242" y="520"/>
                      </a:lnTo>
                      <a:lnTo>
                        <a:pt x="3252" y="506"/>
                      </a:lnTo>
                      <a:lnTo>
                        <a:pt x="3258" y="496"/>
                      </a:lnTo>
                      <a:lnTo>
                        <a:pt x="3260" y="492"/>
                      </a:lnTo>
                      <a:lnTo>
                        <a:pt x="3258" y="490"/>
                      </a:lnTo>
                      <a:lnTo>
                        <a:pt x="3256" y="488"/>
                      </a:lnTo>
                      <a:lnTo>
                        <a:pt x="3244" y="486"/>
                      </a:lnTo>
                      <a:lnTo>
                        <a:pt x="3228" y="484"/>
                      </a:lnTo>
                      <a:lnTo>
                        <a:pt x="3204" y="478"/>
                      </a:lnTo>
                      <a:lnTo>
                        <a:pt x="3204" y="478"/>
                      </a:lnTo>
                      <a:lnTo>
                        <a:pt x="3186" y="474"/>
                      </a:lnTo>
                      <a:lnTo>
                        <a:pt x="3176" y="470"/>
                      </a:lnTo>
                      <a:lnTo>
                        <a:pt x="3170" y="464"/>
                      </a:lnTo>
                      <a:lnTo>
                        <a:pt x="3164" y="460"/>
                      </a:lnTo>
                      <a:lnTo>
                        <a:pt x="3154" y="450"/>
                      </a:lnTo>
                      <a:lnTo>
                        <a:pt x="3144" y="444"/>
                      </a:lnTo>
                      <a:lnTo>
                        <a:pt x="3132" y="438"/>
                      </a:lnTo>
                      <a:lnTo>
                        <a:pt x="3132" y="438"/>
                      </a:lnTo>
                      <a:lnTo>
                        <a:pt x="3140" y="438"/>
                      </a:lnTo>
                      <a:lnTo>
                        <a:pt x="3148" y="438"/>
                      </a:lnTo>
                      <a:lnTo>
                        <a:pt x="3158" y="440"/>
                      </a:lnTo>
                      <a:lnTo>
                        <a:pt x="3166" y="442"/>
                      </a:lnTo>
                      <a:lnTo>
                        <a:pt x="3184" y="452"/>
                      </a:lnTo>
                      <a:lnTo>
                        <a:pt x="3202" y="462"/>
                      </a:lnTo>
                      <a:lnTo>
                        <a:pt x="3220" y="470"/>
                      </a:lnTo>
                      <a:lnTo>
                        <a:pt x="3230" y="472"/>
                      </a:lnTo>
                      <a:lnTo>
                        <a:pt x="3238" y="474"/>
                      </a:lnTo>
                      <a:lnTo>
                        <a:pt x="3246" y="474"/>
                      </a:lnTo>
                      <a:lnTo>
                        <a:pt x="3254" y="472"/>
                      </a:lnTo>
                      <a:lnTo>
                        <a:pt x="3262" y="466"/>
                      </a:lnTo>
                      <a:lnTo>
                        <a:pt x="3270" y="460"/>
                      </a:lnTo>
                      <a:lnTo>
                        <a:pt x="3270" y="460"/>
                      </a:lnTo>
                      <a:lnTo>
                        <a:pt x="3296" y="434"/>
                      </a:lnTo>
                      <a:lnTo>
                        <a:pt x="3302" y="426"/>
                      </a:lnTo>
                      <a:lnTo>
                        <a:pt x="3304" y="420"/>
                      </a:lnTo>
                      <a:lnTo>
                        <a:pt x="3304" y="416"/>
                      </a:lnTo>
                      <a:lnTo>
                        <a:pt x="3298" y="412"/>
                      </a:lnTo>
                      <a:lnTo>
                        <a:pt x="3278" y="402"/>
                      </a:lnTo>
                      <a:lnTo>
                        <a:pt x="3278" y="402"/>
                      </a:lnTo>
                      <a:lnTo>
                        <a:pt x="3270" y="394"/>
                      </a:lnTo>
                      <a:lnTo>
                        <a:pt x="3270" y="392"/>
                      </a:lnTo>
                      <a:lnTo>
                        <a:pt x="3270" y="390"/>
                      </a:lnTo>
                      <a:lnTo>
                        <a:pt x="3278" y="388"/>
                      </a:lnTo>
                      <a:lnTo>
                        <a:pt x="3288" y="388"/>
                      </a:lnTo>
                      <a:lnTo>
                        <a:pt x="3302" y="388"/>
                      </a:lnTo>
                      <a:lnTo>
                        <a:pt x="3316" y="390"/>
                      </a:lnTo>
                      <a:lnTo>
                        <a:pt x="3328" y="394"/>
                      </a:lnTo>
                      <a:lnTo>
                        <a:pt x="3336" y="400"/>
                      </a:lnTo>
                      <a:lnTo>
                        <a:pt x="3336" y="400"/>
                      </a:lnTo>
                      <a:lnTo>
                        <a:pt x="3346" y="410"/>
                      </a:lnTo>
                      <a:lnTo>
                        <a:pt x="3356" y="418"/>
                      </a:lnTo>
                      <a:lnTo>
                        <a:pt x="3366" y="426"/>
                      </a:lnTo>
                      <a:lnTo>
                        <a:pt x="3374" y="438"/>
                      </a:lnTo>
                      <a:lnTo>
                        <a:pt x="3374" y="438"/>
                      </a:lnTo>
                      <a:lnTo>
                        <a:pt x="3380" y="448"/>
                      </a:lnTo>
                      <a:lnTo>
                        <a:pt x="3388" y="452"/>
                      </a:lnTo>
                      <a:lnTo>
                        <a:pt x="3398" y="454"/>
                      </a:lnTo>
                      <a:lnTo>
                        <a:pt x="3410" y="452"/>
                      </a:lnTo>
                      <a:lnTo>
                        <a:pt x="3410" y="452"/>
                      </a:lnTo>
                      <a:lnTo>
                        <a:pt x="3412" y="450"/>
                      </a:lnTo>
                      <a:lnTo>
                        <a:pt x="3414" y="448"/>
                      </a:lnTo>
                      <a:lnTo>
                        <a:pt x="3412" y="444"/>
                      </a:lnTo>
                      <a:lnTo>
                        <a:pt x="3398" y="436"/>
                      </a:lnTo>
                      <a:lnTo>
                        <a:pt x="3392" y="432"/>
                      </a:lnTo>
                      <a:lnTo>
                        <a:pt x="3386" y="426"/>
                      </a:lnTo>
                      <a:lnTo>
                        <a:pt x="3384" y="424"/>
                      </a:lnTo>
                      <a:lnTo>
                        <a:pt x="3384" y="422"/>
                      </a:lnTo>
                      <a:lnTo>
                        <a:pt x="3386" y="418"/>
                      </a:lnTo>
                      <a:lnTo>
                        <a:pt x="3390" y="416"/>
                      </a:lnTo>
                      <a:lnTo>
                        <a:pt x="3390" y="416"/>
                      </a:lnTo>
                      <a:lnTo>
                        <a:pt x="3398" y="412"/>
                      </a:lnTo>
                      <a:lnTo>
                        <a:pt x="3404" y="406"/>
                      </a:lnTo>
                      <a:lnTo>
                        <a:pt x="3414" y="396"/>
                      </a:lnTo>
                      <a:lnTo>
                        <a:pt x="3426" y="388"/>
                      </a:lnTo>
                      <a:lnTo>
                        <a:pt x="3432" y="386"/>
                      </a:lnTo>
                      <a:lnTo>
                        <a:pt x="3438" y="386"/>
                      </a:lnTo>
                      <a:lnTo>
                        <a:pt x="3438" y="386"/>
                      </a:lnTo>
                      <a:lnTo>
                        <a:pt x="3444" y="386"/>
                      </a:lnTo>
                      <a:lnTo>
                        <a:pt x="3450" y="384"/>
                      </a:lnTo>
                      <a:lnTo>
                        <a:pt x="3456" y="380"/>
                      </a:lnTo>
                      <a:lnTo>
                        <a:pt x="3460" y="374"/>
                      </a:lnTo>
                      <a:lnTo>
                        <a:pt x="3468" y="364"/>
                      </a:lnTo>
                      <a:lnTo>
                        <a:pt x="3474" y="360"/>
                      </a:lnTo>
                      <a:lnTo>
                        <a:pt x="3478" y="360"/>
                      </a:lnTo>
                      <a:lnTo>
                        <a:pt x="3478" y="360"/>
                      </a:lnTo>
                      <a:lnTo>
                        <a:pt x="3484" y="358"/>
                      </a:lnTo>
                      <a:lnTo>
                        <a:pt x="3490" y="354"/>
                      </a:lnTo>
                      <a:lnTo>
                        <a:pt x="3492" y="348"/>
                      </a:lnTo>
                      <a:lnTo>
                        <a:pt x="3494" y="342"/>
                      </a:lnTo>
                      <a:lnTo>
                        <a:pt x="3492" y="334"/>
                      </a:lnTo>
                      <a:lnTo>
                        <a:pt x="3488" y="324"/>
                      </a:lnTo>
                      <a:lnTo>
                        <a:pt x="3482" y="316"/>
                      </a:lnTo>
                      <a:lnTo>
                        <a:pt x="3472" y="306"/>
                      </a:lnTo>
                      <a:lnTo>
                        <a:pt x="3472" y="306"/>
                      </a:lnTo>
                      <a:lnTo>
                        <a:pt x="3464" y="298"/>
                      </a:lnTo>
                      <a:lnTo>
                        <a:pt x="3460" y="292"/>
                      </a:lnTo>
                      <a:lnTo>
                        <a:pt x="3460" y="288"/>
                      </a:lnTo>
                      <a:lnTo>
                        <a:pt x="3462" y="284"/>
                      </a:lnTo>
                      <a:lnTo>
                        <a:pt x="3464" y="282"/>
                      </a:lnTo>
                      <a:lnTo>
                        <a:pt x="3466" y="278"/>
                      </a:lnTo>
                      <a:lnTo>
                        <a:pt x="3464" y="272"/>
                      </a:lnTo>
                      <a:lnTo>
                        <a:pt x="3458" y="266"/>
                      </a:lnTo>
                      <a:lnTo>
                        <a:pt x="3458" y="266"/>
                      </a:lnTo>
                      <a:lnTo>
                        <a:pt x="3452" y="260"/>
                      </a:lnTo>
                      <a:lnTo>
                        <a:pt x="3452" y="258"/>
                      </a:lnTo>
                      <a:lnTo>
                        <a:pt x="3452" y="258"/>
                      </a:lnTo>
                      <a:lnTo>
                        <a:pt x="3458" y="256"/>
                      </a:lnTo>
                      <a:lnTo>
                        <a:pt x="3466" y="256"/>
                      </a:lnTo>
                      <a:lnTo>
                        <a:pt x="3476" y="256"/>
                      </a:lnTo>
                      <a:lnTo>
                        <a:pt x="3484" y="254"/>
                      </a:lnTo>
                      <a:lnTo>
                        <a:pt x="3492" y="250"/>
                      </a:lnTo>
                      <a:lnTo>
                        <a:pt x="3494" y="248"/>
                      </a:lnTo>
                      <a:lnTo>
                        <a:pt x="3496" y="242"/>
                      </a:lnTo>
                      <a:lnTo>
                        <a:pt x="3496" y="242"/>
                      </a:lnTo>
                      <a:lnTo>
                        <a:pt x="3498" y="234"/>
                      </a:lnTo>
                      <a:lnTo>
                        <a:pt x="3496" y="230"/>
                      </a:lnTo>
                      <a:lnTo>
                        <a:pt x="3492" y="228"/>
                      </a:lnTo>
                      <a:lnTo>
                        <a:pt x="3488" y="226"/>
                      </a:lnTo>
                      <a:lnTo>
                        <a:pt x="3486" y="224"/>
                      </a:lnTo>
                      <a:lnTo>
                        <a:pt x="3484" y="222"/>
                      </a:lnTo>
                      <a:lnTo>
                        <a:pt x="3484" y="220"/>
                      </a:lnTo>
                      <a:lnTo>
                        <a:pt x="3490" y="214"/>
                      </a:lnTo>
                      <a:lnTo>
                        <a:pt x="3490" y="214"/>
                      </a:lnTo>
                      <a:lnTo>
                        <a:pt x="3492" y="206"/>
                      </a:lnTo>
                      <a:lnTo>
                        <a:pt x="3492" y="204"/>
                      </a:lnTo>
                      <a:lnTo>
                        <a:pt x="3486" y="202"/>
                      </a:lnTo>
                      <a:lnTo>
                        <a:pt x="3480" y="200"/>
                      </a:lnTo>
                      <a:lnTo>
                        <a:pt x="3472" y="198"/>
                      </a:lnTo>
                      <a:lnTo>
                        <a:pt x="3464" y="196"/>
                      </a:lnTo>
                      <a:lnTo>
                        <a:pt x="3458" y="192"/>
                      </a:lnTo>
                      <a:lnTo>
                        <a:pt x="3454" y="182"/>
                      </a:lnTo>
                      <a:lnTo>
                        <a:pt x="3454" y="182"/>
                      </a:lnTo>
                      <a:lnTo>
                        <a:pt x="3452" y="174"/>
                      </a:lnTo>
                      <a:lnTo>
                        <a:pt x="3446" y="170"/>
                      </a:lnTo>
                      <a:lnTo>
                        <a:pt x="3438" y="168"/>
                      </a:lnTo>
                      <a:lnTo>
                        <a:pt x="3428" y="168"/>
                      </a:lnTo>
                      <a:lnTo>
                        <a:pt x="3404" y="166"/>
                      </a:lnTo>
                      <a:lnTo>
                        <a:pt x="3392" y="164"/>
                      </a:lnTo>
                      <a:lnTo>
                        <a:pt x="3378" y="160"/>
                      </a:lnTo>
                      <a:lnTo>
                        <a:pt x="3378" y="160"/>
                      </a:lnTo>
                      <a:lnTo>
                        <a:pt x="3360" y="152"/>
                      </a:lnTo>
                      <a:lnTo>
                        <a:pt x="3356" y="152"/>
                      </a:lnTo>
                      <a:lnTo>
                        <a:pt x="3354" y="152"/>
                      </a:lnTo>
                      <a:lnTo>
                        <a:pt x="3348" y="156"/>
                      </a:lnTo>
                      <a:lnTo>
                        <a:pt x="3344" y="158"/>
                      </a:lnTo>
                      <a:lnTo>
                        <a:pt x="3334" y="158"/>
                      </a:lnTo>
                      <a:lnTo>
                        <a:pt x="3334" y="158"/>
                      </a:lnTo>
                      <a:lnTo>
                        <a:pt x="3326" y="160"/>
                      </a:lnTo>
                      <a:lnTo>
                        <a:pt x="3320" y="164"/>
                      </a:lnTo>
                      <a:lnTo>
                        <a:pt x="3318" y="172"/>
                      </a:lnTo>
                      <a:lnTo>
                        <a:pt x="3318" y="180"/>
                      </a:lnTo>
                      <a:lnTo>
                        <a:pt x="3322" y="190"/>
                      </a:lnTo>
                      <a:lnTo>
                        <a:pt x="3326" y="198"/>
                      </a:lnTo>
                      <a:lnTo>
                        <a:pt x="3330" y="206"/>
                      </a:lnTo>
                      <a:lnTo>
                        <a:pt x="3338" y="210"/>
                      </a:lnTo>
                      <a:lnTo>
                        <a:pt x="3338" y="210"/>
                      </a:lnTo>
                      <a:lnTo>
                        <a:pt x="3342" y="212"/>
                      </a:lnTo>
                      <a:lnTo>
                        <a:pt x="3346" y="216"/>
                      </a:lnTo>
                      <a:lnTo>
                        <a:pt x="3346" y="222"/>
                      </a:lnTo>
                      <a:lnTo>
                        <a:pt x="3344" y="226"/>
                      </a:lnTo>
                      <a:lnTo>
                        <a:pt x="3342" y="230"/>
                      </a:lnTo>
                      <a:lnTo>
                        <a:pt x="3338" y="232"/>
                      </a:lnTo>
                      <a:lnTo>
                        <a:pt x="3332" y="234"/>
                      </a:lnTo>
                      <a:lnTo>
                        <a:pt x="3326" y="234"/>
                      </a:lnTo>
                      <a:lnTo>
                        <a:pt x="3326" y="234"/>
                      </a:lnTo>
                      <a:lnTo>
                        <a:pt x="3322" y="236"/>
                      </a:lnTo>
                      <a:lnTo>
                        <a:pt x="3320" y="240"/>
                      </a:lnTo>
                      <a:lnTo>
                        <a:pt x="3318" y="256"/>
                      </a:lnTo>
                      <a:lnTo>
                        <a:pt x="3318" y="266"/>
                      </a:lnTo>
                      <a:lnTo>
                        <a:pt x="3316" y="278"/>
                      </a:lnTo>
                      <a:lnTo>
                        <a:pt x="3310" y="288"/>
                      </a:lnTo>
                      <a:lnTo>
                        <a:pt x="3300" y="296"/>
                      </a:lnTo>
                      <a:lnTo>
                        <a:pt x="3300" y="296"/>
                      </a:lnTo>
                      <a:lnTo>
                        <a:pt x="3292" y="302"/>
                      </a:lnTo>
                      <a:lnTo>
                        <a:pt x="3286" y="310"/>
                      </a:lnTo>
                      <a:lnTo>
                        <a:pt x="3284" y="316"/>
                      </a:lnTo>
                      <a:lnTo>
                        <a:pt x="3282" y="322"/>
                      </a:lnTo>
                      <a:lnTo>
                        <a:pt x="3280" y="328"/>
                      </a:lnTo>
                      <a:lnTo>
                        <a:pt x="3278" y="332"/>
                      </a:lnTo>
                      <a:lnTo>
                        <a:pt x="3274" y="338"/>
                      </a:lnTo>
                      <a:lnTo>
                        <a:pt x="3264" y="342"/>
                      </a:lnTo>
                      <a:lnTo>
                        <a:pt x="3264" y="342"/>
                      </a:lnTo>
                      <a:lnTo>
                        <a:pt x="3250" y="344"/>
                      </a:lnTo>
                      <a:lnTo>
                        <a:pt x="3246" y="344"/>
                      </a:lnTo>
                      <a:lnTo>
                        <a:pt x="3244" y="340"/>
                      </a:lnTo>
                      <a:lnTo>
                        <a:pt x="3238" y="330"/>
                      </a:lnTo>
                      <a:lnTo>
                        <a:pt x="3232" y="322"/>
                      </a:lnTo>
                      <a:lnTo>
                        <a:pt x="3222" y="312"/>
                      </a:lnTo>
                      <a:lnTo>
                        <a:pt x="3222" y="312"/>
                      </a:lnTo>
                      <a:lnTo>
                        <a:pt x="3214" y="304"/>
                      </a:lnTo>
                      <a:lnTo>
                        <a:pt x="3210" y="298"/>
                      </a:lnTo>
                      <a:lnTo>
                        <a:pt x="3212" y="292"/>
                      </a:lnTo>
                      <a:lnTo>
                        <a:pt x="3216" y="288"/>
                      </a:lnTo>
                      <a:lnTo>
                        <a:pt x="3226" y="280"/>
                      </a:lnTo>
                      <a:lnTo>
                        <a:pt x="3232" y="276"/>
                      </a:lnTo>
                      <a:lnTo>
                        <a:pt x="3234" y="270"/>
                      </a:lnTo>
                      <a:lnTo>
                        <a:pt x="3234" y="270"/>
                      </a:lnTo>
                      <a:lnTo>
                        <a:pt x="3232" y="260"/>
                      </a:lnTo>
                      <a:lnTo>
                        <a:pt x="3228" y="248"/>
                      </a:lnTo>
                      <a:lnTo>
                        <a:pt x="3220" y="234"/>
                      </a:lnTo>
                      <a:lnTo>
                        <a:pt x="3212" y="220"/>
                      </a:lnTo>
                      <a:lnTo>
                        <a:pt x="3200" y="210"/>
                      </a:lnTo>
                      <a:lnTo>
                        <a:pt x="3190" y="202"/>
                      </a:lnTo>
                      <a:lnTo>
                        <a:pt x="3184" y="200"/>
                      </a:lnTo>
                      <a:lnTo>
                        <a:pt x="3178" y="200"/>
                      </a:lnTo>
                      <a:lnTo>
                        <a:pt x="3172" y="202"/>
                      </a:lnTo>
                      <a:lnTo>
                        <a:pt x="3168" y="206"/>
                      </a:lnTo>
                      <a:lnTo>
                        <a:pt x="3168" y="206"/>
                      </a:lnTo>
                      <a:lnTo>
                        <a:pt x="3158" y="216"/>
                      </a:lnTo>
                      <a:lnTo>
                        <a:pt x="3154" y="230"/>
                      </a:lnTo>
                      <a:lnTo>
                        <a:pt x="3148" y="254"/>
                      </a:lnTo>
                      <a:lnTo>
                        <a:pt x="3146" y="262"/>
                      </a:lnTo>
                      <a:lnTo>
                        <a:pt x="3142" y="268"/>
                      </a:lnTo>
                      <a:lnTo>
                        <a:pt x="3140" y="268"/>
                      </a:lnTo>
                      <a:lnTo>
                        <a:pt x="3138" y="268"/>
                      </a:lnTo>
                      <a:lnTo>
                        <a:pt x="3130" y="260"/>
                      </a:lnTo>
                      <a:lnTo>
                        <a:pt x="3130" y="260"/>
                      </a:lnTo>
                      <a:lnTo>
                        <a:pt x="3124" y="252"/>
                      </a:lnTo>
                      <a:lnTo>
                        <a:pt x="3122" y="246"/>
                      </a:lnTo>
                      <a:lnTo>
                        <a:pt x="3122" y="242"/>
                      </a:lnTo>
                      <a:lnTo>
                        <a:pt x="3124" y="238"/>
                      </a:lnTo>
                      <a:lnTo>
                        <a:pt x="3126" y="236"/>
                      </a:lnTo>
                      <a:lnTo>
                        <a:pt x="3128" y="232"/>
                      </a:lnTo>
                      <a:lnTo>
                        <a:pt x="3124" y="226"/>
                      </a:lnTo>
                      <a:lnTo>
                        <a:pt x="3118" y="216"/>
                      </a:lnTo>
                      <a:lnTo>
                        <a:pt x="3118" y="216"/>
                      </a:lnTo>
                      <a:lnTo>
                        <a:pt x="3112" y="208"/>
                      </a:lnTo>
                      <a:lnTo>
                        <a:pt x="3110" y="204"/>
                      </a:lnTo>
                      <a:lnTo>
                        <a:pt x="3110" y="202"/>
                      </a:lnTo>
                      <a:lnTo>
                        <a:pt x="3114" y="198"/>
                      </a:lnTo>
                      <a:lnTo>
                        <a:pt x="3120" y="194"/>
                      </a:lnTo>
                      <a:lnTo>
                        <a:pt x="3126" y="192"/>
                      </a:lnTo>
                      <a:lnTo>
                        <a:pt x="3128" y="190"/>
                      </a:lnTo>
                      <a:lnTo>
                        <a:pt x="3126" y="186"/>
                      </a:lnTo>
                      <a:lnTo>
                        <a:pt x="3116" y="180"/>
                      </a:lnTo>
                      <a:lnTo>
                        <a:pt x="3116" y="180"/>
                      </a:lnTo>
                      <a:lnTo>
                        <a:pt x="3104" y="174"/>
                      </a:lnTo>
                      <a:lnTo>
                        <a:pt x="3094" y="172"/>
                      </a:lnTo>
                      <a:lnTo>
                        <a:pt x="3088" y="172"/>
                      </a:lnTo>
                      <a:lnTo>
                        <a:pt x="3082" y="174"/>
                      </a:lnTo>
                      <a:lnTo>
                        <a:pt x="3076" y="176"/>
                      </a:lnTo>
                      <a:lnTo>
                        <a:pt x="3070" y="178"/>
                      </a:lnTo>
                      <a:lnTo>
                        <a:pt x="3064" y="176"/>
                      </a:lnTo>
                      <a:lnTo>
                        <a:pt x="3054" y="172"/>
                      </a:lnTo>
                      <a:lnTo>
                        <a:pt x="3054" y="172"/>
                      </a:lnTo>
                      <a:lnTo>
                        <a:pt x="3050" y="170"/>
                      </a:lnTo>
                      <a:lnTo>
                        <a:pt x="3048" y="168"/>
                      </a:lnTo>
                      <a:lnTo>
                        <a:pt x="3048" y="164"/>
                      </a:lnTo>
                      <a:lnTo>
                        <a:pt x="3048" y="162"/>
                      </a:lnTo>
                      <a:lnTo>
                        <a:pt x="3054" y="154"/>
                      </a:lnTo>
                      <a:lnTo>
                        <a:pt x="3062" y="148"/>
                      </a:lnTo>
                      <a:lnTo>
                        <a:pt x="3076" y="134"/>
                      </a:lnTo>
                      <a:lnTo>
                        <a:pt x="3080" y="130"/>
                      </a:lnTo>
                      <a:lnTo>
                        <a:pt x="3080" y="126"/>
                      </a:lnTo>
                      <a:lnTo>
                        <a:pt x="3078" y="124"/>
                      </a:lnTo>
                      <a:lnTo>
                        <a:pt x="3078" y="124"/>
                      </a:lnTo>
                      <a:lnTo>
                        <a:pt x="3064" y="114"/>
                      </a:lnTo>
                      <a:lnTo>
                        <a:pt x="3046" y="102"/>
                      </a:lnTo>
                      <a:lnTo>
                        <a:pt x="3038" y="94"/>
                      </a:lnTo>
                      <a:lnTo>
                        <a:pt x="3032" y="86"/>
                      </a:lnTo>
                      <a:lnTo>
                        <a:pt x="3028" y="78"/>
                      </a:lnTo>
                      <a:lnTo>
                        <a:pt x="3026" y="66"/>
                      </a:lnTo>
                      <a:lnTo>
                        <a:pt x="3026" y="66"/>
                      </a:lnTo>
                      <a:lnTo>
                        <a:pt x="3026" y="62"/>
                      </a:lnTo>
                      <a:lnTo>
                        <a:pt x="3026" y="56"/>
                      </a:lnTo>
                      <a:lnTo>
                        <a:pt x="3020" y="44"/>
                      </a:lnTo>
                      <a:lnTo>
                        <a:pt x="3010" y="34"/>
                      </a:lnTo>
                      <a:lnTo>
                        <a:pt x="2998" y="24"/>
                      </a:lnTo>
                      <a:lnTo>
                        <a:pt x="2986" y="14"/>
                      </a:lnTo>
                      <a:lnTo>
                        <a:pt x="2972" y="8"/>
                      </a:lnTo>
                      <a:lnTo>
                        <a:pt x="2960" y="2"/>
                      </a:lnTo>
                      <a:lnTo>
                        <a:pt x="2948" y="0"/>
                      </a:lnTo>
                      <a:lnTo>
                        <a:pt x="2948" y="0"/>
                      </a:lnTo>
                      <a:lnTo>
                        <a:pt x="2940" y="0"/>
                      </a:lnTo>
                      <a:lnTo>
                        <a:pt x="2936" y="2"/>
                      </a:lnTo>
                      <a:lnTo>
                        <a:pt x="2934" y="4"/>
                      </a:lnTo>
                      <a:lnTo>
                        <a:pt x="2932" y="8"/>
                      </a:lnTo>
                      <a:lnTo>
                        <a:pt x="2932" y="12"/>
                      </a:lnTo>
                      <a:lnTo>
                        <a:pt x="2928" y="16"/>
                      </a:lnTo>
                      <a:lnTo>
                        <a:pt x="2924" y="20"/>
                      </a:lnTo>
                      <a:lnTo>
                        <a:pt x="2916" y="22"/>
                      </a:lnTo>
                      <a:lnTo>
                        <a:pt x="2916" y="22"/>
                      </a:lnTo>
                      <a:lnTo>
                        <a:pt x="2908" y="26"/>
                      </a:lnTo>
                      <a:lnTo>
                        <a:pt x="2904" y="28"/>
                      </a:lnTo>
                      <a:lnTo>
                        <a:pt x="2902" y="30"/>
                      </a:lnTo>
                      <a:lnTo>
                        <a:pt x="2902" y="34"/>
                      </a:lnTo>
                      <a:lnTo>
                        <a:pt x="2902" y="38"/>
                      </a:lnTo>
                      <a:lnTo>
                        <a:pt x="2900" y="42"/>
                      </a:lnTo>
                      <a:lnTo>
                        <a:pt x="2894" y="46"/>
                      </a:lnTo>
                      <a:lnTo>
                        <a:pt x="2886" y="50"/>
                      </a:lnTo>
                      <a:lnTo>
                        <a:pt x="2886" y="50"/>
                      </a:lnTo>
                      <a:lnTo>
                        <a:pt x="2878" y="56"/>
                      </a:lnTo>
                      <a:lnTo>
                        <a:pt x="2876" y="62"/>
                      </a:lnTo>
                      <a:lnTo>
                        <a:pt x="2876" y="70"/>
                      </a:lnTo>
                      <a:lnTo>
                        <a:pt x="2878" y="80"/>
                      </a:lnTo>
                      <a:lnTo>
                        <a:pt x="2886" y="98"/>
                      </a:lnTo>
                      <a:lnTo>
                        <a:pt x="2888" y="106"/>
                      </a:lnTo>
                      <a:lnTo>
                        <a:pt x="2886" y="114"/>
                      </a:lnTo>
                      <a:lnTo>
                        <a:pt x="2886" y="114"/>
                      </a:lnTo>
                      <a:lnTo>
                        <a:pt x="2884" y="128"/>
                      </a:lnTo>
                      <a:lnTo>
                        <a:pt x="2884" y="136"/>
                      </a:lnTo>
                      <a:lnTo>
                        <a:pt x="2886" y="142"/>
                      </a:lnTo>
                      <a:lnTo>
                        <a:pt x="2890" y="150"/>
                      </a:lnTo>
                      <a:lnTo>
                        <a:pt x="2898" y="156"/>
                      </a:lnTo>
                      <a:lnTo>
                        <a:pt x="2910" y="162"/>
                      </a:lnTo>
                      <a:lnTo>
                        <a:pt x="2924" y="168"/>
                      </a:lnTo>
                      <a:lnTo>
                        <a:pt x="2924" y="168"/>
                      </a:lnTo>
                      <a:lnTo>
                        <a:pt x="2940" y="172"/>
                      </a:lnTo>
                      <a:lnTo>
                        <a:pt x="2954" y="180"/>
                      </a:lnTo>
                      <a:lnTo>
                        <a:pt x="2964" y="186"/>
                      </a:lnTo>
                      <a:lnTo>
                        <a:pt x="2970" y="194"/>
                      </a:lnTo>
                      <a:lnTo>
                        <a:pt x="2974" y="202"/>
                      </a:lnTo>
                      <a:lnTo>
                        <a:pt x="2974" y="208"/>
                      </a:lnTo>
                      <a:lnTo>
                        <a:pt x="2972" y="214"/>
                      </a:lnTo>
                      <a:lnTo>
                        <a:pt x="2966" y="218"/>
                      </a:lnTo>
                      <a:lnTo>
                        <a:pt x="2966" y="218"/>
                      </a:lnTo>
                      <a:lnTo>
                        <a:pt x="2958" y="222"/>
                      </a:lnTo>
                      <a:lnTo>
                        <a:pt x="2954" y="226"/>
                      </a:lnTo>
                      <a:lnTo>
                        <a:pt x="2954" y="232"/>
                      </a:lnTo>
                      <a:lnTo>
                        <a:pt x="2956" y="234"/>
                      </a:lnTo>
                      <a:lnTo>
                        <a:pt x="2960" y="238"/>
                      </a:lnTo>
                      <a:lnTo>
                        <a:pt x="2966" y="238"/>
                      </a:lnTo>
                      <a:lnTo>
                        <a:pt x="2972" y="236"/>
                      </a:lnTo>
                      <a:lnTo>
                        <a:pt x="2980" y="234"/>
                      </a:lnTo>
                      <a:lnTo>
                        <a:pt x="2980" y="234"/>
                      </a:lnTo>
                      <a:lnTo>
                        <a:pt x="2986" y="230"/>
                      </a:lnTo>
                      <a:lnTo>
                        <a:pt x="2992" y="230"/>
                      </a:lnTo>
                      <a:lnTo>
                        <a:pt x="2996" y="232"/>
                      </a:lnTo>
                      <a:lnTo>
                        <a:pt x="2996" y="238"/>
                      </a:lnTo>
                      <a:lnTo>
                        <a:pt x="2994" y="246"/>
                      </a:lnTo>
                      <a:lnTo>
                        <a:pt x="2988" y="254"/>
                      </a:lnTo>
                      <a:lnTo>
                        <a:pt x="2980" y="262"/>
                      </a:lnTo>
                      <a:lnTo>
                        <a:pt x="2968" y="272"/>
                      </a:lnTo>
                      <a:lnTo>
                        <a:pt x="2968" y="272"/>
                      </a:lnTo>
                      <a:lnTo>
                        <a:pt x="2956" y="280"/>
                      </a:lnTo>
                      <a:lnTo>
                        <a:pt x="2946" y="282"/>
                      </a:lnTo>
                      <a:lnTo>
                        <a:pt x="2940" y="284"/>
                      </a:lnTo>
                      <a:lnTo>
                        <a:pt x="2934" y="282"/>
                      </a:lnTo>
                      <a:lnTo>
                        <a:pt x="2930" y="280"/>
                      </a:lnTo>
                      <a:lnTo>
                        <a:pt x="2928" y="282"/>
                      </a:lnTo>
                      <a:lnTo>
                        <a:pt x="2926" y="284"/>
                      </a:lnTo>
                      <a:lnTo>
                        <a:pt x="2922" y="290"/>
                      </a:lnTo>
                      <a:lnTo>
                        <a:pt x="2922" y="290"/>
                      </a:lnTo>
                      <a:lnTo>
                        <a:pt x="2920" y="300"/>
                      </a:lnTo>
                      <a:lnTo>
                        <a:pt x="2924" y="312"/>
                      </a:lnTo>
                      <a:lnTo>
                        <a:pt x="2930" y="334"/>
                      </a:lnTo>
                      <a:lnTo>
                        <a:pt x="2934" y="342"/>
                      </a:lnTo>
                      <a:lnTo>
                        <a:pt x="2934" y="348"/>
                      </a:lnTo>
                      <a:lnTo>
                        <a:pt x="2934" y="350"/>
                      </a:lnTo>
                      <a:lnTo>
                        <a:pt x="2930" y="348"/>
                      </a:lnTo>
                      <a:lnTo>
                        <a:pt x="2922" y="344"/>
                      </a:lnTo>
                      <a:lnTo>
                        <a:pt x="2922" y="344"/>
                      </a:lnTo>
                      <a:lnTo>
                        <a:pt x="2902" y="330"/>
                      </a:lnTo>
                      <a:lnTo>
                        <a:pt x="2896" y="326"/>
                      </a:lnTo>
                      <a:lnTo>
                        <a:pt x="2892" y="320"/>
                      </a:lnTo>
                      <a:lnTo>
                        <a:pt x="2892" y="316"/>
                      </a:lnTo>
                      <a:lnTo>
                        <a:pt x="2892" y="312"/>
                      </a:lnTo>
                      <a:lnTo>
                        <a:pt x="2896" y="298"/>
                      </a:lnTo>
                      <a:lnTo>
                        <a:pt x="2896" y="298"/>
                      </a:lnTo>
                      <a:lnTo>
                        <a:pt x="2900" y="286"/>
                      </a:lnTo>
                      <a:lnTo>
                        <a:pt x="2902" y="280"/>
                      </a:lnTo>
                      <a:lnTo>
                        <a:pt x="2900" y="276"/>
                      </a:lnTo>
                      <a:lnTo>
                        <a:pt x="2898" y="272"/>
                      </a:lnTo>
                      <a:lnTo>
                        <a:pt x="2892" y="270"/>
                      </a:lnTo>
                      <a:lnTo>
                        <a:pt x="2886" y="270"/>
                      </a:lnTo>
                      <a:lnTo>
                        <a:pt x="2876" y="270"/>
                      </a:lnTo>
                      <a:lnTo>
                        <a:pt x="2876" y="270"/>
                      </a:lnTo>
                      <a:lnTo>
                        <a:pt x="2866" y="270"/>
                      </a:lnTo>
                      <a:lnTo>
                        <a:pt x="2858" y="268"/>
                      </a:lnTo>
                      <a:lnTo>
                        <a:pt x="2844" y="260"/>
                      </a:lnTo>
                      <a:lnTo>
                        <a:pt x="2838" y="256"/>
                      </a:lnTo>
                      <a:lnTo>
                        <a:pt x="2830" y="254"/>
                      </a:lnTo>
                      <a:lnTo>
                        <a:pt x="2820" y="254"/>
                      </a:lnTo>
                      <a:lnTo>
                        <a:pt x="2810" y="258"/>
                      </a:lnTo>
                      <a:lnTo>
                        <a:pt x="2810" y="258"/>
                      </a:lnTo>
                      <a:lnTo>
                        <a:pt x="2800" y="264"/>
                      </a:lnTo>
                      <a:lnTo>
                        <a:pt x="2796" y="272"/>
                      </a:lnTo>
                      <a:lnTo>
                        <a:pt x="2796" y="278"/>
                      </a:lnTo>
                      <a:lnTo>
                        <a:pt x="2796" y="286"/>
                      </a:lnTo>
                      <a:lnTo>
                        <a:pt x="2798" y="292"/>
                      </a:lnTo>
                      <a:lnTo>
                        <a:pt x="2798" y="298"/>
                      </a:lnTo>
                      <a:lnTo>
                        <a:pt x="2794" y="304"/>
                      </a:lnTo>
                      <a:lnTo>
                        <a:pt x="2786" y="308"/>
                      </a:lnTo>
                      <a:lnTo>
                        <a:pt x="2786" y="308"/>
                      </a:lnTo>
                      <a:lnTo>
                        <a:pt x="2778" y="310"/>
                      </a:lnTo>
                      <a:lnTo>
                        <a:pt x="2772" y="308"/>
                      </a:lnTo>
                      <a:lnTo>
                        <a:pt x="2760" y="302"/>
                      </a:lnTo>
                      <a:lnTo>
                        <a:pt x="2752" y="300"/>
                      </a:lnTo>
                      <a:lnTo>
                        <a:pt x="2742" y="298"/>
                      </a:lnTo>
                      <a:lnTo>
                        <a:pt x="2726" y="298"/>
                      </a:lnTo>
                      <a:lnTo>
                        <a:pt x="2708" y="302"/>
                      </a:lnTo>
                      <a:lnTo>
                        <a:pt x="2708" y="302"/>
                      </a:lnTo>
                      <a:lnTo>
                        <a:pt x="2680" y="306"/>
                      </a:lnTo>
                      <a:lnTo>
                        <a:pt x="2658" y="306"/>
                      </a:lnTo>
                      <a:lnTo>
                        <a:pt x="2640" y="302"/>
                      </a:lnTo>
                      <a:lnTo>
                        <a:pt x="2626" y="298"/>
                      </a:lnTo>
                      <a:lnTo>
                        <a:pt x="2606" y="286"/>
                      </a:lnTo>
                      <a:lnTo>
                        <a:pt x="2598" y="284"/>
                      </a:lnTo>
                      <a:lnTo>
                        <a:pt x="2590" y="286"/>
                      </a:lnTo>
                      <a:lnTo>
                        <a:pt x="2590" y="286"/>
                      </a:lnTo>
                      <a:lnTo>
                        <a:pt x="2580" y="288"/>
                      </a:lnTo>
                      <a:lnTo>
                        <a:pt x="2572" y="288"/>
                      </a:lnTo>
                      <a:lnTo>
                        <a:pt x="2564" y="286"/>
                      </a:lnTo>
                      <a:lnTo>
                        <a:pt x="2556" y="282"/>
                      </a:lnTo>
                      <a:lnTo>
                        <a:pt x="2544" y="272"/>
                      </a:lnTo>
                      <a:lnTo>
                        <a:pt x="2532" y="260"/>
                      </a:lnTo>
                      <a:lnTo>
                        <a:pt x="2520" y="246"/>
                      </a:lnTo>
                      <a:lnTo>
                        <a:pt x="2510" y="234"/>
                      </a:lnTo>
                      <a:lnTo>
                        <a:pt x="2504" y="230"/>
                      </a:lnTo>
                      <a:lnTo>
                        <a:pt x="2498" y="226"/>
                      </a:lnTo>
                      <a:lnTo>
                        <a:pt x="2492" y="224"/>
                      </a:lnTo>
                      <a:lnTo>
                        <a:pt x="2486" y="224"/>
                      </a:lnTo>
                      <a:lnTo>
                        <a:pt x="2486" y="224"/>
                      </a:lnTo>
                      <a:lnTo>
                        <a:pt x="2456" y="230"/>
                      </a:lnTo>
                      <a:lnTo>
                        <a:pt x="2438" y="234"/>
                      </a:lnTo>
                      <a:lnTo>
                        <a:pt x="2422" y="240"/>
                      </a:lnTo>
                      <a:lnTo>
                        <a:pt x="2408" y="246"/>
                      </a:lnTo>
                      <a:lnTo>
                        <a:pt x="2398" y="252"/>
                      </a:lnTo>
                      <a:lnTo>
                        <a:pt x="2394" y="256"/>
                      </a:lnTo>
                      <a:lnTo>
                        <a:pt x="2392" y="262"/>
                      </a:lnTo>
                      <a:lnTo>
                        <a:pt x="2392" y="266"/>
                      </a:lnTo>
                      <a:lnTo>
                        <a:pt x="2394" y="270"/>
                      </a:lnTo>
                      <a:lnTo>
                        <a:pt x="2394" y="270"/>
                      </a:lnTo>
                      <a:lnTo>
                        <a:pt x="2398" y="274"/>
                      </a:lnTo>
                      <a:lnTo>
                        <a:pt x="2400" y="278"/>
                      </a:lnTo>
                      <a:lnTo>
                        <a:pt x="2406" y="280"/>
                      </a:lnTo>
                      <a:lnTo>
                        <a:pt x="2410" y="280"/>
                      </a:lnTo>
                      <a:lnTo>
                        <a:pt x="2420" y="278"/>
                      </a:lnTo>
                      <a:lnTo>
                        <a:pt x="2432" y="274"/>
                      </a:lnTo>
                      <a:lnTo>
                        <a:pt x="2456" y="264"/>
                      </a:lnTo>
                      <a:lnTo>
                        <a:pt x="2464" y="262"/>
                      </a:lnTo>
                      <a:lnTo>
                        <a:pt x="2468" y="262"/>
                      </a:lnTo>
                      <a:lnTo>
                        <a:pt x="2472" y="264"/>
                      </a:lnTo>
                      <a:lnTo>
                        <a:pt x="2472" y="264"/>
                      </a:lnTo>
                      <a:lnTo>
                        <a:pt x="2474" y="266"/>
                      </a:lnTo>
                      <a:lnTo>
                        <a:pt x="2476" y="268"/>
                      </a:lnTo>
                      <a:lnTo>
                        <a:pt x="2472" y="272"/>
                      </a:lnTo>
                      <a:lnTo>
                        <a:pt x="2456" y="278"/>
                      </a:lnTo>
                      <a:lnTo>
                        <a:pt x="2436" y="286"/>
                      </a:lnTo>
                      <a:lnTo>
                        <a:pt x="2428" y="292"/>
                      </a:lnTo>
                      <a:lnTo>
                        <a:pt x="2422" y="298"/>
                      </a:lnTo>
                      <a:lnTo>
                        <a:pt x="2422" y="298"/>
                      </a:lnTo>
                      <a:lnTo>
                        <a:pt x="2422" y="304"/>
                      </a:lnTo>
                      <a:lnTo>
                        <a:pt x="2424" y="308"/>
                      </a:lnTo>
                      <a:lnTo>
                        <a:pt x="2428" y="320"/>
                      </a:lnTo>
                      <a:lnTo>
                        <a:pt x="2440" y="342"/>
                      </a:lnTo>
                      <a:lnTo>
                        <a:pt x="2444" y="350"/>
                      </a:lnTo>
                      <a:lnTo>
                        <a:pt x="2444" y="352"/>
                      </a:lnTo>
                      <a:lnTo>
                        <a:pt x="2444" y="354"/>
                      </a:lnTo>
                      <a:lnTo>
                        <a:pt x="2436" y="350"/>
                      </a:lnTo>
                      <a:lnTo>
                        <a:pt x="2418" y="340"/>
                      </a:lnTo>
                      <a:lnTo>
                        <a:pt x="2418" y="340"/>
                      </a:lnTo>
                      <a:lnTo>
                        <a:pt x="2398" y="326"/>
                      </a:lnTo>
                      <a:lnTo>
                        <a:pt x="2382" y="318"/>
                      </a:lnTo>
                      <a:lnTo>
                        <a:pt x="2364" y="310"/>
                      </a:lnTo>
                      <a:lnTo>
                        <a:pt x="2354" y="306"/>
                      </a:lnTo>
                      <a:lnTo>
                        <a:pt x="2348" y="302"/>
                      </a:lnTo>
                      <a:lnTo>
                        <a:pt x="2340" y="294"/>
                      </a:lnTo>
                      <a:lnTo>
                        <a:pt x="2340" y="294"/>
                      </a:lnTo>
                      <a:lnTo>
                        <a:pt x="2334" y="288"/>
                      </a:lnTo>
                      <a:lnTo>
                        <a:pt x="2330" y="286"/>
                      </a:lnTo>
                      <a:lnTo>
                        <a:pt x="2326" y="288"/>
                      </a:lnTo>
                      <a:lnTo>
                        <a:pt x="2320" y="290"/>
                      </a:lnTo>
                      <a:lnTo>
                        <a:pt x="2314" y="296"/>
                      </a:lnTo>
                      <a:lnTo>
                        <a:pt x="2304" y="300"/>
                      </a:lnTo>
                      <a:lnTo>
                        <a:pt x="2286" y="304"/>
                      </a:lnTo>
                      <a:lnTo>
                        <a:pt x="2262" y="308"/>
                      </a:lnTo>
                      <a:lnTo>
                        <a:pt x="2262" y="308"/>
                      </a:lnTo>
                      <a:lnTo>
                        <a:pt x="2206" y="308"/>
                      </a:lnTo>
                      <a:lnTo>
                        <a:pt x="2180" y="308"/>
                      </a:lnTo>
                      <a:lnTo>
                        <a:pt x="2156" y="306"/>
                      </a:lnTo>
                      <a:lnTo>
                        <a:pt x="2140" y="302"/>
                      </a:lnTo>
                      <a:lnTo>
                        <a:pt x="2128" y="298"/>
                      </a:lnTo>
                      <a:lnTo>
                        <a:pt x="2124" y="296"/>
                      </a:lnTo>
                      <a:lnTo>
                        <a:pt x="2124" y="292"/>
                      </a:lnTo>
                      <a:lnTo>
                        <a:pt x="2126" y="288"/>
                      </a:lnTo>
                      <a:lnTo>
                        <a:pt x="2130" y="284"/>
                      </a:lnTo>
                      <a:lnTo>
                        <a:pt x="2130" y="284"/>
                      </a:lnTo>
                      <a:lnTo>
                        <a:pt x="2142" y="278"/>
                      </a:lnTo>
                      <a:lnTo>
                        <a:pt x="2154" y="274"/>
                      </a:lnTo>
                      <a:lnTo>
                        <a:pt x="2172" y="272"/>
                      </a:lnTo>
                      <a:lnTo>
                        <a:pt x="2178" y="270"/>
                      </a:lnTo>
                      <a:lnTo>
                        <a:pt x="2180" y="268"/>
                      </a:lnTo>
                      <a:lnTo>
                        <a:pt x="2178" y="264"/>
                      </a:lnTo>
                      <a:lnTo>
                        <a:pt x="2170" y="256"/>
                      </a:lnTo>
                      <a:lnTo>
                        <a:pt x="2170" y="256"/>
                      </a:lnTo>
                      <a:lnTo>
                        <a:pt x="2154" y="240"/>
                      </a:lnTo>
                      <a:lnTo>
                        <a:pt x="2144" y="232"/>
                      </a:lnTo>
                      <a:lnTo>
                        <a:pt x="2134" y="228"/>
                      </a:lnTo>
                      <a:lnTo>
                        <a:pt x="2124" y="222"/>
                      </a:lnTo>
                      <a:lnTo>
                        <a:pt x="2110" y="220"/>
                      </a:lnTo>
                      <a:lnTo>
                        <a:pt x="2096" y="220"/>
                      </a:lnTo>
                      <a:lnTo>
                        <a:pt x="2080" y="220"/>
                      </a:lnTo>
                      <a:lnTo>
                        <a:pt x="2080" y="220"/>
                      </a:lnTo>
                      <a:lnTo>
                        <a:pt x="2064" y="222"/>
                      </a:lnTo>
                      <a:lnTo>
                        <a:pt x="2046" y="220"/>
                      </a:lnTo>
                      <a:lnTo>
                        <a:pt x="2030" y="218"/>
                      </a:lnTo>
                      <a:lnTo>
                        <a:pt x="2014" y="212"/>
                      </a:lnTo>
                      <a:lnTo>
                        <a:pt x="1982" y="202"/>
                      </a:lnTo>
                      <a:lnTo>
                        <a:pt x="1948" y="194"/>
                      </a:lnTo>
                      <a:lnTo>
                        <a:pt x="1948" y="194"/>
                      </a:lnTo>
                      <a:lnTo>
                        <a:pt x="1932" y="190"/>
                      </a:lnTo>
                      <a:lnTo>
                        <a:pt x="1918" y="184"/>
                      </a:lnTo>
                      <a:lnTo>
                        <a:pt x="1890" y="172"/>
                      </a:lnTo>
                      <a:lnTo>
                        <a:pt x="1876" y="166"/>
                      </a:lnTo>
                      <a:lnTo>
                        <a:pt x="1862" y="160"/>
                      </a:lnTo>
                      <a:lnTo>
                        <a:pt x="1848" y="158"/>
                      </a:lnTo>
                      <a:lnTo>
                        <a:pt x="1832" y="158"/>
                      </a:lnTo>
                      <a:lnTo>
                        <a:pt x="1832" y="158"/>
                      </a:lnTo>
                      <a:lnTo>
                        <a:pt x="1820" y="160"/>
                      </a:lnTo>
                      <a:lnTo>
                        <a:pt x="1812" y="164"/>
                      </a:lnTo>
                      <a:lnTo>
                        <a:pt x="1808" y="170"/>
                      </a:lnTo>
                      <a:lnTo>
                        <a:pt x="1806" y="176"/>
                      </a:lnTo>
                      <a:lnTo>
                        <a:pt x="1804" y="182"/>
                      </a:lnTo>
                      <a:lnTo>
                        <a:pt x="1800" y="186"/>
                      </a:lnTo>
                      <a:lnTo>
                        <a:pt x="1792" y="188"/>
                      </a:lnTo>
                      <a:lnTo>
                        <a:pt x="1780" y="188"/>
                      </a:lnTo>
                      <a:lnTo>
                        <a:pt x="1780" y="188"/>
                      </a:lnTo>
                      <a:lnTo>
                        <a:pt x="1774" y="186"/>
                      </a:lnTo>
                      <a:lnTo>
                        <a:pt x="1768" y="184"/>
                      </a:lnTo>
                      <a:lnTo>
                        <a:pt x="1764" y="180"/>
                      </a:lnTo>
                      <a:lnTo>
                        <a:pt x="1762" y="176"/>
                      </a:lnTo>
                      <a:lnTo>
                        <a:pt x="1760" y="166"/>
                      </a:lnTo>
                      <a:lnTo>
                        <a:pt x="1760" y="156"/>
                      </a:lnTo>
                      <a:lnTo>
                        <a:pt x="1760" y="146"/>
                      </a:lnTo>
                      <a:lnTo>
                        <a:pt x="1758" y="138"/>
                      </a:lnTo>
                      <a:lnTo>
                        <a:pt x="1756" y="136"/>
                      </a:lnTo>
                      <a:lnTo>
                        <a:pt x="1750" y="134"/>
                      </a:lnTo>
                      <a:lnTo>
                        <a:pt x="1744" y="134"/>
                      </a:lnTo>
                      <a:lnTo>
                        <a:pt x="1736" y="134"/>
                      </a:lnTo>
                      <a:lnTo>
                        <a:pt x="1736" y="134"/>
                      </a:lnTo>
                      <a:lnTo>
                        <a:pt x="1732" y="136"/>
                      </a:lnTo>
                      <a:lnTo>
                        <a:pt x="1730" y="140"/>
                      </a:lnTo>
                      <a:lnTo>
                        <a:pt x="1726" y="148"/>
                      </a:lnTo>
                      <a:lnTo>
                        <a:pt x="1724" y="172"/>
                      </a:lnTo>
                      <a:lnTo>
                        <a:pt x="1720" y="182"/>
                      </a:lnTo>
                      <a:lnTo>
                        <a:pt x="1718" y="186"/>
                      </a:lnTo>
                      <a:lnTo>
                        <a:pt x="1716" y="190"/>
                      </a:lnTo>
                      <a:lnTo>
                        <a:pt x="1712" y="190"/>
                      </a:lnTo>
                      <a:lnTo>
                        <a:pt x="1706" y="190"/>
                      </a:lnTo>
                      <a:lnTo>
                        <a:pt x="1698" y="188"/>
                      </a:lnTo>
                      <a:lnTo>
                        <a:pt x="1688" y="184"/>
                      </a:lnTo>
                      <a:lnTo>
                        <a:pt x="1688" y="184"/>
                      </a:lnTo>
                      <a:lnTo>
                        <a:pt x="1684" y="182"/>
                      </a:lnTo>
                      <a:lnTo>
                        <a:pt x="1678" y="176"/>
                      </a:lnTo>
                      <a:lnTo>
                        <a:pt x="1668" y="162"/>
                      </a:lnTo>
                      <a:lnTo>
                        <a:pt x="1650" y="132"/>
                      </a:lnTo>
                      <a:lnTo>
                        <a:pt x="1640" y="116"/>
                      </a:lnTo>
                      <a:lnTo>
                        <a:pt x="1630" y="106"/>
                      </a:lnTo>
                      <a:lnTo>
                        <a:pt x="1624" y="104"/>
                      </a:lnTo>
                      <a:lnTo>
                        <a:pt x="1620" y="102"/>
                      </a:lnTo>
                      <a:lnTo>
                        <a:pt x="1614" y="102"/>
                      </a:lnTo>
                      <a:lnTo>
                        <a:pt x="1608" y="106"/>
                      </a:lnTo>
                      <a:lnTo>
                        <a:pt x="1608" y="106"/>
                      </a:lnTo>
                      <a:lnTo>
                        <a:pt x="1600" y="114"/>
                      </a:lnTo>
                      <a:lnTo>
                        <a:pt x="1598" y="116"/>
                      </a:lnTo>
                      <a:lnTo>
                        <a:pt x="1600" y="118"/>
                      </a:lnTo>
                      <a:lnTo>
                        <a:pt x="1604" y="120"/>
                      </a:lnTo>
                      <a:lnTo>
                        <a:pt x="1610" y="122"/>
                      </a:lnTo>
                      <a:lnTo>
                        <a:pt x="1616" y="124"/>
                      </a:lnTo>
                      <a:lnTo>
                        <a:pt x="1616" y="126"/>
                      </a:lnTo>
                      <a:lnTo>
                        <a:pt x="1616" y="130"/>
                      </a:lnTo>
                      <a:lnTo>
                        <a:pt x="1610" y="138"/>
                      </a:lnTo>
                      <a:lnTo>
                        <a:pt x="1592" y="150"/>
                      </a:lnTo>
                      <a:lnTo>
                        <a:pt x="1592" y="150"/>
                      </a:lnTo>
                      <a:lnTo>
                        <a:pt x="1574" y="160"/>
                      </a:lnTo>
                      <a:lnTo>
                        <a:pt x="1572" y="160"/>
                      </a:lnTo>
                      <a:lnTo>
                        <a:pt x="1570" y="158"/>
                      </a:lnTo>
                      <a:lnTo>
                        <a:pt x="1568" y="156"/>
                      </a:lnTo>
                      <a:lnTo>
                        <a:pt x="1560" y="156"/>
                      </a:lnTo>
                      <a:lnTo>
                        <a:pt x="1546" y="160"/>
                      </a:lnTo>
                      <a:lnTo>
                        <a:pt x="1522" y="168"/>
                      </a:lnTo>
                      <a:lnTo>
                        <a:pt x="1522" y="168"/>
                      </a:lnTo>
                      <a:lnTo>
                        <a:pt x="1482" y="180"/>
                      </a:lnTo>
                      <a:lnTo>
                        <a:pt x="1476" y="182"/>
                      </a:lnTo>
                      <a:lnTo>
                        <a:pt x="1476" y="180"/>
                      </a:lnTo>
                      <a:lnTo>
                        <a:pt x="1476" y="180"/>
                      </a:lnTo>
                      <a:lnTo>
                        <a:pt x="1494" y="168"/>
                      </a:lnTo>
                      <a:lnTo>
                        <a:pt x="1526" y="152"/>
                      </a:lnTo>
                      <a:lnTo>
                        <a:pt x="1526" y="152"/>
                      </a:lnTo>
                      <a:lnTo>
                        <a:pt x="1552" y="140"/>
                      </a:lnTo>
                      <a:lnTo>
                        <a:pt x="1558" y="136"/>
                      </a:lnTo>
                      <a:lnTo>
                        <a:pt x="1560" y="132"/>
                      </a:lnTo>
                      <a:lnTo>
                        <a:pt x="1560" y="132"/>
                      </a:lnTo>
                      <a:lnTo>
                        <a:pt x="1556" y="132"/>
                      </a:lnTo>
                      <a:lnTo>
                        <a:pt x="1538" y="134"/>
                      </a:lnTo>
                      <a:lnTo>
                        <a:pt x="1538" y="134"/>
                      </a:lnTo>
                      <a:lnTo>
                        <a:pt x="1530" y="136"/>
                      </a:lnTo>
                      <a:lnTo>
                        <a:pt x="1522" y="134"/>
                      </a:lnTo>
                      <a:lnTo>
                        <a:pt x="1510" y="134"/>
                      </a:lnTo>
                      <a:lnTo>
                        <a:pt x="1506" y="134"/>
                      </a:lnTo>
                      <a:lnTo>
                        <a:pt x="1498" y="136"/>
                      </a:lnTo>
                      <a:lnTo>
                        <a:pt x="1488" y="140"/>
                      </a:lnTo>
                      <a:lnTo>
                        <a:pt x="1474" y="148"/>
                      </a:lnTo>
                      <a:lnTo>
                        <a:pt x="1474" y="148"/>
                      </a:lnTo>
                      <a:lnTo>
                        <a:pt x="1462" y="156"/>
                      </a:lnTo>
                      <a:lnTo>
                        <a:pt x="1454" y="160"/>
                      </a:lnTo>
                      <a:lnTo>
                        <a:pt x="1448" y="160"/>
                      </a:lnTo>
                      <a:lnTo>
                        <a:pt x="1442" y="162"/>
                      </a:lnTo>
                      <a:lnTo>
                        <a:pt x="1438" y="162"/>
                      </a:lnTo>
                      <a:lnTo>
                        <a:pt x="1432" y="164"/>
                      </a:lnTo>
                      <a:lnTo>
                        <a:pt x="1422" y="168"/>
                      </a:lnTo>
                      <a:lnTo>
                        <a:pt x="1406" y="178"/>
                      </a:lnTo>
                      <a:lnTo>
                        <a:pt x="1406" y="178"/>
                      </a:lnTo>
                      <a:lnTo>
                        <a:pt x="1378" y="198"/>
                      </a:lnTo>
                      <a:lnTo>
                        <a:pt x="1358" y="210"/>
                      </a:lnTo>
                      <a:lnTo>
                        <a:pt x="1352" y="214"/>
                      </a:lnTo>
                      <a:lnTo>
                        <a:pt x="1350" y="218"/>
                      </a:lnTo>
                      <a:lnTo>
                        <a:pt x="1350" y="224"/>
                      </a:lnTo>
                      <a:lnTo>
                        <a:pt x="1352" y="230"/>
                      </a:lnTo>
                      <a:lnTo>
                        <a:pt x="1352" y="230"/>
                      </a:lnTo>
                      <a:lnTo>
                        <a:pt x="1352" y="234"/>
                      </a:lnTo>
                      <a:lnTo>
                        <a:pt x="1352" y="236"/>
                      </a:lnTo>
                      <a:lnTo>
                        <a:pt x="1340" y="232"/>
                      </a:lnTo>
                      <a:lnTo>
                        <a:pt x="1332" y="230"/>
                      </a:lnTo>
                      <a:lnTo>
                        <a:pt x="1324" y="228"/>
                      </a:lnTo>
                      <a:lnTo>
                        <a:pt x="1316" y="230"/>
                      </a:lnTo>
                      <a:lnTo>
                        <a:pt x="1308" y="232"/>
                      </a:lnTo>
                      <a:lnTo>
                        <a:pt x="1308" y="232"/>
                      </a:lnTo>
                      <a:lnTo>
                        <a:pt x="1300" y="236"/>
                      </a:lnTo>
                      <a:lnTo>
                        <a:pt x="1296" y="236"/>
                      </a:lnTo>
                      <a:lnTo>
                        <a:pt x="1294" y="236"/>
                      </a:lnTo>
                      <a:lnTo>
                        <a:pt x="1290" y="232"/>
                      </a:lnTo>
                      <a:lnTo>
                        <a:pt x="1286" y="228"/>
                      </a:lnTo>
                      <a:lnTo>
                        <a:pt x="1280" y="226"/>
                      </a:lnTo>
                      <a:lnTo>
                        <a:pt x="1270" y="224"/>
                      </a:lnTo>
                      <a:lnTo>
                        <a:pt x="1258" y="222"/>
                      </a:lnTo>
                      <a:lnTo>
                        <a:pt x="1258" y="222"/>
                      </a:lnTo>
                      <a:lnTo>
                        <a:pt x="1236" y="220"/>
                      </a:lnTo>
                      <a:lnTo>
                        <a:pt x="1216" y="214"/>
                      </a:lnTo>
                      <a:lnTo>
                        <a:pt x="1198" y="206"/>
                      </a:lnTo>
                      <a:lnTo>
                        <a:pt x="1178" y="196"/>
                      </a:lnTo>
                      <a:lnTo>
                        <a:pt x="1160" y="186"/>
                      </a:lnTo>
                      <a:lnTo>
                        <a:pt x="1138" y="178"/>
                      </a:lnTo>
                      <a:lnTo>
                        <a:pt x="1114" y="172"/>
                      </a:lnTo>
                      <a:lnTo>
                        <a:pt x="1102" y="172"/>
                      </a:lnTo>
                      <a:lnTo>
                        <a:pt x="1088" y="172"/>
                      </a:lnTo>
                      <a:lnTo>
                        <a:pt x="1088" y="172"/>
                      </a:lnTo>
                      <a:lnTo>
                        <a:pt x="1074" y="170"/>
                      </a:lnTo>
                      <a:lnTo>
                        <a:pt x="1062" y="168"/>
                      </a:lnTo>
                      <a:lnTo>
                        <a:pt x="1052" y="162"/>
                      </a:lnTo>
                      <a:lnTo>
                        <a:pt x="1044" y="158"/>
                      </a:lnTo>
                      <a:lnTo>
                        <a:pt x="1036" y="152"/>
                      </a:lnTo>
                      <a:lnTo>
                        <a:pt x="1026" y="146"/>
                      </a:lnTo>
                      <a:lnTo>
                        <a:pt x="1014" y="142"/>
                      </a:lnTo>
                      <a:lnTo>
                        <a:pt x="998" y="140"/>
                      </a:lnTo>
                      <a:lnTo>
                        <a:pt x="998" y="140"/>
                      </a:lnTo>
                      <a:lnTo>
                        <a:pt x="982" y="138"/>
                      </a:lnTo>
                      <a:lnTo>
                        <a:pt x="970" y="140"/>
                      </a:lnTo>
                      <a:lnTo>
                        <a:pt x="950" y="144"/>
                      </a:lnTo>
                      <a:lnTo>
                        <a:pt x="940" y="146"/>
                      </a:lnTo>
                      <a:lnTo>
                        <a:pt x="932" y="146"/>
                      </a:lnTo>
                      <a:lnTo>
                        <a:pt x="922" y="146"/>
                      </a:lnTo>
                      <a:lnTo>
                        <a:pt x="912" y="142"/>
                      </a:lnTo>
                      <a:lnTo>
                        <a:pt x="912" y="142"/>
                      </a:lnTo>
                      <a:lnTo>
                        <a:pt x="898" y="138"/>
                      </a:lnTo>
                      <a:lnTo>
                        <a:pt x="884" y="134"/>
                      </a:lnTo>
                      <a:lnTo>
                        <a:pt x="852" y="132"/>
                      </a:lnTo>
                      <a:lnTo>
                        <a:pt x="816" y="128"/>
                      </a:lnTo>
                      <a:lnTo>
                        <a:pt x="798" y="122"/>
                      </a:lnTo>
                      <a:lnTo>
                        <a:pt x="778" y="116"/>
                      </a:lnTo>
                      <a:lnTo>
                        <a:pt x="778" y="116"/>
                      </a:lnTo>
                      <a:lnTo>
                        <a:pt x="758" y="110"/>
                      </a:lnTo>
                      <a:lnTo>
                        <a:pt x="744" y="108"/>
                      </a:lnTo>
                      <a:lnTo>
                        <a:pt x="732" y="108"/>
                      </a:lnTo>
                      <a:lnTo>
                        <a:pt x="722" y="110"/>
                      </a:lnTo>
                      <a:lnTo>
                        <a:pt x="710" y="114"/>
                      </a:lnTo>
                      <a:lnTo>
                        <a:pt x="698" y="116"/>
                      </a:lnTo>
                      <a:lnTo>
                        <a:pt x="682" y="114"/>
                      </a:lnTo>
                      <a:lnTo>
                        <a:pt x="664" y="110"/>
                      </a:lnTo>
                      <a:lnTo>
                        <a:pt x="664" y="110"/>
                      </a:lnTo>
                      <a:lnTo>
                        <a:pt x="648" y="104"/>
                      </a:lnTo>
                      <a:lnTo>
                        <a:pt x="640" y="98"/>
                      </a:lnTo>
                      <a:lnTo>
                        <a:pt x="636" y="94"/>
                      </a:lnTo>
                      <a:lnTo>
                        <a:pt x="636" y="90"/>
                      </a:lnTo>
                      <a:lnTo>
                        <a:pt x="634" y="86"/>
                      </a:lnTo>
                      <a:lnTo>
                        <a:pt x="630" y="82"/>
                      </a:lnTo>
                      <a:lnTo>
                        <a:pt x="622" y="82"/>
                      </a:lnTo>
                      <a:lnTo>
                        <a:pt x="604" y="80"/>
                      </a:lnTo>
                      <a:lnTo>
                        <a:pt x="604" y="80"/>
                      </a:lnTo>
                      <a:lnTo>
                        <a:pt x="572" y="82"/>
                      </a:lnTo>
                      <a:lnTo>
                        <a:pt x="556" y="82"/>
                      </a:lnTo>
                      <a:lnTo>
                        <a:pt x="552" y="82"/>
                      </a:lnTo>
                      <a:lnTo>
                        <a:pt x="548" y="80"/>
                      </a:lnTo>
                      <a:lnTo>
                        <a:pt x="540" y="72"/>
                      </a:lnTo>
                      <a:lnTo>
                        <a:pt x="540" y="72"/>
                      </a:lnTo>
                      <a:lnTo>
                        <a:pt x="534" y="66"/>
                      </a:lnTo>
                      <a:lnTo>
                        <a:pt x="528" y="66"/>
                      </a:lnTo>
                      <a:lnTo>
                        <a:pt x="524" y="66"/>
                      </a:lnTo>
                      <a:lnTo>
                        <a:pt x="518" y="68"/>
                      </a:lnTo>
                      <a:lnTo>
                        <a:pt x="510" y="70"/>
                      </a:lnTo>
                      <a:lnTo>
                        <a:pt x="506" y="70"/>
                      </a:lnTo>
                      <a:lnTo>
                        <a:pt x="500" y="66"/>
                      </a:lnTo>
                      <a:lnTo>
                        <a:pt x="500" y="66"/>
                      </a:lnTo>
                      <a:lnTo>
                        <a:pt x="488" y="56"/>
                      </a:lnTo>
                      <a:lnTo>
                        <a:pt x="482" y="52"/>
                      </a:lnTo>
                      <a:lnTo>
                        <a:pt x="474" y="50"/>
                      </a:lnTo>
                      <a:lnTo>
                        <a:pt x="466" y="50"/>
                      </a:lnTo>
                      <a:lnTo>
                        <a:pt x="456" y="52"/>
                      </a:lnTo>
                      <a:lnTo>
                        <a:pt x="444" y="58"/>
                      </a:lnTo>
                      <a:lnTo>
                        <a:pt x="432" y="68"/>
                      </a:lnTo>
                      <a:lnTo>
                        <a:pt x="432" y="68"/>
                      </a:lnTo>
                      <a:lnTo>
                        <a:pt x="418" y="78"/>
                      </a:lnTo>
                      <a:lnTo>
                        <a:pt x="404" y="82"/>
                      </a:lnTo>
                      <a:lnTo>
                        <a:pt x="392" y="84"/>
                      </a:lnTo>
                      <a:lnTo>
                        <a:pt x="378" y="84"/>
                      </a:lnTo>
                      <a:lnTo>
                        <a:pt x="364" y="84"/>
                      </a:lnTo>
                      <a:lnTo>
                        <a:pt x="348" y="86"/>
                      </a:lnTo>
                      <a:lnTo>
                        <a:pt x="330" y="94"/>
                      </a:lnTo>
                      <a:lnTo>
                        <a:pt x="310" y="106"/>
                      </a:lnTo>
                      <a:lnTo>
                        <a:pt x="310" y="106"/>
                      </a:lnTo>
                      <a:lnTo>
                        <a:pt x="300" y="114"/>
                      </a:lnTo>
                      <a:lnTo>
                        <a:pt x="290" y="120"/>
                      </a:lnTo>
                      <a:lnTo>
                        <a:pt x="282" y="122"/>
                      </a:lnTo>
                      <a:lnTo>
                        <a:pt x="274" y="124"/>
                      </a:lnTo>
                      <a:lnTo>
                        <a:pt x="260" y="126"/>
                      </a:lnTo>
                      <a:lnTo>
                        <a:pt x="250" y="124"/>
                      </a:lnTo>
                      <a:lnTo>
                        <a:pt x="240" y="124"/>
                      </a:lnTo>
                      <a:lnTo>
                        <a:pt x="236" y="124"/>
                      </a:lnTo>
                      <a:lnTo>
                        <a:pt x="230" y="126"/>
                      </a:lnTo>
                      <a:lnTo>
                        <a:pt x="226" y="130"/>
                      </a:lnTo>
                      <a:lnTo>
                        <a:pt x="222" y="134"/>
                      </a:lnTo>
                      <a:lnTo>
                        <a:pt x="212" y="152"/>
                      </a:lnTo>
                      <a:lnTo>
                        <a:pt x="212" y="152"/>
                      </a:lnTo>
                      <a:lnTo>
                        <a:pt x="202" y="172"/>
                      </a:lnTo>
                      <a:lnTo>
                        <a:pt x="192" y="188"/>
                      </a:lnTo>
                      <a:lnTo>
                        <a:pt x="182" y="202"/>
                      </a:lnTo>
                      <a:lnTo>
                        <a:pt x="172" y="212"/>
                      </a:lnTo>
                      <a:lnTo>
                        <a:pt x="158" y="220"/>
                      </a:lnTo>
                      <a:lnTo>
                        <a:pt x="142" y="224"/>
                      </a:lnTo>
                      <a:lnTo>
                        <a:pt x="122" y="228"/>
                      </a:lnTo>
                      <a:lnTo>
                        <a:pt x="96" y="228"/>
                      </a:lnTo>
                      <a:lnTo>
                        <a:pt x="96" y="228"/>
                      </a:lnTo>
                      <a:lnTo>
                        <a:pt x="84" y="230"/>
                      </a:lnTo>
                      <a:lnTo>
                        <a:pt x="78" y="232"/>
                      </a:lnTo>
                      <a:lnTo>
                        <a:pt x="74" y="236"/>
                      </a:lnTo>
                      <a:lnTo>
                        <a:pt x="74" y="240"/>
                      </a:lnTo>
                      <a:lnTo>
                        <a:pt x="74" y="244"/>
                      </a:lnTo>
                      <a:lnTo>
                        <a:pt x="72" y="250"/>
                      </a:lnTo>
                      <a:lnTo>
                        <a:pt x="66" y="254"/>
                      </a:lnTo>
                      <a:lnTo>
                        <a:pt x="58" y="258"/>
                      </a:lnTo>
                      <a:lnTo>
                        <a:pt x="58" y="258"/>
                      </a:lnTo>
                      <a:lnTo>
                        <a:pt x="54" y="260"/>
                      </a:lnTo>
                      <a:lnTo>
                        <a:pt x="52" y="262"/>
                      </a:lnTo>
                      <a:lnTo>
                        <a:pt x="54" y="266"/>
                      </a:lnTo>
                      <a:lnTo>
                        <a:pt x="58" y="268"/>
                      </a:lnTo>
                      <a:lnTo>
                        <a:pt x="72" y="274"/>
                      </a:lnTo>
                      <a:lnTo>
                        <a:pt x="92" y="282"/>
                      </a:lnTo>
                      <a:lnTo>
                        <a:pt x="114" y="292"/>
                      </a:lnTo>
                      <a:lnTo>
                        <a:pt x="136" y="304"/>
                      </a:lnTo>
                      <a:lnTo>
                        <a:pt x="156" y="318"/>
                      </a:lnTo>
                      <a:lnTo>
                        <a:pt x="162" y="326"/>
                      </a:lnTo>
                      <a:lnTo>
                        <a:pt x="168" y="334"/>
                      </a:lnTo>
                      <a:lnTo>
                        <a:pt x="168" y="334"/>
                      </a:lnTo>
                      <a:lnTo>
                        <a:pt x="172" y="342"/>
                      </a:lnTo>
                      <a:lnTo>
                        <a:pt x="176" y="346"/>
                      </a:lnTo>
                      <a:lnTo>
                        <a:pt x="186" y="354"/>
                      </a:lnTo>
                      <a:lnTo>
                        <a:pt x="196" y="356"/>
                      </a:lnTo>
                      <a:lnTo>
                        <a:pt x="206" y="356"/>
                      </a:lnTo>
                      <a:lnTo>
                        <a:pt x="212" y="356"/>
                      </a:lnTo>
                      <a:lnTo>
                        <a:pt x="218" y="356"/>
                      </a:lnTo>
                      <a:lnTo>
                        <a:pt x="220" y="356"/>
                      </a:lnTo>
                      <a:lnTo>
                        <a:pt x="222" y="358"/>
                      </a:lnTo>
                      <a:lnTo>
                        <a:pt x="220" y="364"/>
                      </a:lnTo>
                      <a:lnTo>
                        <a:pt x="220" y="364"/>
                      </a:lnTo>
                      <a:lnTo>
                        <a:pt x="220" y="372"/>
                      </a:lnTo>
                      <a:lnTo>
                        <a:pt x="220" y="376"/>
                      </a:lnTo>
                      <a:lnTo>
                        <a:pt x="224" y="378"/>
                      </a:lnTo>
                      <a:lnTo>
                        <a:pt x="228" y="380"/>
                      </a:lnTo>
                      <a:lnTo>
                        <a:pt x="232" y="380"/>
                      </a:lnTo>
                      <a:lnTo>
                        <a:pt x="236" y="382"/>
                      </a:lnTo>
                      <a:lnTo>
                        <a:pt x="240" y="386"/>
                      </a:lnTo>
                      <a:lnTo>
                        <a:pt x="242" y="392"/>
                      </a:lnTo>
                      <a:lnTo>
                        <a:pt x="242" y="392"/>
                      </a:lnTo>
                      <a:lnTo>
                        <a:pt x="244" y="400"/>
                      </a:lnTo>
                      <a:lnTo>
                        <a:pt x="248" y="402"/>
                      </a:lnTo>
                      <a:lnTo>
                        <a:pt x="254" y="404"/>
                      </a:lnTo>
                      <a:lnTo>
                        <a:pt x="260" y="402"/>
                      </a:lnTo>
                      <a:lnTo>
                        <a:pt x="266" y="402"/>
                      </a:lnTo>
                      <a:lnTo>
                        <a:pt x="270" y="402"/>
                      </a:lnTo>
                      <a:lnTo>
                        <a:pt x="274" y="404"/>
                      </a:lnTo>
                      <a:lnTo>
                        <a:pt x="276" y="410"/>
                      </a:lnTo>
                      <a:lnTo>
                        <a:pt x="276" y="410"/>
                      </a:lnTo>
                      <a:lnTo>
                        <a:pt x="274" y="418"/>
                      </a:lnTo>
                      <a:lnTo>
                        <a:pt x="272" y="418"/>
                      </a:lnTo>
                      <a:lnTo>
                        <a:pt x="270" y="418"/>
                      </a:lnTo>
                      <a:lnTo>
                        <a:pt x="266" y="416"/>
                      </a:lnTo>
                      <a:lnTo>
                        <a:pt x="262" y="416"/>
                      </a:lnTo>
                      <a:lnTo>
                        <a:pt x="258" y="418"/>
                      </a:lnTo>
                      <a:lnTo>
                        <a:pt x="252" y="424"/>
                      </a:lnTo>
                      <a:lnTo>
                        <a:pt x="252" y="424"/>
                      </a:lnTo>
                      <a:lnTo>
                        <a:pt x="250" y="426"/>
                      </a:lnTo>
                      <a:lnTo>
                        <a:pt x="248" y="426"/>
                      </a:lnTo>
                      <a:lnTo>
                        <a:pt x="240" y="422"/>
                      </a:lnTo>
                      <a:lnTo>
                        <a:pt x="234" y="420"/>
                      </a:lnTo>
                      <a:lnTo>
                        <a:pt x="224" y="420"/>
                      </a:lnTo>
                      <a:lnTo>
                        <a:pt x="212" y="420"/>
                      </a:lnTo>
                      <a:lnTo>
                        <a:pt x="194" y="422"/>
                      </a:lnTo>
                      <a:lnTo>
                        <a:pt x="194" y="422"/>
                      </a:lnTo>
                      <a:lnTo>
                        <a:pt x="186" y="422"/>
                      </a:lnTo>
                      <a:lnTo>
                        <a:pt x="180" y="420"/>
                      </a:lnTo>
                      <a:lnTo>
                        <a:pt x="176" y="418"/>
                      </a:lnTo>
                      <a:lnTo>
                        <a:pt x="174" y="416"/>
                      </a:lnTo>
                      <a:lnTo>
                        <a:pt x="174" y="408"/>
                      </a:lnTo>
                      <a:lnTo>
                        <a:pt x="176" y="398"/>
                      </a:lnTo>
                      <a:lnTo>
                        <a:pt x="176" y="390"/>
                      </a:lnTo>
                      <a:lnTo>
                        <a:pt x="174" y="388"/>
                      </a:lnTo>
                      <a:lnTo>
                        <a:pt x="172" y="384"/>
                      </a:lnTo>
                      <a:lnTo>
                        <a:pt x="168" y="384"/>
                      </a:lnTo>
                      <a:lnTo>
                        <a:pt x="162" y="384"/>
                      </a:lnTo>
                      <a:lnTo>
                        <a:pt x="140" y="388"/>
                      </a:lnTo>
                      <a:lnTo>
                        <a:pt x="140" y="388"/>
                      </a:lnTo>
                      <a:lnTo>
                        <a:pt x="116" y="396"/>
                      </a:lnTo>
                      <a:lnTo>
                        <a:pt x="92" y="406"/>
                      </a:lnTo>
                      <a:lnTo>
                        <a:pt x="56" y="424"/>
                      </a:lnTo>
                      <a:lnTo>
                        <a:pt x="28" y="440"/>
                      </a:lnTo>
                      <a:lnTo>
                        <a:pt x="18" y="444"/>
                      </a:lnTo>
                      <a:lnTo>
                        <a:pt x="10" y="446"/>
                      </a:lnTo>
                      <a:lnTo>
                        <a:pt x="10" y="446"/>
                      </a:lnTo>
                      <a:lnTo>
                        <a:pt x="4" y="448"/>
                      </a:lnTo>
                      <a:lnTo>
                        <a:pt x="0" y="452"/>
                      </a:lnTo>
                      <a:lnTo>
                        <a:pt x="0" y="456"/>
                      </a:lnTo>
                      <a:lnTo>
                        <a:pt x="2" y="460"/>
                      </a:lnTo>
                      <a:lnTo>
                        <a:pt x="8" y="466"/>
                      </a:lnTo>
                      <a:lnTo>
                        <a:pt x="16" y="470"/>
                      </a:lnTo>
                      <a:lnTo>
                        <a:pt x="28" y="472"/>
                      </a:lnTo>
                      <a:lnTo>
                        <a:pt x="42" y="474"/>
                      </a:lnTo>
                      <a:lnTo>
                        <a:pt x="42" y="474"/>
                      </a:lnTo>
                      <a:lnTo>
                        <a:pt x="54" y="474"/>
                      </a:lnTo>
                      <a:lnTo>
                        <a:pt x="60" y="478"/>
                      </a:lnTo>
                      <a:lnTo>
                        <a:pt x="58" y="480"/>
                      </a:lnTo>
                      <a:lnTo>
                        <a:pt x="56" y="484"/>
                      </a:lnTo>
                      <a:lnTo>
                        <a:pt x="52" y="488"/>
                      </a:lnTo>
                      <a:lnTo>
                        <a:pt x="50" y="492"/>
                      </a:lnTo>
                      <a:lnTo>
                        <a:pt x="50" y="498"/>
                      </a:lnTo>
                      <a:lnTo>
                        <a:pt x="56" y="502"/>
                      </a:lnTo>
                      <a:lnTo>
                        <a:pt x="56" y="502"/>
                      </a:lnTo>
                      <a:lnTo>
                        <a:pt x="64" y="506"/>
                      </a:lnTo>
                      <a:lnTo>
                        <a:pt x="66" y="512"/>
                      </a:lnTo>
                      <a:lnTo>
                        <a:pt x="68" y="520"/>
                      </a:lnTo>
                      <a:lnTo>
                        <a:pt x="70" y="524"/>
                      </a:lnTo>
                      <a:lnTo>
                        <a:pt x="74" y="528"/>
                      </a:lnTo>
                      <a:lnTo>
                        <a:pt x="82" y="532"/>
                      </a:lnTo>
                      <a:lnTo>
                        <a:pt x="94" y="534"/>
                      </a:lnTo>
                      <a:lnTo>
                        <a:pt x="94" y="534"/>
                      </a:lnTo>
                      <a:lnTo>
                        <a:pt x="110" y="534"/>
                      </a:lnTo>
                      <a:lnTo>
                        <a:pt x="122" y="534"/>
                      </a:lnTo>
                      <a:lnTo>
                        <a:pt x="144" y="528"/>
                      </a:lnTo>
                      <a:lnTo>
                        <a:pt x="154" y="526"/>
                      </a:lnTo>
                      <a:lnTo>
                        <a:pt x="166" y="526"/>
                      </a:lnTo>
                      <a:lnTo>
                        <a:pt x="176" y="528"/>
                      </a:lnTo>
                      <a:lnTo>
                        <a:pt x="190" y="534"/>
                      </a:lnTo>
                      <a:lnTo>
                        <a:pt x="190" y="534"/>
                      </a:lnTo>
                      <a:lnTo>
                        <a:pt x="198" y="536"/>
                      </a:lnTo>
                      <a:lnTo>
                        <a:pt x="204" y="538"/>
                      </a:lnTo>
                      <a:lnTo>
                        <a:pt x="210" y="538"/>
                      </a:lnTo>
                      <a:lnTo>
                        <a:pt x="218" y="536"/>
                      </a:lnTo>
                      <a:lnTo>
                        <a:pt x="230" y="530"/>
                      </a:lnTo>
                      <a:lnTo>
                        <a:pt x="242" y="522"/>
                      </a:lnTo>
                      <a:lnTo>
                        <a:pt x="254" y="512"/>
                      </a:lnTo>
                      <a:lnTo>
                        <a:pt x="266" y="506"/>
                      </a:lnTo>
                      <a:lnTo>
                        <a:pt x="270" y="506"/>
                      </a:lnTo>
                      <a:lnTo>
                        <a:pt x="276" y="506"/>
                      </a:lnTo>
                      <a:lnTo>
                        <a:pt x="280" y="508"/>
                      </a:lnTo>
                      <a:lnTo>
                        <a:pt x="286" y="510"/>
                      </a:lnTo>
                      <a:lnTo>
                        <a:pt x="286" y="510"/>
                      </a:lnTo>
                      <a:lnTo>
                        <a:pt x="290" y="516"/>
                      </a:lnTo>
                      <a:lnTo>
                        <a:pt x="290" y="518"/>
                      </a:lnTo>
                      <a:lnTo>
                        <a:pt x="290" y="522"/>
                      </a:lnTo>
                      <a:lnTo>
                        <a:pt x="288" y="524"/>
                      </a:lnTo>
                      <a:lnTo>
                        <a:pt x="282" y="526"/>
                      </a:lnTo>
                      <a:lnTo>
                        <a:pt x="272" y="528"/>
                      </a:lnTo>
                      <a:lnTo>
                        <a:pt x="264" y="530"/>
                      </a:lnTo>
                      <a:lnTo>
                        <a:pt x="260" y="534"/>
                      </a:lnTo>
                      <a:lnTo>
                        <a:pt x="260" y="536"/>
                      </a:lnTo>
                      <a:lnTo>
                        <a:pt x="262" y="538"/>
                      </a:lnTo>
                      <a:lnTo>
                        <a:pt x="274" y="544"/>
                      </a:lnTo>
                      <a:lnTo>
                        <a:pt x="274" y="544"/>
                      </a:lnTo>
                      <a:lnTo>
                        <a:pt x="280" y="550"/>
                      </a:lnTo>
                      <a:lnTo>
                        <a:pt x="286" y="554"/>
                      </a:lnTo>
                      <a:lnTo>
                        <a:pt x="290" y="558"/>
                      </a:lnTo>
                      <a:lnTo>
                        <a:pt x="292" y="564"/>
                      </a:lnTo>
                      <a:lnTo>
                        <a:pt x="292" y="570"/>
                      </a:lnTo>
                      <a:lnTo>
                        <a:pt x="292" y="574"/>
                      </a:lnTo>
                      <a:lnTo>
                        <a:pt x="288" y="584"/>
                      </a:lnTo>
                      <a:lnTo>
                        <a:pt x="280" y="592"/>
                      </a:lnTo>
                      <a:lnTo>
                        <a:pt x="270" y="598"/>
                      </a:lnTo>
                      <a:lnTo>
                        <a:pt x="258" y="600"/>
                      </a:lnTo>
                      <a:lnTo>
                        <a:pt x="244" y="598"/>
                      </a:lnTo>
                      <a:lnTo>
                        <a:pt x="244" y="598"/>
                      </a:lnTo>
                      <a:lnTo>
                        <a:pt x="240" y="598"/>
                      </a:lnTo>
                      <a:lnTo>
                        <a:pt x="234" y="598"/>
                      </a:lnTo>
                      <a:lnTo>
                        <a:pt x="226" y="602"/>
                      </a:lnTo>
                      <a:lnTo>
                        <a:pt x="220" y="610"/>
                      </a:lnTo>
                      <a:lnTo>
                        <a:pt x="214" y="618"/>
                      </a:lnTo>
                      <a:lnTo>
                        <a:pt x="210" y="624"/>
                      </a:lnTo>
                      <a:lnTo>
                        <a:pt x="202" y="630"/>
                      </a:lnTo>
                      <a:lnTo>
                        <a:pt x="198" y="630"/>
                      </a:lnTo>
                      <a:lnTo>
                        <a:pt x="192" y="630"/>
                      </a:lnTo>
                      <a:lnTo>
                        <a:pt x="186" y="628"/>
                      </a:lnTo>
                      <a:lnTo>
                        <a:pt x="180" y="624"/>
                      </a:lnTo>
                      <a:lnTo>
                        <a:pt x="180" y="624"/>
                      </a:lnTo>
                      <a:lnTo>
                        <a:pt x="172" y="620"/>
                      </a:lnTo>
                      <a:lnTo>
                        <a:pt x="166" y="618"/>
                      </a:lnTo>
                      <a:lnTo>
                        <a:pt x="160" y="618"/>
                      </a:lnTo>
                      <a:lnTo>
                        <a:pt x="154" y="620"/>
                      </a:lnTo>
                      <a:lnTo>
                        <a:pt x="144" y="626"/>
                      </a:lnTo>
                      <a:lnTo>
                        <a:pt x="136" y="636"/>
                      </a:lnTo>
                      <a:lnTo>
                        <a:pt x="124" y="658"/>
                      </a:lnTo>
                      <a:lnTo>
                        <a:pt x="118" y="666"/>
                      </a:lnTo>
                      <a:lnTo>
                        <a:pt x="112" y="672"/>
                      </a:lnTo>
                      <a:lnTo>
                        <a:pt x="112" y="672"/>
                      </a:lnTo>
                      <a:lnTo>
                        <a:pt x="106" y="674"/>
                      </a:lnTo>
                      <a:lnTo>
                        <a:pt x="102" y="678"/>
                      </a:lnTo>
                      <a:lnTo>
                        <a:pt x="96" y="690"/>
                      </a:lnTo>
                      <a:lnTo>
                        <a:pt x="92" y="702"/>
                      </a:lnTo>
                      <a:lnTo>
                        <a:pt x="88" y="708"/>
                      </a:lnTo>
                      <a:lnTo>
                        <a:pt x="82" y="712"/>
                      </a:lnTo>
                      <a:lnTo>
                        <a:pt x="82" y="712"/>
                      </a:lnTo>
                      <a:lnTo>
                        <a:pt x="76" y="716"/>
                      </a:lnTo>
                      <a:lnTo>
                        <a:pt x="74" y="720"/>
                      </a:lnTo>
                      <a:lnTo>
                        <a:pt x="74" y="726"/>
                      </a:lnTo>
                      <a:lnTo>
                        <a:pt x="76" y="730"/>
                      </a:lnTo>
                      <a:lnTo>
                        <a:pt x="88" y="740"/>
                      </a:lnTo>
                      <a:lnTo>
                        <a:pt x="108" y="756"/>
                      </a:lnTo>
                      <a:lnTo>
                        <a:pt x="108" y="756"/>
                      </a:lnTo>
                      <a:lnTo>
                        <a:pt x="116" y="764"/>
                      </a:lnTo>
                      <a:lnTo>
                        <a:pt x="118" y="772"/>
                      </a:lnTo>
                      <a:lnTo>
                        <a:pt x="118" y="778"/>
                      </a:lnTo>
                      <a:lnTo>
                        <a:pt x="116" y="784"/>
                      </a:lnTo>
                      <a:lnTo>
                        <a:pt x="114" y="790"/>
                      </a:lnTo>
                      <a:lnTo>
                        <a:pt x="112" y="794"/>
                      </a:lnTo>
                      <a:lnTo>
                        <a:pt x="112" y="800"/>
                      </a:lnTo>
                      <a:lnTo>
                        <a:pt x="116" y="804"/>
                      </a:lnTo>
                      <a:lnTo>
                        <a:pt x="116" y="804"/>
                      </a:lnTo>
                      <a:lnTo>
                        <a:pt x="132" y="818"/>
                      </a:lnTo>
                      <a:lnTo>
                        <a:pt x="148" y="834"/>
                      </a:lnTo>
                      <a:lnTo>
                        <a:pt x="158" y="840"/>
                      </a:lnTo>
                      <a:lnTo>
                        <a:pt x="168" y="844"/>
                      </a:lnTo>
                      <a:lnTo>
                        <a:pt x="180" y="844"/>
                      </a:lnTo>
                      <a:lnTo>
                        <a:pt x="194" y="840"/>
                      </a:lnTo>
                      <a:lnTo>
                        <a:pt x="194" y="840"/>
                      </a:lnTo>
                      <a:lnTo>
                        <a:pt x="208" y="836"/>
                      </a:lnTo>
                      <a:lnTo>
                        <a:pt x="218" y="834"/>
                      </a:lnTo>
                      <a:lnTo>
                        <a:pt x="228" y="836"/>
                      </a:lnTo>
                      <a:lnTo>
                        <a:pt x="234" y="838"/>
                      </a:lnTo>
                      <a:lnTo>
                        <a:pt x="240" y="842"/>
                      </a:lnTo>
                      <a:lnTo>
                        <a:pt x="242" y="848"/>
                      </a:lnTo>
                      <a:lnTo>
                        <a:pt x="242" y="858"/>
                      </a:lnTo>
                      <a:lnTo>
                        <a:pt x="238" y="868"/>
                      </a:lnTo>
                      <a:lnTo>
                        <a:pt x="238" y="868"/>
                      </a:lnTo>
                      <a:lnTo>
                        <a:pt x="236" y="878"/>
                      </a:lnTo>
                      <a:lnTo>
                        <a:pt x="236" y="884"/>
                      </a:lnTo>
                      <a:lnTo>
                        <a:pt x="238" y="888"/>
                      </a:lnTo>
                      <a:lnTo>
                        <a:pt x="242" y="890"/>
                      </a:lnTo>
                      <a:lnTo>
                        <a:pt x="244" y="892"/>
                      </a:lnTo>
                      <a:lnTo>
                        <a:pt x="246" y="896"/>
                      </a:lnTo>
                      <a:lnTo>
                        <a:pt x="246" y="900"/>
                      </a:lnTo>
                      <a:lnTo>
                        <a:pt x="244" y="908"/>
                      </a:lnTo>
                      <a:lnTo>
                        <a:pt x="244" y="908"/>
                      </a:lnTo>
                      <a:lnTo>
                        <a:pt x="242" y="918"/>
                      </a:lnTo>
                      <a:lnTo>
                        <a:pt x="244" y="922"/>
                      </a:lnTo>
                      <a:lnTo>
                        <a:pt x="248" y="924"/>
                      </a:lnTo>
                      <a:lnTo>
                        <a:pt x="254" y="924"/>
                      </a:lnTo>
                      <a:lnTo>
                        <a:pt x="262" y="920"/>
                      </a:lnTo>
                      <a:lnTo>
                        <a:pt x="270" y="916"/>
                      </a:lnTo>
                      <a:lnTo>
                        <a:pt x="284" y="904"/>
                      </a:lnTo>
                      <a:lnTo>
                        <a:pt x="284" y="904"/>
                      </a:lnTo>
                      <a:lnTo>
                        <a:pt x="292" y="900"/>
                      </a:lnTo>
                      <a:lnTo>
                        <a:pt x="300" y="898"/>
                      </a:lnTo>
                      <a:lnTo>
                        <a:pt x="308" y="898"/>
                      </a:lnTo>
                      <a:lnTo>
                        <a:pt x="316" y="902"/>
                      </a:lnTo>
                      <a:lnTo>
                        <a:pt x="326" y="906"/>
                      </a:lnTo>
                      <a:lnTo>
                        <a:pt x="336" y="912"/>
                      </a:lnTo>
                      <a:lnTo>
                        <a:pt x="352" y="926"/>
                      </a:lnTo>
                      <a:lnTo>
                        <a:pt x="352" y="926"/>
                      </a:lnTo>
                      <a:lnTo>
                        <a:pt x="358" y="930"/>
                      </a:lnTo>
                      <a:lnTo>
                        <a:pt x="362" y="932"/>
                      </a:lnTo>
                      <a:lnTo>
                        <a:pt x="366" y="930"/>
                      </a:lnTo>
                      <a:lnTo>
                        <a:pt x="370" y="926"/>
                      </a:lnTo>
                      <a:lnTo>
                        <a:pt x="376" y="918"/>
                      </a:lnTo>
                      <a:lnTo>
                        <a:pt x="380" y="916"/>
                      </a:lnTo>
                      <a:lnTo>
                        <a:pt x="386" y="918"/>
                      </a:lnTo>
                      <a:lnTo>
                        <a:pt x="386" y="918"/>
                      </a:lnTo>
                      <a:lnTo>
                        <a:pt x="392" y="920"/>
                      </a:lnTo>
                      <a:lnTo>
                        <a:pt x="402" y="918"/>
                      </a:lnTo>
                      <a:lnTo>
                        <a:pt x="420" y="912"/>
                      </a:lnTo>
                      <a:lnTo>
                        <a:pt x="432" y="908"/>
                      </a:lnTo>
                      <a:lnTo>
                        <a:pt x="432" y="908"/>
                      </a:lnTo>
                      <a:lnTo>
                        <a:pt x="432" y="910"/>
                      </a:lnTo>
                      <a:lnTo>
                        <a:pt x="430" y="916"/>
                      </a:lnTo>
                      <a:lnTo>
                        <a:pt x="430" y="916"/>
                      </a:lnTo>
                      <a:lnTo>
                        <a:pt x="418" y="932"/>
                      </a:lnTo>
                      <a:lnTo>
                        <a:pt x="412" y="946"/>
                      </a:lnTo>
                      <a:lnTo>
                        <a:pt x="410" y="962"/>
                      </a:lnTo>
                      <a:lnTo>
                        <a:pt x="410" y="978"/>
                      </a:lnTo>
                      <a:lnTo>
                        <a:pt x="410" y="978"/>
                      </a:lnTo>
                      <a:lnTo>
                        <a:pt x="408" y="986"/>
                      </a:lnTo>
                      <a:lnTo>
                        <a:pt x="406" y="990"/>
                      </a:lnTo>
                      <a:lnTo>
                        <a:pt x="402" y="992"/>
                      </a:lnTo>
                      <a:lnTo>
                        <a:pt x="396" y="994"/>
                      </a:lnTo>
                      <a:lnTo>
                        <a:pt x="392" y="998"/>
                      </a:lnTo>
                      <a:lnTo>
                        <a:pt x="386" y="1000"/>
                      </a:lnTo>
                      <a:lnTo>
                        <a:pt x="380" y="1008"/>
                      </a:lnTo>
                      <a:lnTo>
                        <a:pt x="374" y="1018"/>
                      </a:lnTo>
                      <a:lnTo>
                        <a:pt x="374" y="1018"/>
                      </a:lnTo>
                      <a:lnTo>
                        <a:pt x="368" y="1028"/>
                      </a:lnTo>
                      <a:lnTo>
                        <a:pt x="360" y="1036"/>
                      </a:lnTo>
                      <a:lnTo>
                        <a:pt x="352" y="1040"/>
                      </a:lnTo>
                      <a:lnTo>
                        <a:pt x="342" y="1044"/>
                      </a:lnTo>
                      <a:lnTo>
                        <a:pt x="332" y="1048"/>
                      </a:lnTo>
                      <a:lnTo>
                        <a:pt x="324" y="1054"/>
                      </a:lnTo>
                      <a:lnTo>
                        <a:pt x="314" y="1060"/>
                      </a:lnTo>
                      <a:lnTo>
                        <a:pt x="306" y="1072"/>
                      </a:lnTo>
                      <a:lnTo>
                        <a:pt x="306" y="1072"/>
                      </a:lnTo>
                      <a:lnTo>
                        <a:pt x="300" y="1082"/>
                      </a:lnTo>
                      <a:lnTo>
                        <a:pt x="296" y="1088"/>
                      </a:lnTo>
                      <a:lnTo>
                        <a:pt x="292" y="1090"/>
                      </a:lnTo>
                      <a:lnTo>
                        <a:pt x="288" y="1088"/>
                      </a:lnTo>
                      <a:lnTo>
                        <a:pt x="276" y="1086"/>
                      </a:lnTo>
                      <a:lnTo>
                        <a:pt x="268" y="1088"/>
                      </a:lnTo>
                      <a:lnTo>
                        <a:pt x="254" y="1090"/>
                      </a:lnTo>
                      <a:lnTo>
                        <a:pt x="254" y="1090"/>
                      </a:lnTo>
                      <a:lnTo>
                        <a:pt x="244" y="1096"/>
                      </a:lnTo>
                      <a:lnTo>
                        <a:pt x="236" y="1100"/>
                      </a:lnTo>
                      <a:lnTo>
                        <a:pt x="232" y="1104"/>
                      </a:lnTo>
                      <a:lnTo>
                        <a:pt x="228" y="1110"/>
                      </a:lnTo>
                      <a:lnTo>
                        <a:pt x="222" y="1118"/>
                      </a:lnTo>
                      <a:lnTo>
                        <a:pt x="218" y="1124"/>
                      </a:lnTo>
                      <a:lnTo>
                        <a:pt x="210" y="1128"/>
                      </a:lnTo>
                      <a:lnTo>
                        <a:pt x="210" y="1128"/>
                      </a:lnTo>
                      <a:lnTo>
                        <a:pt x="200" y="1132"/>
                      </a:lnTo>
                      <a:lnTo>
                        <a:pt x="194" y="1138"/>
                      </a:lnTo>
                      <a:lnTo>
                        <a:pt x="188" y="1144"/>
                      </a:lnTo>
                      <a:lnTo>
                        <a:pt x="186" y="1148"/>
                      </a:lnTo>
                      <a:lnTo>
                        <a:pt x="188" y="1152"/>
                      </a:lnTo>
                      <a:lnTo>
                        <a:pt x="192" y="1154"/>
                      </a:lnTo>
                      <a:lnTo>
                        <a:pt x="200" y="1154"/>
                      </a:lnTo>
                      <a:lnTo>
                        <a:pt x="212" y="1150"/>
                      </a:lnTo>
                      <a:lnTo>
                        <a:pt x="212" y="1150"/>
                      </a:lnTo>
                      <a:lnTo>
                        <a:pt x="224" y="1144"/>
                      </a:lnTo>
                      <a:lnTo>
                        <a:pt x="234" y="1138"/>
                      </a:lnTo>
                      <a:lnTo>
                        <a:pt x="248" y="1124"/>
                      </a:lnTo>
                      <a:lnTo>
                        <a:pt x="256" y="1116"/>
                      </a:lnTo>
                      <a:lnTo>
                        <a:pt x="258" y="1116"/>
                      </a:lnTo>
                      <a:lnTo>
                        <a:pt x="262" y="1120"/>
                      </a:lnTo>
                      <a:lnTo>
                        <a:pt x="262" y="1120"/>
                      </a:lnTo>
                      <a:lnTo>
                        <a:pt x="266" y="1124"/>
                      </a:lnTo>
                      <a:lnTo>
                        <a:pt x="270" y="1124"/>
                      </a:lnTo>
                      <a:lnTo>
                        <a:pt x="278" y="1122"/>
                      </a:lnTo>
                      <a:lnTo>
                        <a:pt x="282" y="1120"/>
                      </a:lnTo>
                      <a:lnTo>
                        <a:pt x="284" y="1120"/>
                      </a:lnTo>
                      <a:lnTo>
                        <a:pt x="288" y="1124"/>
                      </a:lnTo>
                      <a:lnTo>
                        <a:pt x="290" y="1128"/>
                      </a:lnTo>
                      <a:lnTo>
                        <a:pt x="290" y="1128"/>
                      </a:lnTo>
                      <a:lnTo>
                        <a:pt x="292" y="1136"/>
                      </a:lnTo>
                      <a:lnTo>
                        <a:pt x="296" y="1138"/>
                      </a:lnTo>
                      <a:lnTo>
                        <a:pt x="298" y="1140"/>
                      </a:lnTo>
                      <a:lnTo>
                        <a:pt x="302" y="1138"/>
                      </a:lnTo>
                      <a:lnTo>
                        <a:pt x="306" y="1136"/>
                      </a:lnTo>
                      <a:lnTo>
                        <a:pt x="308" y="1130"/>
                      </a:lnTo>
                      <a:lnTo>
                        <a:pt x="308" y="1126"/>
                      </a:lnTo>
                      <a:lnTo>
                        <a:pt x="306" y="1120"/>
                      </a:lnTo>
                      <a:lnTo>
                        <a:pt x="306" y="1120"/>
                      </a:lnTo>
                      <a:lnTo>
                        <a:pt x="306" y="1114"/>
                      </a:lnTo>
                      <a:lnTo>
                        <a:pt x="308" y="1110"/>
                      </a:lnTo>
                      <a:lnTo>
                        <a:pt x="312" y="1106"/>
                      </a:lnTo>
                      <a:lnTo>
                        <a:pt x="316" y="1102"/>
                      </a:lnTo>
                      <a:lnTo>
                        <a:pt x="322" y="1100"/>
                      </a:lnTo>
                      <a:lnTo>
                        <a:pt x="328" y="1100"/>
                      </a:lnTo>
                      <a:lnTo>
                        <a:pt x="332" y="1102"/>
                      </a:lnTo>
                      <a:lnTo>
                        <a:pt x="334" y="1108"/>
                      </a:lnTo>
                      <a:lnTo>
                        <a:pt x="334" y="1108"/>
                      </a:lnTo>
                      <a:lnTo>
                        <a:pt x="334" y="1110"/>
                      </a:lnTo>
                      <a:lnTo>
                        <a:pt x="336" y="1110"/>
                      </a:lnTo>
                      <a:lnTo>
                        <a:pt x="340" y="1110"/>
                      </a:lnTo>
                      <a:lnTo>
                        <a:pt x="354" y="1100"/>
                      </a:lnTo>
                      <a:lnTo>
                        <a:pt x="372" y="1088"/>
                      </a:lnTo>
                      <a:lnTo>
                        <a:pt x="380" y="1084"/>
                      </a:lnTo>
                      <a:lnTo>
                        <a:pt x="388" y="1082"/>
                      </a:lnTo>
                      <a:lnTo>
                        <a:pt x="388" y="1082"/>
                      </a:lnTo>
                      <a:lnTo>
                        <a:pt x="394" y="1082"/>
                      </a:lnTo>
                      <a:lnTo>
                        <a:pt x="396" y="1080"/>
                      </a:lnTo>
                      <a:lnTo>
                        <a:pt x="394" y="1074"/>
                      </a:lnTo>
                      <a:lnTo>
                        <a:pt x="394" y="1068"/>
                      </a:lnTo>
                      <a:lnTo>
                        <a:pt x="398" y="1062"/>
                      </a:lnTo>
                      <a:lnTo>
                        <a:pt x="408" y="1052"/>
                      </a:lnTo>
                      <a:lnTo>
                        <a:pt x="424" y="1042"/>
                      </a:lnTo>
                      <a:lnTo>
                        <a:pt x="424" y="1042"/>
                      </a:lnTo>
                      <a:lnTo>
                        <a:pt x="440" y="1032"/>
                      </a:lnTo>
                      <a:lnTo>
                        <a:pt x="452" y="1024"/>
                      </a:lnTo>
                      <a:lnTo>
                        <a:pt x="462" y="1016"/>
                      </a:lnTo>
                      <a:lnTo>
                        <a:pt x="468" y="1010"/>
                      </a:lnTo>
                      <a:lnTo>
                        <a:pt x="478" y="998"/>
                      </a:lnTo>
                      <a:lnTo>
                        <a:pt x="484" y="994"/>
                      </a:lnTo>
                      <a:lnTo>
                        <a:pt x="492" y="988"/>
                      </a:lnTo>
                      <a:lnTo>
                        <a:pt x="492" y="988"/>
                      </a:lnTo>
                      <a:lnTo>
                        <a:pt x="516" y="976"/>
                      </a:lnTo>
                      <a:lnTo>
                        <a:pt x="538" y="964"/>
                      </a:lnTo>
                      <a:lnTo>
                        <a:pt x="548" y="956"/>
                      </a:lnTo>
                      <a:lnTo>
                        <a:pt x="556" y="950"/>
                      </a:lnTo>
                      <a:lnTo>
                        <a:pt x="562" y="942"/>
                      </a:lnTo>
                      <a:lnTo>
                        <a:pt x="566" y="934"/>
                      </a:lnTo>
                      <a:lnTo>
                        <a:pt x="566" y="934"/>
                      </a:lnTo>
                      <a:lnTo>
                        <a:pt x="568" y="928"/>
                      </a:lnTo>
                      <a:lnTo>
                        <a:pt x="572" y="922"/>
                      </a:lnTo>
                      <a:lnTo>
                        <a:pt x="580" y="916"/>
                      </a:lnTo>
                      <a:lnTo>
                        <a:pt x="588" y="912"/>
                      </a:lnTo>
                      <a:lnTo>
                        <a:pt x="592" y="906"/>
                      </a:lnTo>
                      <a:lnTo>
                        <a:pt x="592" y="900"/>
                      </a:lnTo>
                      <a:lnTo>
                        <a:pt x="592" y="900"/>
                      </a:lnTo>
                      <a:lnTo>
                        <a:pt x="592" y="898"/>
                      </a:lnTo>
                      <a:lnTo>
                        <a:pt x="590" y="896"/>
                      </a:lnTo>
                      <a:lnTo>
                        <a:pt x="582" y="892"/>
                      </a:lnTo>
                      <a:lnTo>
                        <a:pt x="564" y="892"/>
                      </a:lnTo>
                      <a:lnTo>
                        <a:pt x="556" y="890"/>
                      </a:lnTo>
                      <a:lnTo>
                        <a:pt x="554" y="890"/>
                      </a:lnTo>
                      <a:lnTo>
                        <a:pt x="554" y="888"/>
                      </a:lnTo>
                      <a:lnTo>
                        <a:pt x="554" y="886"/>
                      </a:lnTo>
                      <a:lnTo>
                        <a:pt x="556" y="882"/>
                      </a:lnTo>
                      <a:lnTo>
                        <a:pt x="570" y="870"/>
                      </a:lnTo>
                      <a:lnTo>
                        <a:pt x="570" y="870"/>
                      </a:lnTo>
                      <a:lnTo>
                        <a:pt x="598" y="846"/>
                      </a:lnTo>
                      <a:lnTo>
                        <a:pt x="616" y="828"/>
                      </a:lnTo>
                      <a:lnTo>
                        <a:pt x="630" y="810"/>
                      </a:lnTo>
                      <a:lnTo>
                        <a:pt x="644" y="786"/>
                      </a:lnTo>
                      <a:lnTo>
                        <a:pt x="644" y="786"/>
                      </a:lnTo>
                      <a:lnTo>
                        <a:pt x="654" y="774"/>
                      </a:lnTo>
                      <a:lnTo>
                        <a:pt x="666" y="764"/>
                      </a:lnTo>
                      <a:lnTo>
                        <a:pt x="680" y="756"/>
                      </a:lnTo>
                      <a:lnTo>
                        <a:pt x="694" y="750"/>
                      </a:lnTo>
                      <a:lnTo>
                        <a:pt x="710" y="750"/>
                      </a:lnTo>
                      <a:lnTo>
                        <a:pt x="726" y="752"/>
                      </a:lnTo>
                      <a:lnTo>
                        <a:pt x="742" y="758"/>
                      </a:lnTo>
                      <a:lnTo>
                        <a:pt x="750" y="764"/>
                      </a:lnTo>
                      <a:lnTo>
                        <a:pt x="758" y="770"/>
                      </a:lnTo>
                      <a:lnTo>
                        <a:pt x="758" y="770"/>
                      </a:lnTo>
                      <a:lnTo>
                        <a:pt x="768" y="782"/>
                      </a:lnTo>
                      <a:lnTo>
                        <a:pt x="770" y="784"/>
                      </a:lnTo>
                      <a:lnTo>
                        <a:pt x="770" y="784"/>
                      </a:lnTo>
                      <a:lnTo>
                        <a:pt x="752" y="776"/>
                      </a:lnTo>
                      <a:lnTo>
                        <a:pt x="738" y="768"/>
                      </a:lnTo>
                      <a:lnTo>
                        <a:pt x="720" y="764"/>
                      </a:lnTo>
                      <a:lnTo>
                        <a:pt x="712" y="762"/>
                      </a:lnTo>
                      <a:lnTo>
                        <a:pt x="704" y="762"/>
                      </a:lnTo>
                      <a:lnTo>
                        <a:pt x="696" y="764"/>
                      </a:lnTo>
                      <a:lnTo>
                        <a:pt x="690" y="768"/>
                      </a:lnTo>
                      <a:lnTo>
                        <a:pt x="690" y="768"/>
                      </a:lnTo>
                      <a:lnTo>
                        <a:pt x="680" y="776"/>
                      </a:lnTo>
                      <a:lnTo>
                        <a:pt x="674" y="784"/>
                      </a:lnTo>
                      <a:lnTo>
                        <a:pt x="672" y="790"/>
                      </a:lnTo>
                      <a:lnTo>
                        <a:pt x="672" y="796"/>
                      </a:lnTo>
                      <a:lnTo>
                        <a:pt x="672" y="802"/>
                      </a:lnTo>
                      <a:lnTo>
                        <a:pt x="670" y="810"/>
                      </a:lnTo>
                      <a:lnTo>
                        <a:pt x="666" y="818"/>
                      </a:lnTo>
                      <a:lnTo>
                        <a:pt x="658" y="828"/>
                      </a:lnTo>
                      <a:lnTo>
                        <a:pt x="658" y="828"/>
                      </a:lnTo>
                      <a:lnTo>
                        <a:pt x="652" y="836"/>
                      </a:lnTo>
                      <a:lnTo>
                        <a:pt x="650" y="844"/>
                      </a:lnTo>
                      <a:lnTo>
                        <a:pt x="652" y="848"/>
                      </a:lnTo>
                      <a:lnTo>
                        <a:pt x="656" y="852"/>
                      </a:lnTo>
                      <a:lnTo>
                        <a:pt x="660" y="856"/>
                      </a:lnTo>
                      <a:lnTo>
                        <a:pt x="662" y="858"/>
                      </a:lnTo>
                      <a:lnTo>
                        <a:pt x="662" y="862"/>
                      </a:lnTo>
                      <a:lnTo>
                        <a:pt x="656" y="866"/>
                      </a:lnTo>
                      <a:lnTo>
                        <a:pt x="656" y="866"/>
                      </a:lnTo>
                      <a:lnTo>
                        <a:pt x="646" y="874"/>
                      </a:lnTo>
                      <a:lnTo>
                        <a:pt x="644" y="876"/>
                      </a:lnTo>
                      <a:lnTo>
                        <a:pt x="644" y="878"/>
                      </a:lnTo>
                      <a:lnTo>
                        <a:pt x="646" y="880"/>
                      </a:lnTo>
                      <a:lnTo>
                        <a:pt x="648" y="882"/>
                      </a:lnTo>
                      <a:lnTo>
                        <a:pt x="658" y="884"/>
                      </a:lnTo>
                      <a:lnTo>
                        <a:pt x="670" y="884"/>
                      </a:lnTo>
                      <a:lnTo>
                        <a:pt x="684" y="882"/>
                      </a:lnTo>
                      <a:lnTo>
                        <a:pt x="698" y="876"/>
                      </a:lnTo>
                      <a:lnTo>
                        <a:pt x="712" y="866"/>
                      </a:lnTo>
                      <a:lnTo>
                        <a:pt x="712" y="866"/>
                      </a:lnTo>
                      <a:lnTo>
                        <a:pt x="732" y="850"/>
                      </a:lnTo>
                      <a:lnTo>
                        <a:pt x="748" y="840"/>
                      </a:lnTo>
                      <a:lnTo>
                        <a:pt x="762" y="834"/>
                      </a:lnTo>
                      <a:lnTo>
                        <a:pt x="778" y="834"/>
                      </a:lnTo>
                      <a:lnTo>
                        <a:pt x="778" y="834"/>
                      </a:lnTo>
                      <a:lnTo>
                        <a:pt x="786" y="832"/>
                      </a:lnTo>
                      <a:lnTo>
                        <a:pt x="790" y="830"/>
                      </a:lnTo>
                      <a:lnTo>
                        <a:pt x="790" y="828"/>
                      </a:lnTo>
                      <a:lnTo>
                        <a:pt x="790" y="824"/>
                      </a:lnTo>
                      <a:lnTo>
                        <a:pt x="790" y="820"/>
                      </a:lnTo>
                      <a:lnTo>
                        <a:pt x="790" y="818"/>
                      </a:lnTo>
                      <a:lnTo>
                        <a:pt x="794" y="814"/>
                      </a:lnTo>
                      <a:lnTo>
                        <a:pt x="800" y="810"/>
                      </a:lnTo>
                      <a:lnTo>
                        <a:pt x="800" y="810"/>
                      </a:lnTo>
                      <a:lnTo>
                        <a:pt x="804" y="806"/>
                      </a:lnTo>
                      <a:lnTo>
                        <a:pt x="806" y="802"/>
                      </a:lnTo>
                      <a:lnTo>
                        <a:pt x="804" y="796"/>
                      </a:lnTo>
                      <a:lnTo>
                        <a:pt x="802" y="790"/>
                      </a:lnTo>
                      <a:lnTo>
                        <a:pt x="800" y="784"/>
                      </a:lnTo>
                      <a:lnTo>
                        <a:pt x="800" y="780"/>
                      </a:lnTo>
                      <a:lnTo>
                        <a:pt x="804" y="776"/>
                      </a:lnTo>
                      <a:lnTo>
                        <a:pt x="812" y="774"/>
                      </a:lnTo>
                      <a:lnTo>
                        <a:pt x="812" y="774"/>
                      </a:lnTo>
                      <a:lnTo>
                        <a:pt x="824" y="772"/>
                      </a:lnTo>
                      <a:lnTo>
                        <a:pt x="834" y="770"/>
                      </a:lnTo>
                      <a:lnTo>
                        <a:pt x="850" y="764"/>
                      </a:lnTo>
                      <a:lnTo>
                        <a:pt x="856" y="764"/>
                      </a:lnTo>
                      <a:lnTo>
                        <a:pt x="860" y="764"/>
                      </a:lnTo>
                      <a:lnTo>
                        <a:pt x="862" y="768"/>
                      </a:lnTo>
                      <a:lnTo>
                        <a:pt x="862" y="774"/>
                      </a:lnTo>
                      <a:lnTo>
                        <a:pt x="862" y="774"/>
                      </a:lnTo>
                      <a:lnTo>
                        <a:pt x="862" y="780"/>
                      </a:lnTo>
                      <a:lnTo>
                        <a:pt x="866" y="784"/>
                      </a:lnTo>
                      <a:lnTo>
                        <a:pt x="870" y="788"/>
                      </a:lnTo>
                      <a:lnTo>
                        <a:pt x="874" y="790"/>
                      </a:lnTo>
                      <a:lnTo>
                        <a:pt x="888" y="794"/>
                      </a:lnTo>
                      <a:lnTo>
                        <a:pt x="896" y="798"/>
                      </a:lnTo>
                      <a:lnTo>
                        <a:pt x="906" y="802"/>
                      </a:lnTo>
                      <a:lnTo>
                        <a:pt x="906" y="802"/>
                      </a:lnTo>
                      <a:lnTo>
                        <a:pt x="912" y="806"/>
                      </a:lnTo>
                      <a:lnTo>
                        <a:pt x="918" y="806"/>
                      </a:lnTo>
                      <a:lnTo>
                        <a:pt x="922" y="804"/>
                      </a:lnTo>
                      <a:lnTo>
                        <a:pt x="924" y="802"/>
                      </a:lnTo>
                      <a:lnTo>
                        <a:pt x="926" y="800"/>
                      </a:lnTo>
                      <a:lnTo>
                        <a:pt x="930" y="800"/>
                      </a:lnTo>
                      <a:lnTo>
                        <a:pt x="934" y="804"/>
                      </a:lnTo>
                      <a:lnTo>
                        <a:pt x="940" y="810"/>
                      </a:lnTo>
                      <a:lnTo>
                        <a:pt x="940" y="810"/>
                      </a:lnTo>
                      <a:lnTo>
                        <a:pt x="948" y="820"/>
                      </a:lnTo>
                      <a:lnTo>
                        <a:pt x="958" y="824"/>
                      </a:lnTo>
                      <a:lnTo>
                        <a:pt x="968" y="828"/>
                      </a:lnTo>
                      <a:lnTo>
                        <a:pt x="978" y="828"/>
                      </a:lnTo>
                      <a:lnTo>
                        <a:pt x="1002" y="826"/>
                      </a:lnTo>
                      <a:lnTo>
                        <a:pt x="1024" y="824"/>
                      </a:lnTo>
                      <a:lnTo>
                        <a:pt x="1024" y="824"/>
                      </a:lnTo>
                      <a:lnTo>
                        <a:pt x="1036" y="826"/>
                      </a:lnTo>
                      <a:lnTo>
                        <a:pt x="1050" y="830"/>
                      </a:lnTo>
                      <a:lnTo>
                        <a:pt x="1076" y="842"/>
                      </a:lnTo>
                      <a:lnTo>
                        <a:pt x="1090" y="846"/>
                      </a:lnTo>
                      <a:lnTo>
                        <a:pt x="1104" y="850"/>
                      </a:lnTo>
                      <a:lnTo>
                        <a:pt x="1116" y="850"/>
                      </a:lnTo>
                      <a:lnTo>
                        <a:pt x="1122" y="848"/>
                      </a:lnTo>
                      <a:lnTo>
                        <a:pt x="1126" y="846"/>
                      </a:lnTo>
                      <a:lnTo>
                        <a:pt x="1126" y="846"/>
                      </a:lnTo>
                      <a:lnTo>
                        <a:pt x="1136" y="842"/>
                      </a:lnTo>
                      <a:lnTo>
                        <a:pt x="1142" y="840"/>
                      </a:lnTo>
                      <a:lnTo>
                        <a:pt x="1146" y="840"/>
                      </a:lnTo>
                      <a:lnTo>
                        <a:pt x="1150" y="842"/>
                      </a:lnTo>
                      <a:lnTo>
                        <a:pt x="1150" y="846"/>
                      </a:lnTo>
                      <a:lnTo>
                        <a:pt x="1150" y="850"/>
                      </a:lnTo>
                      <a:lnTo>
                        <a:pt x="1146" y="854"/>
                      </a:lnTo>
                      <a:lnTo>
                        <a:pt x="1142" y="858"/>
                      </a:lnTo>
                      <a:lnTo>
                        <a:pt x="1142" y="858"/>
                      </a:lnTo>
                      <a:lnTo>
                        <a:pt x="1138" y="860"/>
                      </a:lnTo>
                      <a:lnTo>
                        <a:pt x="1140" y="864"/>
                      </a:lnTo>
                      <a:lnTo>
                        <a:pt x="1146" y="868"/>
                      </a:lnTo>
                      <a:lnTo>
                        <a:pt x="1154" y="874"/>
                      </a:lnTo>
                      <a:lnTo>
                        <a:pt x="1174" y="882"/>
                      </a:lnTo>
                      <a:lnTo>
                        <a:pt x="1192" y="892"/>
                      </a:lnTo>
                      <a:lnTo>
                        <a:pt x="1192" y="892"/>
                      </a:lnTo>
                      <a:lnTo>
                        <a:pt x="1206" y="900"/>
                      </a:lnTo>
                      <a:lnTo>
                        <a:pt x="1216" y="912"/>
                      </a:lnTo>
                      <a:lnTo>
                        <a:pt x="1228" y="924"/>
                      </a:lnTo>
                      <a:lnTo>
                        <a:pt x="1244" y="934"/>
                      </a:lnTo>
                      <a:lnTo>
                        <a:pt x="1244" y="934"/>
                      </a:lnTo>
                      <a:lnTo>
                        <a:pt x="1254" y="938"/>
                      </a:lnTo>
                      <a:lnTo>
                        <a:pt x="1264" y="940"/>
                      </a:lnTo>
                      <a:lnTo>
                        <a:pt x="1272" y="940"/>
                      </a:lnTo>
                      <a:lnTo>
                        <a:pt x="1278" y="940"/>
                      </a:lnTo>
                      <a:lnTo>
                        <a:pt x="1282" y="938"/>
                      </a:lnTo>
                      <a:lnTo>
                        <a:pt x="1284" y="934"/>
                      </a:lnTo>
                      <a:lnTo>
                        <a:pt x="1284" y="930"/>
                      </a:lnTo>
                      <a:lnTo>
                        <a:pt x="1280" y="924"/>
                      </a:lnTo>
                      <a:lnTo>
                        <a:pt x="1280" y="924"/>
                      </a:lnTo>
                      <a:lnTo>
                        <a:pt x="1272" y="912"/>
                      </a:lnTo>
                      <a:lnTo>
                        <a:pt x="1268" y="904"/>
                      </a:lnTo>
                      <a:lnTo>
                        <a:pt x="1268" y="902"/>
                      </a:lnTo>
                      <a:lnTo>
                        <a:pt x="1270" y="902"/>
                      </a:lnTo>
                      <a:lnTo>
                        <a:pt x="1282" y="912"/>
                      </a:lnTo>
                      <a:lnTo>
                        <a:pt x="1282" y="912"/>
                      </a:lnTo>
                      <a:lnTo>
                        <a:pt x="1298" y="928"/>
                      </a:lnTo>
                      <a:lnTo>
                        <a:pt x="1314" y="938"/>
                      </a:lnTo>
                      <a:lnTo>
                        <a:pt x="1320" y="940"/>
                      </a:lnTo>
                      <a:lnTo>
                        <a:pt x="1324" y="940"/>
                      </a:lnTo>
                      <a:lnTo>
                        <a:pt x="1326" y="938"/>
                      </a:lnTo>
                      <a:lnTo>
                        <a:pt x="1326" y="930"/>
                      </a:lnTo>
                      <a:lnTo>
                        <a:pt x="1326" y="930"/>
                      </a:lnTo>
                      <a:lnTo>
                        <a:pt x="1322" y="916"/>
                      </a:lnTo>
                      <a:lnTo>
                        <a:pt x="1322" y="908"/>
                      </a:lnTo>
                      <a:lnTo>
                        <a:pt x="1322" y="906"/>
                      </a:lnTo>
                      <a:lnTo>
                        <a:pt x="1324" y="908"/>
                      </a:lnTo>
                      <a:lnTo>
                        <a:pt x="1332" y="922"/>
                      </a:lnTo>
                      <a:lnTo>
                        <a:pt x="1332" y="922"/>
                      </a:lnTo>
                      <a:lnTo>
                        <a:pt x="1338" y="930"/>
                      </a:lnTo>
                      <a:lnTo>
                        <a:pt x="1344" y="934"/>
                      </a:lnTo>
                      <a:lnTo>
                        <a:pt x="1348" y="936"/>
                      </a:lnTo>
                      <a:lnTo>
                        <a:pt x="1354" y="938"/>
                      </a:lnTo>
                      <a:lnTo>
                        <a:pt x="1358" y="938"/>
                      </a:lnTo>
                      <a:lnTo>
                        <a:pt x="1362" y="940"/>
                      </a:lnTo>
                      <a:lnTo>
                        <a:pt x="1368" y="942"/>
                      </a:lnTo>
                      <a:lnTo>
                        <a:pt x="1372" y="950"/>
                      </a:lnTo>
                      <a:lnTo>
                        <a:pt x="1372" y="950"/>
                      </a:lnTo>
                      <a:lnTo>
                        <a:pt x="1378" y="966"/>
                      </a:lnTo>
                      <a:lnTo>
                        <a:pt x="1382" y="976"/>
                      </a:lnTo>
                      <a:lnTo>
                        <a:pt x="1384" y="982"/>
                      </a:lnTo>
                      <a:lnTo>
                        <a:pt x="1390" y="988"/>
                      </a:lnTo>
                      <a:lnTo>
                        <a:pt x="1390" y="988"/>
                      </a:lnTo>
                      <a:lnTo>
                        <a:pt x="1394" y="992"/>
                      </a:lnTo>
                      <a:lnTo>
                        <a:pt x="1394" y="996"/>
                      </a:lnTo>
                      <a:lnTo>
                        <a:pt x="1390" y="1002"/>
                      </a:lnTo>
                      <a:lnTo>
                        <a:pt x="1388" y="1006"/>
                      </a:lnTo>
                      <a:lnTo>
                        <a:pt x="1388" y="1008"/>
                      </a:lnTo>
                      <a:lnTo>
                        <a:pt x="1392" y="1012"/>
                      </a:lnTo>
                      <a:lnTo>
                        <a:pt x="1398" y="1014"/>
                      </a:lnTo>
                      <a:lnTo>
                        <a:pt x="1398" y="1014"/>
                      </a:lnTo>
                      <a:lnTo>
                        <a:pt x="1412" y="1020"/>
                      </a:lnTo>
                      <a:lnTo>
                        <a:pt x="1414" y="1024"/>
                      </a:lnTo>
                      <a:lnTo>
                        <a:pt x="1416" y="1026"/>
                      </a:lnTo>
                      <a:lnTo>
                        <a:pt x="1422" y="1036"/>
                      </a:lnTo>
                      <a:lnTo>
                        <a:pt x="1426" y="1042"/>
                      </a:lnTo>
                      <a:lnTo>
                        <a:pt x="1434" y="1052"/>
                      </a:lnTo>
                      <a:lnTo>
                        <a:pt x="1434" y="1052"/>
                      </a:lnTo>
                      <a:lnTo>
                        <a:pt x="1452" y="1064"/>
                      </a:lnTo>
                      <a:lnTo>
                        <a:pt x="1464" y="1070"/>
                      </a:lnTo>
                      <a:lnTo>
                        <a:pt x="1466" y="1074"/>
                      </a:lnTo>
                      <a:lnTo>
                        <a:pt x="1460" y="1076"/>
                      </a:lnTo>
                      <a:lnTo>
                        <a:pt x="1460" y="1076"/>
                      </a:lnTo>
                      <a:lnTo>
                        <a:pt x="1452" y="1080"/>
                      </a:lnTo>
                      <a:lnTo>
                        <a:pt x="1450" y="1086"/>
                      </a:lnTo>
                      <a:lnTo>
                        <a:pt x="1448" y="1092"/>
                      </a:lnTo>
                      <a:lnTo>
                        <a:pt x="1442" y="1100"/>
                      </a:lnTo>
                      <a:lnTo>
                        <a:pt x="1442" y="1100"/>
                      </a:lnTo>
                      <a:lnTo>
                        <a:pt x="1440" y="1104"/>
                      </a:lnTo>
                      <a:lnTo>
                        <a:pt x="1440" y="1108"/>
                      </a:lnTo>
                      <a:lnTo>
                        <a:pt x="1440" y="1112"/>
                      </a:lnTo>
                      <a:lnTo>
                        <a:pt x="1442" y="1114"/>
                      </a:lnTo>
                      <a:lnTo>
                        <a:pt x="1446" y="1116"/>
                      </a:lnTo>
                      <a:lnTo>
                        <a:pt x="1450" y="1114"/>
                      </a:lnTo>
                      <a:lnTo>
                        <a:pt x="1452" y="1112"/>
                      </a:lnTo>
                      <a:lnTo>
                        <a:pt x="1456" y="1106"/>
                      </a:lnTo>
                      <a:lnTo>
                        <a:pt x="1456" y="1106"/>
                      </a:lnTo>
                      <a:lnTo>
                        <a:pt x="1462" y="1092"/>
                      </a:lnTo>
                      <a:lnTo>
                        <a:pt x="1466" y="1088"/>
                      </a:lnTo>
                      <a:lnTo>
                        <a:pt x="1470" y="1084"/>
                      </a:lnTo>
                      <a:lnTo>
                        <a:pt x="1474" y="1082"/>
                      </a:lnTo>
                      <a:lnTo>
                        <a:pt x="1478" y="1084"/>
                      </a:lnTo>
                      <a:lnTo>
                        <a:pt x="1484" y="1088"/>
                      </a:lnTo>
                      <a:lnTo>
                        <a:pt x="1488" y="1094"/>
                      </a:lnTo>
                      <a:lnTo>
                        <a:pt x="1488" y="1094"/>
                      </a:lnTo>
                      <a:lnTo>
                        <a:pt x="1492" y="1104"/>
                      </a:lnTo>
                      <a:lnTo>
                        <a:pt x="1494" y="1112"/>
                      </a:lnTo>
                      <a:lnTo>
                        <a:pt x="1494" y="1118"/>
                      </a:lnTo>
                      <a:lnTo>
                        <a:pt x="1492" y="1124"/>
                      </a:lnTo>
                      <a:lnTo>
                        <a:pt x="1488" y="1134"/>
                      </a:lnTo>
                      <a:lnTo>
                        <a:pt x="1488" y="1138"/>
                      </a:lnTo>
                      <a:lnTo>
                        <a:pt x="1488" y="1144"/>
                      </a:lnTo>
                      <a:lnTo>
                        <a:pt x="1488" y="1144"/>
                      </a:lnTo>
                      <a:lnTo>
                        <a:pt x="1492" y="1152"/>
                      </a:lnTo>
                      <a:lnTo>
                        <a:pt x="1494" y="1160"/>
                      </a:lnTo>
                      <a:lnTo>
                        <a:pt x="1496" y="1164"/>
                      </a:lnTo>
                      <a:lnTo>
                        <a:pt x="1498" y="1164"/>
                      </a:lnTo>
                      <a:lnTo>
                        <a:pt x="1502" y="1162"/>
                      </a:lnTo>
                      <a:lnTo>
                        <a:pt x="1508" y="1158"/>
                      </a:lnTo>
                      <a:lnTo>
                        <a:pt x="1508" y="1158"/>
                      </a:lnTo>
                      <a:lnTo>
                        <a:pt x="1516" y="1150"/>
                      </a:lnTo>
                      <a:lnTo>
                        <a:pt x="1524" y="1142"/>
                      </a:lnTo>
                      <a:lnTo>
                        <a:pt x="1526" y="1138"/>
                      </a:lnTo>
                      <a:lnTo>
                        <a:pt x="1526" y="1132"/>
                      </a:lnTo>
                      <a:lnTo>
                        <a:pt x="1524" y="1118"/>
                      </a:lnTo>
                      <a:lnTo>
                        <a:pt x="1524" y="1118"/>
                      </a:lnTo>
                      <a:lnTo>
                        <a:pt x="1522" y="1106"/>
                      </a:lnTo>
                      <a:lnTo>
                        <a:pt x="1524" y="1098"/>
                      </a:lnTo>
                      <a:lnTo>
                        <a:pt x="1528" y="1094"/>
                      </a:lnTo>
                      <a:lnTo>
                        <a:pt x="1530" y="1090"/>
                      </a:lnTo>
                      <a:lnTo>
                        <a:pt x="1530" y="1090"/>
                      </a:lnTo>
                      <a:lnTo>
                        <a:pt x="1528" y="1098"/>
                      </a:lnTo>
                      <a:lnTo>
                        <a:pt x="1530" y="1106"/>
                      </a:lnTo>
                      <a:lnTo>
                        <a:pt x="1532" y="1118"/>
                      </a:lnTo>
                      <a:lnTo>
                        <a:pt x="1534" y="1130"/>
                      </a:lnTo>
                      <a:lnTo>
                        <a:pt x="1532" y="1136"/>
                      </a:lnTo>
                      <a:lnTo>
                        <a:pt x="1530" y="1140"/>
                      </a:lnTo>
                      <a:lnTo>
                        <a:pt x="1530" y="1140"/>
                      </a:lnTo>
                      <a:lnTo>
                        <a:pt x="1526" y="1142"/>
                      </a:lnTo>
                      <a:lnTo>
                        <a:pt x="1526" y="1146"/>
                      </a:lnTo>
                      <a:lnTo>
                        <a:pt x="1526" y="1152"/>
                      </a:lnTo>
                      <a:lnTo>
                        <a:pt x="1526" y="1160"/>
                      </a:lnTo>
                      <a:lnTo>
                        <a:pt x="1524" y="1162"/>
                      </a:lnTo>
                      <a:lnTo>
                        <a:pt x="1522" y="1166"/>
                      </a:lnTo>
                      <a:lnTo>
                        <a:pt x="1522" y="1166"/>
                      </a:lnTo>
                      <a:lnTo>
                        <a:pt x="1516" y="1172"/>
                      </a:lnTo>
                      <a:lnTo>
                        <a:pt x="1512" y="1178"/>
                      </a:lnTo>
                      <a:lnTo>
                        <a:pt x="1512" y="1182"/>
                      </a:lnTo>
                      <a:lnTo>
                        <a:pt x="1512" y="1186"/>
                      </a:lnTo>
                      <a:lnTo>
                        <a:pt x="1518" y="1192"/>
                      </a:lnTo>
                      <a:lnTo>
                        <a:pt x="1520" y="1194"/>
                      </a:lnTo>
                      <a:lnTo>
                        <a:pt x="1524" y="1198"/>
                      </a:lnTo>
                      <a:lnTo>
                        <a:pt x="1524" y="1198"/>
                      </a:lnTo>
                      <a:lnTo>
                        <a:pt x="1528" y="1210"/>
                      </a:lnTo>
                      <a:lnTo>
                        <a:pt x="1534" y="1222"/>
                      </a:lnTo>
                      <a:lnTo>
                        <a:pt x="1542" y="1232"/>
                      </a:lnTo>
                      <a:lnTo>
                        <a:pt x="1554" y="1244"/>
                      </a:lnTo>
                      <a:lnTo>
                        <a:pt x="1554" y="1244"/>
                      </a:lnTo>
                      <a:lnTo>
                        <a:pt x="1558" y="1246"/>
                      </a:lnTo>
                      <a:lnTo>
                        <a:pt x="1560" y="1244"/>
                      </a:lnTo>
                      <a:lnTo>
                        <a:pt x="1562" y="1236"/>
                      </a:lnTo>
                      <a:lnTo>
                        <a:pt x="1564" y="1230"/>
                      </a:lnTo>
                      <a:lnTo>
                        <a:pt x="1566" y="1224"/>
                      </a:lnTo>
                      <a:lnTo>
                        <a:pt x="1574" y="1218"/>
                      </a:lnTo>
                      <a:lnTo>
                        <a:pt x="1584" y="1216"/>
                      </a:lnTo>
                      <a:lnTo>
                        <a:pt x="1584" y="1216"/>
                      </a:lnTo>
                      <a:lnTo>
                        <a:pt x="1592" y="1216"/>
                      </a:lnTo>
                      <a:lnTo>
                        <a:pt x="1594" y="1216"/>
                      </a:lnTo>
                      <a:lnTo>
                        <a:pt x="1586" y="1222"/>
                      </a:lnTo>
                      <a:lnTo>
                        <a:pt x="1582" y="1228"/>
                      </a:lnTo>
                      <a:lnTo>
                        <a:pt x="1578" y="1234"/>
                      </a:lnTo>
                      <a:lnTo>
                        <a:pt x="1574" y="1240"/>
                      </a:lnTo>
                      <a:lnTo>
                        <a:pt x="1576" y="1248"/>
                      </a:lnTo>
                      <a:lnTo>
                        <a:pt x="1576" y="1248"/>
                      </a:lnTo>
                      <a:lnTo>
                        <a:pt x="1582" y="1258"/>
                      </a:lnTo>
                      <a:lnTo>
                        <a:pt x="1586" y="1260"/>
                      </a:lnTo>
                      <a:lnTo>
                        <a:pt x="1588" y="1262"/>
                      </a:lnTo>
                      <a:lnTo>
                        <a:pt x="1590" y="1274"/>
                      </a:lnTo>
                      <a:lnTo>
                        <a:pt x="1590" y="1274"/>
                      </a:lnTo>
                      <a:lnTo>
                        <a:pt x="1592" y="1280"/>
                      </a:lnTo>
                      <a:lnTo>
                        <a:pt x="1596" y="1280"/>
                      </a:lnTo>
                      <a:lnTo>
                        <a:pt x="1600" y="1280"/>
                      </a:lnTo>
                      <a:lnTo>
                        <a:pt x="1604" y="1278"/>
                      </a:lnTo>
                      <a:lnTo>
                        <a:pt x="1608" y="1278"/>
                      </a:lnTo>
                      <a:lnTo>
                        <a:pt x="1610" y="1278"/>
                      </a:lnTo>
                      <a:lnTo>
                        <a:pt x="1610" y="1280"/>
                      </a:lnTo>
                      <a:lnTo>
                        <a:pt x="1606" y="1290"/>
                      </a:lnTo>
                      <a:lnTo>
                        <a:pt x="1606" y="1290"/>
                      </a:lnTo>
                      <a:lnTo>
                        <a:pt x="1598" y="1306"/>
                      </a:lnTo>
                      <a:lnTo>
                        <a:pt x="1596" y="1318"/>
                      </a:lnTo>
                      <a:lnTo>
                        <a:pt x="1598" y="1322"/>
                      </a:lnTo>
                      <a:lnTo>
                        <a:pt x="1600" y="1322"/>
                      </a:lnTo>
                      <a:lnTo>
                        <a:pt x="1600" y="1322"/>
                      </a:lnTo>
                      <a:lnTo>
                        <a:pt x="1602" y="1322"/>
                      </a:lnTo>
                      <a:lnTo>
                        <a:pt x="1602" y="1324"/>
                      </a:lnTo>
                      <a:lnTo>
                        <a:pt x="1602" y="1330"/>
                      </a:lnTo>
                      <a:lnTo>
                        <a:pt x="1602" y="1336"/>
                      </a:lnTo>
                      <a:lnTo>
                        <a:pt x="1604" y="1340"/>
                      </a:lnTo>
                      <a:lnTo>
                        <a:pt x="1608" y="1342"/>
                      </a:lnTo>
                      <a:lnTo>
                        <a:pt x="1608" y="1342"/>
                      </a:lnTo>
                      <a:lnTo>
                        <a:pt x="1610" y="1342"/>
                      </a:lnTo>
                      <a:lnTo>
                        <a:pt x="1612" y="1340"/>
                      </a:lnTo>
                      <a:lnTo>
                        <a:pt x="1614" y="1330"/>
                      </a:lnTo>
                      <a:lnTo>
                        <a:pt x="1616" y="1320"/>
                      </a:lnTo>
                      <a:lnTo>
                        <a:pt x="1618" y="1316"/>
                      </a:lnTo>
                      <a:lnTo>
                        <a:pt x="1622" y="1314"/>
                      </a:lnTo>
                      <a:lnTo>
                        <a:pt x="1622" y="1314"/>
                      </a:lnTo>
                      <a:lnTo>
                        <a:pt x="1630" y="1310"/>
                      </a:lnTo>
                      <a:lnTo>
                        <a:pt x="1636" y="1304"/>
                      </a:lnTo>
                      <a:lnTo>
                        <a:pt x="1642" y="1300"/>
                      </a:lnTo>
                      <a:lnTo>
                        <a:pt x="1642" y="1300"/>
                      </a:lnTo>
                      <a:lnTo>
                        <a:pt x="1644" y="1304"/>
                      </a:lnTo>
                      <a:lnTo>
                        <a:pt x="1644" y="1304"/>
                      </a:lnTo>
                      <a:lnTo>
                        <a:pt x="1646" y="1306"/>
                      </a:lnTo>
                      <a:lnTo>
                        <a:pt x="1648" y="1308"/>
                      </a:lnTo>
                      <a:lnTo>
                        <a:pt x="1654" y="1308"/>
                      </a:lnTo>
                      <a:lnTo>
                        <a:pt x="1660" y="1308"/>
                      </a:lnTo>
                      <a:lnTo>
                        <a:pt x="1660" y="1310"/>
                      </a:lnTo>
                      <a:lnTo>
                        <a:pt x="1660" y="1314"/>
                      </a:lnTo>
                      <a:lnTo>
                        <a:pt x="1660" y="1314"/>
                      </a:lnTo>
                      <a:lnTo>
                        <a:pt x="1660" y="1318"/>
                      </a:lnTo>
                      <a:lnTo>
                        <a:pt x="1658" y="1318"/>
                      </a:lnTo>
                      <a:lnTo>
                        <a:pt x="1656" y="1316"/>
                      </a:lnTo>
                      <a:lnTo>
                        <a:pt x="1652" y="1314"/>
                      </a:lnTo>
                      <a:lnTo>
                        <a:pt x="1648" y="1312"/>
                      </a:lnTo>
                      <a:lnTo>
                        <a:pt x="1642" y="1314"/>
                      </a:lnTo>
                      <a:lnTo>
                        <a:pt x="1634" y="1318"/>
                      </a:lnTo>
                      <a:lnTo>
                        <a:pt x="1634" y="1318"/>
                      </a:lnTo>
                      <a:lnTo>
                        <a:pt x="1622" y="1330"/>
                      </a:lnTo>
                      <a:lnTo>
                        <a:pt x="1618" y="1336"/>
                      </a:lnTo>
                      <a:lnTo>
                        <a:pt x="1618" y="1342"/>
                      </a:lnTo>
                      <a:lnTo>
                        <a:pt x="1618" y="1350"/>
                      </a:lnTo>
                      <a:lnTo>
                        <a:pt x="1618" y="1350"/>
                      </a:lnTo>
                      <a:lnTo>
                        <a:pt x="1620" y="1356"/>
                      </a:lnTo>
                      <a:lnTo>
                        <a:pt x="1622" y="1358"/>
                      </a:lnTo>
                      <a:lnTo>
                        <a:pt x="1626" y="1360"/>
                      </a:lnTo>
                      <a:lnTo>
                        <a:pt x="1628" y="1362"/>
                      </a:lnTo>
                      <a:lnTo>
                        <a:pt x="1624" y="1366"/>
                      </a:lnTo>
                      <a:lnTo>
                        <a:pt x="1624" y="1366"/>
                      </a:lnTo>
                      <a:lnTo>
                        <a:pt x="1622" y="1368"/>
                      </a:lnTo>
                      <a:lnTo>
                        <a:pt x="1622" y="1370"/>
                      </a:lnTo>
                      <a:lnTo>
                        <a:pt x="1624" y="1372"/>
                      </a:lnTo>
                      <a:lnTo>
                        <a:pt x="1626" y="1374"/>
                      </a:lnTo>
                      <a:lnTo>
                        <a:pt x="1624" y="1376"/>
                      </a:lnTo>
                      <a:lnTo>
                        <a:pt x="1624" y="1376"/>
                      </a:lnTo>
                      <a:lnTo>
                        <a:pt x="1620" y="1378"/>
                      </a:lnTo>
                      <a:lnTo>
                        <a:pt x="1620" y="1382"/>
                      </a:lnTo>
                      <a:lnTo>
                        <a:pt x="1620" y="1384"/>
                      </a:lnTo>
                      <a:lnTo>
                        <a:pt x="1622" y="1386"/>
                      </a:lnTo>
                      <a:lnTo>
                        <a:pt x="1630" y="1392"/>
                      </a:lnTo>
                      <a:lnTo>
                        <a:pt x="1642" y="1396"/>
                      </a:lnTo>
                      <a:lnTo>
                        <a:pt x="1642" y="1396"/>
                      </a:lnTo>
                      <a:lnTo>
                        <a:pt x="1650" y="1398"/>
                      </a:lnTo>
                      <a:lnTo>
                        <a:pt x="1656" y="1396"/>
                      </a:lnTo>
                      <a:lnTo>
                        <a:pt x="1662" y="1394"/>
                      </a:lnTo>
                      <a:lnTo>
                        <a:pt x="1670" y="1394"/>
                      </a:lnTo>
                      <a:lnTo>
                        <a:pt x="1670" y="1394"/>
                      </a:lnTo>
                      <a:lnTo>
                        <a:pt x="1676" y="1396"/>
                      </a:lnTo>
                      <a:lnTo>
                        <a:pt x="1676" y="1398"/>
                      </a:lnTo>
                      <a:lnTo>
                        <a:pt x="1676" y="1400"/>
                      </a:lnTo>
                      <a:lnTo>
                        <a:pt x="1682" y="1400"/>
                      </a:lnTo>
                      <a:lnTo>
                        <a:pt x="1682" y="1400"/>
                      </a:lnTo>
                      <a:lnTo>
                        <a:pt x="1688" y="1402"/>
                      </a:lnTo>
                      <a:lnTo>
                        <a:pt x="1688" y="1404"/>
                      </a:lnTo>
                      <a:lnTo>
                        <a:pt x="1686" y="1412"/>
                      </a:lnTo>
                      <a:lnTo>
                        <a:pt x="1686" y="1416"/>
                      </a:lnTo>
                      <a:lnTo>
                        <a:pt x="1686" y="1420"/>
                      </a:lnTo>
                      <a:lnTo>
                        <a:pt x="1688" y="1422"/>
                      </a:lnTo>
                      <a:lnTo>
                        <a:pt x="1694" y="1420"/>
                      </a:lnTo>
                      <a:lnTo>
                        <a:pt x="1694" y="1420"/>
                      </a:lnTo>
                      <a:lnTo>
                        <a:pt x="1700" y="1420"/>
                      </a:lnTo>
                      <a:lnTo>
                        <a:pt x="1702" y="1422"/>
                      </a:lnTo>
                      <a:lnTo>
                        <a:pt x="1706" y="1424"/>
                      </a:lnTo>
                      <a:lnTo>
                        <a:pt x="1714" y="1422"/>
                      </a:lnTo>
                      <a:lnTo>
                        <a:pt x="1714" y="1422"/>
                      </a:lnTo>
                      <a:lnTo>
                        <a:pt x="1718" y="1422"/>
                      </a:lnTo>
                      <a:lnTo>
                        <a:pt x="1722" y="1422"/>
                      </a:lnTo>
                      <a:lnTo>
                        <a:pt x="1730" y="1426"/>
                      </a:lnTo>
                      <a:lnTo>
                        <a:pt x="1736" y="1430"/>
                      </a:lnTo>
                      <a:lnTo>
                        <a:pt x="1738" y="1430"/>
                      </a:lnTo>
                      <a:lnTo>
                        <a:pt x="1742" y="1428"/>
                      </a:lnTo>
                      <a:lnTo>
                        <a:pt x="1742" y="1428"/>
                      </a:lnTo>
                      <a:lnTo>
                        <a:pt x="1744" y="1428"/>
                      </a:lnTo>
                      <a:lnTo>
                        <a:pt x="1748" y="1430"/>
                      </a:lnTo>
                      <a:lnTo>
                        <a:pt x="1750" y="1434"/>
                      </a:lnTo>
                      <a:lnTo>
                        <a:pt x="1750" y="1442"/>
                      </a:lnTo>
                      <a:lnTo>
                        <a:pt x="1748" y="1444"/>
                      </a:lnTo>
                      <a:lnTo>
                        <a:pt x="1744" y="1446"/>
                      </a:lnTo>
                      <a:lnTo>
                        <a:pt x="1744" y="1446"/>
                      </a:lnTo>
                      <a:lnTo>
                        <a:pt x="1742" y="1448"/>
                      </a:lnTo>
                      <a:lnTo>
                        <a:pt x="1742" y="1450"/>
                      </a:lnTo>
                      <a:lnTo>
                        <a:pt x="1748" y="1458"/>
                      </a:lnTo>
                      <a:lnTo>
                        <a:pt x="1758" y="1464"/>
                      </a:lnTo>
                      <a:lnTo>
                        <a:pt x="1764" y="1464"/>
                      </a:lnTo>
                      <a:lnTo>
                        <a:pt x="1768" y="1464"/>
                      </a:lnTo>
                      <a:lnTo>
                        <a:pt x="1768" y="1464"/>
                      </a:lnTo>
                      <a:lnTo>
                        <a:pt x="1774" y="1458"/>
                      </a:lnTo>
                      <a:lnTo>
                        <a:pt x="1778" y="1454"/>
                      </a:lnTo>
                      <a:lnTo>
                        <a:pt x="1778" y="1452"/>
                      </a:lnTo>
                      <a:lnTo>
                        <a:pt x="1778" y="1454"/>
                      </a:lnTo>
                      <a:lnTo>
                        <a:pt x="1780" y="1460"/>
                      </a:lnTo>
                      <a:lnTo>
                        <a:pt x="1780" y="1460"/>
                      </a:lnTo>
                      <a:lnTo>
                        <a:pt x="1780" y="1468"/>
                      </a:lnTo>
                      <a:lnTo>
                        <a:pt x="1784" y="1470"/>
                      </a:lnTo>
                      <a:lnTo>
                        <a:pt x="1786" y="1470"/>
                      </a:lnTo>
                      <a:lnTo>
                        <a:pt x="1786" y="1474"/>
                      </a:lnTo>
                      <a:lnTo>
                        <a:pt x="1786" y="1474"/>
                      </a:lnTo>
                      <a:lnTo>
                        <a:pt x="1784" y="1476"/>
                      </a:lnTo>
                      <a:lnTo>
                        <a:pt x="1782" y="1476"/>
                      </a:lnTo>
                      <a:lnTo>
                        <a:pt x="1780" y="1472"/>
                      </a:lnTo>
                      <a:lnTo>
                        <a:pt x="1776" y="1468"/>
                      </a:lnTo>
                      <a:lnTo>
                        <a:pt x="1774" y="1468"/>
                      </a:lnTo>
                      <a:lnTo>
                        <a:pt x="1772" y="1470"/>
                      </a:lnTo>
                      <a:lnTo>
                        <a:pt x="1772" y="1470"/>
                      </a:lnTo>
                      <a:lnTo>
                        <a:pt x="1770" y="1472"/>
                      </a:lnTo>
                      <a:lnTo>
                        <a:pt x="1772" y="1476"/>
                      </a:lnTo>
                      <a:lnTo>
                        <a:pt x="1780" y="1484"/>
                      </a:lnTo>
                      <a:lnTo>
                        <a:pt x="1790" y="1486"/>
                      </a:lnTo>
                      <a:lnTo>
                        <a:pt x="1794" y="1486"/>
                      </a:lnTo>
                      <a:lnTo>
                        <a:pt x="1794" y="1484"/>
                      </a:lnTo>
                      <a:lnTo>
                        <a:pt x="1794" y="1484"/>
                      </a:lnTo>
                      <a:lnTo>
                        <a:pt x="1796" y="1478"/>
                      </a:lnTo>
                      <a:lnTo>
                        <a:pt x="1800" y="1474"/>
                      </a:lnTo>
                      <a:lnTo>
                        <a:pt x="1804" y="1474"/>
                      </a:lnTo>
                      <a:lnTo>
                        <a:pt x="1804" y="1478"/>
                      </a:lnTo>
                      <a:lnTo>
                        <a:pt x="1804" y="1478"/>
                      </a:lnTo>
                      <a:lnTo>
                        <a:pt x="1804" y="1486"/>
                      </a:lnTo>
                      <a:lnTo>
                        <a:pt x="1806" y="1492"/>
                      </a:lnTo>
                      <a:lnTo>
                        <a:pt x="1808" y="1498"/>
                      </a:lnTo>
                      <a:lnTo>
                        <a:pt x="1808" y="1504"/>
                      </a:lnTo>
                      <a:lnTo>
                        <a:pt x="1808" y="1504"/>
                      </a:lnTo>
                      <a:lnTo>
                        <a:pt x="1808" y="1510"/>
                      </a:lnTo>
                      <a:lnTo>
                        <a:pt x="1810" y="1512"/>
                      </a:lnTo>
                      <a:lnTo>
                        <a:pt x="1812" y="1510"/>
                      </a:lnTo>
                      <a:lnTo>
                        <a:pt x="1816" y="1506"/>
                      </a:lnTo>
                      <a:lnTo>
                        <a:pt x="1816" y="1506"/>
                      </a:lnTo>
                      <a:lnTo>
                        <a:pt x="1818" y="1504"/>
                      </a:lnTo>
                      <a:lnTo>
                        <a:pt x="1820" y="1506"/>
                      </a:lnTo>
                      <a:lnTo>
                        <a:pt x="1822" y="1508"/>
                      </a:lnTo>
                      <a:lnTo>
                        <a:pt x="1822" y="1508"/>
                      </a:lnTo>
                      <a:lnTo>
                        <a:pt x="1822" y="1516"/>
                      </a:lnTo>
                      <a:lnTo>
                        <a:pt x="1824" y="1520"/>
                      </a:lnTo>
                      <a:lnTo>
                        <a:pt x="1828" y="1526"/>
                      </a:lnTo>
                      <a:lnTo>
                        <a:pt x="1832" y="1528"/>
                      </a:lnTo>
                      <a:lnTo>
                        <a:pt x="1832" y="1530"/>
                      </a:lnTo>
                      <a:lnTo>
                        <a:pt x="1832" y="1534"/>
                      </a:lnTo>
                      <a:lnTo>
                        <a:pt x="1832" y="1534"/>
                      </a:lnTo>
                      <a:lnTo>
                        <a:pt x="1832" y="1538"/>
                      </a:lnTo>
                      <a:lnTo>
                        <a:pt x="1830" y="1538"/>
                      </a:lnTo>
                      <a:lnTo>
                        <a:pt x="1826" y="1540"/>
                      </a:lnTo>
                      <a:lnTo>
                        <a:pt x="1824" y="1540"/>
                      </a:lnTo>
                      <a:lnTo>
                        <a:pt x="1824" y="1542"/>
                      </a:lnTo>
                      <a:lnTo>
                        <a:pt x="1830" y="1550"/>
                      </a:lnTo>
                      <a:lnTo>
                        <a:pt x="1830" y="1550"/>
                      </a:lnTo>
                      <a:lnTo>
                        <a:pt x="1836" y="1562"/>
                      </a:lnTo>
                      <a:lnTo>
                        <a:pt x="1840" y="1570"/>
                      </a:lnTo>
                      <a:lnTo>
                        <a:pt x="1840" y="1582"/>
                      </a:lnTo>
                      <a:lnTo>
                        <a:pt x="1840" y="1600"/>
                      </a:lnTo>
                      <a:lnTo>
                        <a:pt x="1840" y="1600"/>
                      </a:lnTo>
                      <a:lnTo>
                        <a:pt x="1838" y="1608"/>
                      </a:lnTo>
                      <a:lnTo>
                        <a:pt x="1836" y="1610"/>
                      </a:lnTo>
                      <a:lnTo>
                        <a:pt x="1834" y="1608"/>
                      </a:lnTo>
                      <a:lnTo>
                        <a:pt x="1834" y="1604"/>
                      </a:lnTo>
                      <a:lnTo>
                        <a:pt x="1828" y="1570"/>
                      </a:lnTo>
                      <a:lnTo>
                        <a:pt x="1828" y="1570"/>
                      </a:lnTo>
                      <a:lnTo>
                        <a:pt x="1824" y="1564"/>
                      </a:lnTo>
                      <a:lnTo>
                        <a:pt x="1816" y="1560"/>
                      </a:lnTo>
                      <a:lnTo>
                        <a:pt x="1808" y="1558"/>
                      </a:lnTo>
                      <a:lnTo>
                        <a:pt x="1798" y="1556"/>
                      </a:lnTo>
                      <a:lnTo>
                        <a:pt x="1776" y="1554"/>
                      </a:lnTo>
                      <a:lnTo>
                        <a:pt x="1766" y="1552"/>
                      </a:lnTo>
                      <a:lnTo>
                        <a:pt x="1758" y="1548"/>
                      </a:lnTo>
                      <a:lnTo>
                        <a:pt x="1758" y="1548"/>
                      </a:lnTo>
                      <a:lnTo>
                        <a:pt x="1752" y="1546"/>
                      </a:lnTo>
                      <a:lnTo>
                        <a:pt x="1746" y="1546"/>
                      </a:lnTo>
                      <a:lnTo>
                        <a:pt x="1744" y="1548"/>
                      </a:lnTo>
                      <a:lnTo>
                        <a:pt x="1742" y="1552"/>
                      </a:lnTo>
                      <a:lnTo>
                        <a:pt x="1744" y="1556"/>
                      </a:lnTo>
                      <a:lnTo>
                        <a:pt x="1746" y="1564"/>
                      </a:lnTo>
                      <a:lnTo>
                        <a:pt x="1754" y="1578"/>
                      </a:lnTo>
                      <a:lnTo>
                        <a:pt x="1754" y="1578"/>
                      </a:lnTo>
                      <a:lnTo>
                        <a:pt x="1758" y="1586"/>
                      </a:lnTo>
                      <a:lnTo>
                        <a:pt x="1764" y="1598"/>
                      </a:lnTo>
                      <a:lnTo>
                        <a:pt x="1770" y="1626"/>
                      </a:lnTo>
                      <a:lnTo>
                        <a:pt x="1774" y="1658"/>
                      </a:lnTo>
                      <a:lnTo>
                        <a:pt x="1774" y="1690"/>
                      </a:lnTo>
                      <a:lnTo>
                        <a:pt x="1774" y="1690"/>
                      </a:lnTo>
                      <a:lnTo>
                        <a:pt x="1774" y="1726"/>
                      </a:lnTo>
                      <a:lnTo>
                        <a:pt x="1770" y="1768"/>
                      </a:lnTo>
                      <a:lnTo>
                        <a:pt x="1766" y="1810"/>
                      </a:lnTo>
                      <a:lnTo>
                        <a:pt x="1762" y="1828"/>
                      </a:lnTo>
                      <a:lnTo>
                        <a:pt x="1756" y="1842"/>
                      </a:lnTo>
                      <a:lnTo>
                        <a:pt x="1756" y="1842"/>
                      </a:lnTo>
                      <a:lnTo>
                        <a:pt x="1754" y="1854"/>
                      </a:lnTo>
                      <a:lnTo>
                        <a:pt x="1754" y="1870"/>
                      </a:lnTo>
                      <a:lnTo>
                        <a:pt x="1756" y="1886"/>
                      </a:lnTo>
                      <a:lnTo>
                        <a:pt x="1760" y="1904"/>
                      </a:lnTo>
                      <a:lnTo>
                        <a:pt x="1764" y="1920"/>
                      </a:lnTo>
                      <a:lnTo>
                        <a:pt x="1766" y="1938"/>
                      </a:lnTo>
                      <a:lnTo>
                        <a:pt x="1766" y="1956"/>
                      </a:lnTo>
                      <a:lnTo>
                        <a:pt x="1762" y="1972"/>
                      </a:lnTo>
                      <a:lnTo>
                        <a:pt x="1762" y="1972"/>
                      </a:lnTo>
                      <a:lnTo>
                        <a:pt x="1760" y="1986"/>
                      </a:lnTo>
                      <a:lnTo>
                        <a:pt x="1758" y="1996"/>
                      </a:lnTo>
                      <a:lnTo>
                        <a:pt x="1762" y="2006"/>
                      </a:lnTo>
                      <a:lnTo>
                        <a:pt x="1766" y="2012"/>
                      </a:lnTo>
                      <a:lnTo>
                        <a:pt x="1774" y="2030"/>
                      </a:lnTo>
                      <a:lnTo>
                        <a:pt x="1778" y="2042"/>
                      </a:lnTo>
                      <a:lnTo>
                        <a:pt x="1780" y="2056"/>
                      </a:lnTo>
                      <a:lnTo>
                        <a:pt x="1780" y="2056"/>
                      </a:lnTo>
                      <a:lnTo>
                        <a:pt x="1784" y="2072"/>
                      </a:lnTo>
                      <a:lnTo>
                        <a:pt x="1786" y="2082"/>
                      </a:lnTo>
                      <a:lnTo>
                        <a:pt x="1792" y="2090"/>
                      </a:lnTo>
                      <a:lnTo>
                        <a:pt x="1798" y="2096"/>
                      </a:lnTo>
                      <a:lnTo>
                        <a:pt x="1808" y="2104"/>
                      </a:lnTo>
                      <a:lnTo>
                        <a:pt x="1812" y="2110"/>
                      </a:lnTo>
                      <a:lnTo>
                        <a:pt x="1814" y="2118"/>
                      </a:lnTo>
                      <a:lnTo>
                        <a:pt x="1814" y="2118"/>
                      </a:lnTo>
                      <a:lnTo>
                        <a:pt x="1816" y="2124"/>
                      </a:lnTo>
                      <a:lnTo>
                        <a:pt x="1818" y="2128"/>
                      </a:lnTo>
                      <a:lnTo>
                        <a:pt x="1824" y="2132"/>
                      </a:lnTo>
                      <a:lnTo>
                        <a:pt x="1828" y="2136"/>
                      </a:lnTo>
                      <a:lnTo>
                        <a:pt x="1832" y="2140"/>
                      </a:lnTo>
                      <a:lnTo>
                        <a:pt x="1834" y="2146"/>
                      </a:lnTo>
                      <a:lnTo>
                        <a:pt x="1836" y="2158"/>
                      </a:lnTo>
                      <a:lnTo>
                        <a:pt x="1836" y="2158"/>
                      </a:lnTo>
                      <a:lnTo>
                        <a:pt x="1838" y="2170"/>
                      </a:lnTo>
                      <a:lnTo>
                        <a:pt x="1842" y="2178"/>
                      </a:lnTo>
                      <a:lnTo>
                        <a:pt x="1846" y="2182"/>
                      </a:lnTo>
                      <a:lnTo>
                        <a:pt x="1852" y="2186"/>
                      </a:lnTo>
                      <a:lnTo>
                        <a:pt x="1856" y="2188"/>
                      </a:lnTo>
                      <a:lnTo>
                        <a:pt x="1860" y="2190"/>
                      </a:lnTo>
                      <a:lnTo>
                        <a:pt x="1862" y="2194"/>
                      </a:lnTo>
                      <a:lnTo>
                        <a:pt x="1860" y="2200"/>
                      </a:lnTo>
                      <a:lnTo>
                        <a:pt x="1860" y="2200"/>
                      </a:lnTo>
                      <a:lnTo>
                        <a:pt x="1858" y="2208"/>
                      </a:lnTo>
                      <a:lnTo>
                        <a:pt x="1858" y="2214"/>
                      </a:lnTo>
                      <a:lnTo>
                        <a:pt x="1860" y="2218"/>
                      </a:lnTo>
                      <a:lnTo>
                        <a:pt x="1862" y="2224"/>
                      </a:lnTo>
                      <a:lnTo>
                        <a:pt x="1872" y="2238"/>
                      </a:lnTo>
                      <a:lnTo>
                        <a:pt x="1890" y="2260"/>
                      </a:lnTo>
                      <a:lnTo>
                        <a:pt x="1890" y="2260"/>
                      </a:lnTo>
                      <a:lnTo>
                        <a:pt x="1900" y="2272"/>
                      </a:lnTo>
                      <a:lnTo>
                        <a:pt x="1904" y="2282"/>
                      </a:lnTo>
                      <a:lnTo>
                        <a:pt x="1908" y="2292"/>
                      </a:lnTo>
                      <a:lnTo>
                        <a:pt x="1908" y="2298"/>
                      </a:lnTo>
                      <a:lnTo>
                        <a:pt x="1910" y="2310"/>
                      </a:lnTo>
                      <a:lnTo>
                        <a:pt x="1912" y="2314"/>
                      </a:lnTo>
                      <a:lnTo>
                        <a:pt x="1916" y="2318"/>
                      </a:lnTo>
                      <a:lnTo>
                        <a:pt x="1916" y="2318"/>
                      </a:lnTo>
                      <a:lnTo>
                        <a:pt x="1920" y="2322"/>
                      </a:lnTo>
                      <a:lnTo>
                        <a:pt x="1926" y="2324"/>
                      </a:lnTo>
                      <a:lnTo>
                        <a:pt x="1940" y="2326"/>
                      </a:lnTo>
                      <a:lnTo>
                        <a:pt x="1948" y="2328"/>
                      </a:lnTo>
                      <a:lnTo>
                        <a:pt x="1958" y="2332"/>
                      </a:lnTo>
                      <a:lnTo>
                        <a:pt x="1968" y="2336"/>
                      </a:lnTo>
                      <a:lnTo>
                        <a:pt x="1978" y="2344"/>
                      </a:lnTo>
                      <a:lnTo>
                        <a:pt x="1978" y="2344"/>
                      </a:lnTo>
                      <a:lnTo>
                        <a:pt x="1986" y="2352"/>
                      </a:lnTo>
                      <a:lnTo>
                        <a:pt x="1994" y="2358"/>
                      </a:lnTo>
                      <a:lnTo>
                        <a:pt x="2006" y="2360"/>
                      </a:lnTo>
                      <a:lnTo>
                        <a:pt x="2016" y="2364"/>
                      </a:lnTo>
                      <a:lnTo>
                        <a:pt x="2022" y="2368"/>
                      </a:lnTo>
                      <a:lnTo>
                        <a:pt x="2030" y="2374"/>
                      </a:lnTo>
                      <a:lnTo>
                        <a:pt x="2030" y="2374"/>
                      </a:lnTo>
                      <a:lnTo>
                        <a:pt x="2036" y="2382"/>
                      </a:lnTo>
                      <a:lnTo>
                        <a:pt x="2040" y="2388"/>
                      </a:lnTo>
                      <a:lnTo>
                        <a:pt x="2046" y="2400"/>
                      </a:lnTo>
                      <a:lnTo>
                        <a:pt x="2048" y="2410"/>
                      </a:lnTo>
                      <a:lnTo>
                        <a:pt x="2052" y="2424"/>
                      </a:lnTo>
                      <a:lnTo>
                        <a:pt x="2052" y="2424"/>
                      </a:lnTo>
                      <a:lnTo>
                        <a:pt x="2052" y="2424"/>
                      </a:lnTo>
                      <a:lnTo>
                        <a:pt x="2052" y="2424"/>
                      </a:lnTo>
                      <a:lnTo>
                        <a:pt x="2066" y="2454"/>
                      </a:lnTo>
                      <a:lnTo>
                        <a:pt x="2078" y="2480"/>
                      </a:lnTo>
                      <a:lnTo>
                        <a:pt x="2092" y="2520"/>
                      </a:lnTo>
                      <a:lnTo>
                        <a:pt x="2100" y="2548"/>
                      </a:lnTo>
                      <a:lnTo>
                        <a:pt x="2106" y="2560"/>
                      </a:lnTo>
                      <a:lnTo>
                        <a:pt x="2112" y="2568"/>
                      </a:lnTo>
                      <a:lnTo>
                        <a:pt x="2112" y="2568"/>
                      </a:lnTo>
                      <a:lnTo>
                        <a:pt x="2120" y="2578"/>
                      </a:lnTo>
                      <a:lnTo>
                        <a:pt x="2130" y="2586"/>
                      </a:lnTo>
                      <a:lnTo>
                        <a:pt x="2150" y="2604"/>
                      </a:lnTo>
                      <a:lnTo>
                        <a:pt x="2160" y="2614"/>
                      </a:lnTo>
                      <a:lnTo>
                        <a:pt x="2166" y="2624"/>
                      </a:lnTo>
                      <a:lnTo>
                        <a:pt x="2170" y="2636"/>
                      </a:lnTo>
                      <a:lnTo>
                        <a:pt x="2170" y="2650"/>
                      </a:lnTo>
                      <a:lnTo>
                        <a:pt x="2170" y="2650"/>
                      </a:lnTo>
                      <a:lnTo>
                        <a:pt x="2170" y="2656"/>
                      </a:lnTo>
                      <a:lnTo>
                        <a:pt x="2168" y="2662"/>
                      </a:lnTo>
                      <a:lnTo>
                        <a:pt x="2164" y="2664"/>
                      </a:lnTo>
                      <a:lnTo>
                        <a:pt x="2162" y="2668"/>
                      </a:lnTo>
                      <a:lnTo>
                        <a:pt x="2154" y="2668"/>
                      </a:lnTo>
                      <a:lnTo>
                        <a:pt x="2148" y="2668"/>
                      </a:lnTo>
                      <a:lnTo>
                        <a:pt x="2142" y="2668"/>
                      </a:lnTo>
                      <a:lnTo>
                        <a:pt x="2138" y="2668"/>
                      </a:lnTo>
                      <a:lnTo>
                        <a:pt x="2140" y="2672"/>
                      </a:lnTo>
                      <a:lnTo>
                        <a:pt x="2146" y="2682"/>
                      </a:lnTo>
                      <a:lnTo>
                        <a:pt x="2146" y="2682"/>
                      </a:lnTo>
                      <a:lnTo>
                        <a:pt x="2156" y="2692"/>
                      </a:lnTo>
                      <a:lnTo>
                        <a:pt x="2166" y="2700"/>
                      </a:lnTo>
                      <a:lnTo>
                        <a:pt x="2188" y="2716"/>
                      </a:lnTo>
                      <a:lnTo>
                        <a:pt x="2212" y="2730"/>
                      </a:lnTo>
                      <a:lnTo>
                        <a:pt x="2226" y="2738"/>
                      </a:lnTo>
                      <a:lnTo>
                        <a:pt x="2238" y="2748"/>
                      </a:lnTo>
                      <a:lnTo>
                        <a:pt x="2238" y="2748"/>
                      </a:lnTo>
                      <a:lnTo>
                        <a:pt x="2244" y="2754"/>
                      </a:lnTo>
                      <a:lnTo>
                        <a:pt x="2248" y="2758"/>
                      </a:lnTo>
                      <a:lnTo>
                        <a:pt x="2250" y="2764"/>
                      </a:lnTo>
                      <a:lnTo>
                        <a:pt x="2252" y="2770"/>
                      </a:lnTo>
                      <a:lnTo>
                        <a:pt x="2250" y="2782"/>
                      </a:lnTo>
                      <a:lnTo>
                        <a:pt x="2250" y="2794"/>
                      </a:lnTo>
                      <a:lnTo>
                        <a:pt x="2248" y="2808"/>
                      </a:lnTo>
                      <a:lnTo>
                        <a:pt x="2250" y="2814"/>
                      </a:lnTo>
                      <a:lnTo>
                        <a:pt x="2252" y="2820"/>
                      </a:lnTo>
                      <a:lnTo>
                        <a:pt x="2256" y="2828"/>
                      </a:lnTo>
                      <a:lnTo>
                        <a:pt x="2262" y="2834"/>
                      </a:lnTo>
                      <a:lnTo>
                        <a:pt x="2270" y="2842"/>
                      </a:lnTo>
                      <a:lnTo>
                        <a:pt x="2280" y="2850"/>
                      </a:lnTo>
                      <a:lnTo>
                        <a:pt x="2280" y="2850"/>
                      </a:lnTo>
                      <a:lnTo>
                        <a:pt x="2300" y="2866"/>
                      </a:lnTo>
                      <a:lnTo>
                        <a:pt x="2316" y="2882"/>
                      </a:lnTo>
                      <a:lnTo>
                        <a:pt x="2326" y="2894"/>
                      </a:lnTo>
                      <a:lnTo>
                        <a:pt x="2332" y="2906"/>
                      </a:lnTo>
                      <a:lnTo>
                        <a:pt x="2336" y="2914"/>
                      </a:lnTo>
                      <a:lnTo>
                        <a:pt x="2340" y="2918"/>
                      </a:lnTo>
                      <a:lnTo>
                        <a:pt x="2344" y="2920"/>
                      </a:lnTo>
                      <a:lnTo>
                        <a:pt x="2350" y="2916"/>
                      </a:lnTo>
                      <a:lnTo>
                        <a:pt x="2350" y="2916"/>
                      </a:lnTo>
                      <a:lnTo>
                        <a:pt x="2358" y="2910"/>
                      </a:lnTo>
                      <a:lnTo>
                        <a:pt x="2362" y="2906"/>
                      </a:lnTo>
                      <a:lnTo>
                        <a:pt x="2364" y="2900"/>
                      </a:lnTo>
                      <a:lnTo>
                        <a:pt x="2364" y="2896"/>
                      </a:lnTo>
                      <a:lnTo>
                        <a:pt x="2358" y="2884"/>
                      </a:lnTo>
                      <a:lnTo>
                        <a:pt x="2346" y="2864"/>
                      </a:lnTo>
                      <a:lnTo>
                        <a:pt x="2346" y="2864"/>
                      </a:lnTo>
                      <a:lnTo>
                        <a:pt x="2340" y="2856"/>
                      </a:lnTo>
                      <a:lnTo>
                        <a:pt x="2336" y="2850"/>
                      </a:lnTo>
                      <a:lnTo>
                        <a:pt x="2332" y="2850"/>
                      </a:lnTo>
                      <a:lnTo>
                        <a:pt x="2330" y="2850"/>
                      </a:lnTo>
                      <a:lnTo>
                        <a:pt x="2324" y="2854"/>
                      </a:lnTo>
                      <a:lnTo>
                        <a:pt x="2320" y="2854"/>
                      </a:lnTo>
                      <a:lnTo>
                        <a:pt x="2316" y="2850"/>
                      </a:lnTo>
                      <a:lnTo>
                        <a:pt x="2316" y="2850"/>
                      </a:lnTo>
                      <a:lnTo>
                        <a:pt x="2312" y="2846"/>
                      </a:lnTo>
                      <a:lnTo>
                        <a:pt x="2310" y="2842"/>
                      </a:lnTo>
                      <a:lnTo>
                        <a:pt x="2310" y="2832"/>
                      </a:lnTo>
                      <a:lnTo>
                        <a:pt x="2310" y="2826"/>
                      </a:lnTo>
                      <a:lnTo>
                        <a:pt x="2310" y="2820"/>
                      </a:lnTo>
                      <a:lnTo>
                        <a:pt x="2306" y="2810"/>
                      </a:lnTo>
                      <a:lnTo>
                        <a:pt x="2300" y="2798"/>
                      </a:lnTo>
                      <a:lnTo>
                        <a:pt x="2300" y="2798"/>
                      </a:lnTo>
                      <a:lnTo>
                        <a:pt x="2290" y="2776"/>
                      </a:lnTo>
                      <a:lnTo>
                        <a:pt x="2286" y="2762"/>
                      </a:lnTo>
                      <a:lnTo>
                        <a:pt x="2282" y="2748"/>
                      </a:lnTo>
                      <a:lnTo>
                        <a:pt x="2276" y="2730"/>
                      </a:lnTo>
                      <a:lnTo>
                        <a:pt x="2276" y="2730"/>
                      </a:lnTo>
                      <a:lnTo>
                        <a:pt x="2270" y="2718"/>
                      </a:lnTo>
                      <a:lnTo>
                        <a:pt x="2264" y="2708"/>
                      </a:lnTo>
                      <a:lnTo>
                        <a:pt x="2250" y="2690"/>
                      </a:lnTo>
                      <a:lnTo>
                        <a:pt x="2236" y="2672"/>
                      </a:lnTo>
                      <a:lnTo>
                        <a:pt x="2230" y="2662"/>
                      </a:lnTo>
                      <a:lnTo>
                        <a:pt x="2224" y="2648"/>
                      </a:lnTo>
                      <a:lnTo>
                        <a:pt x="2224" y="2648"/>
                      </a:lnTo>
                      <a:lnTo>
                        <a:pt x="2220" y="2636"/>
                      </a:lnTo>
                      <a:lnTo>
                        <a:pt x="2214" y="2624"/>
                      </a:lnTo>
                      <a:lnTo>
                        <a:pt x="2198" y="2604"/>
                      </a:lnTo>
                      <a:lnTo>
                        <a:pt x="2182" y="2584"/>
                      </a:lnTo>
                      <a:lnTo>
                        <a:pt x="2168" y="2564"/>
                      </a:lnTo>
                      <a:lnTo>
                        <a:pt x="2168" y="2564"/>
                      </a:lnTo>
                      <a:lnTo>
                        <a:pt x="2160" y="2550"/>
                      </a:lnTo>
                      <a:lnTo>
                        <a:pt x="2154" y="2534"/>
                      </a:lnTo>
                      <a:lnTo>
                        <a:pt x="2148" y="2516"/>
                      </a:lnTo>
                      <a:lnTo>
                        <a:pt x="2144" y="2498"/>
                      </a:lnTo>
                      <a:lnTo>
                        <a:pt x="2142" y="2482"/>
                      </a:lnTo>
                      <a:lnTo>
                        <a:pt x="2142" y="2470"/>
                      </a:lnTo>
                      <a:lnTo>
                        <a:pt x="2144" y="2466"/>
                      </a:lnTo>
                      <a:lnTo>
                        <a:pt x="2146" y="2464"/>
                      </a:lnTo>
                      <a:lnTo>
                        <a:pt x="2148" y="2464"/>
                      </a:lnTo>
                      <a:lnTo>
                        <a:pt x="2154" y="2466"/>
                      </a:lnTo>
                      <a:lnTo>
                        <a:pt x="2154" y="2466"/>
                      </a:lnTo>
                      <a:lnTo>
                        <a:pt x="2168" y="2474"/>
                      </a:lnTo>
                      <a:lnTo>
                        <a:pt x="2172" y="2476"/>
                      </a:lnTo>
                      <a:lnTo>
                        <a:pt x="2178" y="2474"/>
                      </a:lnTo>
                      <a:lnTo>
                        <a:pt x="2186" y="2478"/>
                      </a:lnTo>
                      <a:lnTo>
                        <a:pt x="2186" y="2478"/>
                      </a:lnTo>
                      <a:lnTo>
                        <a:pt x="2198" y="2484"/>
                      </a:lnTo>
                      <a:lnTo>
                        <a:pt x="2202" y="2488"/>
                      </a:lnTo>
                      <a:lnTo>
                        <a:pt x="2206" y="2492"/>
                      </a:lnTo>
                      <a:lnTo>
                        <a:pt x="2214" y="2508"/>
                      </a:lnTo>
                      <a:lnTo>
                        <a:pt x="2222" y="2536"/>
                      </a:lnTo>
                      <a:lnTo>
                        <a:pt x="2222" y="2536"/>
                      </a:lnTo>
                      <a:lnTo>
                        <a:pt x="2228" y="2556"/>
                      </a:lnTo>
                      <a:lnTo>
                        <a:pt x="2236" y="2574"/>
                      </a:lnTo>
                      <a:lnTo>
                        <a:pt x="2244" y="2594"/>
                      </a:lnTo>
                      <a:lnTo>
                        <a:pt x="2254" y="2612"/>
                      </a:lnTo>
                      <a:lnTo>
                        <a:pt x="2264" y="2628"/>
                      </a:lnTo>
                      <a:lnTo>
                        <a:pt x="2276" y="2642"/>
                      </a:lnTo>
                      <a:lnTo>
                        <a:pt x="2288" y="2654"/>
                      </a:lnTo>
                      <a:lnTo>
                        <a:pt x="2300" y="2664"/>
                      </a:lnTo>
                      <a:lnTo>
                        <a:pt x="2300" y="2664"/>
                      </a:lnTo>
                      <a:lnTo>
                        <a:pt x="2308" y="2672"/>
                      </a:lnTo>
                      <a:lnTo>
                        <a:pt x="2314" y="2678"/>
                      </a:lnTo>
                      <a:lnTo>
                        <a:pt x="2320" y="2694"/>
                      </a:lnTo>
                      <a:lnTo>
                        <a:pt x="2324" y="2700"/>
                      </a:lnTo>
                      <a:lnTo>
                        <a:pt x="2328" y="2706"/>
                      </a:lnTo>
                      <a:lnTo>
                        <a:pt x="2338" y="2714"/>
                      </a:lnTo>
                      <a:lnTo>
                        <a:pt x="2352" y="2722"/>
                      </a:lnTo>
                      <a:lnTo>
                        <a:pt x="2352" y="2722"/>
                      </a:lnTo>
                      <a:lnTo>
                        <a:pt x="2360" y="2724"/>
                      </a:lnTo>
                      <a:lnTo>
                        <a:pt x="2364" y="2728"/>
                      </a:lnTo>
                      <a:lnTo>
                        <a:pt x="2368" y="2732"/>
                      </a:lnTo>
                      <a:lnTo>
                        <a:pt x="2370" y="2736"/>
                      </a:lnTo>
                      <a:lnTo>
                        <a:pt x="2368" y="2746"/>
                      </a:lnTo>
                      <a:lnTo>
                        <a:pt x="2366" y="2754"/>
                      </a:lnTo>
                      <a:lnTo>
                        <a:pt x="2364" y="2764"/>
                      </a:lnTo>
                      <a:lnTo>
                        <a:pt x="2362" y="2772"/>
                      </a:lnTo>
                      <a:lnTo>
                        <a:pt x="2364" y="2776"/>
                      </a:lnTo>
                      <a:lnTo>
                        <a:pt x="2368" y="2782"/>
                      </a:lnTo>
                      <a:lnTo>
                        <a:pt x="2372" y="2786"/>
                      </a:lnTo>
                      <a:lnTo>
                        <a:pt x="2380" y="2790"/>
                      </a:lnTo>
                      <a:lnTo>
                        <a:pt x="2380" y="2790"/>
                      </a:lnTo>
                      <a:lnTo>
                        <a:pt x="2394" y="2798"/>
                      </a:lnTo>
                      <a:lnTo>
                        <a:pt x="2402" y="2804"/>
                      </a:lnTo>
                      <a:lnTo>
                        <a:pt x="2408" y="2810"/>
                      </a:lnTo>
                      <a:lnTo>
                        <a:pt x="2410" y="2816"/>
                      </a:lnTo>
                      <a:lnTo>
                        <a:pt x="2422" y="2834"/>
                      </a:lnTo>
                      <a:lnTo>
                        <a:pt x="2432" y="2848"/>
                      </a:lnTo>
                      <a:lnTo>
                        <a:pt x="2450" y="2864"/>
                      </a:lnTo>
                      <a:lnTo>
                        <a:pt x="2450" y="2864"/>
                      </a:lnTo>
                      <a:lnTo>
                        <a:pt x="2476" y="2890"/>
                      </a:lnTo>
                      <a:lnTo>
                        <a:pt x="2494" y="2912"/>
                      </a:lnTo>
                      <a:lnTo>
                        <a:pt x="2504" y="2928"/>
                      </a:lnTo>
                      <a:lnTo>
                        <a:pt x="2512" y="2942"/>
                      </a:lnTo>
                      <a:lnTo>
                        <a:pt x="2516" y="2954"/>
                      </a:lnTo>
                      <a:lnTo>
                        <a:pt x="2518" y="2964"/>
                      </a:lnTo>
                      <a:lnTo>
                        <a:pt x="2522" y="2976"/>
                      </a:lnTo>
                      <a:lnTo>
                        <a:pt x="2526" y="2988"/>
                      </a:lnTo>
                      <a:lnTo>
                        <a:pt x="2526" y="2988"/>
                      </a:lnTo>
                      <a:lnTo>
                        <a:pt x="2530" y="2998"/>
                      </a:lnTo>
                      <a:lnTo>
                        <a:pt x="2530" y="3010"/>
                      </a:lnTo>
                      <a:lnTo>
                        <a:pt x="2528" y="3020"/>
                      </a:lnTo>
                      <a:lnTo>
                        <a:pt x="2524" y="3028"/>
                      </a:lnTo>
                      <a:lnTo>
                        <a:pt x="2518" y="3038"/>
                      </a:lnTo>
                      <a:lnTo>
                        <a:pt x="2516" y="3050"/>
                      </a:lnTo>
                      <a:lnTo>
                        <a:pt x="2516" y="3060"/>
                      </a:lnTo>
                      <a:lnTo>
                        <a:pt x="2520" y="3072"/>
                      </a:lnTo>
                      <a:lnTo>
                        <a:pt x="2520" y="3072"/>
                      </a:lnTo>
                      <a:lnTo>
                        <a:pt x="2528" y="3084"/>
                      </a:lnTo>
                      <a:lnTo>
                        <a:pt x="2534" y="3094"/>
                      </a:lnTo>
                      <a:lnTo>
                        <a:pt x="2550" y="3106"/>
                      </a:lnTo>
                      <a:lnTo>
                        <a:pt x="2570" y="3120"/>
                      </a:lnTo>
                      <a:lnTo>
                        <a:pt x="2580" y="3130"/>
                      </a:lnTo>
                      <a:lnTo>
                        <a:pt x="2594" y="3140"/>
                      </a:lnTo>
                      <a:lnTo>
                        <a:pt x="2594" y="3140"/>
                      </a:lnTo>
                      <a:lnTo>
                        <a:pt x="2606" y="3152"/>
                      </a:lnTo>
                      <a:lnTo>
                        <a:pt x="2618" y="3158"/>
                      </a:lnTo>
                      <a:lnTo>
                        <a:pt x="2628" y="3162"/>
                      </a:lnTo>
                      <a:lnTo>
                        <a:pt x="2638" y="3164"/>
                      </a:lnTo>
                      <a:lnTo>
                        <a:pt x="2648" y="3168"/>
                      </a:lnTo>
                      <a:lnTo>
                        <a:pt x="2658" y="3170"/>
                      </a:lnTo>
                      <a:lnTo>
                        <a:pt x="2668" y="3176"/>
                      </a:lnTo>
                      <a:lnTo>
                        <a:pt x="2680" y="3186"/>
                      </a:lnTo>
                      <a:lnTo>
                        <a:pt x="2680" y="3186"/>
                      </a:lnTo>
                      <a:lnTo>
                        <a:pt x="2694" y="3198"/>
                      </a:lnTo>
                      <a:lnTo>
                        <a:pt x="2714" y="3210"/>
                      </a:lnTo>
                      <a:lnTo>
                        <a:pt x="2736" y="3224"/>
                      </a:lnTo>
                      <a:lnTo>
                        <a:pt x="2762" y="3236"/>
                      </a:lnTo>
                      <a:lnTo>
                        <a:pt x="2814" y="3260"/>
                      </a:lnTo>
                      <a:lnTo>
                        <a:pt x="2862" y="3278"/>
                      </a:lnTo>
                      <a:lnTo>
                        <a:pt x="2862" y="3278"/>
                      </a:lnTo>
                      <a:lnTo>
                        <a:pt x="2880" y="3282"/>
                      </a:lnTo>
                      <a:lnTo>
                        <a:pt x="2894" y="3282"/>
                      </a:lnTo>
                      <a:lnTo>
                        <a:pt x="2906" y="3278"/>
                      </a:lnTo>
                      <a:lnTo>
                        <a:pt x="2916" y="3272"/>
                      </a:lnTo>
                      <a:lnTo>
                        <a:pt x="2926" y="3266"/>
                      </a:lnTo>
                      <a:lnTo>
                        <a:pt x="2938" y="3260"/>
                      </a:lnTo>
                      <a:lnTo>
                        <a:pt x="2950" y="3258"/>
                      </a:lnTo>
                      <a:lnTo>
                        <a:pt x="2968" y="3260"/>
                      </a:lnTo>
                      <a:lnTo>
                        <a:pt x="2968" y="3260"/>
                      </a:lnTo>
                      <a:lnTo>
                        <a:pt x="2984" y="3264"/>
                      </a:lnTo>
                      <a:lnTo>
                        <a:pt x="2996" y="3272"/>
                      </a:lnTo>
                      <a:lnTo>
                        <a:pt x="3006" y="3280"/>
                      </a:lnTo>
                      <a:lnTo>
                        <a:pt x="3014" y="3290"/>
                      </a:lnTo>
                      <a:lnTo>
                        <a:pt x="3032" y="3314"/>
                      </a:lnTo>
                      <a:lnTo>
                        <a:pt x="3042" y="3326"/>
                      </a:lnTo>
                      <a:lnTo>
                        <a:pt x="3054" y="3338"/>
                      </a:lnTo>
                      <a:lnTo>
                        <a:pt x="3054" y="3338"/>
                      </a:lnTo>
                      <a:lnTo>
                        <a:pt x="3072" y="3356"/>
                      </a:lnTo>
                      <a:lnTo>
                        <a:pt x="3086" y="3364"/>
                      </a:lnTo>
                      <a:lnTo>
                        <a:pt x="3094" y="3368"/>
                      </a:lnTo>
                      <a:lnTo>
                        <a:pt x="3104" y="3368"/>
                      </a:lnTo>
                      <a:lnTo>
                        <a:pt x="3104" y="3368"/>
                      </a:lnTo>
                      <a:lnTo>
                        <a:pt x="3116" y="3368"/>
                      </a:lnTo>
                      <a:lnTo>
                        <a:pt x="3124" y="3370"/>
                      </a:lnTo>
                      <a:lnTo>
                        <a:pt x="3140" y="3376"/>
                      </a:lnTo>
                      <a:lnTo>
                        <a:pt x="3140" y="3376"/>
                      </a:lnTo>
                      <a:lnTo>
                        <a:pt x="3146" y="3382"/>
                      </a:lnTo>
                      <a:lnTo>
                        <a:pt x="3150" y="3386"/>
                      </a:lnTo>
                      <a:lnTo>
                        <a:pt x="3152" y="3388"/>
                      </a:lnTo>
                      <a:lnTo>
                        <a:pt x="3160" y="3390"/>
                      </a:lnTo>
                      <a:lnTo>
                        <a:pt x="3160" y="3390"/>
                      </a:lnTo>
                      <a:lnTo>
                        <a:pt x="3174" y="3392"/>
                      </a:lnTo>
                      <a:lnTo>
                        <a:pt x="3186" y="3398"/>
                      </a:lnTo>
                      <a:lnTo>
                        <a:pt x="3196" y="3404"/>
                      </a:lnTo>
                      <a:lnTo>
                        <a:pt x="3204" y="3406"/>
                      </a:lnTo>
                      <a:lnTo>
                        <a:pt x="3204" y="3406"/>
                      </a:lnTo>
                      <a:lnTo>
                        <a:pt x="3204" y="3406"/>
                      </a:lnTo>
                      <a:lnTo>
                        <a:pt x="3204" y="3404"/>
                      </a:lnTo>
                      <a:lnTo>
                        <a:pt x="3202" y="3402"/>
                      </a:lnTo>
                      <a:lnTo>
                        <a:pt x="3202" y="3400"/>
                      </a:lnTo>
                      <a:lnTo>
                        <a:pt x="3210" y="3404"/>
                      </a:lnTo>
                      <a:lnTo>
                        <a:pt x="3210" y="3404"/>
                      </a:lnTo>
                      <a:lnTo>
                        <a:pt x="3212" y="3406"/>
                      </a:lnTo>
                      <a:lnTo>
                        <a:pt x="3218" y="3406"/>
                      </a:lnTo>
                      <a:lnTo>
                        <a:pt x="3226" y="3406"/>
                      </a:lnTo>
                      <a:lnTo>
                        <a:pt x="3234" y="3404"/>
                      </a:lnTo>
                      <a:lnTo>
                        <a:pt x="3236" y="3402"/>
                      </a:lnTo>
                      <a:lnTo>
                        <a:pt x="3234" y="3400"/>
                      </a:lnTo>
                      <a:lnTo>
                        <a:pt x="3234" y="3400"/>
                      </a:lnTo>
                      <a:lnTo>
                        <a:pt x="3230" y="3398"/>
                      </a:lnTo>
                      <a:lnTo>
                        <a:pt x="3230" y="3396"/>
                      </a:lnTo>
                      <a:lnTo>
                        <a:pt x="3230" y="3394"/>
                      </a:lnTo>
                      <a:lnTo>
                        <a:pt x="3232" y="3394"/>
                      </a:lnTo>
                      <a:lnTo>
                        <a:pt x="3232" y="3394"/>
                      </a:lnTo>
                      <a:lnTo>
                        <a:pt x="3236" y="3396"/>
                      </a:lnTo>
                      <a:lnTo>
                        <a:pt x="3238" y="3396"/>
                      </a:lnTo>
                      <a:lnTo>
                        <a:pt x="3240" y="3392"/>
                      </a:lnTo>
                      <a:lnTo>
                        <a:pt x="3240" y="3392"/>
                      </a:lnTo>
                      <a:lnTo>
                        <a:pt x="3242" y="3398"/>
                      </a:lnTo>
                      <a:lnTo>
                        <a:pt x="3242" y="3398"/>
                      </a:lnTo>
                      <a:lnTo>
                        <a:pt x="3248" y="3406"/>
                      </a:lnTo>
                      <a:lnTo>
                        <a:pt x="3252" y="3410"/>
                      </a:lnTo>
                      <a:lnTo>
                        <a:pt x="3254" y="3412"/>
                      </a:lnTo>
                      <a:lnTo>
                        <a:pt x="3252" y="3416"/>
                      </a:lnTo>
                      <a:lnTo>
                        <a:pt x="3252" y="3416"/>
                      </a:lnTo>
                      <a:lnTo>
                        <a:pt x="3250" y="3418"/>
                      </a:lnTo>
                      <a:lnTo>
                        <a:pt x="3250" y="3418"/>
                      </a:lnTo>
                      <a:lnTo>
                        <a:pt x="3246" y="3416"/>
                      </a:lnTo>
                      <a:lnTo>
                        <a:pt x="3244" y="3412"/>
                      </a:lnTo>
                      <a:lnTo>
                        <a:pt x="3242" y="3412"/>
                      </a:lnTo>
                      <a:lnTo>
                        <a:pt x="3240" y="3414"/>
                      </a:lnTo>
                      <a:lnTo>
                        <a:pt x="3240" y="3414"/>
                      </a:lnTo>
                      <a:lnTo>
                        <a:pt x="3238" y="3418"/>
                      </a:lnTo>
                      <a:lnTo>
                        <a:pt x="3242" y="3422"/>
                      </a:lnTo>
                      <a:lnTo>
                        <a:pt x="3246" y="3426"/>
                      </a:lnTo>
                      <a:lnTo>
                        <a:pt x="3252" y="3434"/>
                      </a:lnTo>
                      <a:lnTo>
                        <a:pt x="3252" y="3434"/>
                      </a:lnTo>
                      <a:lnTo>
                        <a:pt x="3258" y="3442"/>
                      </a:lnTo>
                      <a:lnTo>
                        <a:pt x="3266" y="3448"/>
                      </a:lnTo>
                      <a:lnTo>
                        <a:pt x="3274" y="3454"/>
                      </a:lnTo>
                      <a:lnTo>
                        <a:pt x="3278" y="3460"/>
                      </a:lnTo>
                      <a:lnTo>
                        <a:pt x="3282" y="3466"/>
                      </a:lnTo>
                      <a:lnTo>
                        <a:pt x="3282" y="3466"/>
                      </a:lnTo>
                      <a:lnTo>
                        <a:pt x="3288" y="3478"/>
                      </a:lnTo>
                      <a:lnTo>
                        <a:pt x="3294" y="3486"/>
                      </a:lnTo>
                      <a:lnTo>
                        <a:pt x="3304" y="3494"/>
                      </a:lnTo>
                      <a:lnTo>
                        <a:pt x="3316" y="3506"/>
                      </a:lnTo>
                      <a:lnTo>
                        <a:pt x="3316" y="3506"/>
                      </a:lnTo>
                      <a:lnTo>
                        <a:pt x="3318" y="3510"/>
                      </a:lnTo>
                      <a:lnTo>
                        <a:pt x="3318" y="3512"/>
                      </a:lnTo>
                      <a:lnTo>
                        <a:pt x="3314" y="3514"/>
                      </a:lnTo>
                      <a:lnTo>
                        <a:pt x="3310" y="3518"/>
                      </a:lnTo>
                      <a:lnTo>
                        <a:pt x="3310" y="3518"/>
                      </a:lnTo>
                      <a:lnTo>
                        <a:pt x="3310" y="3520"/>
                      </a:lnTo>
                      <a:lnTo>
                        <a:pt x="3310" y="3520"/>
                      </a:lnTo>
                      <a:lnTo>
                        <a:pt x="3316" y="3522"/>
                      </a:lnTo>
                      <a:lnTo>
                        <a:pt x="3318" y="3522"/>
                      </a:lnTo>
                      <a:lnTo>
                        <a:pt x="3318" y="3522"/>
                      </a:lnTo>
                      <a:lnTo>
                        <a:pt x="3318" y="3528"/>
                      </a:lnTo>
                      <a:lnTo>
                        <a:pt x="3318" y="3528"/>
                      </a:lnTo>
                      <a:lnTo>
                        <a:pt x="3318" y="3534"/>
                      </a:lnTo>
                      <a:lnTo>
                        <a:pt x="3316" y="3534"/>
                      </a:lnTo>
                      <a:lnTo>
                        <a:pt x="3314" y="3536"/>
                      </a:lnTo>
                      <a:lnTo>
                        <a:pt x="3312" y="3540"/>
                      </a:lnTo>
                      <a:lnTo>
                        <a:pt x="3312" y="3540"/>
                      </a:lnTo>
                      <a:lnTo>
                        <a:pt x="3312" y="3550"/>
                      </a:lnTo>
                      <a:lnTo>
                        <a:pt x="3314" y="3558"/>
                      </a:lnTo>
                      <a:lnTo>
                        <a:pt x="3318" y="3564"/>
                      </a:lnTo>
                      <a:lnTo>
                        <a:pt x="3322" y="3566"/>
                      </a:lnTo>
                      <a:lnTo>
                        <a:pt x="3322" y="3566"/>
                      </a:lnTo>
                      <a:lnTo>
                        <a:pt x="3330" y="3570"/>
                      </a:lnTo>
                      <a:lnTo>
                        <a:pt x="3334" y="3574"/>
                      </a:lnTo>
                      <a:lnTo>
                        <a:pt x="3338" y="3578"/>
                      </a:lnTo>
                      <a:lnTo>
                        <a:pt x="3338" y="3578"/>
                      </a:lnTo>
                      <a:lnTo>
                        <a:pt x="3340" y="3582"/>
                      </a:lnTo>
                      <a:lnTo>
                        <a:pt x="3342" y="3580"/>
                      </a:lnTo>
                      <a:lnTo>
                        <a:pt x="3348" y="3574"/>
                      </a:lnTo>
                      <a:lnTo>
                        <a:pt x="3348" y="3574"/>
                      </a:lnTo>
                      <a:lnTo>
                        <a:pt x="3350" y="3572"/>
                      </a:lnTo>
                      <a:lnTo>
                        <a:pt x="3350" y="3570"/>
                      </a:lnTo>
                      <a:lnTo>
                        <a:pt x="3348" y="3566"/>
                      </a:lnTo>
                      <a:lnTo>
                        <a:pt x="3338" y="3558"/>
                      </a:lnTo>
                      <a:lnTo>
                        <a:pt x="3338" y="3558"/>
                      </a:lnTo>
                      <a:lnTo>
                        <a:pt x="3336" y="3554"/>
                      </a:lnTo>
                      <a:lnTo>
                        <a:pt x="3336" y="3552"/>
                      </a:lnTo>
                      <a:lnTo>
                        <a:pt x="3336" y="3550"/>
                      </a:lnTo>
                      <a:lnTo>
                        <a:pt x="3338" y="3552"/>
                      </a:lnTo>
                      <a:lnTo>
                        <a:pt x="3338" y="3552"/>
                      </a:lnTo>
                      <a:lnTo>
                        <a:pt x="3342" y="3554"/>
                      </a:lnTo>
                      <a:lnTo>
                        <a:pt x="3348" y="3558"/>
                      </a:lnTo>
                      <a:lnTo>
                        <a:pt x="3354" y="3562"/>
                      </a:lnTo>
                      <a:lnTo>
                        <a:pt x="3358" y="3566"/>
                      </a:lnTo>
                      <a:lnTo>
                        <a:pt x="3358" y="3566"/>
                      </a:lnTo>
                      <a:lnTo>
                        <a:pt x="3358" y="3576"/>
                      </a:lnTo>
                      <a:lnTo>
                        <a:pt x="3360" y="3578"/>
                      </a:lnTo>
                      <a:lnTo>
                        <a:pt x="3362" y="3582"/>
                      </a:lnTo>
                      <a:lnTo>
                        <a:pt x="3362" y="3582"/>
                      </a:lnTo>
                      <a:lnTo>
                        <a:pt x="3366" y="3584"/>
                      </a:lnTo>
                      <a:lnTo>
                        <a:pt x="3368" y="3586"/>
                      </a:lnTo>
                      <a:lnTo>
                        <a:pt x="3374" y="3586"/>
                      </a:lnTo>
                      <a:lnTo>
                        <a:pt x="3384" y="3592"/>
                      </a:lnTo>
                      <a:lnTo>
                        <a:pt x="3384" y="3592"/>
                      </a:lnTo>
                      <a:lnTo>
                        <a:pt x="3398" y="3604"/>
                      </a:lnTo>
                      <a:lnTo>
                        <a:pt x="3402" y="3608"/>
                      </a:lnTo>
                      <a:lnTo>
                        <a:pt x="3402" y="3612"/>
                      </a:lnTo>
                      <a:lnTo>
                        <a:pt x="3402" y="3612"/>
                      </a:lnTo>
                      <a:lnTo>
                        <a:pt x="3402" y="3620"/>
                      </a:lnTo>
                      <a:lnTo>
                        <a:pt x="3400" y="3624"/>
                      </a:lnTo>
                      <a:lnTo>
                        <a:pt x="3398" y="3626"/>
                      </a:lnTo>
                      <a:lnTo>
                        <a:pt x="3398" y="3626"/>
                      </a:lnTo>
                      <a:lnTo>
                        <a:pt x="3398" y="3628"/>
                      </a:lnTo>
                      <a:lnTo>
                        <a:pt x="3396" y="3630"/>
                      </a:lnTo>
                      <a:lnTo>
                        <a:pt x="3400" y="3634"/>
                      </a:lnTo>
                      <a:lnTo>
                        <a:pt x="3404" y="3636"/>
                      </a:lnTo>
                      <a:lnTo>
                        <a:pt x="3408" y="3638"/>
                      </a:lnTo>
                      <a:lnTo>
                        <a:pt x="3408" y="3638"/>
                      </a:lnTo>
                      <a:lnTo>
                        <a:pt x="3410" y="3640"/>
                      </a:lnTo>
                      <a:lnTo>
                        <a:pt x="3414" y="3640"/>
                      </a:lnTo>
                      <a:lnTo>
                        <a:pt x="3414" y="3642"/>
                      </a:lnTo>
                      <a:lnTo>
                        <a:pt x="3416" y="3640"/>
                      </a:lnTo>
                      <a:lnTo>
                        <a:pt x="3416" y="3640"/>
                      </a:lnTo>
                      <a:lnTo>
                        <a:pt x="3416" y="3636"/>
                      </a:lnTo>
                      <a:lnTo>
                        <a:pt x="3414" y="3634"/>
                      </a:lnTo>
                      <a:lnTo>
                        <a:pt x="3410" y="3630"/>
                      </a:lnTo>
                      <a:lnTo>
                        <a:pt x="3406" y="3626"/>
                      </a:lnTo>
                      <a:lnTo>
                        <a:pt x="3408" y="3626"/>
                      </a:lnTo>
                      <a:lnTo>
                        <a:pt x="3410" y="3624"/>
                      </a:lnTo>
                      <a:lnTo>
                        <a:pt x="3410" y="3624"/>
                      </a:lnTo>
                      <a:lnTo>
                        <a:pt x="3414" y="3622"/>
                      </a:lnTo>
                      <a:lnTo>
                        <a:pt x="3414" y="3624"/>
                      </a:lnTo>
                      <a:lnTo>
                        <a:pt x="3416" y="3628"/>
                      </a:lnTo>
                      <a:lnTo>
                        <a:pt x="3418" y="3630"/>
                      </a:lnTo>
                      <a:lnTo>
                        <a:pt x="3418" y="3630"/>
                      </a:lnTo>
                      <a:lnTo>
                        <a:pt x="3420" y="3630"/>
                      </a:lnTo>
                      <a:lnTo>
                        <a:pt x="3422" y="3632"/>
                      </a:lnTo>
                      <a:lnTo>
                        <a:pt x="3422" y="3636"/>
                      </a:lnTo>
                      <a:lnTo>
                        <a:pt x="3422" y="3642"/>
                      </a:lnTo>
                      <a:lnTo>
                        <a:pt x="3422" y="3646"/>
                      </a:lnTo>
                      <a:lnTo>
                        <a:pt x="3422" y="3646"/>
                      </a:lnTo>
                      <a:lnTo>
                        <a:pt x="3428" y="3654"/>
                      </a:lnTo>
                      <a:lnTo>
                        <a:pt x="3430" y="3656"/>
                      </a:lnTo>
                      <a:lnTo>
                        <a:pt x="3432" y="3656"/>
                      </a:lnTo>
                      <a:lnTo>
                        <a:pt x="3432" y="3656"/>
                      </a:lnTo>
                      <a:lnTo>
                        <a:pt x="3434" y="3648"/>
                      </a:lnTo>
                      <a:lnTo>
                        <a:pt x="3436" y="3646"/>
                      </a:lnTo>
                      <a:lnTo>
                        <a:pt x="3440" y="3644"/>
                      </a:lnTo>
                      <a:lnTo>
                        <a:pt x="3440" y="3644"/>
                      </a:lnTo>
                      <a:lnTo>
                        <a:pt x="3452" y="3646"/>
                      </a:lnTo>
                      <a:lnTo>
                        <a:pt x="3464" y="3650"/>
                      </a:lnTo>
                      <a:lnTo>
                        <a:pt x="3472" y="3652"/>
                      </a:lnTo>
                      <a:lnTo>
                        <a:pt x="3476" y="3654"/>
                      </a:lnTo>
                      <a:lnTo>
                        <a:pt x="3476" y="3654"/>
                      </a:lnTo>
                      <a:lnTo>
                        <a:pt x="3478" y="3652"/>
                      </a:lnTo>
                      <a:lnTo>
                        <a:pt x="3480" y="3654"/>
                      </a:lnTo>
                      <a:lnTo>
                        <a:pt x="3482" y="3662"/>
                      </a:lnTo>
                      <a:lnTo>
                        <a:pt x="3482" y="3662"/>
                      </a:lnTo>
                      <a:lnTo>
                        <a:pt x="3484" y="3666"/>
                      </a:lnTo>
                      <a:lnTo>
                        <a:pt x="3484" y="3670"/>
                      </a:lnTo>
                      <a:lnTo>
                        <a:pt x="3486" y="3672"/>
                      </a:lnTo>
                      <a:lnTo>
                        <a:pt x="3490" y="3676"/>
                      </a:lnTo>
                      <a:lnTo>
                        <a:pt x="3490" y="3676"/>
                      </a:lnTo>
                      <a:lnTo>
                        <a:pt x="3496" y="3678"/>
                      </a:lnTo>
                      <a:lnTo>
                        <a:pt x="3498" y="3678"/>
                      </a:lnTo>
                      <a:lnTo>
                        <a:pt x="3498" y="3674"/>
                      </a:lnTo>
                      <a:lnTo>
                        <a:pt x="3498" y="3674"/>
                      </a:lnTo>
                      <a:lnTo>
                        <a:pt x="3500" y="3668"/>
                      </a:lnTo>
                      <a:lnTo>
                        <a:pt x="3502" y="3666"/>
                      </a:lnTo>
                      <a:lnTo>
                        <a:pt x="3504" y="3666"/>
                      </a:lnTo>
                      <a:lnTo>
                        <a:pt x="3504" y="3668"/>
                      </a:lnTo>
                      <a:lnTo>
                        <a:pt x="3504" y="3668"/>
                      </a:lnTo>
                      <a:lnTo>
                        <a:pt x="3504" y="3672"/>
                      </a:lnTo>
                      <a:lnTo>
                        <a:pt x="3508" y="3680"/>
                      </a:lnTo>
                      <a:lnTo>
                        <a:pt x="3510" y="3686"/>
                      </a:lnTo>
                      <a:lnTo>
                        <a:pt x="3510" y="3694"/>
                      </a:lnTo>
                      <a:lnTo>
                        <a:pt x="3510" y="3694"/>
                      </a:lnTo>
                      <a:lnTo>
                        <a:pt x="3510" y="3696"/>
                      </a:lnTo>
                      <a:lnTo>
                        <a:pt x="3510" y="3698"/>
                      </a:lnTo>
                      <a:lnTo>
                        <a:pt x="3516" y="3698"/>
                      </a:lnTo>
                      <a:lnTo>
                        <a:pt x="3528" y="3696"/>
                      </a:lnTo>
                      <a:lnTo>
                        <a:pt x="3528" y="3696"/>
                      </a:lnTo>
                      <a:lnTo>
                        <a:pt x="3530" y="3696"/>
                      </a:lnTo>
                      <a:lnTo>
                        <a:pt x="3532" y="3696"/>
                      </a:lnTo>
                      <a:lnTo>
                        <a:pt x="3532" y="3692"/>
                      </a:lnTo>
                      <a:lnTo>
                        <a:pt x="3532" y="3690"/>
                      </a:lnTo>
                      <a:lnTo>
                        <a:pt x="3538" y="3688"/>
                      </a:lnTo>
                      <a:lnTo>
                        <a:pt x="3538" y="3688"/>
                      </a:lnTo>
                      <a:lnTo>
                        <a:pt x="3544" y="3688"/>
                      </a:lnTo>
                      <a:lnTo>
                        <a:pt x="3546" y="3686"/>
                      </a:lnTo>
                      <a:lnTo>
                        <a:pt x="3548" y="3684"/>
                      </a:lnTo>
                      <a:lnTo>
                        <a:pt x="3546" y="3680"/>
                      </a:lnTo>
                      <a:lnTo>
                        <a:pt x="3542" y="3672"/>
                      </a:lnTo>
                      <a:lnTo>
                        <a:pt x="3542" y="3672"/>
                      </a:lnTo>
                      <a:lnTo>
                        <a:pt x="3536" y="3664"/>
                      </a:lnTo>
                      <a:lnTo>
                        <a:pt x="3534" y="3660"/>
                      </a:lnTo>
                      <a:lnTo>
                        <a:pt x="3534" y="3658"/>
                      </a:lnTo>
                      <a:lnTo>
                        <a:pt x="3532" y="3658"/>
                      </a:lnTo>
                      <a:lnTo>
                        <a:pt x="3532" y="3658"/>
                      </a:lnTo>
                      <a:lnTo>
                        <a:pt x="3530" y="3658"/>
                      </a:lnTo>
                      <a:lnTo>
                        <a:pt x="3528" y="3656"/>
                      </a:lnTo>
                      <a:lnTo>
                        <a:pt x="3526" y="3652"/>
                      </a:lnTo>
                      <a:lnTo>
                        <a:pt x="3528" y="3648"/>
                      </a:lnTo>
                      <a:lnTo>
                        <a:pt x="3530" y="3646"/>
                      </a:lnTo>
                      <a:lnTo>
                        <a:pt x="3532" y="3646"/>
                      </a:lnTo>
                      <a:lnTo>
                        <a:pt x="3532" y="3646"/>
                      </a:lnTo>
                      <a:lnTo>
                        <a:pt x="3538" y="3644"/>
                      </a:lnTo>
                      <a:lnTo>
                        <a:pt x="3544" y="3642"/>
                      </a:lnTo>
                      <a:lnTo>
                        <a:pt x="3550" y="3636"/>
                      </a:lnTo>
                      <a:lnTo>
                        <a:pt x="3556" y="3628"/>
                      </a:lnTo>
                      <a:lnTo>
                        <a:pt x="3556" y="3628"/>
                      </a:lnTo>
                      <a:lnTo>
                        <a:pt x="3558" y="3624"/>
                      </a:lnTo>
                      <a:lnTo>
                        <a:pt x="3558" y="3622"/>
                      </a:lnTo>
                      <a:lnTo>
                        <a:pt x="3558" y="3618"/>
                      </a:lnTo>
                      <a:lnTo>
                        <a:pt x="3562" y="3616"/>
                      </a:lnTo>
                      <a:lnTo>
                        <a:pt x="3562" y="3616"/>
                      </a:lnTo>
                      <a:lnTo>
                        <a:pt x="3566" y="3614"/>
                      </a:lnTo>
                      <a:lnTo>
                        <a:pt x="3568" y="3612"/>
                      </a:lnTo>
                      <a:lnTo>
                        <a:pt x="3570" y="3610"/>
                      </a:lnTo>
                      <a:lnTo>
                        <a:pt x="3576" y="3610"/>
                      </a:lnTo>
                      <a:lnTo>
                        <a:pt x="3576" y="3610"/>
                      </a:lnTo>
                      <a:lnTo>
                        <a:pt x="3586" y="3612"/>
                      </a:lnTo>
                      <a:lnTo>
                        <a:pt x="3598" y="3620"/>
                      </a:lnTo>
                      <a:lnTo>
                        <a:pt x="3606" y="3626"/>
                      </a:lnTo>
                      <a:lnTo>
                        <a:pt x="3608" y="3630"/>
                      </a:lnTo>
                      <a:lnTo>
                        <a:pt x="3608" y="3632"/>
                      </a:lnTo>
                      <a:lnTo>
                        <a:pt x="3608" y="3632"/>
                      </a:lnTo>
                      <a:lnTo>
                        <a:pt x="3606" y="3636"/>
                      </a:lnTo>
                      <a:lnTo>
                        <a:pt x="3608" y="3638"/>
                      </a:lnTo>
                      <a:lnTo>
                        <a:pt x="3610" y="3640"/>
                      </a:lnTo>
                      <a:lnTo>
                        <a:pt x="3612" y="3640"/>
                      </a:lnTo>
                      <a:lnTo>
                        <a:pt x="3612" y="3640"/>
                      </a:lnTo>
                      <a:lnTo>
                        <a:pt x="3616" y="3638"/>
                      </a:lnTo>
                      <a:lnTo>
                        <a:pt x="3616" y="3638"/>
                      </a:lnTo>
                      <a:lnTo>
                        <a:pt x="3618" y="3638"/>
                      </a:lnTo>
                      <a:lnTo>
                        <a:pt x="3620" y="3638"/>
                      </a:lnTo>
                      <a:lnTo>
                        <a:pt x="3620" y="3638"/>
                      </a:lnTo>
                      <a:lnTo>
                        <a:pt x="3622" y="3638"/>
                      </a:lnTo>
                      <a:lnTo>
                        <a:pt x="3620" y="3640"/>
                      </a:lnTo>
                      <a:lnTo>
                        <a:pt x="3618" y="3648"/>
                      </a:lnTo>
                      <a:lnTo>
                        <a:pt x="3614" y="3658"/>
                      </a:lnTo>
                      <a:lnTo>
                        <a:pt x="3612" y="3662"/>
                      </a:lnTo>
                      <a:lnTo>
                        <a:pt x="3614" y="3666"/>
                      </a:lnTo>
                      <a:lnTo>
                        <a:pt x="3614" y="3666"/>
                      </a:lnTo>
                      <a:lnTo>
                        <a:pt x="3622" y="3682"/>
                      </a:lnTo>
                      <a:lnTo>
                        <a:pt x="3626" y="3690"/>
                      </a:lnTo>
                      <a:lnTo>
                        <a:pt x="3632" y="3696"/>
                      </a:lnTo>
                      <a:lnTo>
                        <a:pt x="3632" y="3696"/>
                      </a:lnTo>
                      <a:lnTo>
                        <a:pt x="3636" y="3700"/>
                      </a:lnTo>
                      <a:lnTo>
                        <a:pt x="3638" y="3702"/>
                      </a:lnTo>
                      <a:lnTo>
                        <a:pt x="3640" y="3704"/>
                      </a:lnTo>
                      <a:lnTo>
                        <a:pt x="3640" y="3708"/>
                      </a:lnTo>
                      <a:lnTo>
                        <a:pt x="3672" y="3654"/>
                      </a:lnTo>
                      <a:lnTo>
                        <a:pt x="3672" y="3654"/>
                      </a:lnTo>
                      <a:lnTo>
                        <a:pt x="3654" y="3626"/>
                      </a:lnTo>
                      <a:lnTo>
                        <a:pt x="3654" y="3626"/>
                      </a:lnTo>
                      <a:close/>
                      <a:moveTo>
                        <a:pt x="3590" y="1870"/>
                      </a:moveTo>
                      <a:lnTo>
                        <a:pt x="3590" y="1870"/>
                      </a:lnTo>
                      <a:lnTo>
                        <a:pt x="3570" y="1886"/>
                      </a:lnTo>
                      <a:lnTo>
                        <a:pt x="3558" y="1894"/>
                      </a:lnTo>
                      <a:lnTo>
                        <a:pt x="3546" y="1900"/>
                      </a:lnTo>
                      <a:lnTo>
                        <a:pt x="3546" y="1900"/>
                      </a:lnTo>
                      <a:lnTo>
                        <a:pt x="3536" y="1904"/>
                      </a:lnTo>
                      <a:lnTo>
                        <a:pt x="3524" y="1910"/>
                      </a:lnTo>
                      <a:lnTo>
                        <a:pt x="3508" y="1920"/>
                      </a:lnTo>
                      <a:lnTo>
                        <a:pt x="3488" y="1932"/>
                      </a:lnTo>
                      <a:lnTo>
                        <a:pt x="3488" y="1932"/>
                      </a:lnTo>
                      <a:lnTo>
                        <a:pt x="3466" y="1938"/>
                      </a:lnTo>
                      <a:lnTo>
                        <a:pt x="3448" y="1942"/>
                      </a:lnTo>
                      <a:lnTo>
                        <a:pt x="3434" y="1942"/>
                      </a:lnTo>
                      <a:lnTo>
                        <a:pt x="3426" y="1940"/>
                      </a:lnTo>
                      <a:lnTo>
                        <a:pt x="3426" y="1940"/>
                      </a:lnTo>
                      <a:lnTo>
                        <a:pt x="3424" y="1938"/>
                      </a:lnTo>
                      <a:lnTo>
                        <a:pt x="3424" y="1938"/>
                      </a:lnTo>
                      <a:lnTo>
                        <a:pt x="3430" y="1936"/>
                      </a:lnTo>
                      <a:lnTo>
                        <a:pt x="3434" y="1936"/>
                      </a:lnTo>
                      <a:lnTo>
                        <a:pt x="3434" y="1934"/>
                      </a:lnTo>
                      <a:lnTo>
                        <a:pt x="3434" y="1934"/>
                      </a:lnTo>
                      <a:lnTo>
                        <a:pt x="3434" y="1934"/>
                      </a:lnTo>
                      <a:lnTo>
                        <a:pt x="3426" y="1932"/>
                      </a:lnTo>
                      <a:lnTo>
                        <a:pt x="3418" y="1930"/>
                      </a:lnTo>
                      <a:lnTo>
                        <a:pt x="3410" y="1930"/>
                      </a:lnTo>
                      <a:lnTo>
                        <a:pt x="3408" y="1928"/>
                      </a:lnTo>
                      <a:lnTo>
                        <a:pt x="3406" y="1926"/>
                      </a:lnTo>
                      <a:lnTo>
                        <a:pt x="3406" y="1926"/>
                      </a:lnTo>
                      <a:lnTo>
                        <a:pt x="3408" y="1922"/>
                      </a:lnTo>
                      <a:lnTo>
                        <a:pt x="3410" y="1916"/>
                      </a:lnTo>
                      <a:lnTo>
                        <a:pt x="3414" y="1910"/>
                      </a:lnTo>
                      <a:lnTo>
                        <a:pt x="3416" y="1900"/>
                      </a:lnTo>
                      <a:lnTo>
                        <a:pt x="3416" y="1900"/>
                      </a:lnTo>
                      <a:lnTo>
                        <a:pt x="3420" y="1892"/>
                      </a:lnTo>
                      <a:lnTo>
                        <a:pt x="3422" y="1890"/>
                      </a:lnTo>
                      <a:lnTo>
                        <a:pt x="3426" y="1886"/>
                      </a:lnTo>
                      <a:lnTo>
                        <a:pt x="3430" y="1880"/>
                      </a:lnTo>
                      <a:lnTo>
                        <a:pt x="3430" y="1880"/>
                      </a:lnTo>
                      <a:lnTo>
                        <a:pt x="3434" y="1872"/>
                      </a:lnTo>
                      <a:lnTo>
                        <a:pt x="3436" y="1870"/>
                      </a:lnTo>
                      <a:lnTo>
                        <a:pt x="3438" y="1872"/>
                      </a:lnTo>
                      <a:lnTo>
                        <a:pt x="3440" y="1880"/>
                      </a:lnTo>
                      <a:lnTo>
                        <a:pt x="3440" y="1880"/>
                      </a:lnTo>
                      <a:lnTo>
                        <a:pt x="3446" y="1882"/>
                      </a:lnTo>
                      <a:lnTo>
                        <a:pt x="3448" y="1884"/>
                      </a:lnTo>
                      <a:lnTo>
                        <a:pt x="3450" y="1886"/>
                      </a:lnTo>
                      <a:lnTo>
                        <a:pt x="3448" y="1888"/>
                      </a:lnTo>
                      <a:lnTo>
                        <a:pt x="3442" y="1892"/>
                      </a:lnTo>
                      <a:lnTo>
                        <a:pt x="3432" y="1894"/>
                      </a:lnTo>
                      <a:lnTo>
                        <a:pt x="3432" y="1894"/>
                      </a:lnTo>
                      <a:lnTo>
                        <a:pt x="3426" y="1894"/>
                      </a:lnTo>
                      <a:lnTo>
                        <a:pt x="3424" y="1896"/>
                      </a:lnTo>
                      <a:lnTo>
                        <a:pt x="3422" y="1898"/>
                      </a:lnTo>
                      <a:lnTo>
                        <a:pt x="3422" y="1902"/>
                      </a:lnTo>
                      <a:lnTo>
                        <a:pt x="3422" y="1904"/>
                      </a:lnTo>
                      <a:lnTo>
                        <a:pt x="3424" y="1906"/>
                      </a:lnTo>
                      <a:lnTo>
                        <a:pt x="3428" y="1908"/>
                      </a:lnTo>
                      <a:lnTo>
                        <a:pt x="3432" y="1908"/>
                      </a:lnTo>
                      <a:lnTo>
                        <a:pt x="3432" y="1908"/>
                      </a:lnTo>
                      <a:lnTo>
                        <a:pt x="3438" y="1908"/>
                      </a:lnTo>
                      <a:lnTo>
                        <a:pt x="3442" y="1910"/>
                      </a:lnTo>
                      <a:lnTo>
                        <a:pt x="3444" y="1912"/>
                      </a:lnTo>
                      <a:lnTo>
                        <a:pt x="3446" y="1910"/>
                      </a:lnTo>
                      <a:lnTo>
                        <a:pt x="3446" y="1910"/>
                      </a:lnTo>
                      <a:lnTo>
                        <a:pt x="3450" y="1904"/>
                      </a:lnTo>
                      <a:lnTo>
                        <a:pt x="3456" y="1900"/>
                      </a:lnTo>
                      <a:lnTo>
                        <a:pt x="3466" y="1896"/>
                      </a:lnTo>
                      <a:lnTo>
                        <a:pt x="3466" y="1896"/>
                      </a:lnTo>
                      <a:lnTo>
                        <a:pt x="3470" y="1892"/>
                      </a:lnTo>
                      <a:lnTo>
                        <a:pt x="3474" y="1888"/>
                      </a:lnTo>
                      <a:lnTo>
                        <a:pt x="3482" y="1880"/>
                      </a:lnTo>
                      <a:lnTo>
                        <a:pt x="3488" y="1876"/>
                      </a:lnTo>
                      <a:lnTo>
                        <a:pt x="3496" y="1874"/>
                      </a:lnTo>
                      <a:lnTo>
                        <a:pt x="3504" y="1874"/>
                      </a:lnTo>
                      <a:lnTo>
                        <a:pt x="3518" y="1876"/>
                      </a:lnTo>
                      <a:lnTo>
                        <a:pt x="3518" y="1876"/>
                      </a:lnTo>
                      <a:lnTo>
                        <a:pt x="3534" y="1880"/>
                      </a:lnTo>
                      <a:lnTo>
                        <a:pt x="3538" y="1880"/>
                      </a:lnTo>
                      <a:lnTo>
                        <a:pt x="3536" y="1878"/>
                      </a:lnTo>
                      <a:lnTo>
                        <a:pt x="3532" y="1876"/>
                      </a:lnTo>
                      <a:lnTo>
                        <a:pt x="3532" y="1872"/>
                      </a:lnTo>
                      <a:lnTo>
                        <a:pt x="3532" y="1870"/>
                      </a:lnTo>
                      <a:lnTo>
                        <a:pt x="3532" y="1870"/>
                      </a:lnTo>
                      <a:lnTo>
                        <a:pt x="3536" y="1866"/>
                      </a:lnTo>
                      <a:lnTo>
                        <a:pt x="3540" y="1864"/>
                      </a:lnTo>
                      <a:lnTo>
                        <a:pt x="3560" y="1862"/>
                      </a:lnTo>
                      <a:lnTo>
                        <a:pt x="3560" y="1862"/>
                      </a:lnTo>
                      <a:lnTo>
                        <a:pt x="3580" y="1860"/>
                      </a:lnTo>
                      <a:lnTo>
                        <a:pt x="3584" y="1860"/>
                      </a:lnTo>
                      <a:lnTo>
                        <a:pt x="3586" y="1858"/>
                      </a:lnTo>
                      <a:lnTo>
                        <a:pt x="3586" y="1858"/>
                      </a:lnTo>
                      <a:lnTo>
                        <a:pt x="3586" y="1854"/>
                      </a:lnTo>
                      <a:lnTo>
                        <a:pt x="3586" y="1852"/>
                      </a:lnTo>
                      <a:lnTo>
                        <a:pt x="3588" y="1850"/>
                      </a:lnTo>
                      <a:lnTo>
                        <a:pt x="3588" y="1850"/>
                      </a:lnTo>
                      <a:lnTo>
                        <a:pt x="3590" y="1850"/>
                      </a:lnTo>
                      <a:lnTo>
                        <a:pt x="3592" y="1852"/>
                      </a:lnTo>
                      <a:lnTo>
                        <a:pt x="3594" y="1858"/>
                      </a:lnTo>
                      <a:lnTo>
                        <a:pt x="3592" y="1864"/>
                      </a:lnTo>
                      <a:lnTo>
                        <a:pt x="3590" y="1870"/>
                      </a:lnTo>
                      <a:lnTo>
                        <a:pt x="3590" y="1870"/>
                      </a:lnTo>
                      <a:close/>
                      <a:moveTo>
                        <a:pt x="3578" y="1812"/>
                      </a:moveTo>
                      <a:lnTo>
                        <a:pt x="3578" y="1812"/>
                      </a:lnTo>
                      <a:lnTo>
                        <a:pt x="3586" y="1806"/>
                      </a:lnTo>
                      <a:lnTo>
                        <a:pt x="3596" y="1804"/>
                      </a:lnTo>
                      <a:lnTo>
                        <a:pt x="3624" y="1798"/>
                      </a:lnTo>
                      <a:lnTo>
                        <a:pt x="3624" y="1798"/>
                      </a:lnTo>
                      <a:lnTo>
                        <a:pt x="3636" y="1796"/>
                      </a:lnTo>
                      <a:lnTo>
                        <a:pt x="3642" y="1794"/>
                      </a:lnTo>
                      <a:lnTo>
                        <a:pt x="3656" y="1802"/>
                      </a:lnTo>
                      <a:lnTo>
                        <a:pt x="3656" y="1802"/>
                      </a:lnTo>
                      <a:lnTo>
                        <a:pt x="3662" y="1804"/>
                      </a:lnTo>
                      <a:lnTo>
                        <a:pt x="3664" y="1804"/>
                      </a:lnTo>
                      <a:lnTo>
                        <a:pt x="3668" y="1804"/>
                      </a:lnTo>
                      <a:lnTo>
                        <a:pt x="3668" y="1802"/>
                      </a:lnTo>
                      <a:lnTo>
                        <a:pt x="3672" y="1794"/>
                      </a:lnTo>
                      <a:lnTo>
                        <a:pt x="3674" y="1790"/>
                      </a:lnTo>
                      <a:lnTo>
                        <a:pt x="3678" y="1788"/>
                      </a:lnTo>
                      <a:lnTo>
                        <a:pt x="3678" y="1788"/>
                      </a:lnTo>
                      <a:lnTo>
                        <a:pt x="3686" y="1782"/>
                      </a:lnTo>
                      <a:lnTo>
                        <a:pt x="3696" y="1778"/>
                      </a:lnTo>
                      <a:lnTo>
                        <a:pt x="3706" y="1776"/>
                      </a:lnTo>
                      <a:lnTo>
                        <a:pt x="3716" y="1770"/>
                      </a:lnTo>
                      <a:lnTo>
                        <a:pt x="3716" y="1770"/>
                      </a:lnTo>
                      <a:lnTo>
                        <a:pt x="3714" y="1774"/>
                      </a:lnTo>
                      <a:lnTo>
                        <a:pt x="3712" y="1778"/>
                      </a:lnTo>
                      <a:lnTo>
                        <a:pt x="3708" y="1782"/>
                      </a:lnTo>
                      <a:lnTo>
                        <a:pt x="3702" y="1784"/>
                      </a:lnTo>
                      <a:lnTo>
                        <a:pt x="3702" y="1784"/>
                      </a:lnTo>
                      <a:lnTo>
                        <a:pt x="3698" y="1786"/>
                      </a:lnTo>
                      <a:lnTo>
                        <a:pt x="3694" y="1790"/>
                      </a:lnTo>
                      <a:lnTo>
                        <a:pt x="3696" y="1794"/>
                      </a:lnTo>
                      <a:lnTo>
                        <a:pt x="3698" y="1798"/>
                      </a:lnTo>
                      <a:lnTo>
                        <a:pt x="3698" y="1798"/>
                      </a:lnTo>
                      <a:lnTo>
                        <a:pt x="3702" y="1800"/>
                      </a:lnTo>
                      <a:lnTo>
                        <a:pt x="3702" y="1802"/>
                      </a:lnTo>
                      <a:lnTo>
                        <a:pt x="3700" y="1806"/>
                      </a:lnTo>
                      <a:lnTo>
                        <a:pt x="3700" y="1814"/>
                      </a:lnTo>
                      <a:lnTo>
                        <a:pt x="3700" y="1814"/>
                      </a:lnTo>
                      <a:lnTo>
                        <a:pt x="3700" y="1820"/>
                      </a:lnTo>
                      <a:lnTo>
                        <a:pt x="3696" y="1822"/>
                      </a:lnTo>
                      <a:lnTo>
                        <a:pt x="3690" y="1826"/>
                      </a:lnTo>
                      <a:lnTo>
                        <a:pt x="3684" y="1830"/>
                      </a:lnTo>
                      <a:lnTo>
                        <a:pt x="3684" y="1830"/>
                      </a:lnTo>
                      <a:lnTo>
                        <a:pt x="3680" y="1834"/>
                      </a:lnTo>
                      <a:lnTo>
                        <a:pt x="3676" y="1836"/>
                      </a:lnTo>
                      <a:lnTo>
                        <a:pt x="3662" y="1838"/>
                      </a:lnTo>
                      <a:lnTo>
                        <a:pt x="3648" y="1838"/>
                      </a:lnTo>
                      <a:lnTo>
                        <a:pt x="3638" y="1834"/>
                      </a:lnTo>
                      <a:lnTo>
                        <a:pt x="3638" y="1834"/>
                      </a:lnTo>
                      <a:lnTo>
                        <a:pt x="3628" y="1832"/>
                      </a:lnTo>
                      <a:lnTo>
                        <a:pt x="3616" y="1830"/>
                      </a:lnTo>
                      <a:lnTo>
                        <a:pt x="3604" y="1832"/>
                      </a:lnTo>
                      <a:lnTo>
                        <a:pt x="3594" y="1834"/>
                      </a:lnTo>
                      <a:lnTo>
                        <a:pt x="3594" y="1834"/>
                      </a:lnTo>
                      <a:lnTo>
                        <a:pt x="3588" y="1838"/>
                      </a:lnTo>
                      <a:lnTo>
                        <a:pt x="3582" y="1840"/>
                      </a:lnTo>
                      <a:lnTo>
                        <a:pt x="3574" y="1842"/>
                      </a:lnTo>
                      <a:lnTo>
                        <a:pt x="3574" y="1842"/>
                      </a:lnTo>
                      <a:lnTo>
                        <a:pt x="3568" y="1842"/>
                      </a:lnTo>
                      <a:lnTo>
                        <a:pt x="3562" y="1842"/>
                      </a:lnTo>
                      <a:lnTo>
                        <a:pt x="3560" y="1840"/>
                      </a:lnTo>
                      <a:lnTo>
                        <a:pt x="3558" y="1838"/>
                      </a:lnTo>
                      <a:lnTo>
                        <a:pt x="3558" y="1834"/>
                      </a:lnTo>
                      <a:lnTo>
                        <a:pt x="3560" y="1828"/>
                      </a:lnTo>
                      <a:lnTo>
                        <a:pt x="3560" y="1828"/>
                      </a:lnTo>
                      <a:lnTo>
                        <a:pt x="3564" y="1820"/>
                      </a:lnTo>
                      <a:lnTo>
                        <a:pt x="3570" y="1818"/>
                      </a:lnTo>
                      <a:lnTo>
                        <a:pt x="3574" y="1816"/>
                      </a:lnTo>
                      <a:lnTo>
                        <a:pt x="3578" y="1812"/>
                      </a:lnTo>
                      <a:lnTo>
                        <a:pt x="3578" y="1812"/>
                      </a:lnTo>
                      <a:close/>
                      <a:moveTo>
                        <a:pt x="3092" y="1606"/>
                      </a:moveTo>
                      <a:lnTo>
                        <a:pt x="3092" y="1606"/>
                      </a:lnTo>
                      <a:lnTo>
                        <a:pt x="3104" y="1594"/>
                      </a:lnTo>
                      <a:lnTo>
                        <a:pt x="3118" y="1586"/>
                      </a:lnTo>
                      <a:lnTo>
                        <a:pt x="3158" y="1566"/>
                      </a:lnTo>
                      <a:lnTo>
                        <a:pt x="3158" y="1566"/>
                      </a:lnTo>
                      <a:lnTo>
                        <a:pt x="3164" y="1564"/>
                      </a:lnTo>
                      <a:lnTo>
                        <a:pt x="3164" y="1564"/>
                      </a:lnTo>
                      <a:lnTo>
                        <a:pt x="3168" y="1560"/>
                      </a:lnTo>
                      <a:lnTo>
                        <a:pt x="3172" y="1556"/>
                      </a:lnTo>
                      <a:lnTo>
                        <a:pt x="3176" y="1544"/>
                      </a:lnTo>
                      <a:lnTo>
                        <a:pt x="3176" y="1544"/>
                      </a:lnTo>
                      <a:lnTo>
                        <a:pt x="3180" y="1538"/>
                      </a:lnTo>
                      <a:lnTo>
                        <a:pt x="3184" y="1534"/>
                      </a:lnTo>
                      <a:lnTo>
                        <a:pt x="3188" y="1534"/>
                      </a:lnTo>
                      <a:lnTo>
                        <a:pt x="3190" y="1536"/>
                      </a:lnTo>
                      <a:lnTo>
                        <a:pt x="3190" y="1538"/>
                      </a:lnTo>
                      <a:lnTo>
                        <a:pt x="3190" y="1542"/>
                      </a:lnTo>
                      <a:lnTo>
                        <a:pt x="3190" y="1542"/>
                      </a:lnTo>
                      <a:lnTo>
                        <a:pt x="3188" y="1548"/>
                      </a:lnTo>
                      <a:lnTo>
                        <a:pt x="3192" y="1544"/>
                      </a:lnTo>
                      <a:lnTo>
                        <a:pt x="3196" y="1536"/>
                      </a:lnTo>
                      <a:lnTo>
                        <a:pt x="3200" y="1524"/>
                      </a:lnTo>
                      <a:lnTo>
                        <a:pt x="3200" y="1524"/>
                      </a:lnTo>
                      <a:lnTo>
                        <a:pt x="3204" y="1516"/>
                      </a:lnTo>
                      <a:lnTo>
                        <a:pt x="3206" y="1516"/>
                      </a:lnTo>
                      <a:lnTo>
                        <a:pt x="3208" y="1516"/>
                      </a:lnTo>
                      <a:lnTo>
                        <a:pt x="3208" y="1522"/>
                      </a:lnTo>
                      <a:lnTo>
                        <a:pt x="3206" y="1532"/>
                      </a:lnTo>
                      <a:lnTo>
                        <a:pt x="3206" y="1532"/>
                      </a:lnTo>
                      <a:lnTo>
                        <a:pt x="3204" y="1538"/>
                      </a:lnTo>
                      <a:lnTo>
                        <a:pt x="3204" y="1540"/>
                      </a:lnTo>
                      <a:lnTo>
                        <a:pt x="3204" y="1540"/>
                      </a:lnTo>
                      <a:lnTo>
                        <a:pt x="3216" y="1532"/>
                      </a:lnTo>
                      <a:lnTo>
                        <a:pt x="3216" y="1532"/>
                      </a:lnTo>
                      <a:lnTo>
                        <a:pt x="3218" y="1530"/>
                      </a:lnTo>
                      <a:lnTo>
                        <a:pt x="3220" y="1526"/>
                      </a:lnTo>
                      <a:lnTo>
                        <a:pt x="3218" y="1520"/>
                      </a:lnTo>
                      <a:lnTo>
                        <a:pt x="3216" y="1514"/>
                      </a:lnTo>
                      <a:lnTo>
                        <a:pt x="3216" y="1512"/>
                      </a:lnTo>
                      <a:lnTo>
                        <a:pt x="3216" y="1510"/>
                      </a:lnTo>
                      <a:lnTo>
                        <a:pt x="3216" y="1510"/>
                      </a:lnTo>
                      <a:lnTo>
                        <a:pt x="3220" y="1508"/>
                      </a:lnTo>
                      <a:lnTo>
                        <a:pt x="3224" y="1510"/>
                      </a:lnTo>
                      <a:lnTo>
                        <a:pt x="3236" y="1514"/>
                      </a:lnTo>
                      <a:lnTo>
                        <a:pt x="3248" y="1520"/>
                      </a:lnTo>
                      <a:lnTo>
                        <a:pt x="3254" y="1522"/>
                      </a:lnTo>
                      <a:lnTo>
                        <a:pt x="3260" y="1522"/>
                      </a:lnTo>
                      <a:lnTo>
                        <a:pt x="3260" y="1522"/>
                      </a:lnTo>
                      <a:lnTo>
                        <a:pt x="3268" y="1522"/>
                      </a:lnTo>
                      <a:lnTo>
                        <a:pt x="3272" y="1522"/>
                      </a:lnTo>
                      <a:lnTo>
                        <a:pt x="3276" y="1522"/>
                      </a:lnTo>
                      <a:lnTo>
                        <a:pt x="3284" y="1522"/>
                      </a:lnTo>
                      <a:lnTo>
                        <a:pt x="3284" y="1522"/>
                      </a:lnTo>
                      <a:lnTo>
                        <a:pt x="3288" y="1524"/>
                      </a:lnTo>
                      <a:lnTo>
                        <a:pt x="3292" y="1528"/>
                      </a:lnTo>
                      <a:lnTo>
                        <a:pt x="3296" y="1542"/>
                      </a:lnTo>
                      <a:lnTo>
                        <a:pt x="3298" y="1550"/>
                      </a:lnTo>
                      <a:lnTo>
                        <a:pt x="3302" y="1558"/>
                      </a:lnTo>
                      <a:lnTo>
                        <a:pt x="3308" y="1566"/>
                      </a:lnTo>
                      <a:lnTo>
                        <a:pt x="3314" y="1570"/>
                      </a:lnTo>
                      <a:lnTo>
                        <a:pt x="3314" y="1570"/>
                      </a:lnTo>
                      <a:lnTo>
                        <a:pt x="3320" y="1572"/>
                      </a:lnTo>
                      <a:lnTo>
                        <a:pt x="3328" y="1572"/>
                      </a:lnTo>
                      <a:lnTo>
                        <a:pt x="3340" y="1570"/>
                      </a:lnTo>
                      <a:lnTo>
                        <a:pt x="3344" y="1570"/>
                      </a:lnTo>
                      <a:lnTo>
                        <a:pt x="3348" y="1570"/>
                      </a:lnTo>
                      <a:lnTo>
                        <a:pt x="3348" y="1574"/>
                      </a:lnTo>
                      <a:lnTo>
                        <a:pt x="3346" y="1580"/>
                      </a:lnTo>
                      <a:lnTo>
                        <a:pt x="3346" y="1580"/>
                      </a:lnTo>
                      <a:lnTo>
                        <a:pt x="3344" y="1588"/>
                      </a:lnTo>
                      <a:lnTo>
                        <a:pt x="3346" y="1594"/>
                      </a:lnTo>
                      <a:lnTo>
                        <a:pt x="3358" y="1604"/>
                      </a:lnTo>
                      <a:lnTo>
                        <a:pt x="3358" y="1604"/>
                      </a:lnTo>
                      <a:lnTo>
                        <a:pt x="3360" y="1606"/>
                      </a:lnTo>
                      <a:lnTo>
                        <a:pt x="3360" y="1610"/>
                      </a:lnTo>
                      <a:lnTo>
                        <a:pt x="3358" y="1618"/>
                      </a:lnTo>
                      <a:lnTo>
                        <a:pt x="3354" y="1624"/>
                      </a:lnTo>
                      <a:lnTo>
                        <a:pt x="3354" y="1626"/>
                      </a:lnTo>
                      <a:lnTo>
                        <a:pt x="3356" y="1630"/>
                      </a:lnTo>
                      <a:lnTo>
                        <a:pt x="3356" y="1630"/>
                      </a:lnTo>
                      <a:lnTo>
                        <a:pt x="3362" y="1630"/>
                      </a:lnTo>
                      <a:lnTo>
                        <a:pt x="3364" y="1630"/>
                      </a:lnTo>
                      <a:lnTo>
                        <a:pt x="3366" y="1630"/>
                      </a:lnTo>
                      <a:lnTo>
                        <a:pt x="3368" y="1632"/>
                      </a:lnTo>
                      <a:lnTo>
                        <a:pt x="3368" y="1632"/>
                      </a:lnTo>
                      <a:lnTo>
                        <a:pt x="3370" y="1634"/>
                      </a:lnTo>
                      <a:lnTo>
                        <a:pt x="3368" y="1636"/>
                      </a:lnTo>
                      <a:lnTo>
                        <a:pt x="3364" y="1640"/>
                      </a:lnTo>
                      <a:lnTo>
                        <a:pt x="3362" y="1642"/>
                      </a:lnTo>
                      <a:lnTo>
                        <a:pt x="3362" y="1648"/>
                      </a:lnTo>
                      <a:lnTo>
                        <a:pt x="3362" y="1648"/>
                      </a:lnTo>
                      <a:lnTo>
                        <a:pt x="3362" y="1652"/>
                      </a:lnTo>
                      <a:lnTo>
                        <a:pt x="3364" y="1654"/>
                      </a:lnTo>
                      <a:lnTo>
                        <a:pt x="3372" y="1652"/>
                      </a:lnTo>
                      <a:lnTo>
                        <a:pt x="3380" y="1652"/>
                      </a:lnTo>
                      <a:lnTo>
                        <a:pt x="3382" y="1652"/>
                      </a:lnTo>
                      <a:lnTo>
                        <a:pt x="3382" y="1656"/>
                      </a:lnTo>
                      <a:lnTo>
                        <a:pt x="3382" y="1656"/>
                      </a:lnTo>
                      <a:lnTo>
                        <a:pt x="3382" y="1662"/>
                      </a:lnTo>
                      <a:lnTo>
                        <a:pt x="3386" y="1664"/>
                      </a:lnTo>
                      <a:lnTo>
                        <a:pt x="3392" y="1666"/>
                      </a:lnTo>
                      <a:lnTo>
                        <a:pt x="3402" y="1668"/>
                      </a:lnTo>
                      <a:lnTo>
                        <a:pt x="3402" y="1668"/>
                      </a:lnTo>
                      <a:lnTo>
                        <a:pt x="3416" y="1672"/>
                      </a:lnTo>
                      <a:lnTo>
                        <a:pt x="3430" y="1674"/>
                      </a:lnTo>
                      <a:lnTo>
                        <a:pt x="3446" y="1674"/>
                      </a:lnTo>
                      <a:lnTo>
                        <a:pt x="3460" y="1676"/>
                      </a:lnTo>
                      <a:lnTo>
                        <a:pt x="3460" y="1676"/>
                      </a:lnTo>
                      <a:lnTo>
                        <a:pt x="3470" y="1676"/>
                      </a:lnTo>
                      <a:lnTo>
                        <a:pt x="3478" y="1676"/>
                      </a:lnTo>
                      <a:lnTo>
                        <a:pt x="3484" y="1678"/>
                      </a:lnTo>
                      <a:lnTo>
                        <a:pt x="3484" y="1678"/>
                      </a:lnTo>
                      <a:lnTo>
                        <a:pt x="3484" y="1680"/>
                      </a:lnTo>
                      <a:lnTo>
                        <a:pt x="3484" y="1680"/>
                      </a:lnTo>
                      <a:lnTo>
                        <a:pt x="3484" y="1682"/>
                      </a:lnTo>
                      <a:lnTo>
                        <a:pt x="3484" y="1684"/>
                      </a:lnTo>
                      <a:lnTo>
                        <a:pt x="3490" y="1686"/>
                      </a:lnTo>
                      <a:lnTo>
                        <a:pt x="3508" y="1686"/>
                      </a:lnTo>
                      <a:lnTo>
                        <a:pt x="3508" y="1686"/>
                      </a:lnTo>
                      <a:lnTo>
                        <a:pt x="3514" y="1688"/>
                      </a:lnTo>
                      <a:lnTo>
                        <a:pt x="3518" y="1692"/>
                      </a:lnTo>
                      <a:lnTo>
                        <a:pt x="3526" y="1704"/>
                      </a:lnTo>
                      <a:lnTo>
                        <a:pt x="3532" y="1716"/>
                      </a:lnTo>
                      <a:lnTo>
                        <a:pt x="3534" y="1718"/>
                      </a:lnTo>
                      <a:lnTo>
                        <a:pt x="3536" y="1718"/>
                      </a:lnTo>
                      <a:lnTo>
                        <a:pt x="3536" y="1718"/>
                      </a:lnTo>
                      <a:lnTo>
                        <a:pt x="3540" y="1716"/>
                      </a:lnTo>
                      <a:lnTo>
                        <a:pt x="3542" y="1716"/>
                      </a:lnTo>
                      <a:lnTo>
                        <a:pt x="3544" y="1720"/>
                      </a:lnTo>
                      <a:lnTo>
                        <a:pt x="3544" y="1726"/>
                      </a:lnTo>
                      <a:lnTo>
                        <a:pt x="3544" y="1726"/>
                      </a:lnTo>
                      <a:lnTo>
                        <a:pt x="3544" y="1730"/>
                      </a:lnTo>
                      <a:lnTo>
                        <a:pt x="3546" y="1734"/>
                      </a:lnTo>
                      <a:lnTo>
                        <a:pt x="3552" y="1742"/>
                      </a:lnTo>
                      <a:lnTo>
                        <a:pt x="3556" y="1748"/>
                      </a:lnTo>
                      <a:lnTo>
                        <a:pt x="3560" y="1756"/>
                      </a:lnTo>
                      <a:lnTo>
                        <a:pt x="3560" y="1756"/>
                      </a:lnTo>
                      <a:lnTo>
                        <a:pt x="3558" y="1758"/>
                      </a:lnTo>
                      <a:lnTo>
                        <a:pt x="3558" y="1758"/>
                      </a:lnTo>
                      <a:lnTo>
                        <a:pt x="3554" y="1754"/>
                      </a:lnTo>
                      <a:lnTo>
                        <a:pt x="3548" y="1750"/>
                      </a:lnTo>
                      <a:lnTo>
                        <a:pt x="3546" y="1750"/>
                      </a:lnTo>
                      <a:lnTo>
                        <a:pt x="3544" y="1750"/>
                      </a:lnTo>
                      <a:lnTo>
                        <a:pt x="3544" y="1750"/>
                      </a:lnTo>
                      <a:lnTo>
                        <a:pt x="3542" y="1752"/>
                      </a:lnTo>
                      <a:lnTo>
                        <a:pt x="3542" y="1754"/>
                      </a:lnTo>
                      <a:lnTo>
                        <a:pt x="3546" y="1760"/>
                      </a:lnTo>
                      <a:lnTo>
                        <a:pt x="3548" y="1766"/>
                      </a:lnTo>
                      <a:lnTo>
                        <a:pt x="3546" y="1768"/>
                      </a:lnTo>
                      <a:lnTo>
                        <a:pt x="3544" y="1770"/>
                      </a:lnTo>
                      <a:lnTo>
                        <a:pt x="3544" y="1770"/>
                      </a:lnTo>
                      <a:lnTo>
                        <a:pt x="3542" y="1772"/>
                      </a:lnTo>
                      <a:lnTo>
                        <a:pt x="3538" y="1770"/>
                      </a:lnTo>
                      <a:lnTo>
                        <a:pt x="3530" y="1764"/>
                      </a:lnTo>
                      <a:lnTo>
                        <a:pt x="3520" y="1760"/>
                      </a:lnTo>
                      <a:lnTo>
                        <a:pt x="3516" y="1758"/>
                      </a:lnTo>
                      <a:lnTo>
                        <a:pt x="3512" y="1760"/>
                      </a:lnTo>
                      <a:lnTo>
                        <a:pt x="3512" y="1760"/>
                      </a:lnTo>
                      <a:lnTo>
                        <a:pt x="3508" y="1762"/>
                      </a:lnTo>
                      <a:lnTo>
                        <a:pt x="3508" y="1758"/>
                      </a:lnTo>
                      <a:lnTo>
                        <a:pt x="3508" y="1754"/>
                      </a:lnTo>
                      <a:lnTo>
                        <a:pt x="3508" y="1754"/>
                      </a:lnTo>
                      <a:lnTo>
                        <a:pt x="3504" y="1754"/>
                      </a:lnTo>
                      <a:lnTo>
                        <a:pt x="3504" y="1754"/>
                      </a:lnTo>
                      <a:lnTo>
                        <a:pt x="3502" y="1754"/>
                      </a:lnTo>
                      <a:lnTo>
                        <a:pt x="3502" y="1754"/>
                      </a:lnTo>
                      <a:lnTo>
                        <a:pt x="3504" y="1750"/>
                      </a:lnTo>
                      <a:lnTo>
                        <a:pt x="3506" y="1746"/>
                      </a:lnTo>
                      <a:lnTo>
                        <a:pt x="3504" y="1744"/>
                      </a:lnTo>
                      <a:lnTo>
                        <a:pt x="3502" y="1742"/>
                      </a:lnTo>
                      <a:lnTo>
                        <a:pt x="3502" y="1742"/>
                      </a:lnTo>
                      <a:lnTo>
                        <a:pt x="3498" y="1742"/>
                      </a:lnTo>
                      <a:lnTo>
                        <a:pt x="3496" y="1740"/>
                      </a:lnTo>
                      <a:lnTo>
                        <a:pt x="3494" y="1734"/>
                      </a:lnTo>
                      <a:lnTo>
                        <a:pt x="3494" y="1728"/>
                      </a:lnTo>
                      <a:lnTo>
                        <a:pt x="3492" y="1728"/>
                      </a:lnTo>
                      <a:lnTo>
                        <a:pt x="3490" y="1726"/>
                      </a:lnTo>
                      <a:lnTo>
                        <a:pt x="3490" y="1726"/>
                      </a:lnTo>
                      <a:lnTo>
                        <a:pt x="3486" y="1726"/>
                      </a:lnTo>
                      <a:lnTo>
                        <a:pt x="3482" y="1726"/>
                      </a:lnTo>
                      <a:lnTo>
                        <a:pt x="3480" y="1724"/>
                      </a:lnTo>
                      <a:lnTo>
                        <a:pt x="3478" y="1726"/>
                      </a:lnTo>
                      <a:lnTo>
                        <a:pt x="3478" y="1726"/>
                      </a:lnTo>
                      <a:lnTo>
                        <a:pt x="3480" y="1730"/>
                      </a:lnTo>
                      <a:lnTo>
                        <a:pt x="3484" y="1736"/>
                      </a:lnTo>
                      <a:lnTo>
                        <a:pt x="3490" y="1744"/>
                      </a:lnTo>
                      <a:lnTo>
                        <a:pt x="3496" y="1756"/>
                      </a:lnTo>
                      <a:lnTo>
                        <a:pt x="3496" y="1756"/>
                      </a:lnTo>
                      <a:lnTo>
                        <a:pt x="3496" y="1762"/>
                      </a:lnTo>
                      <a:lnTo>
                        <a:pt x="3494" y="1766"/>
                      </a:lnTo>
                      <a:lnTo>
                        <a:pt x="3486" y="1776"/>
                      </a:lnTo>
                      <a:lnTo>
                        <a:pt x="3482" y="1782"/>
                      </a:lnTo>
                      <a:lnTo>
                        <a:pt x="3480" y="1788"/>
                      </a:lnTo>
                      <a:lnTo>
                        <a:pt x="3476" y="1796"/>
                      </a:lnTo>
                      <a:lnTo>
                        <a:pt x="3476" y="1806"/>
                      </a:lnTo>
                      <a:lnTo>
                        <a:pt x="3476" y="1806"/>
                      </a:lnTo>
                      <a:lnTo>
                        <a:pt x="3476" y="1826"/>
                      </a:lnTo>
                      <a:lnTo>
                        <a:pt x="3476" y="1832"/>
                      </a:lnTo>
                      <a:lnTo>
                        <a:pt x="3472" y="1838"/>
                      </a:lnTo>
                      <a:lnTo>
                        <a:pt x="3468" y="1842"/>
                      </a:lnTo>
                      <a:lnTo>
                        <a:pt x="3464" y="1844"/>
                      </a:lnTo>
                      <a:lnTo>
                        <a:pt x="3448" y="1852"/>
                      </a:lnTo>
                      <a:lnTo>
                        <a:pt x="3448" y="1852"/>
                      </a:lnTo>
                      <a:lnTo>
                        <a:pt x="3446" y="1846"/>
                      </a:lnTo>
                      <a:lnTo>
                        <a:pt x="3444" y="1838"/>
                      </a:lnTo>
                      <a:lnTo>
                        <a:pt x="3440" y="1818"/>
                      </a:lnTo>
                      <a:lnTo>
                        <a:pt x="3438" y="1808"/>
                      </a:lnTo>
                      <a:lnTo>
                        <a:pt x="3434" y="1802"/>
                      </a:lnTo>
                      <a:lnTo>
                        <a:pt x="3428" y="1796"/>
                      </a:lnTo>
                      <a:lnTo>
                        <a:pt x="3424" y="1796"/>
                      </a:lnTo>
                      <a:lnTo>
                        <a:pt x="3424" y="1796"/>
                      </a:lnTo>
                      <a:lnTo>
                        <a:pt x="3418" y="1798"/>
                      </a:lnTo>
                      <a:lnTo>
                        <a:pt x="3414" y="1800"/>
                      </a:lnTo>
                      <a:lnTo>
                        <a:pt x="3408" y="1808"/>
                      </a:lnTo>
                      <a:lnTo>
                        <a:pt x="3404" y="1816"/>
                      </a:lnTo>
                      <a:lnTo>
                        <a:pt x="3400" y="1818"/>
                      </a:lnTo>
                      <a:lnTo>
                        <a:pt x="3398" y="1820"/>
                      </a:lnTo>
                      <a:lnTo>
                        <a:pt x="3398" y="1820"/>
                      </a:lnTo>
                      <a:lnTo>
                        <a:pt x="3394" y="1818"/>
                      </a:lnTo>
                      <a:lnTo>
                        <a:pt x="3392" y="1816"/>
                      </a:lnTo>
                      <a:lnTo>
                        <a:pt x="3388" y="1810"/>
                      </a:lnTo>
                      <a:lnTo>
                        <a:pt x="3390" y="1802"/>
                      </a:lnTo>
                      <a:lnTo>
                        <a:pt x="3392" y="1798"/>
                      </a:lnTo>
                      <a:lnTo>
                        <a:pt x="3394" y="1796"/>
                      </a:lnTo>
                      <a:lnTo>
                        <a:pt x="3394" y="1796"/>
                      </a:lnTo>
                      <a:lnTo>
                        <a:pt x="3400" y="1790"/>
                      </a:lnTo>
                      <a:lnTo>
                        <a:pt x="3406" y="1784"/>
                      </a:lnTo>
                      <a:lnTo>
                        <a:pt x="3410" y="1776"/>
                      </a:lnTo>
                      <a:lnTo>
                        <a:pt x="3412" y="1764"/>
                      </a:lnTo>
                      <a:lnTo>
                        <a:pt x="3412" y="1764"/>
                      </a:lnTo>
                      <a:lnTo>
                        <a:pt x="3412" y="1758"/>
                      </a:lnTo>
                      <a:lnTo>
                        <a:pt x="3412" y="1754"/>
                      </a:lnTo>
                      <a:lnTo>
                        <a:pt x="3410" y="1746"/>
                      </a:lnTo>
                      <a:lnTo>
                        <a:pt x="3408" y="1740"/>
                      </a:lnTo>
                      <a:lnTo>
                        <a:pt x="3408" y="1738"/>
                      </a:lnTo>
                      <a:lnTo>
                        <a:pt x="3410" y="1738"/>
                      </a:lnTo>
                      <a:lnTo>
                        <a:pt x="3410" y="1738"/>
                      </a:lnTo>
                      <a:lnTo>
                        <a:pt x="3414" y="1736"/>
                      </a:lnTo>
                      <a:lnTo>
                        <a:pt x="3414" y="1734"/>
                      </a:lnTo>
                      <a:lnTo>
                        <a:pt x="3410" y="1728"/>
                      </a:lnTo>
                      <a:lnTo>
                        <a:pt x="3402" y="1722"/>
                      </a:lnTo>
                      <a:lnTo>
                        <a:pt x="3392" y="1716"/>
                      </a:lnTo>
                      <a:lnTo>
                        <a:pt x="3392" y="1716"/>
                      </a:lnTo>
                      <a:lnTo>
                        <a:pt x="3382" y="1712"/>
                      </a:lnTo>
                      <a:lnTo>
                        <a:pt x="3380" y="1708"/>
                      </a:lnTo>
                      <a:lnTo>
                        <a:pt x="3378" y="1706"/>
                      </a:lnTo>
                      <a:lnTo>
                        <a:pt x="3372" y="1704"/>
                      </a:lnTo>
                      <a:lnTo>
                        <a:pt x="3372" y="1704"/>
                      </a:lnTo>
                      <a:lnTo>
                        <a:pt x="3366" y="1702"/>
                      </a:lnTo>
                      <a:lnTo>
                        <a:pt x="3362" y="1698"/>
                      </a:lnTo>
                      <a:lnTo>
                        <a:pt x="3358" y="1696"/>
                      </a:lnTo>
                      <a:lnTo>
                        <a:pt x="3356" y="1696"/>
                      </a:lnTo>
                      <a:lnTo>
                        <a:pt x="3352" y="1698"/>
                      </a:lnTo>
                      <a:lnTo>
                        <a:pt x="3346" y="1702"/>
                      </a:lnTo>
                      <a:lnTo>
                        <a:pt x="3346" y="1702"/>
                      </a:lnTo>
                      <a:lnTo>
                        <a:pt x="3342" y="1706"/>
                      </a:lnTo>
                      <a:lnTo>
                        <a:pt x="3340" y="1710"/>
                      </a:lnTo>
                      <a:lnTo>
                        <a:pt x="3342" y="1712"/>
                      </a:lnTo>
                      <a:lnTo>
                        <a:pt x="3344" y="1714"/>
                      </a:lnTo>
                      <a:lnTo>
                        <a:pt x="3346" y="1718"/>
                      </a:lnTo>
                      <a:lnTo>
                        <a:pt x="3340" y="1720"/>
                      </a:lnTo>
                      <a:lnTo>
                        <a:pt x="3340" y="1720"/>
                      </a:lnTo>
                      <a:lnTo>
                        <a:pt x="3334" y="1722"/>
                      </a:lnTo>
                      <a:lnTo>
                        <a:pt x="3330" y="1726"/>
                      </a:lnTo>
                      <a:lnTo>
                        <a:pt x="3328" y="1732"/>
                      </a:lnTo>
                      <a:lnTo>
                        <a:pt x="3328" y="1738"/>
                      </a:lnTo>
                      <a:lnTo>
                        <a:pt x="3326" y="1748"/>
                      </a:lnTo>
                      <a:lnTo>
                        <a:pt x="3324" y="1752"/>
                      </a:lnTo>
                      <a:lnTo>
                        <a:pt x="3322" y="1752"/>
                      </a:lnTo>
                      <a:lnTo>
                        <a:pt x="3322" y="1752"/>
                      </a:lnTo>
                      <a:lnTo>
                        <a:pt x="3320" y="1752"/>
                      </a:lnTo>
                      <a:lnTo>
                        <a:pt x="3318" y="1748"/>
                      </a:lnTo>
                      <a:lnTo>
                        <a:pt x="3318" y="1738"/>
                      </a:lnTo>
                      <a:lnTo>
                        <a:pt x="3318" y="1734"/>
                      </a:lnTo>
                      <a:lnTo>
                        <a:pt x="3316" y="1734"/>
                      </a:lnTo>
                      <a:lnTo>
                        <a:pt x="3314" y="1736"/>
                      </a:lnTo>
                      <a:lnTo>
                        <a:pt x="3308" y="1744"/>
                      </a:lnTo>
                      <a:lnTo>
                        <a:pt x="3308" y="1744"/>
                      </a:lnTo>
                      <a:lnTo>
                        <a:pt x="3300" y="1752"/>
                      </a:lnTo>
                      <a:lnTo>
                        <a:pt x="3296" y="1754"/>
                      </a:lnTo>
                      <a:lnTo>
                        <a:pt x="3294" y="1756"/>
                      </a:lnTo>
                      <a:lnTo>
                        <a:pt x="3294" y="1766"/>
                      </a:lnTo>
                      <a:lnTo>
                        <a:pt x="3294" y="1766"/>
                      </a:lnTo>
                      <a:lnTo>
                        <a:pt x="3296" y="1772"/>
                      </a:lnTo>
                      <a:lnTo>
                        <a:pt x="3294" y="1778"/>
                      </a:lnTo>
                      <a:lnTo>
                        <a:pt x="3290" y="1786"/>
                      </a:lnTo>
                      <a:lnTo>
                        <a:pt x="3286" y="1792"/>
                      </a:lnTo>
                      <a:lnTo>
                        <a:pt x="3286" y="1796"/>
                      </a:lnTo>
                      <a:lnTo>
                        <a:pt x="3286" y="1800"/>
                      </a:lnTo>
                      <a:lnTo>
                        <a:pt x="3286" y="1800"/>
                      </a:lnTo>
                      <a:lnTo>
                        <a:pt x="3288" y="1808"/>
                      </a:lnTo>
                      <a:lnTo>
                        <a:pt x="3286" y="1812"/>
                      </a:lnTo>
                      <a:lnTo>
                        <a:pt x="3284" y="1818"/>
                      </a:lnTo>
                      <a:lnTo>
                        <a:pt x="3286" y="1828"/>
                      </a:lnTo>
                      <a:lnTo>
                        <a:pt x="3286" y="1828"/>
                      </a:lnTo>
                      <a:lnTo>
                        <a:pt x="3292" y="1840"/>
                      </a:lnTo>
                      <a:lnTo>
                        <a:pt x="3294" y="1852"/>
                      </a:lnTo>
                      <a:lnTo>
                        <a:pt x="3296" y="1862"/>
                      </a:lnTo>
                      <a:lnTo>
                        <a:pt x="3294" y="1872"/>
                      </a:lnTo>
                      <a:lnTo>
                        <a:pt x="3294" y="1880"/>
                      </a:lnTo>
                      <a:lnTo>
                        <a:pt x="3290" y="1890"/>
                      </a:lnTo>
                      <a:lnTo>
                        <a:pt x="3282" y="1908"/>
                      </a:lnTo>
                      <a:lnTo>
                        <a:pt x="3282" y="1908"/>
                      </a:lnTo>
                      <a:lnTo>
                        <a:pt x="3276" y="1916"/>
                      </a:lnTo>
                      <a:lnTo>
                        <a:pt x="3270" y="1922"/>
                      </a:lnTo>
                      <a:lnTo>
                        <a:pt x="3264" y="1928"/>
                      </a:lnTo>
                      <a:lnTo>
                        <a:pt x="3258" y="1930"/>
                      </a:lnTo>
                      <a:lnTo>
                        <a:pt x="3252" y="1930"/>
                      </a:lnTo>
                      <a:lnTo>
                        <a:pt x="3246" y="1926"/>
                      </a:lnTo>
                      <a:lnTo>
                        <a:pt x="3242" y="1922"/>
                      </a:lnTo>
                      <a:lnTo>
                        <a:pt x="3236" y="1914"/>
                      </a:lnTo>
                      <a:lnTo>
                        <a:pt x="3236" y="1914"/>
                      </a:lnTo>
                      <a:lnTo>
                        <a:pt x="3232" y="1904"/>
                      </a:lnTo>
                      <a:lnTo>
                        <a:pt x="3230" y="1898"/>
                      </a:lnTo>
                      <a:lnTo>
                        <a:pt x="3230" y="1884"/>
                      </a:lnTo>
                      <a:lnTo>
                        <a:pt x="3230" y="1872"/>
                      </a:lnTo>
                      <a:lnTo>
                        <a:pt x="3230" y="1864"/>
                      </a:lnTo>
                      <a:lnTo>
                        <a:pt x="3230" y="1856"/>
                      </a:lnTo>
                      <a:lnTo>
                        <a:pt x="3230" y="1856"/>
                      </a:lnTo>
                      <a:lnTo>
                        <a:pt x="3228" y="1842"/>
                      </a:lnTo>
                      <a:lnTo>
                        <a:pt x="3228" y="1834"/>
                      </a:lnTo>
                      <a:lnTo>
                        <a:pt x="3232" y="1824"/>
                      </a:lnTo>
                      <a:lnTo>
                        <a:pt x="3234" y="1810"/>
                      </a:lnTo>
                      <a:lnTo>
                        <a:pt x="3234" y="1810"/>
                      </a:lnTo>
                      <a:lnTo>
                        <a:pt x="3234" y="1802"/>
                      </a:lnTo>
                      <a:lnTo>
                        <a:pt x="3236" y="1796"/>
                      </a:lnTo>
                      <a:lnTo>
                        <a:pt x="3238" y="1792"/>
                      </a:lnTo>
                      <a:lnTo>
                        <a:pt x="3240" y="1792"/>
                      </a:lnTo>
                      <a:lnTo>
                        <a:pt x="3242" y="1790"/>
                      </a:lnTo>
                      <a:lnTo>
                        <a:pt x="3242" y="1784"/>
                      </a:lnTo>
                      <a:lnTo>
                        <a:pt x="3242" y="1784"/>
                      </a:lnTo>
                      <a:lnTo>
                        <a:pt x="3240" y="1780"/>
                      </a:lnTo>
                      <a:lnTo>
                        <a:pt x="3242" y="1776"/>
                      </a:lnTo>
                      <a:lnTo>
                        <a:pt x="3246" y="1764"/>
                      </a:lnTo>
                      <a:lnTo>
                        <a:pt x="3248" y="1754"/>
                      </a:lnTo>
                      <a:lnTo>
                        <a:pt x="3248" y="1752"/>
                      </a:lnTo>
                      <a:lnTo>
                        <a:pt x="3246" y="1748"/>
                      </a:lnTo>
                      <a:lnTo>
                        <a:pt x="3246" y="1748"/>
                      </a:lnTo>
                      <a:lnTo>
                        <a:pt x="3240" y="1748"/>
                      </a:lnTo>
                      <a:lnTo>
                        <a:pt x="3238" y="1752"/>
                      </a:lnTo>
                      <a:lnTo>
                        <a:pt x="3234" y="1758"/>
                      </a:lnTo>
                      <a:lnTo>
                        <a:pt x="3228" y="1764"/>
                      </a:lnTo>
                      <a:lnTo>
                        <a:pt x="3228" y="1764"/>
                      </a:lnTo>
                      <a:lnTo>
                        <a:pt x="3226" y="1766"/>
                      </a:lnTo>
                      <a:lnTo>
                        <a:pt x="3224" y="1766"/>
                      </a:lnTo>
                      <a:lnTo>
                        <a:pt x="3224" y="1758"/>
                      </a:lnTo>
                      <a:lnTo>
                        <a:pt x="3226" y="1750"/>
                      </a:lnTo>
                      <a:lnTo>
                        <a:pt x="3230" y="1746"/>
                      </a:lnTo>
                      <a:lnTo>
                        <a:pt x="3232" y="1742"/>
                      </a:lnTo>
                      <a:lnTo>
                        <a:pt x="3232" y="1742"/>
                      </a:lnTo>
                      <a:lnTo>
                        <a:pt x="3236" y="1740"/>
                      </a:lnTo>
                      <a:lnTo>
                        <a:pt x="3238" y="1736"/>
                      </a:lnTo>
                      <a:lnTo>
                        <a:pt x="3240" y="1732"/>
                      </a:lnTo>
                      <a:lnTo>
                        <a:pt x="3244" y="1726"/>
                      </a:lnTo>
                      <a:lnTo>
                        <a:pt x="3244" y="1726"/>
                      </a:lnTo>
                      <a:lnTo>
                        <a:pt x="3252" y="1714"/>
                      </a:lnTo>
                      <a:lnTo>
                        <a:pt x="3258" y="1700"/>
                      </a:lnTo>
                      <a:lnTo>
                        <a:pt x="3264" y="1692"/>
                      </a:lnTo>
                      <a:lnTo>
                        <a:pt x="3266" y="1690"/>
                      </a:lnTo>
                      <a:lnTo>
                        <a:pt x="3266" y="1692"/>
                      </a:lnTo>
                      <a:lnTo>
                        <a:pt x="3266" y="1692"/>
                      </a:lnTo>
                      <a:lnTo>
                        <a:pt x="3268" y="1696"/>
                      </a:lnTo>
                      <a:lnTo>
                        <a:pt x="3270" y="1696"/>
                      </a:lnTo>
                      <a:lnTo>
                        <a:pt x="3274" y="1694"/>
                      </a:lnTo>
                      <a:lnTo>
                        <a:pt x="3278" y="1692"/>
                      </a:lnTo>
                      <a:lnTo>
                        <a:pt x="3280" y="1692"/>
                      </a:lnTo>
                      <a:lnTo>
                        <a:pt x="3278" y="1698"/>
                      </a:lnTo>
                      <a:lnTo>
                        <a:pt x="3278" y="1698"/>
                      </a:lnTo>
                      <a:lnTo>
                        <a:pt x="3278" y="1702"/>
                      </a:lnTo>
                      <a:lnTo>
                        <a:pt x="3278" y="1702"/>
                      </a:lnTo>
                      <a:lnTo>
                        <a:pt x="3284" y="1696"/>
                      </a:lnTo>
                      <a:lnTo>
                        <a:pt x="3292" y="1688"/>
                      </a:lnTo>
                      <a:lnTo>
                        <a:pt x="3296" y="1686"/>
                      </a:lnTo>
                      <a:lnTo>
                        <a:pt x="3300" y="1684"/>
                      </a:lnTo>
                      <a:lnTo>
                        <a:pt x="3300" y="1684"/>
                      </a:lnTo>
                      <a:lnTo>
                        <a:pt x="3310" y="1684"/>
                      </a:lnTo>
                      <a:lnTo>
                        <a:pt x="3314" y="1684"/>
                      </a:lnTo>
                      <a:lnTo>
                        <a:pt x="3320" y="1678"/>
                      </a:lnTo>
                      <a:lnTo>
                        <a:pt x="3324" y="1676"/>
                      </a:lnTo>
                      <a:lnTo>
                        <a:pt x="3328" y="1678"/>
                      </a:lnTo>
                      <a:lnTo>
                        <a:pt x="3336" y="1680"/>
                      </a:lnTo>
                      <a:lnTo>
                        <a:pt x="3346" y="1686"/>
                      </a:lnTo>
                      <a:lnTo>
                        <a:pt x="3346" y="1686"/>
                      </a:lnTo>
                      <a:lnTo>
                        <a:pt x="3352" y="1690"/>
                      </a:lnTo>
                      <a:lnTo>
                        <a:pt x="3354" y="1690"/>
                      </a:lnTo>
                      <a:lnTo>
                        <a:pt x="3356" y="1688"/>
                      </a:lnTo>
                      <a:lnTo>
                        <a:pt x="3358" y="1686"/>
                      </a:lnTo>
                      <a:lnTo>
                        <a:pt x="3358" y="1682"/>
                      </a:lnTo>
                      <a:lnTo>
                        <a:pt x="3360" y="1680"/>
                      </a:lnTo>
                      <a:lnTo>
                        <a:pt x="3362" y="1680"/>
                      </a:lnTo>
                      <a:lnTo>
                        <a:pt x="3362" y="1680"/>
                      </a:lnTo>
                      <a:lnTo>
                        <a:pt x="3370" y="1684"/>
                      </a:lnTo>
                      <a:lnTo>
                        <a:pt x="3380" y="1686"/>
                      </a:lnTo>
                      <a:lnTo>
                        <a:pt x="3386" y="1684"/>
                      </a:lnTo>
                      <a:lnTo>
                        <a:pt x="3388" y="1682"/>
                      </a:lnTo>
                      <a:lnTo>
                        <a:pt x="3388" y="1678"/>
                      </a:lnTo>
                      <a:lnTo>
                        <a:pt x="3388" y="1678"/>
                      </a:lnTo>
                      <a:lnTo>
                        <a:pt x="3384" y="1674"/>
                      </a:lnTo>
                      <a:lnTo>
                        <a:pt x="3380" y="1672"/>
                      </a:lnTo>
                      <a:lnTo>
                        <a:pt x="3376" y="1670"/>
                      </a:lnTo>
                      <a:lnTo>
                        <a:pt x="3374" y="1662"/>
                      </a:lnTo>
                      <a:lnTo>
                        <a:pt x="3374" y="1662"/>
                      </a:lnTo>
                      <a:lnTo>
                        <a:pt x="3374" y="1658"/>
                      </a:lnTo>
                      <a:lnTo>
                        <a:pt x="3372" y="1658"/>
                      </a:lnTo>
                      <a:lnTo>
                        <a:pt x="3368" y="1658"/>
                      </a:lnTo>
                      <a:lnTo>
                        <a:pt x="3360" y="1658"/>
                      </a:lnTo>
                      <a:lnTo>
                        <a:pt x="3348" y="1654"/>
                      </a:lnTo>
                      <a:lnTo>
                        <a:pt x="3348" y="1654"/>
                      </a:lnTo>
                      <a:lnTo>
                        <a:pt x="3346" y="1652"/>
                      </a:lnTo>
                      <a:lnTo>
                        <a:pt x="3344" y="1650"/>
                      </a:lnTo>
                      <a:lnTo>
                        <a:pt x="3344" y="1644"/>
                      </a:lnTo>
                      <a:lnTo>
                        <a:pt x="3346" y="1638"/>
                      </a:lnTo>
                      <a:lnTo>
                        <a:pt x="3344" y="1638"/>
                      </a:lnTo>
                      <a:lnTo>
                        <a:pt x="3340" y="1640"/>
                      </a:lnTo>
                      <a:lnTo>
                        <a:pt x="3340" y="1640"/>
                      </a:lnTo>
                      <a:lnTo>
                        <a:pt x="3330" y="1642"/>
                      </a:lnTo>
                      <a:lnTo>
                        <a:pt x="3314" y="1644"/>
                      </a:lnTo>
                      <a:lnTo>
                        <a:pt x="3300" y="1646"/>
                      </a:lnTo>
                      <a:lnTo>
                        <a:pt x="3294" y="1648"/>
                      </a:lnTo>
                      <a:lnTo>
                        <a:pt x="3288" y="1652"/>
                      </a:lnTo>
                      <a:lnTo>
                        <a:pt x="3288" y="1652"/>
                      </a:lnTo>
                      <a:lnTo>
                        <a:pt x="3280" y="1656"/>
                      </a:lnTo>
                      <a:lnTo>
                        <a:pt x="3274" y="1656"/>
                      </a:lnTo>
                      <a:lnTo>
                        <a:pt x="3268" y="1656"/>
                      </a:lnTo>
                      <a:lnTo>
                        <a:pt x="3258" y="1654"/>
                      </a:lnTo>
                      <a:lnTo>
                        <a:pt x="3258" y="1654"/>
                      </a:lnTo>
                      <a:lnTo>
                        <a:pt x="3252" y="1654"/>
                      </a:lnTo>
                      <a:lnTo>
                        <a:pt x="3250" y="1652"/>
                      </a:lnTo>
                      <a:lnTo>
                        <a:pt x="3244" y="1646"/>
                      </a:lnTo>
                      <a:lnTo>
                        <a:pt x="3238" y="1636"/>
                      </a:lnTo>
                      <a:lnTo>
                        <a:pt x="3234" y="1632"/>
                      </a:lnTo>
                      <a:lnTo>
                        <a:pt x="3228" y="1630"/>
                      </a:lnTo>
                      <a:lnTo>
                        <a:pt x="3228" y="1630"/>
                      </a:lnTo>
                      <a:lnTo>
                        <a:pt x="3222" y="1628"/>
                      </a:lnTo>
                      <a:lnTo>
                        <a:pt x="3218" y="1628"/>
                      </a:lnTo>
                      <a:lnTo>
                        <a:pt x="3210" y="1632"/>
                      </a:lnTo>
                      <a:lnTo>
                        <a:pt x="3208" y="1634"/>
                      </a:lnTo>
                      <a:lnTo>
                        <a:pt x="3206" y="1634"/>
                      </a:lnTo>
                      <a:lnTo>
                        <a:pt x="3206" y="1632"/>
                      </a:lnTo>
                      <a:lnTo>
                        <a:pt x="3204" y="1628"/>
                      </a:lnTo>
                      <a:lnTo>
                        <a:pt x="3204" y="1628"/>
                      </a:lnTo>
                      <a:lnTo>
                        <a:pt x="3202" y="1618"/>
                      </a:lnTo>
                      <a:lnTo>
                        <a:pt x="3200" y="1616"/>
                      </a:lnTo>
                      <a:lnTo>
                        <a:pt x="3198" y="1614"/>
                      </a:lnTo>
                      <a:lnTo>
                        <a:pt x="3190" y="1618"/>
                      </a:lnTo>
                      <a:lnTo>
                        <a:pt x="3180" y="1628"/>
                      </a:lnTo>
                      <a:lnTo>
                        <a:pt x="3180" y="1628"/>
                      </a:lnTo>
                      <a:lnTo>
                        <a:pt x="3176" y="1632"/>
                      </a:lnTo>
                      <a:lnTo>
                        <a:pt x="3170" y="1634"/>
                      </a:lnTo>
                      <a:lnTo>
                        <a:pt x="3164" y="1636"/>
                      </a:lnTo>
                      <a:lnTo>
                        <a:pt x="3156" y="1636"/>
                      </a:lnTo>
                      <a:lnTo>
                        <a:pt x="3150" y="1638"/>
                      </a:lnTo>
                      <a:lnTo>
                        <a:pt x="3144" y="1642"/>
                      </a:lnTo>
                      <a:lnTo>
                        <a:pt x="3144" y="1642"/>
                      </a:lnTo>
                      <a:lnTo>
                        <a:pt x="3134" y="1648"/>
                      </a:lnTo>
                      <a:lnTo>
                        <a:pt x="3126" y="1650"/>
                      </a:lnTo>
                      <a:lnTo>
                        <a:pt x="3118" y="1648"/>
                      </a:lnTo>
                      <a:lnTo>
                        <a:pt x="3110" y="1648"/>
                      </a:lnTo>
                      <a:lnTo>
                        <a:pt x="3110" y="1648"/>
                      </a:lnTo>
                      <a:lnTo>
                        <a:pt x="3106" y="1650"/>
                      </a:lnTo>
                      <a:lnTo>
                        <a:pt x="3104" y="1648"/>
                      </a:lnTo>
                      <a:lnTo>
                        <a:pt x="3108" y="1640"/>
                      </a:lnTo>
                      <a:lnTo>
                        <a:pt x="3112" y="1632"/>
                      </a:lnTo>
                      <a:lnTo>
                        <a:pt x="3110" y="1630"/>
                      </a:lnTo>
                      <a:lnTo>
                        <a:pt x="3108" y="1628"/>
                      </a:lnTo>
                      <a:lnTo>
                        <a:pt x="3108" y="1628"/>
                      </a:lnTo>
                      <a:lnTo>
                        <a:pt x="3104" y="1628"/>
                      </a:lnTo>
                      <a:lnTo>
                        <a:pt x="3098" y="1630"/>
                      </a:lnTo>
                      <a:lnTo>
                        <a:pt x="3086" y="1636"/>
                      </a:lnTo>
                      <a:lnTo>
                        <a:pt x="3074" y="1642"/>
                      </a:lnTo>
                      <a:lnTo>
                        <a:pt x="3068" y="1642"/>
                      </a:lnTo>
                      <a:lnTo>
                        <a:pt x="3062" y="1642"/>
                      </a:lnTo>
                      <a:lnTo>
                        <a:pt x="3062" y="1642"/>
                      </a:lnTo>
                      <a:lnTo>
                        <a:pt x="3058" y="1640"/>
                      </a:lnTo>
                      <a:lnTo>
                        <a:pt x="3058" y="1638"/>
                      </a:lnTo>
                      <a:lnTo>
                        <a:pt x="3060" y="1636"/>
                      </a:lnTo>
                      <a:lnTo>
                        <a:pt x="3064" y="1632"/>
                      </a:lnTo>
                      <a:lnTo>
                        <a:pt x="3076" y="1620"/>
                      </a:lnTo>
                      <a:lnTo>
                        <a:pt x="3092" y="1606"/>
                      </a:lnTo>
                      <a:lnTo>
                        <a:pt x="3092" y="1606"/>
                      </a:lnTo>
                      <a:close/>
                    </a:path>
                  </a:pathLst>
                </a:custGeom>
                <a:solidFill>
                  <a:srgbClr val="C00000"/>
                </a:solid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67" name="Freeform 6087">
                  <a:extLst>
                    <a:ext uri="{FF2B5EF4-FFF2-40B4-BE49-F238E27FC236}">
                      <a16:creationId xmlns:a16="http://schemas.microsoft.com/office/drawing/2014/main" id="{6251DE6A-F905-5DB1-5196-E9CD3459B248}"/>
                    </a:ext>
                  </a:extLst>
                </p:cNvPr>
                <p:cNvSpPr>
                  <a:spLocks/>
                </p:cNvSpPr>
                <p:nvPr/>
              </p:nvSpPr>
              <p:spPr bwMode="auto">
                <a:xfrm>
                  <a:off x="1927860" y="823913"/>
                  <a:ext cx="304800" cy="171450"/>
                </a:xfrm>
                <a:custGeom>
                  <a:avLst/>
                  <a:gdLst/>
                  <a:ahLst/>
                  <a:cxnLst>
                    <a:cxn ang="0">
                      <a:pos x="78" y="174"/>
                    </a:cxn>
                    <a:cxn ang="0">
                      <a:pos x="110" y="166"/>
                    </a:cxn>
                    <a:cxn ang="0">
                      <a:pos x="110" y="174"/>
                    </a:cxn>
                    <a:cxn ang="0">
                      <a:pos x="176" y="164"/>
                    </a:cxn>
                    <a:cxn ang="0">
                      <a:pos x="174" y="172"/>
                    </a:cxn>
                    <a:cxn ang="0">
                      <a:pos x="118" y="192"/>
                    </a:cxn>
                    <a:cxn ang="0">
                      <a:pos x="108" y="204"/>
                    </a:cxn>
                    <a:cxn ang="0">
                      <a:pos x="148" y="238"/>
                    </a:cxn>
                    <a:cxn ang="0">
                      <a:pos x="224" y="268"/>
                    </a:cxn>
                    <a:cxn ang="0">
                      <a:pos x="260" y="262"/>
                    </a:cxn>
                    <a:cxn ang="0">
                      <a:pos x="268" y="252"/>
                    </a:cxn>
                    <a:cxn ang="0">
                      <a:pos x="288" y="260"/>
                    </a:cxn>
                    <a:cxn ang="0">
                      <a:pos x="282" y="242"/>
                    </a:cxn>
                    <a:cxn ang="0">
                      <a:pos x="296" y="246"/>
                    </a:cxn>
                    <a:cxn ang="0">
                      <a:pos x="322" y="266"/>
                    </a:cxn>
                    <a:cxn ang="0">
                      <a:pos x="328" y="246"/>
                    </a:cxn>
                    <a:cxn ang="0">
                      <a:pos x="340" y="234"/>
                    </a:cxn>
                    <a:cxn ang="0">
                      <a:pos x="364" y="230"/>
                    </a:cxn>
                    <a:cxn ang="0">
                      <a:pos x="426" y="192"/>
                    </a:cxn>
                    <a:cxn ang="0">
                      <a:pos x="480" y="174"/>
                    </a:cxn>
                    <a:cxn ang="0">
                      <a:pos x="472" y="166"/>
                    </a:cxn>
                    <a:cxn ang="0">
                      <a:pos x="438" y="146"/>
                    </a:cxn>
                    <a:cxn ang="0">
                      <a:pos x="400" y="146"/>
                    </a:cxn>
                    <a:cxn ang="0">
                      <a:pos x="390" y="142"/>
                    </a:cxn>
                    <a:cxn ang="0">
                      <a:pos x="400" y="122"/>
                    </a:cxn>
                    <a:cxn ang="0">
                      <a:pos x="382" y="108"/>
                    </a:cxn>
                    <a:cxn ang="0">
                      <a:pos x="376" y="86"/>
                    </a:cxn>
                    <a:cxn ang="0">
                      <a:pos x="352" y="78"/>
                    </a:cxn>
                    <a:cxn ang="0">
                      <a:pos x="328" y="90"/>
                    </a:cxn>
                    <a:cxn ang="0">
                      <a:pos x="326" y="102"/>
                    </a:cxn>
                    <a:cxn ang="0">
                      <a:pos x="306" y="92"/>
                    </a:cxn>
                    <a:cxn ang="0">
                      <a:pos x="306" y="74"/>
                    </a:cxn>
                    <a:cxn ang="0">
                      <a:pos x="274" y="68"/>
                    </a:cxn>
                    <a:cxn ang="0">
                      <a:pos x="192" y="20"/>
                    </a:cxn>
                    <a:cxn ang="0">
                      <a:pos x="134" y="0"/>
                    </a:cxn>
                    <a:cxn ang="0">
                      <a:pos x="100" y="4"/>
                    </a:cxn>
                    <a:cxn ang="0">
                      <a:pos x="112" y="20"/>
                    </a:cxn>
                    <a:cxn ang="0">
                      <a:pos x="98" y="28"/>
                    </a:cxn>
                    <a:cxn ang="0">
                      <a:pos x="66" y="32"/>
                    </a:cxn>
                    <a:cxn ang="0">
                      <a:pos x="54" y="54"/>
                    </a:cxn>
                    <a:cxn ang="0">
                      <a:pos x="26" y="76"/>
                    </a:cxn>
                    <a:cxn ang="0">
                      <a:pos x="18" y="92"/>
                    </a:cxn>
                    <a:cxn ang="0">
                      <a:pos x="50" y="100"/>
                    </a:cxn>
                    <a:cxn ang="0">
                      <a:pos x="90" y="104"/>
                    </a:cxn>
                    <a:cxn ang="0">
                      <a:pos x="72" y="112"/>
                    </a:cxn>
                    <a:cxn ang="0">
                      <a:pos x="4" y="106"/>
                    </a:cxn>
                    <a:cxn ang="0">
                      <a:pos x="2" y="116"/>
                    </a:cxn>
                    <a:cxn ang="0">
                      <a:pos x="32" y="148"/>
                    </a:cxn>
                  </a:cxnLst>
                  <a:rect l="0" t="0" r="r" b="b"/>
                  <a:pathLst>
                    <a:path w="480" h="270">
                      <a:moveTo>
                        <a:pt x="54" y="164"/>
                      </a:moveTo>
                      <a:lnTo>
                        <a:pt x="54" y="164"/>
                      </a:lnTo>
                      <a:lnTo>
                        <a:pt x="66" y="172"/>
                      </a:lnTo>
                      <a:lnTo>
                        <a:pt x="78" y="174"/>
                      </a:lnTo>
                      <a:lnTo>
                        <a:pt x="88" y="172"/>
                      </a:lnTo>
                      <a:lnTo>
                        <a:pt x="98" y="170"/>
                      </a:lnTo>
                      <a:lnTo>
                        <a:pt x="108" y="164"/>
                      </a:lnTo>
                      <a:lnTo>
                        <a:pt x="110" y="166"/>
                      </a:lnTo>
                      <a:lnTo>
                        <a:pt x="108" y="170"/>
                      </a:lnTo>
                      <a:lnTo>
                        <a:pt x="108" y="170"/>
                      </a:lnTo>
                      <a:lnTo>
                        <a:pt x="108" y="172"/>
                      </a:lnTo>
                      <a:lnTo>
                        <a:pt x="110" y="174"/>
                      </a:lnTo>
                      <a:lnTo>
                        <a:pt x="116" y="176"/>
                      </a:lnTo>
                      <a:lnTo>
                        <a:pt x="142" y="168"/>
                      </a:lnTo>
                      <a:lnTo>
                        <a:pt x="168" y="162"/>
                      </a:lnTo>
                      <a:lnTo>
                        <a:pt x="176" y="164"/>
                      </a:lnTo>
                      <a:lnTo>
                        <a:pt x="176" y="164"/>
                      </a:lnTo>
                      <a:lnTo>
                        <a:pt x="176" y="168"/>
                      </a:lnTo>
                      <a:lnTo>
                        <a:pt x="176" y="168"/>
                      </a:lnTo>
                      <a:lnTo>
                        <a:pt x="174" y="172"/>
                      </a:lnTo>
                      <a:lnTo>
                        <a:pt x="170" y="174"/>
                      </a:lnTo>
                      <a:lnTo>
                        <a:pt x="158" y="180"/>
                      </a:lnTo>
                      <a:lnTo>
                        <a:pt x="130" y="188"/>
                      </a:lnTo>
                      <a:lnTo>
                        <a:pt x="118" y="192"/>
                      </a:lnTo>
                      <a:lnTo>
                        <a:pt x="108" y="196"/>
                      </a:lnTo>
                      <a:lnTo>
                        <a:pt x="104" y="200"/>
                      </a:lnTo>
                      <a:lnTo>
                        <a:pt x="106" y="202"/>
                      </a:lnTo>
                      <a:lnTo>
                        <a:pt x="108" y="204"/>
                      </a:lnTo>
                      <a:lnTo>
                        <a:pt x="108" y="204"/>
                      </a:lnTo>
                      <a:lnTo>
                        <a:pt x="122" y="214"/>
                      </a:lnTo>
                      <a:lnTo>
                        <a:pt x="134" y="226"/>
                      </a:lnTo>
                      <a:lnTo>
                        <a:pt x="148" y="238"/>
                      </a:lnTo>
                      <a:lnTo>
                        <a:pt x="166" y="250"/>
                      </a:lnTo>
                      <a:lnTo>
                        <a:pt x="166" y="250"/>
                      </a:lnTo>
                      <a:lnTo>
                        <a:pt x="194" y="260"/>
                      </a:lnTo>
                      <a:lnTo>
                        <a:pt x="224" y="268"/>
                      </a:lnTo>
                      <a:lnTo>
                        <a:pt x="238" y="270"/>
                      </a:lnTo>
                      <a:lnTo>
                        <a:pt x="250" y="270"/>
                      </a:lnTo>
                      <a:lnTo>
                        <a:pt x="258" y="266"/>
                      </a:lnTo>
                      <a:lnTo>
                        <a:pt x="260" y="262"/>
                      </a:lnTo>
                      <a:lnTo>
                        <a:pt x="262" y="260"/>
                      </a:lnTo>
                      <a:lnTo>
                        <a:pt x="262" y="260"/>
                      </a:lnTo>
                      <a:lnTo>
                        <a:pt x="262" y="254"/>
                      </a:lnTo>
                      <a:lnTo>
                        <a:pt x="268" y="252"/>
                      </a:lnTo>
                      <a:lnTo>
                        <a:pt x="274" y="254"/>
                      </a:lnTo>
                      <a:lnTo>
                        <a:pt x="280" y="256"/>
                      </a:lnTo>
                      <a:lnTo>
                        <a:pt x="284" y="258"/>
                      </a:lnTo>
                      <a:lnTo>
                        <a:pt x="288" y="260"/>
                      </a:lnTo>
                      <a:lnTo>
                        <a:pt x="290" y="258"/>
                      </a:lnTo>
                      <a:lnTo>
                        <a:pt x="286" y="250"/>
                      </a:lnTo>
                      <a:lnTo>
                        <a:pt x="286" y="250"/>
                      </a:lnTo>
                      <a:lnTo>
                        <a:pt x="282" y="242"/>
                      </a:lnTo>
                      <a:lnTo>
                        <a:pt x="280" y="236"/>
                      </a:lnTo>
                      <a:lnTo>
                        <a:pt x="282" y="236"/>
                      </a:lnTo>
                      <a:lnTo>
                        <a:pt x="284" y="236"/>
                      </a:lnTo>
                      <a:lnTo>
                        <a:pt x="296" y="246"/>
                      </a:lnTo>
                      <a:lnTo>
                        <a:pt x="314" y="260"/>
                      </a:lnTo>
                      <a:lnTo>
                        <a:pt x="314" y="260"/>
                      </a:lnTo>
                      <a:lnTo>
                        <a:pt x="320" y="266"/>
                      </a:lnTo>
                      <a:lnTo>
                        <a:pt x="322" y="266"/>
                      </a:lnTo>
                      <a:lnTo>
                        <a:pt x="324" y="266"/>
                      </a:lnTo>
                      <a:lnTo>
                        <a:pt x="326" y="262"/>
                      </a:lnTo>
                      <a:lnTo>
                        <a:pt x="328" y="254"/>
                      </a:lnTo>
                      <a:lnTo>
                        <a:pt x="328" y="246"/>
                      </a:lnTo>
                      <a:lnTo>
                        <a:pt x="330" y="240"/>
                      </a:lnTo>
                      <a:lnTo>
                        <a:pt x="334" y="236"/>
                      </a:lnTo>
                      <a:lnTo>
                        <a:pt x="336" y="234"/>
                      </a:lnTo>
                      <a:lnTo>
                        <a:pt x="340" y="234"/>
                      </a:lnTo>
                      <a:lnTo>
                        <a:pt x="340" y="234"/>
                      </a:lnTo>
                      <a:lnTo>
                        <a:pt x="348" y="236"/>
                      </a:lnTo>
                      <a:lnTo>
                        <a:pt x="356" y="234"/>
                      </a:lnTo>
                      <a:lnTo>
                        <a:pt x="364" y="230"/>
                      </a:lnTo>
                      <a:lnTo>
                        <a:pt x="374" y="226"/>
                      </a:lnTo>
                      <a:lnTo>
                        <a:pt x="414" y="198"/>
                      </a:lnTo>
                      <a:lnTo>
                        <a:pt x="414" y="198"/>
                      </a:lnTo>
                      <a:lnTo>
                        <a:pt x="426" y="192"/>
                      </a:lnTo>
                      <a:lnTo>
                        <a:pt x="440" y="186"/>
                      </a:lnTo>
                      <a:lnTo>
                        <a:pt x="466" y="180"/>
                      </a:lnTo>
                      <a:lnTo>
                        <a:pt x="474" y="176"/>
                      </a:lnTo>
                      <a:lnTo>
                        <a:pt x="480" y="174"/>
                      </a:lnTo>
                      <a:lnTo>
                        <a:pt x="480" y="172"/>
                      </a:lnTo>
                      <a:lnTo>
                        <a:pt x="480" y="170"/>
                      </a:lnTo>
                      <a:lnTo>
                        <a:pt x="472" y="166"/>
                      </a:lnTo>
                      <a:lnTo>
                        <a:pt x="472" y="166"/>
                      </a:lnTo>
                      <a:lnTo>
                        <a:pt x="464" y="162"/>
                      </a:lnTo>
                      <a:lnTo>
                        <a:pt x="456" y="156"/>
                      </a:lnTo>
                      <a:lnTo>
                        <a:pt x="444" y="148"/>
                      </a:lnTo>
                      <a:lnTo>
                        <a:pt x="438" y="146"/>
                      </a:lnTo>
                      <a:lnTo>
                        <a:pt x="430" y="144"/>
                      </a:lnTo>
                      <a:lnTo>
                        <a:pt x="418" y="144"/>
                      </a:lnTo>
                      <a:lnTo>
                        <a:pt x="400" y="146"/>
                      </a:lnTo>
                      <a:lnTo>
                        <a:pt x="400" y="146"/>
                      </a:lnTo>
                      <a:lnTo>
                        <a:pt x="388" y="148"/>
                      </a:lnTo>
                      <a:lnTo>
                        <a:pt x="384" y="148"/>
                      </a:lnTo>
                      <a:lnTo>
                        <a:pt x="386" y="146"/>
                      </a:lnTo>
                      <a:lnTo>
                        <a:pt x="390" y="142"/>
                      </a:lnTo>
                      <a:lnTo>
                        <a:pt x="396" y="136"/>
                      </a:lnTo>
                      <a:lnTo>
                        <a:pt x="400" y="130"/>
                      </a:lnTo>
                      <a:lnTo>
                        <a:pt x="400" y="126"/>
                      </a:lnTo>
                      <a:lnTo>
                        <a:pt x="400" y="122"/>
                      </a:lnTo>
                      <a:lnTo>
                        <a:pt x="396" y="118"/>
                      </a:lnTo>
                      <a:lnTo>
                        <a:pt x="392" y="114"/>
                      </a:lnTo>
                      <a:lnTo>
                        <a:pt x="392" y="114"/>
                      </a:lnTo>
                      <a:lnTo>
                        <a:pt x="382" y="108"/>
                      </a:lnTo>
                      <a:lnTo>
                        <a:pt x="376" y="100"/>
                      </a:lnTo>
                      <a:lnTo>
                        <a:pt x="376" y="96"/>
                      </a:lnTo>
                      <a:lnTo>
                        <a:pt x="376" y="90"/>
                      </a:lnTo>
                      <a:lnTo>
                        <a:pt x="376" y="86"/>
                      </a:lnTo>
                      <a:lnTo>
                        <a:pt x="372" y="82"/>
                      </a:lnTo>
                      <a:lnTo>
                        <a:pt x="366" y="80"/>
                      </a:lnTo>
                      <a:lnTo>
                        <a:pt x="352" y="78"/>
                      </a:lnTo>
                      <a:lnTo>
                        <a:pt x="352" y="78"/>
                      </a:lnTo>
                      <a:lnTo>
                        <a:pt x="338" y="76"/>
                      </a:lnTo>
                      <a:lnTo>
                        <a:pt x="330" y="80"/>
                      </a:lnTo>
                      <a:lnTo>
                        <a:pt x="328" y="84"/>
                      </a:lnTo>
                      <a:lnTo>
                        <a:pt x="328" y="90"/>
                      </a:lnTo>
                      <a:lnTo>
                        <a:pt x="330" y="96"/>
                      </a:lnTo>
                      <a:lnTo>
                        <a:pt x="328" y="100"/>
                      </a:lnTo>
                      <a:lnTo>
                        <a:pt x="328" y="102"/>
                      </a:lnTo>
                      <a:lnTo>
                        <a:pt x="326" y="102"/>
                      </a:lnTo>
                      <a:lnTo>
                        <a:pt x="318" y="100"/>
                      </a:lnTo>
                      <a:lnTo>
                        <a:pt x="318" y="100"/>
                      </a:lnTo>
                      <a:lnTo>
                        <a:pt x="310" y="96"/>
                      </a:lnTo>
                      <a:lnTo>
                        <a:pt x="306" y="92"/>
                      </a:lnTo>
                      <a:lnTo>
                        <a:pt x="306" y="86"/>
                      </a:lnTo>
                      <a:lnTo>
                        <a:pt x="308" y="82"/>
                      </a:lnTo>
                      <a:lnTo>
                        <a:pt x="308" y="78"/>
                      </a:lnTo>
                      <a:lnTo>
                        <a:pt x="306" y="74"/>
                      </a:lnTo>
                      <a:lnTo>
                        <a:pt x="298" y="70"/>
                      </a:lnTo>
                      <a:lnTo>
                        <a:pt x="284" y="70"/>
                      </a:lnTo>
                      <a:lnTo>
                        <a:pt x="284" y="70"/>
                      </a:lnTo>
                      <a:lnTo>
                        <a:pt x="274" y="68"/>
                      </a:lnTo>
                      <a:lnTo>
                        <a:pt x="266" y="66"/>
                      </a:lnTo>
                      <a:lnTo>
                        <a:pt x="248" y="56"/>
                      </a:lnTo>
                      <a:lnTo>
                        <a:pt x="212" y="32"/>
                      </a:lnTo>
                      <a:lnTo>
                        <a:pt x="192" y="20"/>
                      </a:lnTo>
                      <a:lnTo>
                        <a:pt x="170" y="10"/>
                      </a:lnTo>
                      <a:lnTo>
                        <a:pt x="158" y="6"/>
                      </a:lnTo>
                      <a:lnTo>
                        <a:pt x="146" y="2"/>
                      </a:lnTo>
                      <a:lnTo>
                        <a:pt x="134" y="0"/>
                      </a:lnTo>
                      <a:lnTo>
                        <a:pt x="118" y="0"/>
                      </a:lnTo>
                      <a:lnTo>
                        <a:pt x="118" y="0"/>
                      </a:lnTo>
                      <a:lnTo>
                        <a:pt x="104" y="2"/>
                      </a:lnTo>
                      <a:lnTo>
                        <a:pt x="100" y="4"/>
                      </a:lnTo>
                      <a:lnTo>
                        <a:pt x="100" y="6"/>
                      </a:lnTo>
                      <a:lnTo>
                        <a:pt x="102" y="10"/>
                      </a:lnTo>
                      <a:lnTo>
                        <a:pt x="108" y="14"/>
                      </a:lnTo>
                      <a:lnTo>
                        <a:pt x="112" y="20"/>
                      </a:lnTo>
                      <a:lnTo>
                        <a:pt x="114" y="24"/>
                      </a:lnTo>
                      <a:lnTo>
                        <a:pt x="114" y="24"/>
                      </a:lnTo>
                      <a:lnTo>
                        <a:pt x="110" y="26"/>
                      </a:lnTo>
                      <a:lnTo>
                        <a:pt x="98" y="28"/>
                      </a:lnTo>
                      <a:lnTo>
                        <a:pt x="98" y="28"/>
                      </a:lnTo>
                      <a:lnTo>
                        <a:pt x="82" y="28"/>
                      </a:lnTo>
                      <a:lnTo>
                        <a:pt x="70" y="30"/>
                      </a:lnTo>
                      <a:lnTo>
                        <a:pt x="66" y="32"/>
                      </a:lnTo>
                      <a:lnTo>
                        <a:pt x="64" y="36"/>
                      </a:lnTo>
                      <a:lnTo>
                        <a:pt x="58" y="48"/>
                      </a:lnTo>
                      <a:lnTo>
                        <a:pt x="58" y="48"/>
                      </a:lnTo>
                      <a:lnTo>
                        <a:pt x="54" y="54"/>
                      </a:lnTo>
                      <a:lnTo>
                        <a:pt x="52" y="58"/>
                      </a:lnTo>
                      <a:lnTo>
                        <a:pt x="42" y="64"/>
                      </a:lnTo>
                      <a:lnTo>
                        <a:pt x="32" y="72"/>
                      </a:lnTo>
                      <a:lnTo>
                        <a:pt x="26" y="76"/>
                      </a:lnTo>
                      <a:lnTo>
                        <a:pt x="20" y="84"/>
                      </a:lnTo>
                      <a:lnTo>
                        <a:pt x="20" y="84"/>
                      </a:lnTo>
                      <a:lnTo>
                        <a:pt x="18" y="88"/>
                      </a:lnTo>
                      <a:lnTo>
                        <a:pt x="18" y="92"/>
                      </a:lnTo>
                      <a:lnTo>
                        <a:pt x="20" y="94"/>
                      </a:lnTo>
                      <a:lnTo>
                        <a:pt x="24" y="96"/>
                      </a:lnTo>
                      <a:lnTo>
                        <a:pt x="34" y="98"/>
                      </a:lnTo>
                      <a:lnTo>
                        <a:pt x="50" y="100"/>
                      </a:lnTo>
                      <a:lnTo>
                        <a:pt x="78" y="102"/>
                      </a:lnTo>
                      <a:lnTo>
                        <a:pt x="86" y="102"/>
                      </a:lnTo>
                      <a:lnTo>
                        <a:pt x="88" y="102"/>
                      </a:lnTo>
                      <a:lnTo>
                        <a:pt x="90" y="104"/>
                      </a:lnTo>
                      <a:lnTo>
                        <a:pt x="90" y="104"/>
                      </a:lnTo>
                      <a:lnTo>
                        <a:pt x="86" y="108"/>
                      </a:lnTo>
                      <a:lnTo>
                        <a:pt x="82" y="110"/>
                      </a:lnTo>
                      <a:lnTo>
                        <a:pt x="72" y="112"/>
                      </a:lnTo>
                      <a:lnTo>
                        <a:pt x="58" y="112"/>
                      </a:lnTo>
                      <a:lnTo>
                        <a:pt x="42" y="110"/>
                      </a:lnTo>
                      <a:lnTo>
                        <a:pt x="14" y="106"/>
                      </a:lnTo>
                      <a:lnTo>
                        <a:pt x="4" y="106"/>
                      </a:lnTo>
                      <a:lnTo>
                        <a:pt x="2" y="108"/>
                      </a:lnTo>
                      <a:lnTo>
                        <a:pt x="0" y="110"/>
                      </a:lnTo>
                      <a:lnTo>
                        <a:pt x="0" y="110"/>
                      </a:lnTo>
                      <a:lnTo>
                        <a:pt x="2" y="116"/>
                      </a:lnTo>
                      <a:lnTo>
                        <a:pt x="4" y="122"/>
                      </a:lnTo>
                      <a:lnTo>
                        <a:pt x="8" y="128"/>
                      </a:lnTo>
                      <a:lnTo>
                        <a:pt x="14" y="134"/>
                      </a:lnTo>
                      <a:lnTo>
                        <a:pt x="32" y="148"/>
                      </a:lnTo>
                      <a:lnTo>
                        <a:pt x="54" y="164"/>
                      </a:lnTo>
                      <a:lnTo>
                        <a:pt x="54" y="164"/>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68" name="Freeform 6088">
                  <a:extLst>
                    <a:ext uri="{FF2B5EF4-FFF2-40B4-BE49-F238E27FC236}">
                      <a16:creationId xmlns:a16="http://schemas.microsoft.com/office/drawing/2014/main" id="{03979F62-9E66-5DC6-A876-75F1E32D2E36}"/>
                    </a:ext>
                  </a:extLst>
                </p:cNvPr>
                <p:cNvSpPr>
                  <a:spLocks/>
                </p:cNvSpPr>
                <p:nvPr/>
              </p:nvSpPr>
              <p:spPr bwMode="auto">
                <a:xfrm>
                  <a:off x="2100580" y="1206183"/>
                  <a:ext cx="734060" cy="539750"/>
                </a:xfrm>
                <a:custGeom>
                  <a:avLst/>
                  <a:gdLst/>
                  <a:ahLst/>
                  <a:cxnLst>
                    <a:cxn ang="0">
                      <a:pos x="1088" y="504"/>
                    </a:cxn>
                    <a:cxn ang="0">
                      <a:pos x="1060" y="480"/>
                    </a:cxn>
                    <a:cxn ang="0">
                      <a:pos x="960" y="426"/>
                    </a:cxn>
                    <a:cxn ang="0">
                      <a:pos x="890" y="396"/>
                    </a:cxn>
                    <a:cxn ang="0">
                      <a:pos x="890" y="348"/>
                    </a:cxn>
                    <a:cxn ang="0">
                      <a:pos x="926" y="328"/>
                    </a:cxn>
                    <a:cxn ang="0">
                      <a:pos x="926" y="298"/>
                    </a:cxn>
                    <a:cxn ang="0">
                      <a:pos x="846" y="276"/>
                    </a:cxn>
                    <a:cxn ang="0">
                      <a:pos x="844" y="232"/>
                    </a:cxn>
                    <a:cxn ang="0">
                      <a:pos x="782" y="204"/>
                    </a:cxn>
                    <a:cxn ang="0">
                      <a:pos x="706" y="174"/>
                    </a:cxn>
                    <a:cxn ang="0">
                      <a:pos x="642" y="134"/>
                    </a:cxn>
                    <a:cxn ang="0">
                      <a:pos x="560" y="98"/>
                    </a:cxn>
                    <a:cxn ang="0">
                      <a:pos x="462" y="112"/>
                    </a:cxn>
                    <a:cxn ang="0">
                      <a:pos x="404" y="110"/>
                    </a:cxn>
                    <a:cxn ang="0">
                      <a:pos x="388" y="90"/>
                    </a:cxn>
                    <a:cxn ang="0">
                      <a:pos x="352" y="18"/>
                    </a:cxn>
                    <a:cxn ang="0">
                      <a:pos x="200" y="50"/>
                    </a:cxn>
                    <a:cxn ang="0">
                      <a:pos x="174" y="84"/>
                    </a:cxn>
                    <a:cxn ang="0">
                      <a:pos x="168" y="138"/>
                    </a:cxn>
                    <a:cxn ang="0">
                      <a:pos x="222" y="180"/>
                    </a:cxn>
                    <a:cxn ang="0">
                      <a:pos x="150" y="122"/>
                    </a:cxn>
                    <a:cxn ang="0">
                      <a:pos x="188" y="26"/>
                    </a:cxn>
                    <a:cxn ang="0">
                      <a:pos x="116" y="8"/>
                    </a:cxn>
                    <a:cxn ang="0">
                      <a:pos x="18" y="90"/>
                    </a:cxn>
                    <a:cxn ang="0">
                      <a:pos x="58" y="196"/>
                    </a:cxn>
                    <a:cxn ang="0">
                      <a:pos x="40" y="216"/>
                    </a:cxn>
                    <a:cxn ang="0">
                      <a:pos x="118" y="270"/>
                    </a:cxn>
                    <a:cxn ang="0">
                      <a:pos x="234" y="288"/>
                    </a:cxn>
                    <a:cxn ang="0">
                      <a:pos x="336" y="290"/>
                    </a:cxn>
                    <a:cxn ang="0">
                      <a:pos x="358" y="284"/>
                    </a:cxn>
                    <a:cxn ang="0">
                      <a:pos x="462" y="284"/>
                    </a:cxn>
                    <a:cxn ang="0">
                      <a:pos x="498" y="274"/>
                    </a:cxn>
                    <a:cxn ang="0">
                      <a:pos x="580" y="338"/>
                    </a:cxn>
                    <a:cxn ang="0">
                      <a:pos x="538" y="376"/>
                    </a:cxn>
                    <a:cxn ang="0">
                      <a:pos x="654" y="402"/>
                    </a:cxn>
                    <a:cxn ang="0">
                      <a:pos x="712" y="474"/>
                    </a:cxn>
                    <a:cxn ang="0">
                      <a:pos x="640" y="558"/>
                    </a:cxn>
                    <a:cxn ang="0">
                      <a:pos x="628" y="608"/>
                    </a:cxn>
                    <a:cxn ang="0">
                      <a:pos x="510" y="624"/>
                    </a:cxn>
                    <a:cxn ang="0">
                      <a:pos x="514" y="688"/>
                    </a:cxn>
                    <a:cxn ang="0">
                      <a:pos x="616" y="688"/>
                    </a:cxn>
                    <a:cxn ang="0">
                      <a:pos x="656" y="674"/>
                    </a:cxn>
                    <a:cxn ang="0">
                      <a:pos x="736" y="724"/>
                    </a:cxn>
                    <a:cxn ang="0">
                      <a:pos x="732" y="752"/>
                    </a:cxn>
                    <a:cxn ang="0">
                      <a:pos x="854" y="818"/>
                    </a:cxn>
                    <a:cxn ang="0">
                      <a:pos x="966" y="822"/>
                    </a:cxn>
                    <a:cxn ang="0">
                      <a:pos x="854" y="724"/>
                    </a:cxn>
                    <a:cxn ang="0">
                      <a:pos x="908" y="744"/>
                    </a:cxn>
                    <a:cxn ang="0">
                      <a:pos x="1012" y="814"/>
                    </a:cxn>
                    <a:cxn ang="0">
                      <a:pos x="1018" y="766"/>
                    </a:cxn>
                    <a:cxn ang="0">
                      <a:pos x="1022" y="724"/>
                    </a:cxn>
                    <a:cxn ang="0">
                      <a:pos x="1000" y="694"/>
                    </a:cxn>
                    <a:cxn ang="0">
                      <a:pos x="942" y="632"/>
                    </a:cxn>
                    <a:cxn ang="0">
                      <a:pos x="890" y="586"/>
                    </a:cxn>
                    <a:cxn ang="0">
                      <a:pos x="902" y="544"/>
                    </a:cxn>
                    <a:cxn ang="0">
                      <a:pos x="942" y="544"/>
                    </a:cxn>
                    <a:cxn ang="0">
                      <a:pos x="990" y="580"/>
                    </a:cxn>
                    <a:cxn ang="0">
                      <a:pos x="1070" y="648"/>
                    </a:cxn>
                    <a:cxn ang="0">
                      <a:pos x="1102" y="596"/>
                    </a:cxn>
                    <a:cxn ang="0">
                      <a:pos x="1128" y="568"/>
                    </a:cxn>
                    <a:cxn ang="0">
                      <a:pos x="1148" y="514"/>
                    </a:cxn>
                  </a:cxnLst>
                  <a:rect l="0" t="0" r="r" b="b"/>
                  <a:pathLst>
                    <a:path w="1156" h="850">
                      <a:moveTo>
                        <a:pt x="1148" y="514"/>
                      </a:moveTo>
                      <a:lnTo>
                        <a:pt x="1148" y="514"/>
                      </a:lnTo>
                      <a:lnTo>
                        <a:pt x="1144" y="506"/>
                      </a:lnTo>
                      <a:lnTo>
                        <a:pt x="1138" y="502"/>
                      </a:lnTo>
                      <a:lnTo>
                        <a:pt x="1134" y="500"/>
                      </a:lnTo>
                      <a:lnTo>
                        <a:pt x="1128" y="498"/>
                      </a:lnTo>
                      <a:lnTo>
                        <a:pt x="1116" y="498"/>
                      </a:lnTo>
                      <a:lnTo>
                        <a:pt x="1106" y="502"/>
                      </a:lnTo>
                      <a:lnTo>
                        <a:pt x="1096" y="506"/>
                      </a:lnTo>
                      <a:lnTo>
                        <a:pt x="1090" y="508"/>
                      </a:lnTo>
                      <a:lnTo>
                        <a:pt x="1088" y="506"/>
                      </a:lnTo>
                      <a:lnTo>
                        <a:pt x="1088" y="504"/>
                      </a:lnTo>
                      <a:lnTo>
                        <a:pt x="1090" y="496"/>
                      </a:lnTo>
                      <a:lnTo>
                        <a:pt x="1090" y="496"/>
                      </a:lnTo>
                      <a:lnTo>
                        <a:pt x="1092" y="486"/>
                      </a:lnTo>
                      <a:lnTo>
                        <a:pt x="1090" y="482"/>
                      </a:lnTo>
                      <a:lnTo>
                        <a:pt x="1088" y="480"/>
                      </a:lnTo>
                      <a:lnTo>
                        <a:pt x="1084" y="480"/>
                      </a:lnTo>
                      <a:lnTo>
                        <a:pt x="1076" y="482"/>
                      </a:lnTo>
                      <a:lnTo>
                        <a:pt x="1062" y="486"/>
                      </a:lnTo>
                      <a:lnTo>
                        <a:pt x="1060" y="486"/>
                      </a:lnTo>
                      <a:lnTo>
                        <a:pt x="1058" y="486"/>
                      </a:lnTo>
                      <a:lnTo>
                        <a:pt x="1060" y="480"/>
                      </a:lnTo>
                      <a:lnTo>
                        <a:pt x="1060" y="480"/>
                      </a:lnTo>
                      <a:lnTo>
                        <a:pt x="1062" y="472"/>
                      </a:lnTo>
                      <a:lnTo>
                        <a:pt x="1062" y="466"/>
                      </a:lnTo>
                      <a:lnTo>
                        <a:pt x="1060" y="462"/>
                      </a:lnTo>
                      <a:lnTo>
                        <a:pt x="1056" y="458"/>
                      </a:lnTo>
                      <a:lnTo>
                        <a:pt x="1042" y="450"/>
                      </a:lnTo>
                      <a:lnTo>
                        <a:pt x="1022" y="436"/>
                      </a:lnTo>
                      <a:lnTo>
                        <a:pt x="1022" y="436"/>
                      </a:lnTo>
                      <a:lnTo>
                        <a:pt x="1010" y="430"/>
                      </a:lnTo>
                      <a:lnTo>
                        <a:pt x="996" y="428"/>
                      </a:lnTo>
                      <a:lnTo>
                        <a:pt x="984" y="426"/>
                      </a:lnTo>
                      <a:lnTo>
                        <a:pt x="970" y="426"/>
                      </a:lnTo>
                      <a:lnTo>
                        <a:pt x="960" y="426"/>
                      </a:lnTo>
                      <a:lnTo>
                        <a:pt x="950" y="424"/>
                      </a:lnTo>
                      <a:lnTo>
                        <a:pt x="944" y="420"/>
                      </a:lnTo>
                      <a:lnTo>
                        <a:pt x="942" y="416"/>
                      </a:lnTo>
                      <a:lnTo>
                        <a:pt x="940" y="410"/>
                      </a:lnTo>
                      <a:lnTo>
                        <a:pt x="940" y="410"/>
                      </a:lnTo>
                      <a:lnTo>
                        <a:pt x="938" y="406"/>
                      </a:lnTo>
                      <a:lnTo>
                        <a:pt x="936" y="402"/>
                      </a:lnTo>
                      <a:lnTo>
                        <a:pt x="930" y="400"/>
                      </a:lnTo>
                      <a:lnTo>
                        <a:pt x="926" y="398"/>
                      </a:lnTo>
                      <a:lnTo>
                        <a:pt x="914" y="396"/>
                      </a:lnTo>
                      <a:lnTo>
                        <a:pt x="900" y="396"/>
                      </a:lnTo>
                      <a:lnTo>
                        <a:pt x="890" y="396"/>
                      </a:lnTo>
                      <a:lnTo>
                        <a:pt x="882" y="394"/>
                      </a:lnTo>
                      <a:lnTo>
                        <a:pt x="882" y="394"/>
                      </a:lnTo>
                      <a:lnTo>
                        <a:pt x="882" y="392"/>
                      </a:lnTo>
                      <a:lnTo>
                        <a:pt x="890" y="384"/>
                      </a:lnTo>
                      <a:lnTo>
                        <a:pt x="890" y="384"/>
                      </a:lnTo>
                      <a:lnTo>
                        <a:pt x="896" y="380"/>
                      </a:lnTo>
                      <a:lnTo>
                        <a:pt x="900" y="376"/>
                      </a:lnTo>
                      <a:lnTo>
                        <a:pt x="902" y="372"/>
                      </a:lnTo>
                      <a:lnTo>
                        <a:pt x="902" y="366"/>
                      </a:lnTo>
                      <a:lnTo>
                        <a:pt x="900" y="360"/>
                      </a:lnTo>
                      <a:lnTo>
                        <a:pt x="894" y="352"/>
                      </a:lnTo>
                      <a:lnTo>
                        <a:pt x="890" y="348"/>
                      </a:lnTo>
                      <a:lnTo>
                        <a:pt x="888" y="344"/>
                      </a:lnTo>
                      <a:lnTo>
                        <a:pt x="890" y="344"/>
                      </a:lnTo>
                      <a:lnTo>
                        <a:pt x="902" y="346"/>
                      </a:lnTo>
                      <a:lnTo>
                        <a:pt x="902" y="346"/>
                      </a:lnTo>
                      <a:lnTo>
                        <a:pt x="916" y="348"/>
                      </a:lnTo>
                      <a:lnTo>
                        <a:pt x="928" y="348"/>
                      </a:lnTo>
                      <a:lnTo>
                        <a:pt x="938" y="346"/>
                      </a:lnTo>
                      <a:lnTo>
                        <a:pt x="942" y="342"/>
                      </a:lnTo>
                      <a:lnTo>
                        <a:pt x="944" y="340"/>
                      </a:lnTo>
                      <a:lnTo>
                        <a:pt x="944" y="338"/>
                      </a:lnTo>
                      <a:lnTo>
                        <a:pt x="938" y="334"/>
                      </a:lnTo>
                      <a:lnTo>
                        <a:pt x="926" y="328"/>
                      </a:lnTo>
                      <a:lnTo>
                        <a:pt x="906" y="324"/>
                      </a:lnTo>
                      <a:lnTo>
                        <a:pt x="906" y="324"/>
                      </a:lnTo>
                      <a:lnTo>
                        <a:pt x="876" y="318"/>
                      </a:lnTo>
                      <a:lnTo>
                        <a:pt x="876" y="318"/>
                      </a:lnTo>
                      <a:lnTo>
                        <a:pt x="876" y="318"/>
                      </a:lnTo>
                      <a:lnTo>
                        <a:pt x="880" y="316"/>
                      </a:lnTo>
                      <a:lnTo>
                        <a:pt x="900" y="312"/>
                      </a:lnTo>
                      <a:lnTo>
                        <a:pt x="910" y="308"/>
                      </a:lnTo>
                      <a:lnTo>
                        <a:pt x="920" y="304"/>
                      </a:lnTo>
                      <a:lnTo>
                        <a:pt x="920" y="304"/>
                      </a:lnTo>
                      <a:lnTo>
                        <a:pt x="924" y="300"/>
                      </a:lnTo>
                      <a:lnTo>
                        <a:pt x="926" y="298"/>
                      </a:lnTo>
                      <a:lnTo>
                        <a:pt x="926" y="294"/>
                      </a:lnTo>
                      <a:lnTo>
                        <a:pt x="926" y="290"/>
                      </a:lnTo>
                      <a:lnTo>
                        <a:pt x="922" y="284"/>
                      </a:lnTo>
                      <a:lnTo>
                        <a:pt x="914" y="278"/>
                      </a:lnTo>
                      <a:lnTo>
                        <a:pt x="904" y="272"/>
                      </a:lnTo>
                      <a:lnTo>
                        <a:pt x="894" y="268"/>
                      </a:lnTo>
                      <a:lnTo>
                        <a:pt x="886" y="268"/>
                      </a:lnTo>
                      <a:lnTo>
                        <a:pt x="880" y="270"/>
                      </a:lnTo>
                      <a:lnTo>
                        <a:pt x="880" y="270"/>
                      </a:lnTo>
                      <a:lnTo>
                        <a:pt x="872" y="274"/>
                      </a:lnTo>
                      <a:lnTo>
                        <a:pt x="864" y="276"/>
                      </a:lnTo>
                      <a:lnTo>
                        <a:pt x="846" y="276"/>
                      </a:lnTo>
                      <a:lnTo>
                        <a:pt x="842" y="276"/>
                      </a:lnTo>
                      <a:lnTo>
                        <a:pt x="840" y="274"/>
                      </a:lnTo>
                      <a:lnTo>
                        <a:pt x="842" y="270"/>
                      </a:lnTo>
                      <a:lnTo>
                        <a:pt x="852" y="266"/>
                      </a:lnTo>
                      <a:lnTo>
                        <a:pt x="852" y="266"/>
                      </a:lnTo>
                      <a:lnTo>
                        <a:pt x="874" y="258"/>
                      </a:lnTo>
                      <a:lnTo>
                        <a:pt x="880" y="254"/>
                      </a:lnTo>
                      <a:lnTo>
                        <a:pt x="882" y="252"/>
                      </a:lnTo>
                      <a:lnTo>
                        <a:pt x="878" y="248"/>
                      </a:lnTo>
                      <a:lnTo>
                        <a:pt x="872" y="244"/>
                      </a:lnTo>
                      <a:lnTo>
                        <a:pt x="844" y="232"/>
                      </a:lnTo>
                      <a:lnTo>
                        <a:pt x="844" y="232"/>
                      </a:lnTo>
                      <a:lnTo>
                        <a:pt x="826" y="226"/>
                      </a:lnTo>
                      <a:lnTo>
                        <a:pt x="812" y="226"/>
                      </a:lnTo>
                      <a:lnTo>
                        <a:pt x="802" y="228"/>
                      </a:lnTo>
                      <a:lnTo>
                        <a:pt x="794" y="230"/>
                      </a:lnTo>
                      <a:lnTo>
                        <a:pt x="790" y="232"/>
                      </a:lnTo>
                      <a:lnTo>
                        <a:pt x="786" y="232"/>
                      </a:lnTo>
                      <a:lnTo>
                        <a:pt x="786" y="230"/>
                      </a:lnTo>
                      <a:lnTo>
                        <a:pt x="786" y="220"/>
                      </a:lnTo>
                      <a:lnTo>
                        <a:pt x="786" y="220"/>
                      </a:lnTo>
                      <a:lnTo>
                        <a:pt x="788" y="210"/>
                      </a:lnTo>
                      <a:lnTo>
                        <a:pt x="784" y="206"/>
                      </a:lnTo>
                      <a:lnTo>
                        <a:pt x="782" y="204"/>
                      </a:lnTo>
                      <a:lnTo>
                        <a:pt x="776" y="204"/>
                      </a:lnTo>
                      <a:lnTo>
                        <a:pt x="768" y="206"/>
                      </a:lnTo>
                      <a:lnTo>
                        <a:pt x="764" y="204"/>
                      </a:lnTo>
                      <a:lnTo>
                        <a:pt x="762" y="198"/>
                      </a:lnTo>
                      <a:lnTo>
                        <a:pt x="762" y="198"/>
                      </a:lnTo>
                      <a:lnTo>
                        <a:pt x="762" y="190"/>
                      </a:lnTo>
                      <a:lnTo>
                        <a:pt x="756" y="184"/>
                      </a:lnTo>
                      <a:lnTo>
                        <a:pt x="748" y="178"/>
                      </a:lnTo>
                      <a:lnTo>
                        <a:pt x="738" y="174"/>
                      </a:lnTo>
                      <a:lnTo>
                        <a:pt x="728" y="170"/>
                      </a:lnTo>
                      <a:lnTo>
                        <a:pt x="716" y="170"/>
                      </a:lnTo>
                      <a:lnTo>
                        <a:pt x="706" y="174"/>
                      </a:lnTo>
                      <a:lnTo>
                        <a:pt x="696" y="182"/>
                      </a:lnTo>
                      <a:lnTo>
                        <a:pt x="696" y="182"/>
                      </a:lnTo>
                      <a:lnTo>
                        <a:pt x="686" y="190"/>
                      </a:lnTo>
                      <a:lnTo>
                        <a:pt x="680" y="192"/>
                      </a:lnTo>
                      <a:lnTo>
                        <a:pt x="674" y="190"/>
                      </a:lnTo>
                      <a:lnTo>
                        <a:pt x="670" y="186"/>
                      </a:lnTo>
                      <a:lnTo>
                        <a:pt x="666" y="178"/>
                      </a:lnTo>
                      <a:lnTo>
                        <a:pt x="662" y="168"/>
                      </a:lnTo>
                      <a:lnTo>
                        <a:pt x="652" y="148"/>
                      </a:lnTo>
                      <a:lnTo>
                        <a:pt x="652" y="148"/>
                      </a:lnTo>
                      <a:lnTo>
                        <a:pt x="648" y="138"/>
                      </a:lnTo>
                      <a:lnTo>
                        <a:pt x="642" y="134"/>
                      </a:lnTo>
                      <a:lnTo>
                        <a:pt x="638" y="134"/>
                      </a:lnTo>
                      <a:lnTo>
                        <a:pt x="632" y="134"/>
                      </a:lnTo>
                      <a:lnTo>
                        <a:pt x="628" y="134"/>
                      </a:lnTo>
                      <a:lnTo>
                        <a:pt x="622" y="134"/>
                      </a:lnTo>
                      <a:lnTo>
                        <a:pt x="616" y="128"/>
                      </a:lnTo>
                      <a:lnTo>
                        <a:pt x="610" y="120"/>
                      </a:lnTo>
                      <a:lnTo>
                        <a:pt x="610" y="120"/>
                      </a:lnTo>
                      <a:lnTo>
                        <a:pt x="602" y="110"/>
                      </a:lnTo>
                      <a:lnTo>
                        <a:pt x="594" y="104"/>
                      </a:lnTo>
                      <a:lnTo>
                        <a:pt x="586" y="100"/>
                      </a:lnTo>
                      <a:lnTo>
                        <a:pt x="578" y="100"/>
                      </a:lnTo>
                      <a:lnTo>
                        <a:pt x="560" y="98"/>
                      </a:lnTo>
                      <a:lnTo>
                        <a:pt x="552" y="98"/>
                      </a:lnTo>
                      <a:lnTo>
                        <a:pt x="546" y="94"/>
                      </a:lnTo>
                      <a:lnTo>
                        <a:pt x="546" y="94"/>
                      </a:lnTo>
                      <a:lnTo>
                        <a:pt x="528" y="88"/>
                      </a:lnTo>
                      <a:lnTo>
                        <a:pt x="518" y="84"/>
                      </a:lnTo>
                      <a:lnTo>
                        <a:pt x="506" y="82"/>
                      </a:lnTo>
                      <a:lnTo>
                        <a:pt x="494" y="84"/>
                      </a:lnTo>
                      <a:lnTo>
                        <a:pt x="484" y="88"/>
                      </a:lnTo>
                      <a:lnTo>
                        <a:pt x="474" y="94"/>
                      </a:lnTo>
                      <a:lnTo>
                        <a:pt x="466" y="106"/>
                      </a:lnTo>
                      <a:lnTo>
                        <a:pt x="466" y="106"/>
                      </a:lnTo>
                      <a:lnTo>
                        <a:pt x="462" y="112"/>
                      </a:lnTo>
                      <a:lnTo>
                        <a:pt x="460" y="116"/>
                      </a:lnTo>
                      <a:lnTo>
                        <a:pt x="456" y="118"/>
                      </a:lnTo>
                      <a:lnTo>
                        <a:pt x="452" y="118"/>
                      </a:lnTo>
                      <a:lnTo>
                        <a:pt x="444" y="116"/>
                      </a:lnTo>
                      <a:lnTo>
                        <a:pt x="436" y="112"/>
                      </a:lnTo>
                      <a:lnTo>
                        <a:pt x="428" y="106"/>
                      </a:lnTo>
                      <a:lnTo>
                        <a:pt x="420" y="104"/>
                      </a:lnTo>
                      <a:lnTo>
                        <a:pt x="416" y="102"/>
                      </a:lnTo>
                      <a:lnTo>
                        <a:pt x="412" y="104"/>
                      </a:lnTo>
                      <a:lnTo>
                        <a:pt x="408" y="106"/>
                      </a:lnTo>
                      <a:lnTo>
                        <a:pt x="404" y="110"/>
                      </a:lnTo>
                      <a:lnTo>
                        <a:pt x="404" y="110"/>
                      </a:lnTo>
                      <a:lnTo>
                        <a:pt x="396" y="118"/>
                      </a:lnTo>
                      <a:lnTo>
                        <a:pt x="388" y="124"/>
                      </a:lnTo>
                      <a:lnTo>
                        <a:pt x="380" y="130"/>
                      </a:lnTo>
                      <a:lnTo>
                        <a:pt x="376" y="132"/>
                      </a:lnTo>
                      <a:lnTo>
                        <a:pt x="372" y="132"/>
                      </a:lnTo>
                      <a:lnTo>
                        <a:pt x="370" y="130"/>
                      </a:lnTo>
                      <a:lnTo>
                        <a:pt x="372" y="126"/>
                      </a:lnTo>
                      <a:lnTo>
                        <a:pt x="376" y="118"/>
                      </a:lnTo>
                      <a:lnTo>
                        <a:pt x="376" y="118"/>
                      </a:lnTo>
                      <a:lnTo>
                        <a:pt x="382" y="110"/>
                      </a:lnTo>
                      <a:lnTo>
                        <a:pt x="386" y="100"/>
                      </a:lnTo>
                      <a:lnTo>
                        <a:pt x="388" y="90"/>
                      </a:lnTo>
                      <a:lnTo>
                        <a:pt x="388" y="82"/>
                      </a:lnTo>
                      <a:lnTo>
                        <a:pt x="386" y="72"/>
                      </a:lnTo>
                      <a:lnTo>
                        <a:pt x="382" y="64"/>
                      </a:lnTo>
                      <a:lnTo>
                        <a:pt x="376" y="58"/>
                      </a:lnTo>
                      <a:lnTo>
                        <a:pt x="368" y="54"/>
                      </a:lnTo>
                      <a:lnTo>
                        <a:pt x="368" y="54"/>
                      </a:lnTo>
                      <a:lnTo>
                        <a:pt x="360" y="50"/>
                      </a:lnTo>
                      <a:lnTo>
                        <a:pt x="356" y="44"/>
                      </a:lnTo>
                      <a:lnTo>
                        <a:pt x="356" y="38"/>
                      </a:lnTo>
                      <a:lnTo>
                        <a:pt x="354" y="32"/>
                      </a:lnTo>
                      <a:lnTo>
                        <a:pt x="354" y="24"/>
                      </a:lnTo>
                      <a:lnTo>
                        <a:pt x="352" y="18"/>
                      </a:lnTo>
                      <a:lnTo>
                        <a:pt x="346" y="14"/>
                      </a:lnTo>
                      <a:lnTo>
                        <a:pt x="338" y="12"/>
                      </a:lnTo>
                      <a:lnTo>
                        <a:pt x="338" y="12"/>
                      </a:lnTo>
                      <a:lnTo>
                        <a:pt x="326" y="10"/>
                      </a:lnTo>
                      <a:lnTo>
                        <a:pt x="306" y="12"/>
                      </a:lnTo>
                      <a:lnTo>
                        <a:pt x="282" y="14"/>
                      </a:lnTo>
                      <a:lnTo>
                        <a:pt x="260" y="18"/>
                      </a:lnTo>
                      <a:lnTo>
                        <a:pt x="236" y="24"/>
                      </a:lnTo>
                      <a:lnTo>
                        <a:pt x="218" y="32"/>
                      </a:lnTo>
                      <a:lnTo>
                        <a:pt x="210" y="38"/>
                      </a:lnTo>
                      <a:lnTo>
                        <a:pt x="204" y="44"/>
                      </a:lnTo>
                      <a:lnTo>
                        <a:pt x="200" y="50"/>
                      </a:lnTo>
                      <a:lnTo>
                        <a:pt x="198" y="56"/>
                      </a:lnTo>
                      <a:lnTo>
                        <a:pt x="198" y="56"/>
                      </a:lnTo>
                      <a:lnTo>
                        <a:pt x="198" y="62"/>
                      </a:lnTo>
                      <a:lnTo>
                        <a:pt x="196" y="66"/>
                      </a:lnTo>
                      <a:lnTo>
                        <a:pt x="194" y="68"/>
                      </a:lnTo>
                      <a:lnTo>
                        <a:pt x="192" y="70"/>
                      </a:lnTo>
                      <a:lnTo>
                        <a:pt x="186" y="72"/>
                      </a:lnTo>
                      <a:lnTo>
                        <a:pt x="178" y="70"/>
                      </a:lnTo>
                      <a:lnTo>
                        <a:pt x="174" y="72"/>
                      </a:lnTo>
                      <a:lnTo>
                        <a:pt x="172" y="72"/>
                      </a:lnTo>
                      <a:lnTo>
                        <a:pt x="172" y="74"/>
                      </a:lnTo>
                      <a:lnTo>
                        <a:pt x="174" y="84"/>
                      </a:lnTo>
                      <a:lnTo>
                        <a:pt x="182" y="100"/>
                      </a:lnTo>
                      <a:lnTo>
                        <a:pt x="182" y="100"/>
                      </a:lnTo>
                      <a:lnTo>
                        <a:pt x="188" y="116"/>
                      </a:lnTo>
                      <a:lnTo>
                        <a:pt x="188" y="122"/>
                      </a:lnTo>
                      <a:lnTo>
                        <a:pt x="188" y="126"/>
                      </a:lnTo>
                      <a:lnTo>
                        <a:pt x="188" y="130"/>
                      </a:lnTo>
                      <a:lnTo>
                        <a:pt x="184" y="130"/>
                      </a:lnTo>
                      <a:lnTo>
                        <a:pt x="180" y="132"/>
                      </a:lnTo>
                      <a:lnTo>
                        <a:pt x="174" y="132"/>
                      </a:lnTo>
                      <a:lnTo>
                        <a:pt x="168" y="134"/>
                      </a:lnTo>
                      <a:lnTo>
                        <a:pt x="168" y="136"/>
                      </a:lnTo>
                      <a:lnTo>
                        <a:pt x="168" y="138"/>
                      </a:lnTo>
                      <a:lnTo>
                        <a:pt x="174" y="148"/>
                      </a:lnTo>
                      <a:lnTo>
                        <a:pt x="174" y="148"/>
                      </a:lnTo>
                      <a:lnTo>
                        <a:pt x="184" y="158"/>
                      </a:lnTo>
                      <a:lnTo>
                        <a:pt x="192" y="164"/>
                      </a:lnTo>
                      <a:lnTo>
                        <a:pt x="200" y="166"/>
                      </a:lnTo>
                      <a:lnTo>
                        <a:pt x="208" y="166"/>
                      </a:lnTo>
                      <a:lnTo>
                        <a:pt x="212" y="164"/>
                      </a:lnTo>
                      <a:lnTo>
                        <a:pt x="218" y="166"/>
                      </a:lnTo>
                      <a:lnTo>
                        <a:pt x="220" y="168"/>
                      </a:lnTo>
                      <a:lnTo>
                        <a:pt x="222" y="176"/>
                      </a:lnTo>
                      <a:lnTo>
                        <a:pt x="222" y="176"/>
                      </a:lnTo>
                      <a:lnTo>
                        <a:pt x="222" y="180"/>
                      </a:lnTo>
                      <a:lnTo>
                        <a:pt x="220" y="182"/>
                      </a:lnTo>
                      <a:lnTo>
                        <a:pt x="216" y="184"/>
                      </a:lnTo>
                      <a:lnTo>
                        <a:pt x="210" y="184"/>
                      </a:lnTo>
                      <a:lnTo>
                        <a:pt x="196" y="180"/>
                      </a:lnTo>
                      <a:lnTo>
                        <a:pt x="180" y="174"/>
                      </a:lnTo>
                      <a:lnTo>
                        <a:pt x="164" y="164"/>
                      </a:lnTo>
                      <a:lnTo>
                        <a:pt x="152" y="150"/>
                      </a:lnTo>
                      <a:lnTo>
                        <a:pt x="148" y="144"/>
                      </a:lnTo>
                      <a:lnTo>
                        <a:pt x="146" y="136"/>
                      </a:lnTo>
                      <a:lnTo>
                        <a:pt x="146" y="130"/>
                      </a:lnTo>
                      <a:lnTo>
                        <a:pt x="150" y="122"/>
                      </a:lnTo>
                      <a:lnTo>
                        <a:pt x="150" y="122"/>
                      </a:lnTo>
                      <a:lnTo>
                        <a:pt x="154" y="110"/>
                      </a:lnTo>
                      <a:lnTo>
                        <a:pt x="152" y="102"/>
                      </a:lnTo>
                      <a:lnTo>
                        <a:pt x="150" y="98"/>
                      </a:lnTo>
                      <a:lnTo>
                        <a:pt x="144" y="94"/>
                      </a:lnTo>
                      <a:lnTo>
                        <a:pt x="142" y="90"/>
                      </a:lnTo>
                      <a:lnTo>
                        <a:pt x="140" y="84"/>
                      </a:lnTo>
                      <a:lnTo>
                        <a:pt x="144" y="74"/>
                      </a:lnTo>
                      <a:lnTo>
                        <a:pt x="154" y="60"/>
                      </a:lnTo>
                      <a:lnTo>
                        <a:pt x="154" y="60"/>
                      </a:lnTo>
                      <a:lnTo>
                        <a:pt x="168" y="44"/>
                      </a:lnTo>
                      <a:lnTo>
                        <a:pt x="180" y="34"/>
                      </a:lnTo>
                      <a:lnTo>
                        <a:pt x="188" y="26"/>
                      </a:lnTo>
                      <a:lnTo>
                        <a:pt x="198" y="22"/>
                      </a:lnTo>
                      <a:lnTo>
                        <a:pt x="208" y="16"/>
                      </a:lnTo>
                      <a:lnTo>
                        <a:pt x="212" y="14"/>
                      </a:lnTo>
                      <a:lnTo>
                        <a:pt x="212" y="10"/>
                      </a:lnTo>
                      <a:lnTo>
                        <a:pt x="212" y="10"/>
                      </a:lnTo>
                      <a:lnTo>
                        <a:pt x="212" y="8"/>
                      </a:lnTo>
                      <a:lnTo>
                        <a:pt x="210" y="6"/>
                      </a:lnTo>
                      <a:lnTo>
                        <a:pt x="200" y="2"/>
                      </a:lnTo>
                      <a:lnTo>
                        <a:pt x="184" y="0"/>
                      </a:lnTo>
                      <a:lnTo>
                        <a:pt x="164" y="0"/>
                      </a:lnTo>
                      <a:lnTo>
                        <a:pt x="140" y="2"/>
                      </a:lnTo>
                      <a:lnTo>
                        <a:pt x="116" y="8"/>
                      </a:lnTo>
                      <a:lnTo>
                        <a:pt x="92" y="16"/>
                      </a:lnTo>
                      <a:lnTo>
                        <a:pt x="70" y="26"/>
                      </a:lnTo>
                      <a:lnTo>
                        <a:pt x="70" y="26"/>
                      </a:lnTo>
                      <a:lnTo>
                        <a:pt x="52" y="38"/>
                      </a:lnTo>
                      <a:lnTo>
                        <a:pt x="40" y="48"/>
                      </a:lnTo>
                      <a:lnTo>
                        <a:pt x="34" y="56"/>
                      </a:lnTo>
                      <a:lnTo>
                        <a:pt x="32" y="62"/>
                      </a:lnTo>
                      <a:lnTo>
                        <a:pt x="30" y="72"/>
                      </a:lnTo>
                      <a:lnTo>
                        <a:pt x="28" y="76"/>
                      </a:lnTo>
                      <a:lnTo>
                        <a:pt x="24" y="82"/>
                      </a:lnTo>
                      <a:lnTo>
                        <a:pt x="24" y="82"/>
                      </a:lnTo>
                      <a:lnTo>
                        <a:pt x="18" y="90"/>
                      </a:lnTo>
                      <a:lnTo>
                        <a:pt x="14" y="96"/>
                      </a:lnTo>
                      <a:lnTo>
                        <a:pt x="8" y="112"/>
                      </a:lnTo>
                      <a:lnTo>
                        <a:pt x="4" y="132"/>
                      </a:lnTo>
                      <a:lnTo>
                        <a:pt x="2" y="156"/>
                      </a:lnTo>
                      <a:lnTo>
                        <a:pt x="2" y="156"/>
                      </a:lnTo>
                      <a:lnTo>
                        <a:pt x="0" y="168"/>
                      </a:lnTo>
                      <a:lnTo>
                        <a:pt x="0" y="178"/>
                      </a:lnTo>
                      <a:lnTo>
                        <a:pt x="2" y="184"/>
                      </a:lnTo>
                      <a:lnTo>
                        <a:pt x="8" y="188"/>
                      </a:lnTo>
                      <a:lnTo>
                        <a:pt x="14" y="192"/>
                      </a:lnTo>
                      <a:lnTo>
                        <a:pt x="26" y="194"/>
                      </a:lnTo>
                      <a:lnTo>
                        <a:pt x="58" y="196"/>
                      </a:lnTo>
                      <a:lnTo>
                        <a:pt x="58" y="196"/>
                      </a:lnTo>
                      <a:lnTo>
                        <a:pt x="76" y="200"/>
                      </a:lnTo>
                      <a:lnTo>
                        <a:pt x="90" y="202"/>
                      </a:lnTo>
                      <a:lnTo>
                        <a:pt x="100" y="208"/>
                      </a:lnTo>
                      <a:lnTo>
                        <a:pt x="106" y="212"/>
                      </a:lnTo>
                      <a:lnTo>
                        <a:pt x="106" y="216"/>
                      </a:lnTo>
                      <a:lnTo>
                        <a:pt x="102" y="218"/>
                      </a:lnTo>
                      <a:lnTo>
                        <a:pt x="94" y="220"/>
                      </a:lnTo>
                      <a:lnTo>
                        <a:pt x="78" y="218"/>
                      </a:lnTo>
                      <a:lnTo>
                        <a:pt x="78" y="218"/>
                      </a:lnTo>
                      <a:lnTo>
                        <a:pt x="50" y="216"/>
                      </a:lnTo>
                      <a:lnTo>
                        <a:pt x="40" y="216"/>
                      </a:lnTo>
                      <a:lnTo>
                        <a:pt x="32" y="218"/>
                      </a:lnTo>
                      <a:lnTo>
                        <a:pt x="32" y="220"/>
                      </a:lnTo>
                      <a:lnTo>
                        <a:pt x="30" y="222"/>
                      </a:lnTo>
                      <a:lnTo>
                        <a:pt x="32" y="228"/>
                      </a:lnTo>
                      <a:lnTo>
                        <a:pt x="40" y="238"/>
                      </a:lnTo>
                      <a:lnTo>
                        <a:pt x="52" y="250"/>
                      </a:lnTo>
                      <a:lnTo>
                        <a:pt x="52" y="250"/>
                      </a:lnTo>
                      <a:lnTo>
                        <a:pt x="68" y="262"/>
                      </a:lnTo>
                      <a:lnTo>
                        <a:pt x="82" y="268"/>
                      </a:lnTo>
                      <a:lnTo>
                        <a:pt x="94" y="270"/>
                      </a:lnTo>
                      <a:lnTo>
                        <a:pt x="106" y="270"/>
                      </a:lnTo>
                      <a:lnTo>
                        <a:pt x="118" y="270"/>
                      </a:lnTo>
                      <a:lnTo>
                        <a:pt x="130" y="270"/>
                      </a:lnTo>
                      <a:lnTo>
                        <a:pt x="142" y="272"/>
                      </a:lnTo>
                      <a:lnTo>
                        <a:pt x="152" y="278"/>
                      </a:lnTo>
                      <a:lnTo>
                        <a:pt x="152" y="278"/>
                      </a:lnTo>
                      <a:lnTo>
                        <a:pt x="162" y="284"/>
                      </a:lnTo>
                      <a:lnTo>
                        <a:pt x="174" y="288"/>
                      </a:lnTo>
                      <a:lnTo>
                        <a:pt x="184" y="290"/>
                      </a:lnTo>
                      <a:lnTo>
                        <a:pt x="194" y="288"/>
                      </a:lnTo>
                      <a:lnTo>
                        <a:pt x="208" y="286"/>
                      </a:lnTo>
                      <a:lnTo>
                        <a:pt x="218" y="286"/>
                      </a:lnTo>
                      <a:lnTo>
                        <a:pt x="218" y="286"/>
                      </a:lnTo>
                      <a:lnTo>
                        <a:pt x="234" y="288"/>
                      </a:lnTo>
                      <a:lnTo>
                        <a:pt x="244" y="290"/>
                      </a:lnTo>
                      <a:lnTo>
                        <a:pt x="260" y="290"/>
                      </a:lnTo>
                      <a:lnTo>
                        <a:pt x="268" y="290"/>
                      </a:lnTo>
                      <a:lnTo>
                        <a:pt x="276" y="290"/>
                      </a:lnTo>
                      <a:lnTo>
                        <a:pt x="288" y="292"/>
                      </a:lnTo>
                      <a:lnTo>
                        <a:pt x="304" y="296"/>
                      </a:lnTo>
                      <a:lnTo>
                        <a:pt x="304" y="296"/>
                      </a:lnTo>
                      <a:lnTo>
                        <a:pt x="316" y="300"/>
                      </a:lnTo>
                      <a:lnTo>
                        <a:pt x="324" y="298"/>
                      </a:lnTo>
                      <a:lnTo>
                        <a:pt x="328" y="296"/>
                      </a:lnTo>
                      <a:lnTo>
                        <a:pt x="332" y="292"/>
                      </a:lnTo>
                      <a:lnTo>
                        <a:pt x="336" y="290"/>
                      </a:lnTo>
                      <a:lnTo>
                        <a:pt x="340" y="290"/>
                      </a:lnTo>
                      <a:lnTo>
                        <a:pt x="346" y="292"/>
                      </a:lnTo>
                      <a:lnTo>
                        <a:pt x="356" y="298"/>
                      </a:lnTo>
                      <a:lnTo>
                        <a:pt x="356" y="298"/>
                      </a:lnTo>
                      <a:lnTo>
                        <a:pt x="374" y="312"/>
                      </a:lnTo>
                      <a:lnTo>
                        <a:pt x="378" y="314"/>
                      </a:lnTo>
                      <a:lnTo>
                        <a:pt x="380" y="312"/>
                      </a:lnTo>
                      <a:lnTo>
                        <a:pt x="378" y="310"/>
                      </a:lnTo>
                      <a:lnTo>
                        <a:pt x="376" y="306"/>
                      </a:lnTo>
                      <a:lnTo>
                        <a:pt x="362" y="292"/>
                      </a:lnTo>
                      <a:lnTo>
                        <a:pt x="362" y="292"/>
                      </a:lnTo>
                      <a:lnTo>
                        <a:pt x="358" y="284"/>
                      </a:lnTo>
                      <a:lnTo>
                        <a:pt x="358" y="282"/>
                      </a:lnTo>
                      <a:lnTo>
                        <a:pt x="360" y="282"/>
                      </a:lnTo>
                      <a:lnTo>
                        <a:pt x="368" y="282"/>
                      </a:lnTo>
                      <a:lnTo>
                        <a:pt x="380" y="284"/>
                      </a:lnTo>
                      <a:lnTo>
                        <a:pt x="410" y="290"/>
                      </a:lnTo>
                      <a:lnTo>
                        <a:pt x="444" y="296"/>
                      </a:lnTo>
                      <a:lnTo>
                        <a:pt x="444" y="296"/>
                      </a:lnTo>
                      <a:lnTo>
                        <a:pt x="450" y="296"/>
                      </a:lnTo>
                      <a:lnTo>
                        <a:pt x="454" y="296"/>
                      </a:lnTo>
                      <a:lnTo>
                        <a:pt x="458" y="294"/>
                      </a:lnTo>
                      <a:lnTo>
                        <a:pt x="460" y="290"/>
                      </a:lnTo>
                      <a:lnTo>
                        <a:pt x="462" y="284"/>
                      </a:lnTo>
                      <a:lnTo>
                        <a:pt x="460" y="274"/>
                      </a:lnTo>
                      <a:lnTo>
                        <a:pt x="456" y="260"/>
                      </a:lnTo>
                      <a:lnTo>
                        <a:pt x="456" y="260"/>
                      </a:lnTo>
                      <a:lnTo>
                        <a:pt x="458" y="260"/>
                      </a:lnTo>
                      <a:lnTo>
                        <a:pt x="464" y="264"/>
                      </a:lnTo>
                      <a:lnTo>
                        <a:pt x="464" y="264"/>
                      </a:lnTo>
                      <a:lnTo>
                        <a:pt x="472" y="270"/>
                      </a:lnTo>
                      <a:lnTo>
                        <a:pt x="478" y="272"/>
                      </a:lnTo>
                      <a:lnTo>
                        <a:pt x="484" y="272"/>
                      </a:lnTo>
                      <a:lnTo>
                        <a:pt x="490" y="272"/>
                      </a:lnTo>
                      <a:lnTo>
                        <a:pt x="494" y="272"/>
                      </a:lnTo>
                      <a:lnTo>
                        <a:pt x="498" y="274"/>
                      </a:lnTo>
                      <a:lnTo>
                        <a:pt x="500" y="278"/>
                      </a:lnTo>
                      <a:lnTo>
                        <a:pt x="502" y="286"/>
                      </a:lnTo>
                      <a:lnTo>
                        <a:pt x="502" y="286"/>
                      </a:lnTo>
                      <a:lnTo>
                        <a:pt x="502" y="294"/>
                      </a:lnTo>
                      <a:lnTo>
                        <a:pt x="504" y="302"/>
                      </a:lnTo>
                      <a:lnTo>
                        <a:pt x="508" y="306"/>
                      </a:lnTo>
                      <a:lnTo>
                        <a:pt x="512" y="310"/>
                      </a:lnTo>
                      <a:lnTo>
                        <a:pt x="528" y="318"/>
                      </a:lnTo>
                      <a:lnTo>
                        <a:pt x="556" y="326"/>
                      </a:lnTo>
                      <a:lnTo>
                        <a:pt x="556" y="326"/>
                      </a:lnTo>
                      <a:lnTo>
                        <a:pt x="570" y="332"/>
                      </a:lnTo>
                      <a:lnTo>
                        <a:pt x="580" y="338"/>
                      </a:lnTo>
                      <a:lnTo>
                        <a:pt x="584" y="344"/>
                      </a:lnTo>
                      <a:lnTo>
                        <a:pt x="584" y="348"/>
                      </a:lnTo>
                      <a:lnTo>
                        <a:pt x="580" y="352"/>
                      </a:lnTo>
                      <a:lnTo>
                        <a:pt x="574" y="356"/>
                      </a:lnTo>
                      <a:lnTo>
                        <a:pt x="568" y="356"/>
                      </a:lnTo>
                      <a:lnTo>
                        <a:pt x="558" y="356"/>
                      </a:lnTo>
                      <a:lnTo>
                        <a:pt x="558" y="356"/>
                      </a:lnTo>
                      <a:lnTo>
                        <a:pt x="550" y="358"/>
                      </a:lnTo>
                      <a:lnTo>
                        <a:pt x="542" y="360"/>
                      </a:lnTo>
                      <a:lnTo>
                        <a:pt x="538" y="366"/>
                      </a:lnTo>
                      <a:lnTo>
                        <a:pt x="538" y="370"/>
                      </a:lnTo>
                      <a:lnTo>
                        <a:pt x="538" y="376"/>
                      </a:lnTo>
                      <a:lnTo>
                        <a:pt x="544" y="378"/>
                      </a:lnTo>
                      <a:lnTo>
                        <a:pt x="550" y="380"/>
                      </a:lnTo>
                      <a:lnTo>
                        <a:pt x="562" y="378"/>
                      </a:lnTo>
                      <a:lnTo>
                        <a:pt x="562" y="378"/>
                      </a:lnTo>
                      <a:lnTo>
                        <a:pt x="576" y="374"/>
                      </a:lnTo>
                      <a:lnTo>
                        <a:pt x="590" y="374"/>
                      </a:lnTo>
                      <a:lnTo>
                        <a:pt x="606" y="376"/>
                      </a:lnTo>
                      <a:lnTo>
                        <a:pt x="618" y="380"/>
                      </a:lnTo>
                      <a:lnTo>
                        <a:pt x="630" y="384"/>
                      </a:lnTo>
                      <a:lnTo>
                        <a:pt x="640" y="390"/>
                      </a:lnTo>
                      <a:lnTo>
                        <a:pt x="648" y="396"/>
                      </a:lnTo>
                      <a:lnTo>
                        <a:pt x="654" y="402"/>
                      </a:lnTo>
                      <a:lnTo>
                        <a:pt x="654" y="402"/>
                      </a:lnTo>
                      <a:lnTo>
                        <a:pt x="656" y="406"/>
                      </a:lnTo>
                      <a:lnTo>
                        <a:pt x="662" y="408"/>
                      </a:lnTo>
                      <a:lnTo>
                        <a:pt x="674" y="414"/>
                      </a:lnTo>
                      <a:lnTo>
                        <a:pt x="682" y="416"/>
                      </a:lnTo>
                      <a:lnTo>
                        <a:pt x="688" y="420"/>
                      </a:lnTo>
                      <a:lnTo>
                        <a:pt x="692" y="428"/>
                      </a:lnTo>
                      <a:lnTo>
                        <a:pt x="696" y="438"/>
                      </a:lnTo>
                      <a:lnTo>
                        <a:pt x="696" y="438"/>
                      </a:lnTo>
                      <a:lnTo>
                        <a:pt x="698" y="450"/>
                      </a:lnTo>
                      <a:lnTo>
                        <a:pt x="704" y="460"/>
                      </a:lnTo>
                      <a:lnTo>
                        <a:pt x="712" y="474"/>
                      </a:lnTo>
                      <a:lnTo>
                        <a:pt x="716" y="480"/>
                      </a:lnTo>
                      <a:lnTo>
                        <a:pt x="718" y="486"/>
                      </a:lnTo>
                      <a:lnTo>
                        <a:pt x="716" y="490"/>
                      </a:lnTo>
                      <a:lnTo>
                        <a:pt x="710" y="494"/>
                      </a:lnTo>
                      <a:lnTo>
                        <a:pt x="710" y="494"/>
                      </a:lnTo>
                      <a:lnTo>
                        <a:pt x="696" y="504"/>
                      </a:lnTo>
                      <a:lnTo>
                        <a:pt x="682" y="518"/>
                      </a:lnTo>
                      <a:lnTo>
                        <a:pt x="668" y="532"/>
                      </a:lnTo>
                      <a:lnTo>
                        <a:pt x="648" y="548"/>
                      </a:lnTo>
                      <a:lnTo>
                        <a:pt x="648" y="548"/>
                      </a:lnTo>
                      <a:lnTo>
                        <a:pt x="644" y="554"/>
                      </a:lnTo>
                      <a:lnTo>
                        <a:pt x="640" y="558"/>
                      </a:lnTo>
                      <a:lnTo>
                        <a:pt x="640" y="564"/>
                      </a:lnTo>
                      <a:lnTo>
                        <a:pt x="642" y="570"/>
                      </a:lnTo>
                      <a:lnTo>
                        <a:pt x="646" y="580"/>
                      </a:lnTo>
                      <a:lnTo>
                        <a:pt x="654" y="590"/>
                      </a:lnTo>
                      <a:lnTo>
                        <a:pt x="666" y="604"/>
                      </a:lnTo>
                      <a:lnTo>
                        <a:pt x="666" y="606"/>
                      </a:lnTo>
                      <a:lnTo>
                        <a:pt x="666" y="608"/>
                      </a:lnTo>
                      <a:lnTo>
                        <a:pt x="656" y="606"/>
                      </a:lnTo>
                      <a:lnTo>
                        <a:pt x="656" y="606"/>
                      </a:lnTo>
                      <a:lnTo>
                        <a:pt x="646" y="602"/>
                      </a:lnTo>
                      <a:lnTo>
                        <a:pt x="636" y="604"/>
                      </a:lnTo>
                      <a:lnTo>
                        <a:pt x="628" y="608"/>
                      </a:lnTo>
                      <a:lnTo>
                        <a:pt x="620" y="612"/>
                      </a:lnTo>
                      <a:lnTo>
                        <a:pt x="608" y="616"/>
                      </a:lnTo>
                      <a:lnTo>
                        <a:pt x="594" y="620"/>
                      </a:lnTo>
                      <a:lnTo>
                        <a:pt x="576" y="620"/>
                      </a:lnTo>
                      <a:lnTo>
                        <a:pt x="552" y="614"/>
                      </a:lnTo>
                      <a:lnTo>
                        <a:pt x="552" y="614"/>
                      </a:lnTo>
                      <a:lnTo>
                        <a:pt x="528" y="610"/>
                      </a:lnTo>
                      <a:lnTo>
                        <a:pt x="516" y="608"/>
                      </a:lnTo>
                      <a:lnTo>
                        <a:pt x="510" y="608"/>
                      </a:lnTo>
                      <a:lnTo>
                        <a:pt x="510" y="612"/>
                      </a:lnTo>
                      <a:lnTo>
                        <a:pt x="510" y="616"/>
                      </a:lnTo>
                      <a:lnTo>
                        <a:pt x="510" y="624"/>
                      </a:lnTo>
                      <a:lnTo>
                        <a:pt x="504" y="630"/>
                      </a:lnTo>
                      <a:lnTo>
                        <a:pt x="494" y="638"/>
                      </a:lnTo>
                      <a:lnTo>
                        <a:pt x="494" y="638"/>
                      </a:lnTo>
                      <a:lnTo>
                        <a:pt x="488" y="642"/>
                      </a:lnTo>
                      <a:lnTo>
                        <a:pt x="484" y="648"/>
                      </a:lnTo>
                      <a:lnTo>
                        <a:pt x="482" y="652"/>
                      </a:lnTo>
                      <a:lnTo>
                        <a:pt x="480" y="658"/>
                      </a:lnTo>
                      <a:lnTo>
                        <a:pt x="482" y="664"/>
                      </a:lnTo>
                      <a:lnTo>
                        <a:pt x="484" y="668"/>
                      </a:lnTo>
                      <a:lnTo>
                        <a:pt x="494" y="678"/>
                      </a:lnTo>
                      <a:lnTo>
                        <a:pt x="506" y="686"/>
                      </a:lnTo>
                      <a:lnTo>
                        <a:pt x="514" y="688"/>
                      </a:lnTo>
                      <a:lnTo>
                        <a:pt x="522" y="690"/>
                      </a:lnTo>
                      <a:lnTo>
                        <a:pt x="532" y="690"/>
                      </a:lnTo>
                      <a:lnTo>
                        <a:pt x="542" y="690"/>
                      </a:lnTo>
                      <a:lnTo>
                        <a:pt x="552" y="686"/>
                      </a:lnTo>
                      <a:lnTo>
                        <a:pt x="562" y="682"/>
                      </a:lnTo>
                      <a:lnTo>
                        <a:pt x="562" y="682"/>
                      </a:lnTo>
                      <a:lnTo>
                        <a:pt x="580" y="676"/>
                      </a:lnTo>
                      <a:lnTo>
                        <a:pt x="592" y="674"/>
                      </a:lnTo>
                      <a:lnTo>
                        <a:pt x="602" y="676"/>
                      </a:lnTo>
                      <a:lnTo>
                        <a:pt x="608" y="680"/>
                      </a:lnTo>
                      <a:lnTo>
                        <a:pt x="612" y="684"/>
                      </a:lnTo>
                      <a:lnTo>
                        <a:pt x="616" y="688"/>
                      </a:lnTo>
                      <a:lnTo>
                        <a:pt x="622" y="686"/>
                      </a:lnTo>
                      <a:lnTo>
                        <a:pt x="628" y="680"/>
                      </a:lnTo>
                      <a:lnTo>
                        <a:pt x="628" y="680"/>
                      </a:lnTo>
                      <a:lnTo>
                        <a:pt x="634" y="674"/>
                      </a:lnTo>
                      <a:lnTo>
                        <a:pt x="640" y="674"/>
                      </a:lnTo>
                      <a:lnTo>
                        <a:pt x="642" y="676"/>
                      </a:lnTo>
                      <a:lnTo>
                        <a:pt x="644" y="680"/>
                      </a:lnTo>
                      <a:lnTo>
                        <a:pt x="646" y="688"/>
                      </a:lnTo>
                      <a:lnTo>
                        <a:pt x="648" y="690"/>
                      </a:lnTo>
                      <a:lnTo>
                        <a:pt x="650" y="686"/>
                      </a:lnTo>
                      <a:lnTo>
                        <a:pt x="650" y="686"/>
                      </a:lnTo>
                      <a:lnTo>
                        <a:pt x="656" y="674"/>
                      </a:lnTo>
                      <a:lnTo>
                        <a:pt x="658" y="672"/>
                      </a:lnTo>
                      <a:lnTo>
                        <a:pt x="662" y="672"/>
                      </a:lnTo>
                      <a:lnTo>
                        <a:pt x="666" y="674"/>
                      </a:lnTo>
                      <a:lnTo>
                        <a:pt x="672" y="680"/>
                      </a:lnTo>
                      <a:lnTo>
                        <a:pt x="696" y="706"/>
                      </a:lnTo>
                      <a:lnTo>
                        <a:pt x="696" y="706"/>
                      </a:lnTo>
                      <a:lnTo>
                        <a:pt x="708" y="720"/>
                      </a:lnTo>
                      <a:lnTo>
                        <a:pt x="718" y="726"/>
                      </a:lnTo>
                      <a:lnTo>
                        <a:pt x="724" y="728"/>
                      </a:lnTo>
                      <a:lnTo>
                        <a:pt x="728" y="728"/>
                      </a:lnTo>
                      <a:lnTo>
                        <a:pt x="732" y="726"/>
                      </a:lnTo>
                      <a:lnTo>
                        <a:pt x="736" y="724"/>
                      </a:lnTo>
                      <a:lnTo>
                        <a:pt x="742" y="726"/>
                      </a:lnTo>
                      <a:lnTo>
                        <a:pt x="750" y="732"/>
                      </a:lnTo>
                      <a:lnTo>
                        <a:pt x="750" y="732"/>
                      </a:lnTo>
                      <a:lnTo>
                        <a:pt x="756" y="738"/>
                      </a:lnTo>
                      <a:lnTo>
                        <a:pt x="756" y="740"/>
                      </a:lnTo>
                      <a:lnTo>
                        <a:pt x="754" y="742"/>
                      </a:lnTo>
                      <a:lnTo>
                        <a:pt x="750" y="744"/>
                      </a:lnTo>
                      <a:lnTo>
                        <a:pt x="742" y="744"/>
                      </a:lnTo>
                      <a:lnTo>
                        <a:pt x="734" y="746"/>
                      </a:lnTo>
                      <a:lnTo>
                        <a:pt x="732" y="748"/>
                      </a:lnTo>
                      <a:lnTo>
                        <a:pt x="732" y="750"/>
                      </a:lnTo>
                      <a:lnTo>
                        <a:pt x="732" y="752"/>
                      </a:lnTo>
                      <a:lnTo>
                        <a:pt x="734" y="756"/>
                      </a:lnTo>
                      <a:lnTo>
                        <a:pt x="744" y="768"/>
                      </a:lnTo>
                      <a:lnTo>
                        <a:pt x="744" y="768"/>
                      </a:lnTo>
                      <a:lnTo>
                        <a:pt x="754" y="776"/>
                      </a:lnTo>
                      <a:lnTo>
                        <a:pt x="766" y="780"/>
                      </a:lnTo>
                      <a:lnTo>
                        <a:pt x="792" y="788"/>
                      </a:lnTo>
                      <a:lnTo>
                        <a:pt x="816" y="794"/>
                      </a:lnTo>
                      <a:lnTo>
                        <a:pt x="826" y="798"/>
                      </a:lnTo>
                      <a:lnTo>
                        <a:pt x="834" y="804"/>
                      </a:lnTo>
                      <a:lnTo>
                        <a:pt x="834" y="804"/>
                      </a:lnTo>
                      <a:lnTo>
                        <a:pt x="842" y="812"/>
                      </a:lnTo>
                      <a:lnTo>
                        <a:pt x="854" y="818"/>
                      </a:lnTo>
                      <a:lnTo>
                        <a:pt x="868" y="824"/>
                      </a:lnTo>
                      <a:lnTo>
                        <a:pt x="882" y="828"/>
                      </a:lnTo>
                      <a:lnTo>
                        <a:pt x="916" y="836"/>
                      </a:lnTo>
                      <a:lnTo>
                        <a:pt x="948" y="846"/>
                      </a:lnTo>
                      <a:lnTo>
                        <a:pt x="948" y="846"/>
                      </a:lnTo>
                      <a:lnTo>
                        <a:pt x="962" y="850"/>
                      </a:lnTo>
                      <a:lnTo>
                        <a:pt x="970" y="850"/>
                      </a:lnTo>
                      <a:lnTo>
                        <a:pt x="972" y="848"/>
                      </a:lnTo>
                      <a:lnTo>
                        <a:pt x="974" y="846"/>
                      </a:lnTo>
                      <a:lnTo>
                        <a:pt x="974" y="840"/>
                      </a:lnTo>
                      <a:lnTo>
                        <a:pt x="972" y="832"/>
                      </a:lnTo>
                      <a:lnTo>
                        <a:pt x="966" y="822"/>
                      </a:lnTo>
                      <a:lnTo>
                        <a:pt x="958" y="812"/>
                      </a:lnTo>
                      <a:lnTo>
                        <a:pt x="948" y="802"/>
                      </a:lnTo>
                      <a:lnTo>
                        <a:pt x="948" y="802"/>
                      </a:lnTo>
                      <a:lnTo>
                        <a:pt x="936" y="792"/>
                      </a:lnTo>
                      <a:lnTo>
                        <a:pt x="920" y="780"/>
                      </a:lnTo>
                      <a:lnTo>
                        <a:pt x="888" y="758"/>
                      </a:lnTo>
                      <a:lnTo>
                        <a:pt x="872" y="748"/>
                      </a:lnTo>
                      <a:lnTo>
                        <a:pt x="862" y="738"/>
                      </a:lnTo>
                      <a:lnTo>
                        <a:pt x="854" y="732"/>
                      </a:lnTo>
                      <a:lnTo>
                        <a:pt x="854" y="728"/>
                      </a:lnTo>
                      <a:lnTo>
                        <a:pt x="854" y="724"/>
                      </a:lnTo>
                      <a:lnTo>
                        <a:pt x="854" y="724"/>
                      </a:lnTo>
                      <a:lnTo>
                        <a:pt x="854" y="724"/>
                      </a:lnTo>
                      <a:lnTo>
                        <a:pt x="858" y="722"/>
                      </a:lnTo>
                      <a:lnTo>
                        <a:pt x="864" y="724"/>
                      </a:lnTo>
                      <a:lnTo>
                        <a:pt x="880" y="736"/>
                      </a:lnTo>
                      <a:lnTo>
                        <a:pt x="894" y="748"/>
                      </a:lnTo>
                      <a:lnTo>
                        <a:pt x="900" y="748"/>
                      </a:lnTo>
                      <a:lnTo>
                        <a:pt x="902" y="748"/>
                      </a:lnTo>
                      <a:lnTo>
                        <a:pt x="902" y="746"/>
                      </a:lnTo>
                      <a:lnTo>
                        <a:pt x="902" y="746"/>
                      </a:lnTo>
                      <a:lnTo>
                        <a:pt x="902" y="742"/>
                      </a:lnTo>
                      <a:lnTo>
                        <a:pt x="904" y="742"/>
                      </a:lnTo>
                      <a:lnTo>
                        <a:pt x="908" y="744"/>
                      </a:lnTo>
                      <a:lnTo>
                        <a:pt x="924" y="754"/>
                      </a:lnTo>
                      <a:lnTo>
                        <a:pt x="932" y="762"/>
                      </a:lnTo>
                      <a:lnTo>
                        <a:pt x="944" y="770"/>
                      </a:lnTo>
                      <a:lnTo>
                        <a:pt x="956" y="776"/>
                      </a:lnTo>
                      <a:lnTo>
                        <a:pt x="968" y="778"/>
                      </a:lnTo>
                      <a:lnTo>
                        <a:pt x="968" y="778"/>
                      </a:lnTo>
                      <a:lnTo>
                        <a:pt x="980" y="782"/>
                      </a:lnTo>
                      <a:lnTo>
                        <a:pt x="990" y="788"/>
                      </a:lnTo>
                      <a:lnTo>
                        <a:pt x="998" y="798"/>
                      </a:lnTo>
                      <a:lnTo>
                        <a:pt x="1004" y="806"/>
                      </a:lnTo>
                      <a:lnTo>
                        <a:pt x="1010" y="812"/>
                      </a:lnTo>
                      <a:lnTo>
                        <a:pt x="1012" y="814"/>
                      </a:lnTo>
                      <a:lnTo>
                        <a:pt x="1014" y="812"/>
                      </a:lnTo>
                      <a:lnTo>
                        <a:pt x="1012" y="802"/>
                      </a:lnTo>
                      <a:lnTo>
                        <a:pt x="1012" y="802"/>
                      </a:lnTo>
                      <a:lnTo>
                        <a:pt x="1012" y="792"/>
                      </a:lnTo>
                      <a:lnTo>
                        <a:pt x="1012" y="788"/>
                      </a:lnTo>
                      <a:lnTo>
                        <a:pt x="1014" y="788"/>
                      </a:lnTo>
                      <a:lnTo>
                        <a:pt x="1016" y="788"/>
                      </a:lnTo>
                      <a:lnTo>
                        <a:pt x="1018" y="788"/>
                      </a:lnTo>
                      <a:lnTo>
                        <a:pt x="1020" y="786"/>
                      </a:lnTo>
                      <a:lnTo>
                        <a:pt x="1020" y="780"/>
                      </a:lnTo>
                      <a:lnTo>
                        <a:pt x="1018" y="766"/>
                      </a:lnTo>
                      <a:lnTo>
                        <a:pt x="1018" y="766"/>
                      </a:lnTo>
                      <a:lnTo>
                        <a:pt x="1016" y="750"/>
                      </a:lnTo>
                      <a:lnTo>
                        <a:pt x="1018" y="752"/>
                      </a:lnTo>
                      <a:lnTo>
                        <a:pt x="1020" y="754"/>
                      </a:lnTo>
                      <a:lnTo>
                        <a:pt x="1022" y="758"/>
                      </a:lnTo>
                      <a:lnTo>
                        <a:pt x="1026" y="760"/>
                      </a:lnTo>
                      <a:lnTo>
                        <a:pt x="1028" y="756"/>
                      </a:lnTo>
                      <a:lnTo>
                        <a:pt x="1032" y="746"/>
                      </a:lnTo>
                      <a:lnTo>
                        <a:pt x="1032" y="746"/>
                      </a:lnTo>
                      <a:lnTo>
                        <a:pt x="1032" y="734"/>
                      </a:lnTo>
                      <a:lnTo>
                        <a:pt x="1030" y="728"/>
                      </a:lnTo>
                      <a:lnTo>
                        <a:pt x="1026" y="724"/>
                      </a:lnTo>
                      <a:lnTo>
                        <a:pt x="1022" y="724"/>
                      </a:lnTo>
                      <a:lnTo>
                        <a:pt x="1018" y="722"/>
                      </a:lnTo>
                      <a:lnTo>
                        <a:pt x="1014" y="722"/>
                      </a:lnTo>
                      <a:lnTo>
                        <a:pt x="1014" y="720"/>
                      </a:lnTo>
                      <a:lnTo>
                        <a:pt x="1018" y="714"/>
                      </a:lnTo>
                      <a:lnTo>
                        <a:pt x="1018" y="714"/>
                      </a:lnTo>
                      <a:lnTo>
                        <a:pt x="1022" y="708"/>
                      </a:lnTo>
                      <a:lnTo>
                        <a:pt x="1020" y="704"/>
                      </a:lnTo>
                      <a:lnTo>
                        <a:pt x="1016" y="702"/>
                      </a:lnTo>
                      <a:lnTo>
                        <a:pt x="1012" y="700"/>
                      </a:lnTo>
                      <a:lnTo>
                        <a:pt x="1006" y="700"/>
                      </a:lnTo>
                      <a:lnTo>
                        <a:pt x="1000" y="698"/>
                      </a:lnTo>
                      <a:lnTo>
                        <a:pt x="1000" y="694"/>
                      </a:lnTo>
                      <a:lnTo>
                        <a:pt x="1002" y="688"/>
                      </a:lnTo>
                      <a:lnTo>
                        <a:pt x="1002" y="688"/>
                      </a:lnTo>
                      <a:lnTo>
                        <a:pt x="1006" y="682"/>
                      </a:lnTo>
                      <a:lnTo>
                        <a:pt x="1010" y="676"/>
                      </a:lnTo>
                      <a:lnTo>
                        <a:pt x="1008" y="672"/>
                      </a:lnTo>
                      <a:lnTo>
                        <a:pt x="1006" y="668"/>
                      </a:lnTo>
                      <a:lnTo>
                        <a:pt x="1000" y="664"/>
                      </a:lnTo>
                      <a:lnTo>
                        <a:pt x="992" y="660"/>
                      </a:lnTo>
                      <a:lnTo>
                        <a:pt x="966" y="648"/>
                      </a:lnTo>
                      <a:lnTo>
                        <a:pt x="966" y="648"/>
                      </a:lnTo>
                      <a:lnTo>
                        <a:pt x="952" y="642"/>
                      </a:lnTo>
                      <a:lnTo>
                        <a:pt x="942" y="632"/>
                      </a:lnTo>
                      <a:lnTo>
                        <a:pt x="936" y="622"/>
                      </a:lnTo>
                      <a:lnTo>
                        <a:pt x="930" y="612"/>
                      </a:lnTo>
                      <a:lnTo>
                        <a:pt x="928" y="602"/>
                      </a:lnTo>
                      <a:lnTo>
                        <a:pt x="924" y="596"/>
                      </a:lnTo>
                      <a:lnTo>
                        <a:pt x="918" y="592"/>
                      </a:lnTo>
                      <a:lnTo>
                        <a:pt x="912" y="592"/>
                      </a:lnTo>
                      <a:lnTo>
                        <a:pt x="912" y="592"/>
                      </a:lnTo>
                      <a:lnTo>
                        <a:pt x="904" y="594"/>
                      </a:lnTo>
                      <a:lnTo>
                        <a:pt x="896" y="594"/>
                      </a:lnTo>
                      <a:lnTo>
                        <a:pt x="892" y="592"/>
                      </a:lnTo>
                      <a:lnTo>
                        <a:pt x="890" y="590"/>
                      </a:lnTo>
                      <a:lnTo>
                        <a:pt x="890" y="586"/>
                      </a:lnTo>
                      <a:lnTo>
                        <a:pt x="894" y="584"/>
                      </a:lnTo>
                      <a:lnTo>
                        <a:pt x="900" y="580"/>
                      </a:lnTo>
                      <a:lnTo>
                        <a:pt x="908" y="578"/>
                      </a:lnTo>
                      <a:lnTo>
                        <a:pt x="908" y="578"/>
                      </a:lnTo>
                      <a:lnTo>
                        <a:pt x="912" y="576"/>
                      </a:lnTo>
                      <a:lnTo>
                        <a:pt x="916" y="576"/>
                      </a:lnTo>
                      <a:lnTo>
                        <a:pt x="916" y="572"/>
                      </a:lnTo>
                      <a:lnTo>
                        <a:pt x="916" y="570"/>
                      </a:lnTo>
                      <a:lnTo>
                        <a:pt x="914" y="564"/>
                      </a:lnTo>
                      <a:lnTo>
                        <a:pt x="910" y="556"/>
                      </a:lnTo>
                      <a:lnTo>
                        <a:pt x="902" y="546"/>
                      </a:lnTo>
                      <a:lnTo>
                        <a:pt x="902" y="544"/>
                      </a:lnTo>
                      <a:lnTo>
                        <a:pt x="904" y="544"/>
                      </a:lnTo>
                      <a:lnTo>
                        <a:pt x="910" y="546"/>
                      </a:lnTo>
                      <a:lnTo>
                        <a:pt x="910" y="546"/>
                      </a:lnTo>
                      <a:lnTo>
                        <a:pt x="918" y="548"/>
                      </a:lnTo>
                      <a:lnTo>
                        <a:pt x="924" y="546"/>
                      </a:lnTo>
                      <a:lnTo>
                        <a:pt x="928" y="542"/>
                      </a:lnTo>
                      <a:lnTo>
                        <a:pt x="930" y="538"/>
                      </a:lnTo>
                      <a:lnTo>
                        <a:pt x="932" y="536"/>
                      </a:lnTo>
                      <a:lnTo>
                        <a:pt x="934" y="534"/>
                      </a:lnTo>
                      <a:lnTo>
                        <a:pt x="938" y="536"/>
                      </a:lnTo>
                      <a:lnTo>
                        <a:pt x="942" y="544"/>
                      </a:lnTo>
                      <a:lnTo>
                        <a:pt x="942" y="544"/>
                      </a:lnTo>
                      <a:lnTo>
                        <a:pt x="950" y="552"/>
                      </a:lnTo>
                      <a:lnTo>
                        <a:pt x="954" y="556"/>
                      </a:lnTo>
                      <a:lnTo>
                        <a:pt x="958" y="558"/>
                      </a:lnTo>
                      <a:lnTo>
                        <a:pt x="962" y="558"/>
                      </a:lnTo>
                      <a:lnTo>
                        <a:pt x="968" y="560"/>
                      </a:lnTo>
                      <a:lnTo>
                        <a:pt x="972" y="562"/>
                      </a:lnTo>
                      <a:lnTo>
                        <a:pt x="974" y="568"/>
                      </a:lnTo>
                      <a:lnTo>
                        <a:pt x="974" y="568"/>
                      </a:lnTo>
                      <a:lnTo>
                        <a:pt x="976" y="574"/>
                      </a:lnTo>
                      <a:lnTo>
                        <a:pt x="980" y="576"/>
                      </a:lnTo>
                      <a:lnTo>
                        <a:pt x="986" y="580"/>
                      </a:lnTo>
                      <a:lnTo>
                        <a:pt x="990" y="580"/>
                      </a:lnTo>
                      <a:lnTo>
                        <a:pt x="992" y="582"/>
                      </a:lnTo>
                      <a:lnTo>
                        <a:pt x="994" y="586"/>
                      </a:lnTo>
                      <a:lnTo>
                        <a:pt x="994" y="592"/>
                      </a:lnTo>
                      <a:lnTo>
                        <a:pt x="994" y="592"/>
                      </a:lnTo>
                      <a:lnTo>
                        <a:pt x="994" y="596"/>
                      </a:lnTo>
                      <a:lnTo>
                        <a:pt x="996" y="600"/>
                      </a:lnTo>
                      <a:lnTo>
                        <a:pt x="1008" y="614"/>
                      </a:lnTo>
                      <a:lnTo>
                        <a:pt x="1022" y="626"/>
                      </a:lnTo>
                      <a:lnTo>
                        <a:pt x="1040" y="638"/>
                      </a:lnTo>
                      <a:lnTo>
                        <a:pt x="1056" y="646"/>
                      </a:lnTo>
                      <a:lnTo>
                        <a:pt x="1064" y="648"/>
                      </a:lnTo>
                      <a:lnTo>
                        <a:pt x="1070" y="648"/>
                      </a:lnTo>
                      <a:lnTo>
                        <a:pt x="1074" y="646"/>
                      </a:lnTo>
                      <a:lnTo>
                        <a:pt x="1078" y="642"/>
                      </a:lnTo>
                      <a:lnTo>
                        <a:pt x="1080" y="636"/>
                      </a:lnTo>
                      <a:lnTo>
                        <a:pt x="1078" y="628"/>
                      </a:lnTo>
                      <a:lnTo>
                        <a:pt x="1078" y="628"/>
                      </a:lnTo>
                      <a:lnTo>
                        <a:pt x="1078" y="618"/>
                      </a:lnTo>
                      <a:lnTo>
                        <a:pt x="1078" y="612"/>
                      </a:lnTo>
                      <a:lnTo>
                        <a:pt x="1080" y="606"/>
                      </a:lnTo>
                      <a:lnTo>
                        <a:pt x="1082" y="602"/>
                      </a:lnTo>
                      <a:lnTo>
                        <a:pt x="1086" y="600"/>
                      </a:lnTo>
                      <a:lnTo>
                        <a:pt x="1092" y="598"/>
                      </a:lnTo>
                      <a:lnTo>
                        <a:pt x="1102" y="596"/>
                      </a:lnTo>
                      <a:lnTo>
                        <a:pt x="1118" y="598"/>
                      </a:lnTo>
                      <a:lnTo>
                        <a:pt x="1122" y="596"/>
                      </a:lnTo>
                      <a:lnTo>
                        <a:pt x="1122" y="596"/>
                      </a:lnTo>
                      <a:lnTo>
                        <a:pt x="1122" y="592"/>
                      </a:lnTo>
                      <a:lnTo>
                        <a:pt x="1122" y="588"/>
                      </a:lnTo>
                      <a:lnTo>
                        <a:pt x="1122" y="588"/>
                      </a:lnTo>
                      <a:lnTo>
                        <a:pt x="1118" y="582"/>
                      </a:lnTo>
                      <a:lnTo>
                        <a:pt x="1118" y="576"/>
                      </a:lnTo>
                      <a:lnTo>
                        <a:pt x="1120" y="574"/>
                      </a:lnTo>
                      <a:lnTo>
                        <a:pt x="1122" y="574"/>
                      </a:lnTo>
                      <a:lnTo>
                        <a:pt x="1128" y="570"/>
                      </a:lnTo>
                      <a:lnTo>
                        <a:pt x="1128" y="568"/>
                      </a:lnTo>
                      <a:lnTo>
                        <a:pt x="1126" y="564"/>
                      </a:lnTo>
                      <a:lnTo>
                        <a:pt x="1126" y="564"/>
                      </a:lnTo>
                      <a:lnTo>
                        <a:pt x="1126" y="560"/>
                      </a:lnTo>
                      <a:lnTo>
                        <a:pt x="1126" y="558"/>
                      </a:lnTo>
                      <a:lnTo>
                        <a:pt x="1130" y="554"/>
                      </a:lnTo>
                      <a:lnTo>
                        <a:pt x="1144" y="548"/>
                      </a:lnTo>
                      <a:lnTo>
                        <a:pt x="1150" y="544"/>
                      </a:lnTo>
                      <a:lnTo>
                        <a:pt x="1154" y="536"/>
                      </a:lnTo>
                      <a:lnTo>
                        <a:pt x="1156" y="532"/>
                      </a:lnTo>
                      <a:lnTo>
                        <a:pt x="1154" y="528"/>
                      </a:lnTo>
                      <a:lnTo>
                        <a:pt x="1148" y="514"/>
                      </a:lnTo>
                      <a:lnTo>
                        <a:pt x="1148" y="514"/>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69" name="Freeform 6089">
                  <a:extLst>
                    <a:ext uri="{FF2B5EF4-FFF2-40B4-BE49-F238E27FC236}">
                      <a16:creationId xmlns:a16="http://schemas.microsoft.com/office/drawing/2014/main" id="{26D86512-EC9F-8FB4-6AB8-C663A1F5245C}"/>
                    </a:ext>
                  </a:extLst>
                </p:cNvPr>
                <p:cNvSpPr>
                  <a:spLocks/>
                </p:cNvSpPr>
                <p:nvPr/>
              </p:nvSpPr>
              <p:spPr bwMode="auto">
                <a:xfrm>
                  <a:off x="2731770" y="1751013"/>
                  <a:ext cx="20320" cy="15240"/>
                </a:xfrm>
                <a:custGeom>
                  <a:avLst/>
                  <a:gdLst/>
                  <a:ahLst/>
                  <a:cxnLst>
                    <a:cxn ang="0">
                      <a:pos x="6" y="0"/>
                    </a:cxn>
                    <a:cxn ang="0">
                      <a:pos x="6" y="0"/>
                    </a:cxn>
                    <a:cxn ang="0">
                      <a:pos x="2" y="4"/>
                    </a:cxn>
                    <a:cxn ang="0">
                      <a:pos x="0" y="8"/>
                    </a:cxn>
                    <a:cxn ang="0">
                      <a:pos x="2" y="12"/>
                    </a:cxn>
                    <a:cxn ang="0">
                      <a:pos x="8" y="18"/>
                    </a:cxn>
                    <a:cxn ang="0">
                      <a:pos x="14" y="22"/>
                    </a:cxn>
                    <a:cxn ang="0">
                      <a:pos x="20" y="24"/>
                    </a:cxn>
                    <a:cxn ang="0">
                      <a:pos x="26" y="24"/>
                    </a:cxn>
                    <a:cxn ang="0">
                      <a:pos x="30" y="22"/>
                    </a:cxn>
                    <a:cxn ang="0">
                      <a:pos x="30" y="22"/>
                    </a:cxn>
                    <a:cxn ang="0">
                      <a:pos x="32" y="16"/>
                    </a:cxn>
                    <a:cxn ang="0">
                      <a:pos x="32" y="12"/>
                    </a:cxn>
                    <a:cxn ang="0">
                      <a:pos x="32" y="8"/>
                    </a:cxn>
                    <a:cxn ang="0">
                      <a:pos x="28" y="4"/>
                    </a:cxn>
                    <a:cxn ang="0">
                      <a:pos x="24" y="2"/>
                    </a:cxn>
                    <a:cxn ang="0">
                      <a:pos x="20" y="0"/>
                    </a:cxn>
                    <a:cxn ang="0">
                      <a:pos x="14" y="0"/>
                    </a:cxn>
                    <a:cxn ang="0">
                      <a:pos x="6" y="0"/>
                    </a:cxn>
                    <a:cxn ang="0">
                      <a:pos x="6" y="0"/>
                    </a:cxn>
                  </a:cxnLst>
                  <a:rect l="0" t="0" r="r" b="b"/>
                  <a:pathLst>
                    <a:path w="32" h="24">
                      <a:moveTo>
                        <a:pt x="6" y="0"/>
                      </a:moveTo>
                      <a:lnTo>
                        <a:pt x="6" y="0"/>
                      </a:lnTo>
                      <a:lnTo>
                        <a:pt x="2" y="4"/>
                      </a:lnTo>
                      <a:lnTo>
                        <a:pt x="0" y="8"/>
                      </a:lnTo>
                      <a:lnTo>
                        <a:pt x="2" y="12"/>
                      </a:lnTo>
                      <a:lnTo>
                        <a:pt x="8" y="18"/>
                      </a:lnTo>
                      <a:lnTo>
                        <a:pt x="14" y="22"/>
                      </a:lnTo>
                      <a:lnTo>
                        <a:pt x="20" y="24"/>
                      </a:lnTo>
                      <a:lnTo>
                        <a:pt x="26" y="24"/>
                      </a:lnTo>
                      <a:lnTo>
                        <a:pt x="30" y="22"/>
                      </a:lnTo>
                      <a:lnTo>
                        <a:pt x="30" y="22"/>
                      </a:lnTo>
                      <a:lnTo>
                        <a:pt x="32" y="16"/>
                      </a:lnTo>
                      <a:lnTo>
                        <a:pt x="32" y="12"/>
                      </a:lnTo>
                      <a:lnTo>
                        <a:pt x="32" y="8"/>
                      </a:lnTo>
                      <a:lnTo>
                        <a:pt x="28" y="4"/>
                      </a:lnTo>
                      <a:lnTo>
                        <a:pt x="24" y="2"/>
                      </a:lnTo>
                      <a:lnTo>
                        <a:pt x="20" y="0"/>
                      </a:lnTo>
                      <a:lnTo>
                        <a:pt x="14" y="0"/>
                      </a:lnTo>
                      <a:lnTo>
                        <a:pt x="6" y="0"/>
                      </a:lnTo>
                      <a:lnTo>
                        <a:pt x="6" y="0"/>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70" name="Freeform 6091">
                  <a:extLst>
                    <a:ext uri="{FF2B5EF4-FFF2-40B4-BE49-F238E27FC236}">
                      <a16:creationId xmlns:a16="http://schemas.microsoft.com/office/drawing/2014/main" id="{E713D292-9532-57DB-EC86-D539E8BF7D72}"/>
                    </a:ext>
                  </a:extLst>
                </p:cNvPr>
                <p:cNvSpPr>
                  <a:spLocks/>
                </p:cNvSpPr>
                <p:nvPr/>
              </p:nvSpPr>
              <p:spPr bwMode="auto">
                <a:xfrm>
                  <a:off x="2656840" y="1799273"/>
                  <a:ext cx="13970" cy="15240"/>
                </a:xfrm>
                <a:custGeom>
                  <a:avLst/>
                  <a:gdLst/>
                  <a:ahLst/>
                  <a:cxnLst>
                    <a:cxn ang="0">
                      <a:pos x="4" y="24"/>
                    </a:cxn>
                    <a:cxn ang="0">
                      <a:pos x="4" y="24"/>
                    </a:cxn>
                    <a:cxn ang="0">
                      <a:pos x="12" y="22"/>
                    </a:cxn>
                    <a:cxn ang="0">
                      <a:pos x="20" y="16"/>
                    </a:cxn>
                    <a:cxn ang="0">
                      <a:pos x="22" y="12"/>
                    </a:cxn>
                    <a:cxn ang="0">
                      <a:pos x="22" y="10"/>
                    </a:cxn>
                    <a:cxn ang="0">
                      <a:pos x="22" y="6"/>
                    </a:cxn>
                    <a:cxn ang="0">
                      <a:pos x="18" y="2"/>
                    </a:cxn>
                    <a:cxn ang="0">
                      <a:pos x="18" y="2"/>
                    </a:cxn>
                    <a:cxn ang="0">
                      <a:pos x="14" y="0"/>
                    </a:cxn>
                    <a:cxn ang="0">
                      <a:pos x="10" y="2"/>
                    </a:cxn>
                    <a:cxn ang="0">
                      <a:pos x="6" y="4"/>
                    </a:cxn>
                    <a:cxn ang="0">
                      <a:pos x="2" y="10"/>
                    </a:cxn>
                    <a:cxn ang="0">
                      <a:pos x="0" y="14"/>
                    </a:cxn>
                    <a:cxn ang="0">
                      <a:pos x="0" y="18"/>
                    </a:cxn>
                    <a:cxn ang="0">
                      <a:pos x="2" y="22"/>
                    </a:cxn>
                    <a:cxn ang="0">
                      <a:pos x="4" y="24"/>
                    </a:cxn>
                    <a:cxn ang="0">
                      <a:pos x="4" y="24"/>
                    </a:cxn>
                  </a:cxnLst>
                  <a:rect l="0" t="0" r="r" b="b"/>
                  <a:pathLst>
                    <a:path w="22" h="24">
                      <a:moveTo>
                        <a:pt x="4" y="24"/>
                      </a:moveTo>
                      <a:lnTo>
                        <a:pt x="4" y="24"/>
                      </a:lnTo>
                      <a:lnTo>
                        <a:pt x="12" y="22"/>
                      </a:lnTo>
                      <a:lnTo>
                        <a:pt x="20" y="16"/>
                      </a:lnTo>
                      <a:lnTo>
                        <a:pt x="22" y="12"/>
                      </a:lnTo>
                      <a:lnTo>
                        <a:pt x="22" y="10"/>
                      </a:lnTo>
                      <a:lnTo>
                        <a:pt x="22" y="6"/>
                      </a:lnTo>
                      <a:lnTo>
                        <a:pt x="18" y="2"/>
                      </a:lnTo>
                      <a:lnTo>
                        <a:pt x="18" y="2"/>
                      </a:lnTo>
                      <a:lnTo>
                        <a:pt x="14" y="0"/>
                      </a:lnTo>
                      <a:lnTo>
                        <a:pt x="10" y="2"/>
                      </a:lnTo>
                      <a:lnTo>
                        <a:pt x="6" y="4"/>
                      </a:lnTo>
                      <a:lnTo>
                        <a:pt x="2" y="10"/>
                      </a:lnTo>
                      <a:lnTo>
                        <a:pt x="0" y="14"/>
                      </a:lnTo>
                      <a:lnTo>
                        <a:pt x="0" y="18"/>
                      </a:lnTo>
                      <a:lnTo>
                        <a:pt x="2" y="22"/>
                      </a:lnTo>
                      <a:lnTo>
                        <a:pt x="4" y="24"/>
                      </a:lnTo>
                      <a:lnTo>
                        <a:pt x="4" y="24"/>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71" name="Freeform 6092">
                  <a:extLst>
                    <a:ext uri="{FF2B5EF4-FFF2-40B4-BE49-F238E27FC236}">
                      <a16:creationId xmlns:a16="http://schemas.microsoft.com/office/drawing/2014/main" id="{F55A86BB-F335-A682-B472-F0252879EEFF}"/>
                    </a:ext>
                  </a:extLst>
                </p:cNvPr>
                <p:cNvSpPr>
                  <a:spLocks/>
                </p:cNvSpPr>
                <p:nvPr/>
              </p:nvSpPr>
              <p:spPr bwMode="auto">
                <a:xfrm>
                  <a:off x="2352040" y="1724343"/>
                  <a:ext cx="22860" cy="34290"/>
                </a:xfrm>
                <a:custGeom>
                  <a:avLst/>
                  <a:gdLst/>
                  <a:ahLst/>
                  <a:cxnLst>
                    <a:cxn ang="0">
                      <a:pos x="20" y="54"/>
                    </a:cxn>
                    <a:cxn ang="0">
                      <a:pos x="20" y="54"/>
                    </a:cxn>
                    <a:cxn ang="0">
                      <a:pos x="26" y="50"/>
                    </a:cxn>
                    <a:cxn ang="0">
                      <a:pos x="30" y="42"/>
                    </a:cxn>
                    <a:cxn ang="0">
                      <a:pos x="34" y="32"/>
                    </a:cxn>
                    <a:cxn ang="0">
                      <a:pos x="36" y="22"/>
                    </a:cxn>
                    <a:cxn ang="0">
                      <a:pos x="36" y="12"/>
                    </a:cxn>
                    <a:cxn ang="0">
                      <a:pos x="34" y="4"/>
                    </a:cxn>
                    <a:cxn ang="0">
                      <a:pos x="32" y="2"/>
                    </a:cxn>
                    <a:cxn ang="0">
                      <a:pos x="28" y="0"/>
                    </a:cxn>
                    <a:cxn ang="0">
                      <a:pos x="24" y="0"/>
                    </a:cxn>
                    <a:cxn ang="0">
                      <a:pos x="18" y="0"/>
                    </a:cxn>
                    <a:cxn ang="0">
                      <a:pos x="18" y="0"/>
                    </a:cxn>
                    <a:cxn ang="0">
                      <a:pos x="14" y="2"/>
                    </a:cxn>
                    <a:cxn ang="0">
                      <a:pos x="8" y="6"/>
                    </a:cxn>
                    <a:cxn ang="0">
                      <a:pos x="4" y="12"/>
                    </a:cxn>
                    <a:cxn ang="0">
                      <a:pos x="0" y="22"/>
                    </a:cxn>
                    <a:cxn ang="0">
                      <a:pos x="2" y="32"/>
                    </a:cxn>
                    <a:cxn ang="0">
                      <a:pos x="4" y="40"/>
                    </a:cxn>
                    <a:cxn ang="0">
                      <a:pos x="8" y="48"/>
                    </a:cxn>
                    <a:cxn ang="0">
                      <a:pos x="14" y="52"/>
                    </a:cxn>
                    <a:cxn ang="0">
                      <a:pos x="20" y="54"/>
                    </a:cxn>
                    <a:cxn ang="0">
                      <a:pos x="20" y="54"/>
                    </a:cxn>
                  </a:cxnLst>
                  <a:rect l="0" t="0" r="r" b="b"/>
                  <a:pathLst>
                    <a:path w="36" h="54">
                      <a:moveTo>
                        <a:pt x="20" y="54"/>
                      </a:moveTo>
                      <a:lnTo>
                        <a:pt x="20" y="54"/>
                      </a:lnTo>
                      <a:lnTo>
                        <a:pt x="26" y="50"/>
                      </a:lnTo>
                      <a:lnTo>
                        <a:pt x="30" y="42"/>
                      </a:lnTo>
                      <a:lnTo>
                        <a:pt x="34" y="32"/>
                      </a:lnTo>
                      <a:lnTo>
                        <a:pt x="36" y="22"/>
                      </a:lnTo>
                      <a:lnTo>
                        <a:pt x="36" y="12"/>
                      </a:lnTo>
                      <a:lnTo>
                        <a:pt x="34" y="4"/>
                      </a:lnTo>
                      <a:lnTo>
                        <a:pt x="32" y="2"/>
                      </a:lnTo>
                      <a:lnTo>
                        <a:pt x="28" y="0"/>
                      </a:lnTo>
                      <a:lnTo>
                        <a:pt x="24" y="0"/>
                      </a:lnTo>
                      <a:lnTo>
                        <a:pt x="18" y="0"/>
                      </a:lnTo>
                      <a:lnTo>
                        <a:pt x="18" y="0"/>
                      </a:lnTo>
                      <a:lnTo>
                        <a:pt x="14" y="2"/>
                      </a:lnTo>
                      <a:lnTo>
                        <a:pt x="8" y="6"/>
                      </a:lnTo>
                      <a:lnTo>
                        <a:pt x="4" y="12"/>
                      </a:lnTo>
                      <a:lnTo>
                        <a:pt x="0" y="22"/>
                      </a:lnTo>
                      <a:lnTo>
                        <a:pt x="2" y="32"/>
                      </a:lnTo>
                      <a:lnTo>
                        <a:pt x="4" y="40"/>
                      </a:lnTo>
                      <a:lnTo>
                        <a:pt x="8" y="48"/>
                      </a:lnTo>
                      <a:lnTo>
                        <a:pt x="14" y="52"/>
                      </a:lnTo>
                      <a:lnTo>
                        <a:pt x="20" y="54"/>
                      </a:lnTo>
                      <a:lnTo>
                        <a:pt x="20" y="54"/>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72" name="Freeform 6094">
                  <a:extLst>
                    <a:ext uri="{FF2B5EF4-FFF2-40B4-BE49-F238E27FC236}">
                      <a16:creationId xmlns:a16="http://schemas.microsoft.com/office/drawing/2014/main" id="{C94B15E6-CAFF-2DFB-CC87-BA6EAFCCA520}"/>
                    </a:ext>
                  </a:extLst>
                </p:cNvPr>
                <p:cNvSpPr>
                  <a:spLocks/>
                </p:cNvSpPr>
                <p:nvPr/>
              </p:nvSpPr>
              <p:spPr bwMode="auto">
                <a:xfrm>
                  <a:off x="2428240" y="1463993"/>
                  <a:ext cx="59690" cy="48260"/>
                </a:xfrm>
                <a:custGeom>
                  <a:avLst/>
                  <a:gdLst/>
                  <a:ahLst/>
                  <a:cxnLst>
                    <a:cxn ang="0">
                      <a:pos x="8" y="26"/>
                    </a:cxn>
                    <a:cxn ang="0">
                      <a:pos x="8" y="26"/>
                    </a:cxn>
                    <a:cxn ang="0">
                      <a:pos x="4" y="36"/>
                    </a:cxn>
                    <a:cxn ang="0">
                      <a:pos x="0" y="46"/>
                    </a:cxn>
                    <a:cxn ang="0">
                      <a:pos x="0" y="56"/>
                    </a:cxn>
                    <a:cxn ang="0">
                      <a:pos x="2" y="64"/>
                    </a:cxn>
                    <a:cxn ang="0">
                      <a:pos x="8" y="70"/>
                    </a:cxn>
                    <a:cxn ang="0">
                      <a:pos x="18" y="74"/>
                    </a:cxn>
                    <a:cxn ang="0">
                      <a:pos x="34" y="76"/>
                    </a:cxn>
                    <a:cxn ang="0">
                      <a:pos x="54" y="76"/>
                    </a:cxn>
                    <a:cxn ang="0">
                      <a:pos x="54" y="76"/>
                    </a:cxn>
                    <a:cxn ang="0">
                      <a:pos x="72" y="74"/>
                    </a:cxn>
                    <a:cxn ang="0">
                      <a:pos x="84" y="70"/>
                    </a:cxn>
                    <a:cxn ang="0">
                      <a:pos x="90" y="64"/>
                    </a:cxn>
                    <a:cxn ang="0">
                      <a:pos x="94" y="58"/>
                    </a:cxn>
                    <a:cxn ang="0">
                      <a:pos x="92" y="50"/>
                    </a:cxn>
                    <a:cxn ang="0">
                      <a:pos x="92" y="40"/>
                    </a:cxn>
                    <a:cxn ang="0">
                      <a:pos x="90" y="32"/>
                    </a:cxn>
                    <a:cxn ang="0">
                      <a:pos x="92" y="22"/>
                    </a:cxn>
                    <a:cxn ang="0">
                      <a:pos x="92" y="22"/>
                    </a:cxn>
                    <a:cxn ang="0">
                      <a:pos x="92" y="18"/>
                    </a:cxn>
                    <a:cxn ang="0">
                      <a:pos x="90" y="14"/>
                    </a:cxn>
                    <a:cxn ang="0">
                      <a:pos x="88" y="10"/>
                    </a:cxn>
                    <a:cxn ang="0">
                      <a:pos x="84" y="6"/>
                    </a:cxn>
                    <a:cxn ang="0">
                      <a:pos x="74" y="2"/>
                    </a:cxn>
                    <a:cxn ang="0">
                      <a:pos x="60" y="0"/>
                    </a:cxn>
                    <a:cxn ang="0">
                      <a:pos x="46" y="2"/>
                    </a:cxn>
                    <a:cxn ang="0">
                      <a:pos x="32" y="6"/>
                    </a:cxn>
                    <a:cxn ang="0">
                      <a:pos x="18" y="14"/>
                    </a:cxn>
                    <a:cxn ang="0">
                      <a:pos x="14" y="20"/>
                    </a:cxn>
                    <a:cxn ang="0">
                      <a:pos x="8" y="26"/>
                    </a:cxn>
                    <a:cxn ang="0">
                      <a:pos x="8" y="26"/>
                    </a:cxn>
                  </a:cxnLst>
                  <a:rect l="0" t="0" r="r" b="b"/>
                  <a:pathLst>
                    <a:path w="94" h="76">
                      <a:moveTo>
                        <a:pt x="8" y="26"/>
                      </a:moveTo>
                      <a:lnTo>
                        <a:pt x="8" y="26"/>
                      </a:lnTo>
                      <a:lnTo>
                        <a:pt x="4" y="36"/>
                      </a:lnTo>
                      <a:lnTo>
                        <a:pt x="0" y="46"/>
                      </a:lnTo>
                      <a:lnTo>
                        <a:pt x="0" y="56"/>
                      </a:lnTo>
                      <a:lnTo>
                        <a:pt x="2" y="64"/>
                      </a:lnTo>
                      <a:lnTo>
                        <a:pt x="8" y="70"/>
                      </a:lnTo>
                      <a:lnTo>
                        <a:pt x="18" y="74"/>
                      </a:lnTo>
                      <a:lnTo>
                        <a:pt x="34" y="76"/>
                      </a:lnTo>
                      <a:lnTo>
                        <a:pt x="54" y="76"/>
                      </a:lnTo>
                      <a:lnTo>
                        <a:pt x="54" y="76"/>
                      </a:lnTo>
                      <a:lnTo>
                        <a:pt x="72" y="74"/>
                      </a:lnTo>
                      <a:lnTo>
                        <a:pt x="84" y="70"/>
                      </a:lnTo>
                      <a:lnTo>
                        <a:pt x="90" y="64"/>
                      </a:lnTo>
                      <a:lnTo>
                        <a:pt x="94" y="58"/>
                      </a:lnTo>
                      <a:lnTo>
                        <a:pt x="92" y="50"/>
                      </a:lnTo>
                      <a:lnTo>
                        <a:pt x="92" y="40"/>
                      </a:lnTo>
                      <a:lnTo>
                        <a:pt x="90" y="32"/>
                      </a:lnTo>
                      <a:lnTo>
                        <a:pt x="92" y="22"/>
                      </a:lnTo>
                      <a:lnTo>
                        <a:pt x="92" y="22"/>
                      </a:lnTo>
                      <a:lnTo>
                        <a:pt x="92" y="18"/>
                      </a:lnTo>
                      <a:lnTo>
                        <a:pt x="90" y="14"/>
                      </a:lnTo>
                      <a:lnTo>
                        <a:pt x="88" y="10"/>
                      </a:lnTo>
                      <a:lnTo>
                        <a:pt x="84" y="6"/>
                      </a:lnTo>
                      <a:lnTo>
                        <a:pt x="74" y="2"/>
                      </a:lnTo>
                      <a:lnTo>
                        <a:pt x="60" y="0"/>
                      </a:lnTo>
                      <a:lnTo>
                        <a:pt x="46" y="2"/>
                      </a:lnTo>
                      <a:lnTo>
                        <a:pt x="32" y="6"/>
                      </a:lnTo>
                      <a:lnTo>
                        <a:pt x="18" y="14"/>
                      </a:lnTo>
                      <a:lnTo>
                        <a:pt x="14" y="20"/>
                      </a:lnTo>
                      <a:lnTo>
                        <a:pt x="8" y="26"/>
                      </a:lnTo>
                      <a:lnTo>
                        <a:pt x="8" y="26"/>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73" name="Freeform 6098">
                  <a:extLst>
                    <a:ext uri="{FF2B5EF4-FFF2-40B4-BE49-F238E27FC236}">
                      <a16:creationId xmlns:a16="http://schemas.microsoft.com/office/drawing/2014/main" id="{2660E4E9-E756-C086-B463-9BDFC4E46824}"/>
                    </a:ext>
                  </a:extLst>
                </p:cNvPr>
                <p:cNvSpPr>
                  <a:spLocks/>
                </p:cNvSpPr>
                <p:nvPr/>
              </p:nvSpPr>
              <p:spPr bwMode="auto">
                <a:xfrm>
                  <a:off x="1668780" y="1211263"/>
                  <a:ext cx="63500" cy="43180"/>
                </a:xfrm>
                <a:custGeom>
                  <a:avLst/>
                  <a:gdLst/>
                  <a:ahLst/>
                  <a:cxnLst>
                    <a:cxn ang="0">
                      <a:pos x="46" y="2"/>
                    </a:cxn>
                    <a:cxn ang="0">
                      <a:pos x="46" y="2"/>
                    </a:cxn>
                    <a:cxn ang="0">
                      <a:pos x="32" y="4"/>
                    </a:cxn>
                    <a:cxn ang="0">
                      <a:pos x="20" y="6"/>
                    </a:cxn>
                    <a:cxn ang="0">
                      <a:pos x="10" y="10"/>
                    </a:cxn>
                    <a:cxn ang="0">
                      <a:pos x="4" y="12"/>
                    </a:cxn>
                    <a:cxn ang="0">
                      <a:pos x="0" y="16"/>
                    </a:cxn>
                    <a:cxn ang="0">
                      <a:pos x="0" y="20"/>
                    </a:cxn>
                    <a:cxn ang="0">
                      <a:pos x="2" y="22"/>
                    </a:cxn>
                    <a:cxn ang="0">
                      <a:pos x="8" y="24"/>
                    </a:cxn>
                    <a:cxn ang="0">
                      <a:pos x="8" y="24"/>
                    </a:cxn>
                    <a:cxn ang="0">
                      <a:pos x="20" y="28"/>
                    </a:cxn>
                    <a:cxn ang="0">
                      <a:pos x="28" y="32"/>
                    </a:cxn>
                    <a:cxn ang="0">
                      <a:pos x="32" y="36"/>
                    </a:cxn>
                    <a:cxn ang="0">
                      <a:pos x="34" y="40"/>
                    </a:cxn>
                    <a:cxn ang="0">
                      <a:pos x="34" y="40"/>
                    </a:cxn>
                    <a:cxn ang="0">
                      <a:pos x="38" y="46"/>
                    </a:cxn>
                    <a:cxn ang="0">
                      <a:pos x="44" y="50"/>
                    </a:cxn>
                    <a:cxn ang="0">
                      <a:pos x="54" y="56"/>
                    </a:cxn>
                    <a:cxn ang="0">
                      <a:pos x="64" y="66"/>
                    </a:cxn>
                    <a:cxn ang="0">
                      <a:pos x="64" y="66"/>
                    </a:cxn>
                    <a:cxn ang="0">
                      <a:pos x="68" y="68"/>
                    </a:cxn>
                    <a:cxn ang="0">
                      <a:pos x="70" y="68"/>
                    </a:cxn>
                    <a:cxn ang="0">
                      <a:pos x="70" y="66"/>
                    </a:cxn>
                    <a:cxn ang="0">
                      <a:pos x="70" y="66"/>
                    </a:cxn>
                    <a:cxn ang="0">
                      <a:pos x="70" y="62"/>
                    </a:cxn>
                    <a:cxn ang="0">
                      <a:pos x="74" y="60"/>
                    </a:cxn>
                    <a:cxn ang="0">
                      <a:pos x="80" y="56"/>
                    </a:cxn>
                    <a:cxn ang="0">
                      <a:pos x="86" y="48"/>
                    </a:cxn>
                    <a:cxn ang="0">
                      <a:pos x="86" y="48"/>
                    </a:cxn>
                    <a:cxn ang="0">
                      <a:pos x="100" y="26"/>
                    </a:cxn>
                    <a:cxn ang="0">
                      <a:pos x="100" y="20"/>
                    </a:cxn>
                    <a:cxn ang="0">
                      <a:pos x="100" y="16"/>
                    </a:cxn>
                    <a:cxn ang="0">
                      <a:pos x="98" y="14"/>
                    </a:cxn>
                    <a:cxn ang="0">
                      <a:pos x="94" y="10"/>
                    </a:cxn>
                    <a:cxn ang="0">
                      <a:pos x="94" y="10"/>
                    </a:cxn>
                    <a:cxn ang="0">
                      <a:pos x="86" y="6"/>
                    </a:cxn>
                    <a:cxn ang="0">
                      <a:pos x="80" y="2"/>
                    </a:cxn>
                    <a:cxn ang="0">
                      <a:pos x="70" y="0"/>
                    </a:cxn>
                    <a:cxn ang="0">
                      <a:pos x="46" y="2"/>
                    </a:cxn>
                    <a:cxn ang="0">
                      <a:pos x="46" y="2"/>
                    </a:cxn>
                  </a:cxnLst>
                  <a:rect l="0" t="0" r="r" b="b"/>
                  <a:pathLst>
                    <a:path w="100" h="68">
                      <a:moveTo>
                        <a:pt x="46" y="2"/>
                      </a:moveTo>
                      <a:lnTo>
                        <a:pt x="46" y="2"/>
                      </a:lnTo>
                      <a:lnTo>
                        <a:pt x="32" y="4"/>
                      </a:lnTo>
                      <a:lnTo>
                        <a:pt x="20" y="6"/>
                      </a:lnTo>
                      <a:lnTo>
                        <a:pt x="10" y="10"/>
                      </a:lnTo>
                      <a:lnTo>
                        <a:pt x="4" y="12"/>
                      </a:lnTo>
                      <a:lnTo>
                        <a:pt x="0" y="16"/>
                      </a:lnTo>
                      <a:lnTo>
                        <a:pt x="0" y="20"/>
                      </a:lnTo>
                      <a:lnTo>
                        <a:pt x="2" y="22"/>
                      </a:lnTo>
                      <a:lnTo>
                        <a:pt x="8" y="24"/>
                      </a:lnTo>
                      <a:lnTo>
                        <a:pt x="8" y="24"/>
                      </a:lnTo>
                      <a:lnTo>
                        <a:pt x="20" y="28"/>
                      </a:lnTo>
                      <a:lnTo>
                        <a:pt x="28" y="32"/>
                      </a:lnTo>
                      <a:lnTo>
                        <a:pt x="32" y="36"/>
                      </a:lnTo>
                      <a:lnTo>
                        <a:pt x="34" y="40"/>
                      </a:lnTo>
                      <a:lnTo>
                        <a:pt x="34" y="40"/>
                      </a:lnTo>
                      <a:lnTo>
                        <a:pt x="38" y="46"/>
                      </a:lnTo>
                      <a:lnTo>
                        <a:pt x="44" y="50"/>
                      </a:lnTo>
                      <a:lnTo>
                        <a:pt x="54" y="56"/>
                      </a:lnTo>
                      <a:lnTo>
                        <a:pt x="64" y="66"/>
                      </a:lnTo>
                      <a:lnTo>
                        <a:pt x="64" y="66"/>
                      </a:lnTo>
                      <a:lnTo>
                        <a:pt x="68" y="68"/>
                      </a:lnTo>
                      <a:lnTo>
                        <a:pt x="70" y="68"/>
                      </a:lnTo>
                      <a:lnTo>
                        <a:pt x="70" y="66"/>
                      </a:lnTo>
                      <a:lnTo>
                        <a:pt x="70" y="66"/>
                      </a:lnTo>
                      <a:lnTo>
                        <a:pt x="70" y="62"/>
                      </a:lnTo>
                      <a:lnTo>
                        <a:pt x="74" y="60"/>
                      </a:lnTo>
                      <a:lnTo>
                        <a:pt x="80" y="56"/>
                      </a:lnTo>
                      <a:lnTo>
                        <a:pt x="86" y="48"/>
                      </a:lnTo>
                      <a:lnTo>
                        <a:pt x="86" y="48"/>
                      </a:lnTo>
                      <a:lnTo>
                        <a:pt x="100" y="26"/>
                      </a:lnTo>
                      <a:lnTo>
                        <a:pt x="100" y="20"/>
                      </a:lnTo>
                      <a:lnTo>
                        <a:pt x="100" y="16"/>
                      </a:lnTo>
                      <a:lnTo>
                        <a:pt x="98" y="14"/>
                      </a:lnTo>
                      <a:lnTo>
                        <a:pt x="94" y="10"/>
                      </a:lnTo>
                      <a:lnTo>
                        <a:pt x="94" y="10"/>
                      </a:lnTo>
                      <a:lnTo>
                        <a:pt x="86" y="6"/>
                      </a:lnTo>
                      <a:lnTo>
                        <a:pt x="80" y="2"/>
                      </a:lnTo>
                      <a:lnTo>
                        <a:pt x="70" y="0"/>
                      </a:lnTo>
                      <a:lnTo>
                        <a:pt x="46" y="2"/>
                      </a:lnTo>
                      <a:lnTo>
                        <a:pt x="46" y="2"/>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74" name="Freeform 6099">
                  <a:extLst>
                    <a:ext uri="{FF2B5EF4-FFF2-40B4-BE49-F238E27FC236}">
                      <a16:creationId xmlns:a16="http://schemas.microsoft.com/office/drawing/2014/main" id="{9155825D-A783-C525-DA3B-242FEDA68876}"/>
                    </a:ext>
                  </a:extLst>
                </p:cNvPr>
                <p:cNvSpPr>
                  <a:spLocks/>
                </p:cNvSpPr>
                <p:nvPr/>
              </p:nvSpPr>
              <p:spPr bwMode="auto">
                <a:xfrm>
                  <a:off x="1733550" y="1088073"/>
                  <a:ext cx="48260" cy="10160"/>
                </a:xfrm>
                <a:custGeom>
                  <a:avLst/>
                  <a:gdLst/>
                  <a:ahLst/>
                  <a:cxnLst>
                    <a:cxn ang="0">
                      <a:pos x="76" y="2"/>
                    </a:cxn>
                    <a:cxn ang="0">
                      <a:pos x="76" y="2"/>
                    </a:cxn>
                    <a:cxn ang="0">
                      <a:pos x="68" y="0"/>
                    </a:cxn>
                    <a:cxn ang="0">
                      <a:pos x="56" y="0"/>
                    </a:cxn>
                    <a:cxn ang="0">
                      <a:pos x="30" y="2"/>
                    </a:cxn>
                    <a:cxn ang="0">
                      <a:pos x="16" y="6"/>
                    </a:cxn>
                    <a:cxn ang="0">
                      <a:pos x="6" y="8"/>
                    </a:cxn>
                    <a:cxn ang="0">
                      <a:pos x="0" y="12"/>
                    </a:cxn>
                    <a:cxn ang="0">
                      <a:pos x="0" y="14"/>
                    </a:cxn>
                    <a:cxn ang="0">
                      <a:pos x="2" y="16"/>
                    </a:cxn>
                    <a:cxn ang="0">
                      <a:pos x="2" y="16"/>
                    </a:cxn>
                    <a:cxn ang="0">
                      <a:pos x="8" y="16"/>
                    </a:cxn>
                    <a:cxn ang="0">
                      <a:pos x="20" y="16"/>
                    </a:cxn>
                    <a:cxn ang="0">
                      <a:pos x="48" y="14"/>
                    </a:cxn>
                    <a:cxn ang="0">
                      <a:pos x="70" y="8"/>
                    </a:cxn>
                    <a:cxn ang="0">
                      <a:pos x="76" y="4"/>
                    </a:cxn>
                    <a:cxn ang="0">
                      <a:pos x="76" y="2"/>
                    </a:cxn>
                    <a:cxn ang="0">
                      <a:pos x="76" y="2"/>
                    </a:cxn>
                    <a:cxn ang="0">
                      <a:pos x="76" y="2"/>
                    </a:cxn>
                  </a:cxnLst>
                  <a:rect l="0" t="0" r="r" b="b"/>
                  <a:pathLst>
                    <a:path w="76" h="16">
                      <a:moveTo>
                        <a:pt x="76" y="2"/>
                      </a:moveTo>
                      <a:lnTo>
                        <a:pt x="76" y="2"/>
                      </a:lnTo>
                      <a:lnTo>
                        <a:pt x="68" y="0"/>
                      </a:lnTo>
                      <a:lnTo>
                        <a:pt x="56" y="0"/>
                      </a:lnTo>
                      <a:lnTo>
                        <a:pt x="30" y="2"/>
                      </a:lnTo>
                      <a:lnTo>
                        <a:pt x="16" y="6"/>
                      </a:lnTo>
                      <a:lnTo>
                        <a:pt x="6" y="8"/>
                      </a:lnTo>
                      <a:lnTo>
                        <a:pt x="0" y="12"/>
                      </a:lnTo>
                      <a:lnTo>
                        <a:pt x="0" y="14"/>
                      </a:lnTo>
                      <a:lnTo>
                        <a:pt x="2" y="16"/>
                      </a:lnTo>
                      <a:lnTo>
                        <a:pt x="2" y="16"/>
                      </a:lnTo>
                      <a:lnTo>
                        <a:pt x="8" y="16"/>
                      </a:lnTo>
                      <a:lnTo>
                        <a:pt x="20" y="16"/>
                      </a:lnTo>
                      <a:lnTo>
                        <a:pt x="48" y="14"/>
                      </a:lnTo>
                      <a:lnTo>
                        <a:pt x="70" y="8"/>
                      </a:lnTo>
                      <a:lnTo>
                        <a:pt x="76" y="4"/>
                      </a:lnTo>
                      <a:lnTo>
                        <a:pt x="76" y="2"/>
                      </a:lnTo>
                      <a:lnTo>
                        <a:pt x="76" y="2"/>
                      </a:lnTo>
                      <a:lnTo>
                        <a:pt x="76" y="2"/>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75" name="Freeform 6100">
                  <a:extLst>
                    <a:ext uri="{FF2B5EF4-FFF2-40B4-BE49-F238E27FC236}">
                      <a16:creationId xmlns:a16="http://schemas.microsoft.com/office/drawing/2014/main" id="{9F21608B-FC32-889F-A5EB-65D360135078}"/>
                    </a:ext>
                  </a:extLst>
                </p:cNvPr>
                <p:cNvSpPr>
                  <a:spLocks/>
                </p:cNvSpPr>
                <p:nvPr/>
              </p:nvSpPr>
              <p:spPr bwMode="auto">
                <a:xfrm>
                  <a:off x="1723390" y="1129983"/>
                  <a:ext cx="30480" cy="20320"/>
                </a:xfrm>
                <a:custGeom>
                  <a:avLst/>
                  <a:gdLst/>
                  <a:ahLst/>
                  <a:cxnLst>
                    <a:cxn ang="0">
                      <a:pos x="0" y="20"/>
                    </a:cxn>
                    <a:cxn ang="0">
                      <a:pos x="0" y="20"/>
                    </a:cxn>
                    <a:cxn ang="0">
                      <a:pos x="0" y="22"/>
                    </a:cxn>
                    <a:cxn ang="0">
                      <a:pos x="2" y="26"/>
                    </a:cxn>
                    <a:cxn ang="0">
                      <a:pos x="8" y="30"/>
                    </a:cxn>
                    <a:cxn ang="0">
                      <a:pos x="16" y="32"/>
                    </a:cxn>
                    <a:cxn ang="0">
                      <a:pos x="26" y="32"/>
                    </a:cxn>
                    <a:cxn ang="0">
                      <a:pos x="34" y="30"/>
                    </a:cxn>
                    <a:cxn ang="0">
                      <a:pos x="42" y="28"/>
                    </a:cxn>
                    <a:cxn ang="0">
                      <a:pos x="46" y="22"/>
                    </a:cxn>
                    <a:cxn ang="0">
                      <a:pos x="48" y="20"/>
                    </a:cxn>
                    <a:cxn ang="0">
                      <a:pos x="48" y="18"/>
                    </a:cxn>
                    <a:cxn ang="0">
                      <a:pos x="48" y="18"/>
                    </a:cxn>
                    <a:cxn ang="0">
                      <a:pos x="44" y="12"/>
                    </a:cxn>
                    <a:cxn ang="0">
                      <a:pos x="38" y="6"/>
                    </a:cxn>
                    <a:cxn ang="0">
                      <a:pos x="30" y="2"/>
                    </a:cxn>
                    <a:cxn ang="0">
                      <a:pos x="22" y="0"/>
                    </a:cxn>
                    <a:cxn ang="0">
                      <a:pos x="14" y="0"/>
                    </a:cxn>
                    <a:cxn ang="0">
                      <a:pos x="6" y="2"/>
                    </a:cxn>
                    <a:cxn ang="0">
                      <a:pos x="2" y="8"/>
                    </a:cxn>
                    <a:cxn ang="0">
                      <a:pos x="0" y="20"/>
                    </a:cxn>
                    <a:cxn ang="0">
                      <a:pos x="0" y="20"/>
                    </a:cxn>
                  </a:cxnLst>
                  <a:rect l="0" t="0" r="r" b="b"/>
                  <a:pathLst>
                    <a:path w="48" h="32">
                      <a:moveTo>
                        <a:pt x="0" y="20"/>
                      </a:moveTo>
                      <a:lnTo>
                        <a:pt x="0" y="20"/>
                      </a:lnTo>
                      <a:lnTo>
                        <a:pt x="0" y="22"/>
                      </a:lnTo>
                      <a:lnTo>
                        <a:pt x="2" y="26"/>
                      </a:lnTo>
                      <a:lnTo>
                        <a:pt x="8" y="30"/>
                      </a:lnTo>
                      <a:lnTo>
                        <a:pt x="16" y="32"/>
                      </a:lnTo>
                      <a:lnTo>
                        <a:pt x="26" y="32"/>
                      </a:lnTo>
                      <a:lnTo>
                        <a:pt x="34" y="30"/>
                      </a:lnTo>
                      <a:lnTo>
                        <a:pt x="42" y="28"/>
                      </a:lnTo>
                      <a:lnTo>
                        <a:pt x="46" y="22"/>
                      </a:lnTo>
                      <a:lnTo>
                        <a:pt x="48" y="20"/>
                      </a:lnTo>
                      <a:lnTo>
                        <a:pt x="48" y="18"/>
                      </a:lnTo>
                      <a:lnTo>
                        <a:pt x="48" y="18"/>
                      </a:lnTo>
                      <a:lnTo>
                        <a:pt x="44" y="12"/>
                      </a:lnTo>
                      <a:lnTo>
                        <a:pt x="38" y="6"/>
                      </a:lnTo>
                      <a:lnTo>
                        <a:pt x="30" y="2"/>
                      </a:lnTo>
                      <a:lnTo>
                        <a:pt x="22" y="0"/>
                      </a:lnTo>
                      <a:lnTo>
                        <a:pt x="14" y="0"/>
                      </a:lnTo>
                      <a:lnTo>
                        <a:pt x="6" y="2"/>
                      </a:lnTo>
                      <a:lnTo>
                        <a:pt x="2" y="8"/>
                      </a:lnTo>
                      <a:lnTo>
                        <a:pt x="0" y="20"/>
                      </a:lnTo>
                      <a:lnTo>
                        <a:pt x="0" y="20"/>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76" name="Freeform 6101">
                  <a:extLst>
                    <a:ext uri="{FF2B5EF4-FFF2-40B4-BE49-F238E27FC236}">
                      <a16:creationId xmlns:a16="http://schemas.microsoft.com/office/drawing/2014/main" id="{FDD4B4E0-BBFA-7A47-E5C1-718A107F8F37}"/>
                    </a:ext>
                  </a:extLst>
                </p:cNvPr>
                <p:cNvSpPr>
                  <a:spLocks/>
                </p:cNvSpPr>
                <p:nvPr/>
              </p:nvSpPr>
              <p:spPr bwMode="auto">
                <a:xfrm>
                  <a:off x="1728470" y="1065213"/>
                  <a:ext cx="44450" cy="21590"/>
                </a:xfrm>
                <a:custGeom>
                  <a:avLst/>
                  <a:gdLst/>
                  <a:ahLst/>
                  <a:cxnLst>
                    <a:cxn ang="0">
                      <a:pos x="62" y="18"/>
                    </a:cxn>
                    <a:cxn ang="0">
                      <a:pos x="62" y="18"/>
                    </a:cxn>
                    <a:cxn ang="0">
                      <a:pos x="52" y="16"/>
                    </a:cxn>
                    <a:cxn ang="0">
                      <a:pos x="44" y="14"/>
                    </a:cxn>
                    <a:cxn ang="0">
                      <a:pos x="34" y="6"/>
                    </a:cxn>
                    <a:cxn ang="0">
                      <a:pos x="30" y="2"/>
                    </a:cxn>
                    <a:cxn ang="0">
                      <a:pos x="24" y="0"/>
                    </a:cxn>
                    <a:cxn ang="0">
                      <a:pos x="18" y="2"/>
                    </a:cxn>
                    <a:cxn ang="0">
                      <a:pos x="8" y="6"/>
                    </a:cxn>
                    <a:cxn ang="0">
                      <a:pos x="8" y="6"/>
                    </a:cxn>
                    <a:cxn ang="0">
                      <a:pos x="2" y="8"/>
                    </a:cxn>
                    <a:cxn ang="0">
                      <a:pos x="0" y="12"/>
                    </a:cxn>
                    <a:cxn ang="0">
                      <a:pos x="2" y="18"/>
                    </a:cxn>
                    <a:cxn ang="0">
                      <a:pos x="8" y="28"/>
                    </a:cxn>
                    <a:cxn ang="0">
                      <a:pos x="8" y="28"/>
                    </a:cxn>
                    <a:cxn ang="0">
                      <a:pos x="12" y="30"/>
                    </a:cxn>
                    <a:cxn ang="0">
                      <a:pos x="16" y="32"/>
                    </a:cxn>
                    <a:cxn ang="0">
                      <a:pos x="26" y="34"/>
                    </a:cxn>
                    <a:cxn ang="0">
                      <a:pos x="40" y="32"/>
                    </a:cxn>
                    <a:cxn ang="0">
                      <a:pos x="52" y="30"/>
                    </a:cxn>
                    <a:cxn ang="0">
                      <a:pos x="62" y="28"/>
                    </a:cxn>
                    <a:cxn ang="0">
                      <a:pos x="68" y="24"/>
                    </a:cxn>
                    <a:cxn ang="0">
                      <a:pos x="70" y="22"/>
                    </a:cxn>
                    <a:cxn ang="0">
                      <a:pos x="70" y="20"/>
                    </a:cxn>
                    <a:cxn ang="0">
                      <a:pos x="62" y="18"/>
                    </a:cxn>
                    <a:cxn ang="0">
                      <a:pos x="62" y="18"/>
                    </a:cxn>
                  </a:cxnLst>
                  <a:rect l="0" t="0" r="r" b="b"/>
                  <a:pathLst>
                    <a:path w="70" h="34">
                      <a:moveTo>
                        <a:pt x="62" y="18"/>
                      </a:moveTo>
                      <a:lnTo>
                        <a:pt x="62" y="18"/>
                      </a:lnTo>
                      <a:lnTo>
                        <a:pt x="52" y="16"/>
                      </a:lnTo>
                      <a:lnTo>
                        <a:pt x="44" y="14"/>
                      </a:lnTo>
                      <a:lnTo>
                        <a:pt x="34" y="6"/>
                      </a:lnTo>
                      <a:lnTo>
                        <a:pt x="30" y="2"/>
                      </a:lnTo>
                      <a:lnTo>
                        <a:pt x="24" y="0"/>
                      </a:lnTo>
                      <a:lnTo>
                        <a:pt x="18" y="2"/>
                      </a:lnTo>
                      <a:lnTo>
                        <a:pt x="8" y="6"/>
                      </a:lnTo>
                      <a:lnTo>
                        <a:pt x="8" y="6"/>
                      </a:lnTo>
                      <a:lnTo>
                        <a:pt x="2" y="8"/>
                      </a:lnTo>
                      <a:lnTo>
                        <a:pt x="0" y="12"/>
                      </a:lnTo>
                      <a:lnTo>
                        <a:pt x="2" y="18"/>
                      </a:lnTo>
                      <a:lnTo>
                        <a:pt x="8" y="28"/>
                      </a:lnTo>
                      <a:lnTo>
                        <a:pt x="8" y="28"/>
                      </a:lnTo>
                      <a:lnTo>
                        <a:pt x="12" y="30"/>
                      </a:lnTo>
                      <a:lnTo>
                        <a:pt x="16" y="32"/>
                      </a:lnTo>
                      <a:lnTo>
                        <a:pt x="26" y="34"/>
                      </a:lnTo>
                      <a:lnTo>
                        <a:pt x="40" y="32"/>
                      </a:lnTo>
                      <a:lnTo>
                        <a:pt x="52" y="30"/>
                      </a:lnTo>
                      <a:lnTo>
                        <a:pt x="62" y="28"/>
                      </a:lnTo>
                      <a:lnTo>
                        <a:pt x="68" y="24"/>
                      </a:lnTo>
                      <a:lnTo>
                        <a:pt x="70" y="22"/>
                      </a:lnTo>
                      <a:lnTo>
                        <a:pt x="70" y="20"/>
                      </a:lnTo>
                      <a:lnTo>
                        <a:pt x="62" y="18"/>
                      </a:lnTo>
                      <a:lnTo>
                        <a:pt x="62" y="18"/>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77" name="Freeform 6102">
                  <a:extLst>
                    <a:ext uri="{FF2B5EF4-FFF2-40B4-BE49-F238E27FC236}">
                      <a16:creationId xmlns:a16="http://schemas.microsoft.com/office/drawing/2014/main" id="{2D59F143-34DD-D6AB-7EAA-0AB52B4AB084}"/>
                    </a:ext>
                  </a:extLst>
                </p:cNvPr>
                <p:cNvSpPr>
                  <a:spLocks/>
                </p:cNvSpPr>
                <p:nvPr/>
              </p:nvSpPr>
              <p:spPr bwMode="auto">
                <a:xfrm>
                  <a:off x="1922780" y="1048703"/>
                  <a:ext cx="449580" cy="129540"/>
                </a:xfrm>
                <a:custGeom>
                  <a:avLst/>
                  <a:gdLst/>
                  <a:ahLst/>
                  <a:cxnLst>
                    <a:cxn ang="0">
                      <a:pos x="342" y="198"/>
                    </a:cxn>
                    <a:cxn ang="0">
                      <a:pos x="406" y="202"/>
                    </a:cxn>
                    <a:cxn ang="0">
                      <a:pos x="530" y="198"/>
                    </a:cxn>
                    <a:cxn ang="0">
                      <a:pos x="560" y="176"/>
                    </a:cxn>
                    <a:cxn ang="0">
                      <a:pos x="566" y="188"/>
                    </a:cxn>
                    <a:cxn ang="0">
                      <a:pos x="624" y="200"/>
                    </a:cxn>
                    <a:cxn ang="0">
                      <a:pos x="680" y="190"/>
                    </a:cxn>
                    <a:cxn ang="0">
                      <a:pos x="688" y="174"/>
                    </a:cxn>
                    <a:cxn ang="0">
                      <a:pos x="708" y="168"/>
                    </a:cxn>
                    <a:cxn ang="0">
                      <a:pos x="694" y="158"/>
                    </a:cxn>
                    <a:cxn ang="0">
                      <a:pos x="700" y="144"/>
                    </a:cxn>
                    <a:cxn ang="0">
                      <a:pos x="700" y="126"/>
                    </a:cxn>
                    <a:cxn ang="0">
                      <a:pos x="672" y="110"/>
                    </a:cxn>
                    <a:cxn ang="0">
                      <a:pos x="642" y="104"/>
                    </a:cxn>
                    <a:cxn ang="0">
                      <a:pos x="600" y="96"/>
                    </a:cxn>
                    <a:cxn ang="0">
                      <a:pos x="480" y="110"/>
                    </a:cxn>
                    <a:cxn ang="0">
                      <a:pos x="442" y="126"/>
                    </a:cxn>
                    <a:cxn ang="0">
                      <a:pos x="416" y="122"/>
                    </a:cxn>
                    <a:cxn ang="0">
                      <a:pos x="374" y="120"/>
                    </a:cxn>
                    <a:cxn ang="0">
                      <a:pos x="346" y="114"/>
                    </a:cxn>
                    <a:cxn ang="0">
                      <a:pos x="330" y="110"/>
                    </a:cxn>
                    <a:cxn ang="0">
                      <a:pos x="324" y="124"/>
                    </a:cxn>
                    <a:cxn ang="0">
                      <a:pos x="310" y="116"/>
                    </a:cxn>
                    <a:cxn ang="0">
                      <a:pos x="310" y="102"/>
                    </a:cxn>
                    <a:cxn ang="0">
                      <a:pos x="294" y="84"/>
                    </a:cxn>
                    <a:cxn ang="0">
                      <a:pos x="268" y="84"/>
                    </a:cxn>
                    <a:cxn ang="0">
                      <a:pos x="262" y="76"/>
                    </a:cxn>
                    <a:cxn ang="0">
                      <a:pos x="308" y="74"/>
                    </a:cxn>
                    <a:cxn ang="0">
                      <a:pos x="316" y="66"/>
                    </a:cxn>
                    <a:cxn ang="0">
                      <a:pos x="278" y="52"/>
                    </a:cxn>
                    <a:cxn ang="0">
                      <a:pos x="240" y="34"/>
                    </a:cxn>
                    <a:cxn ang="0">
                      <a:pos x="182" y="36"/>
                    </a:cxn>
                    <a:cxn ang="0">
                      <a:pos x="154" y="30"/>
                    </a:cxn>
                    <a:cxn ang="0">
                      <a:pos x="124" y="10"/>
                    </a:cxn>
                    <a:cxn ang="0">
                      <a:pos x="78" y="6"/>
                    </a:cxn>
                    <a:cxn ang="0">
                      <a:pos x="10" y="0"/>
                    </a:cxn>
                    <a:cxn ang="0">
                      <a:pos x="2" y="12"/>
                    </a:cxn>
                    <a:cxn ang="0">
                      <a:pos x="18" y="32"/>
                    </a:cxn>
                    <a:cxn ang="0">
                      <a:pos x="58" y="52"/>
                    </a:cxn>
                    <a:cxn ang="0">
                      <a:pos x="66" y="66"/>
                    </a:cxn>
                    <a:cxn ang="0">
                      <a:pos x="112" y="66"/>
                    </a:cxn>
                    <a:cxn ang="0">
                      <a:pos x="160" y="60"/>
                    </a:cxn>
                    <a:cxn ang="0">
                      <a:pos x="186" y="84"/>
                    </a:cxn>
                    <a:cxn ang="0">
                      <a:pos x="202" y="98"/>
                    </a:cxn>
                    <a:cxn ang="0">
                      <a:pos x="194" y="120"/>
                    </a:cxn>
                    <a:cxn ang="0">
                      <a:pos x="186" y="142"/>
                    </a:cxn>
                    <a:cxn ang="0">
                      <a:pos x="198" y="154"/>
                    </a:cxn>
                    <a:cxn ang="0">
                      <a:pos x="206" y="182"/>
                    </a:cxn>
                    <a:cxn ang="0">
                      <a:pos x="232" y="190"/>
                    </a:cxn>
                    <a:cxn ang="0">
                      <a:pos x="250" y="186"/>
                    </a:cxn>
                    <a:cxn ang="0">
                      <a:pos x="282" y="198"/>
                    </a:cxn>
                    <a:cxn ang="0">
                      <a:pos x="326" y="188"/>
                    </a:cxn>
                    <a:cxn ang="0">
                      <a:pos x="342" y="188"/>
                    </a:cxn>
                  </a:cxnLst>
                  <a:rect l="0" t="0" r="r" b="b"/>
                  <a:pathLst>
                    <a:path w="708" h="204">
                      <a:moveTo>
                        <a:pt x="342" y="188"/>
                      </a:moveTo>
                      <a:lnTo>
                        <a:pt x="342" y="188"/>
                      </a:lnTo>
                      <a:lnTo>
                        <a:pt x="342" y="196"/>
                      </a:lnTo>
                      <a:lnTo>
                        <a:pt x="342" y="198"/>
                      </a:lnTo>
                      <a:lnTo>
                        <a:pt x="344" y="200"/>
                      </a:lnTo>
                      <a:lnTo>
                        <a:pt x="352" y="202"/>
                      </a:lnTo>
                      <a:lnTo>
                        <a:pt x="364" y="204"/>
                      </a:lnTo>
                      <a:lnTo>
                        <a:pt x="406" y="202"/>
                      </a:lnTo>
                      <a:lnTo>
                        <a:pt x="472" y="202"/>
                      </a:lnTo>
                      <a:lnTo>
                        <a:pt x="472" y="202"/>
                      </a:lnTo>
                      <a:lnTo>
                        <a:pt x="506" y="202"/>
                      </a:lnTo>
                      <a:lnTo>
                        <a:pt x="530" y="198"/>
                      </a:lnTo>
                      <a:lnTo>
                        <a:pt x="546" y="192"/>
                      </a:lnTo>
                      <a:lnTo>
                        <a:pt x="554" y="186"/>
                      </a:lnTo>
                      <a:lnTo>
                        <a:pt x="558" y="180"/>
                      </a:lnTo>
                      <a:lnTo>
                        <a:pt x="560" y="176"/>
                      </a:lnTo>
                      <a:lnTo>
                        <a:pt x="562" y="178"/>
                      </a:lnTo>
                      <a:lnTo>
                        <a:pt x="562" y="184"/>
                      </a:lnTo>
                      <a:lnTo>
                        <a:pt x="562" y="184"/>
                      </a:lnTo>
                      <a:lnTo>
                        <a:pt x="566" y="188"/>
                      </a:lnTo>
                      <a:lnTo>
                        <a:pt x="570" y="190"/>
                      </a:lnTo>
                      <a:lnTo>
                        <a:pt x="584" y="196"/>
                      </a:lnTo>
                      <a:lnTo>
                        <a:pt x="604" y="200"/>
                      </a:lnTo>
                      <a:lnTo>
                        <a:pt x="624" y="200"/>
                      </a:lnTo>
                      <a:lnTo>
                        <a:pt x="646" y="200"/>
                      </a:lnTo>
                      <a:lnTo>
                        <a:pt x="664" y="198"/>
                      </a:lnTo>
                      <a:lnTo>
                        <a:pt x="676" y="192"/>
                      </a:lnTo>
                      <a:lnTo>
                        <a:pt x="680" y="190"/>
                      </a:lnTo>
                      <a:lnTo>
                        <a:pt x="682" y="186"/>
                      </a:lnTo>
                      <a:lnTo>
                        <a:pt x="682" y="186"/>
                      </a:lnTo>
                      <a:lnTo>
                        <a:pt x="684" y="178"/>
                      </a:lnTo>
                      <a:lnTo>
                        <a:pt x="688" y="174"/>
                      </a:lnTo>
                      <a:lnTo>
                        <a:pt x="694" y="172"/>
                      </a:lnTo>
                      <a:lnTo>
                        <a:pt x="700" y="170"/>
                      </a:lnTo>
                      <a:lnTo>
                        <a:pt x="706" y="168"/>
                      </a:lnTo>
                      <a:lnTo>
                        <a:pt x="708" y="168"/>
                      </a:lnTo>
                      <a:lnTo>
                        <a:pt x="708" y="166"/>
                      </a:lnTo>
                      <a:lnTo>
                        <a:pt x="700" y="162"/>
                      </a:lnTo>
                      <a:lnTo>
                        <a:pt x="700" y="162"/>
                      </a:lnTo>
                      <a:lnTo>
                        <a:pt x="694" y="158"/>
                      </a:lnTo>
                      <a:lnTo>
                        <a:pt x="690" y="154"/>
                      </a:lnTo>
                      <a:lnTo>
                        <a:pt x="692" y="152"/>
                      </a:lnTo>
                      <a:lnTo>
                        <a:pt x="696" y="148"/>
                      </a:lnTo>
                      <a:lnTo>
                        <a:pt x="700" y="144"/>
                      </a:lnTo>
                      <a:lnTo>
                        <a:pt x="702" y="140"/>
                      </a:lnTo>
                      <a:lnTo>
                        <a:pt x="704" y="134"/>
                      </a:lnTo>
                      <a:lnTo>
                        <a:pt x="700" y="126"/>
                      </a:lnTo>
                      <a:lnTo>
                        <a:pt x="700" y="126"/>
                      </a:lnTo>
                      <a:lnTo>
                        <a:pt x="694" y="118"/>
                      </a:lnTo>
                      <a:lnTo>
                        <a:pt x="688" y="114"/>
                      </a:lnTo>
                      <a:lnTo>
                        <a:pt x="680" y="112"/>
                      </a:lnTo>
                      <a:lnTo>
                        <a:pt x="672" y="110"/>
                      </a:lnTo>
                      <a:lnTo>
                        <a:pt x="654" y="110"/>
                      </a:lnTo>
                      <a:lnTo>
                        <a:pt x="648" y="108"/>
                      </a:lnTo>
                      <a:lnTo>
                        <a:pt x="642" y="104"/>
                      </a:lnTo>
                      <a:lnTo>
                        <a:pt x="642" y="104"/>
                      </a:lnTo>
                      <a:lnTo>
                        <a:pt x="636" y="98"/>
                      </a:lnTo>
                      <a:lnTo>
                        <a:pt x="626" y="96"/>
                      </a:lnTo>
                      <a:lnTo>
                        <a:pt x="614" y="94"/>
                      </a:lnTo>
                      <a:lnTo>
                        <a:pt x="600" y="96"/>
                      </a:lnTo>
                      <a:lnTo>
                        <a:pt x="560" y="98"/>
                      </a:lnTo>
                      <a:lnTo>
                        <a:pt x="506" y="106"/>
                      </a:lnTo>
                      <a:lnTo>
                        <a:pt x="506" y="106"/>
                      </a:lnTo>
                      <a:lnTo>
                        <a:pt x="480" y="110"/>
                      </a:lnTo>
                      <a:lnTo>
                        <a:pt x="464" y="114"/>
                      </a:lnTo>
                      <a:lnTo>
                        <a:pt x="454" y="120"/>
                      </a:lnTo>
                      <a:lnTo>
                        <a:pt x="446" y="124"/>
                      </a:lnTo>
                      <a:lnTo>
                        <a:pt x="442" y="126"/>
                      </a:lnTo>
                      <a:lnTo>
                        <a:pt x="438" y="128"/>
                      </a:lnTo>
                      <a:lnTo>
                        <a:pt x="430" y="126"/>
                      </a:lnTo>
                      <a:lnTo>
                        <a:pt x="416" y="122"/>
                      </a:lnTo>
                      <a:lnTo>
                        <a:pt x="416" y="122"/>
                      </a:lnTo>
                      <a:lnTo>
                        <a:pt x="402" y="118"/>
                      </a:lnTo>
                      <a:lnTo>
                        <a:pt x="390" y="118"/>
                      </a:lnTo>
                      <a:lnTo>
                        <a:pt x="382" y="118"/>
                      </a:lnTo>
                      <a:lnTo>
                        <a:pt x="374" y="120"/>
                      </a:lnTo>
                      <a:lnTo>
                        <a:pt x="368" y="122"/>
                      </a:lnTo>
                      <a:lnTo>
                        <a:pt x="362" y="122"/>
                      </a:lnTo>
                      <a:lnTo>
                        <a:pt x="354" y="120"/>
                      </a:lnTo>
                      <a:lnTo>
                        <a:pt x="346" y="114"/>
                      </a:lnTo>
                      <a:lnTo>
                        <a:pt x="346" y="114"/>
                      </a:lnTo>
                      <a:lnTo>
                        <a:pt x="338" y="110"/>
                      </a:lnTo>
                      <a:lnTo>
                        <a:pt x="332" y="108"/>
                      </a:lnTo>
                      <a:lnTo>
                        <a:pt x="330" y="110"/>
                      </a:lnTo>
                      <a:lnTo>
                        <a:pt x="328" y="114"/>
                      </a:lnTo>
                      <a:lnTo>
                        <a:pt x="328" y="118"/>
                      </a:lnTo>
                      <a:lnTo>
                        <a:pt x="326" y="122"/>
                      </a:lnTo>
                      <a:lnTo>
                        <a:pt x="324" y="124"/>
                      </a:lnTo>
                      <a:lnTo>
                        <a:pt x="318" y="122"/>
                      </a:lnTo>
                      <a:lnTo>
                        <a:pt x="318" y="122"/>
                      </a:lnTo>
                      <a:lnTo>
                        <a:pt x="312" y="118"/>
                      </a:lnTo>
                      <a:lnTo>
                        <a:pt x="310" y="116"/>
                      </a:lnTo>
                      <a:lnTo>
                        <a:pt x="310" y="112"/>
                      </a:lnTo>
                      <a:lnTo>
                        <a:pt x="310" y="110"/>
                      </a:lnTo>
                      <a:lnTo>
                        <a:pt x="312" y="106"/>
                      </a:lnTo>
                      <a:lnTo>
                        <a:pt x="310" y="102"/>
                      </a:lnTo>
                      <a:lnTo>
                        <a:pt x="308" y="96"/>
                      </a:lnTo>
                      <a:lnTo>
                        <a:pt x="300" y="90"/>
                      </a:lnTo>
                      <a:lnTo>
                        <a:pt x="300" y="90"/>
                      </a:lnTo>
                      <a:lnTo>
                        <a:pt x="294" y="84"/>
                      </a:lnTo>
                      <a:lnTo>
                        <a:pt x="286" y="82"/>
                      </a:lnTo>
                      <a:lnTo>
                        <a:pt x="280" y="82"/>
                      </a:lnTo>
                      <a:lnTo>
                        <a:pt x="276" y="82"/>
                      </a:lnTo>
                      <a:lnTo>
                        <a:pt x="268" y="84"/>
                      </a:lnTo>
                      <a:lnTo>
                        <a:pt x="266" y="82"/>
                      </a:lnTo>
                      <a:lnTo>
                        <a:pt x="264" y="78"/>
                      </a:lnTo>
                      <a:lnTo>
                        <a:pt x="264" y="78"/>
                      </a:lnTo>
                      <a:lnTo>
                        <a:pt x="262" y="76"/>
                      </a:lnTo>
                      <a:lnTo>
                        <a:pt x="264" y="74"/>
                      </a:lnTo>
                      <a:lnTo>
                        <a:pt x="270" y="72"/>
                      </a:lnTo>
                      <a:lnTo>
                        <a:pt x="290" y="72"/>
                      </a:lnTo>
                      <a:lnTo>
                        <a:pt x="308" y="74"/>
                      </a:lnTo>
                      <a:lnTo>
                        <a:pt x="314" y="72"/>
                      </a:lnTo>
                      <a:lnTo>
                        <a:pt x="316" y="70"/>
                      </a:lnTo>
                      <a:lnTo>
                        <a:pt x="316" y="66"/>
                      </a:lnTo>
                      <a:lnTo>
                        <a:pt x="316" y="66"/>
                      </a:lnTo>
                      <a:lnTo>
                        <a:pt x="314" y="62"/>
                      </a:lnTo>
                      <a:lnTo>
                        <a:pt x="308" y="58"/>
                      </a:lnTo>
                      <a:lnTo>
                        <a:pt x="296" y="56"/>
                      </a:lnTo>
                      <a:lnTo>
                        <a:pt x="278" y="52"/>
                      </a:lnTo>
                      <a:lnTo>
                        <a:pt x="268" y="48"/>
                      </a:lnTo>
                      <a:lnTo>
                        <a:pt x="258" y="44"/>
                      </a:lnTo>
                      <a:lnTo>
                        <a:pt x="258" y="44"/>
                      </a:lnTo>
                      <a:lnTo>
                        <a:pt x="240" y="34"/>
                      </a:lnTo>
                      <a:lnTo>
                        <a:pt x="232" y="32"/>
                      </a:lnTo>
                      <a:lnTo>
                        <a:pt x="224" y="30"/>
                      </a:lnTo>
                      <a:lnTo>
                        <a:pt x="204" y="32"/>
                      </a:lnTo>
                      <a:lnTo>
                        <a:pt x="182" y="36"/>
                      </a:lnTo>
                      <a:lnTo>
                        <a:pt x="182" y="36"/>
                      </a:lnTo>
                      <a:lnTo>
                        <a:pt x="170" y="36"/>
                      </a:lnTo>
                      <a:lnTo>
                        <a:pt x="162" y="34"/>
                      </a:lnTo>
                      <a:lnTo>
                        <a:pt x="154" y="30"/>
                      </a:lnTo>
                      <a:lnTo>
                        <a:pt x="148" y="24"/>
                      </a:lnTo>
                      <a:lnTo>
                        <a:pt x="136" y="14"/>
                      </a:lnTo>
                      <a:lnTo>
                        <a:pt x="130" y="10"/>
                      </a:lnTo>
                      <a:lnTo>
                        <a:pt x="124" y="10"/>
                      </a:lnTo>
                      <a:lnTo>
                        <a:pt x="124" y="10"/>
                      </a:lnTo>
                      <a:lnTo>
                        <a:pt x="114" y="10"/>
                      </a:lnTo>
                      <a:lnTo>
                        <a:pt x="104" y="10"/>
                      </a:lnTo>
                      <a:lnTo>
                        <a:pt x="78" y="6"/>
                      </a:lnTo>
                      <a:lnTo>
                        <a:pt x="48" y="2"/>
                      </a:lnTo>
                      <a:lnTo>
                        <a:pt x="14" y="0"/>
                      </a:lnTo>
                      <a:lnTo>
                        <a:pt x="14" y="0"/>
                      </a:lnTo>
                      <a:lnTo>
                        <a:pt x="10" y="0"/>
                      </a:lnTo>
                      <a:lnTo>
                        <a:pt x="4" y="2"/>
                      </a:lnTo>
                      <a:lnTo>
                        <a:pt x="2" y="4"/>
                      </a:lnTo>
                      <a:lnTo>
                        <a:pt x="0" y="8"/>
                      </a:lnTo>
                      <a:lnTo>
                        <a:pt x="2" y="12"/>
                      </a:lnTo>
                      <a:lnTo>
                        <a:pt x="4" y="18"/>
                      </a:lnTo>
                      <a:lnTo>
                        <a:pt x="10" y="24"/>
                      </a:lnTo>
                      <a:lnTo>
                        <a:pt x="18" y="32"/>
                      </a:lnTo>
                      <a:lnTo>
                        <a:pt x="18" y="32"/>
                      </a:lnTo>
                      <a:lnTo>
                        <a:pt x="26" y="38"/>
                      </a:lnTo>
                      <a:lnTo>
                        <a:pt x="36" y="42"/>
                      </a:lnTo>
                      <a:lnTo>
                        <a:pt x="50" y="48"/>
                      </a:lnTo>
                      <a:lnTo>
                        <a:pt x="58" y="52"/>
                      </a:lnTo>
                      <a:lnTo>
                        <a:pt x="62" y="56"/>
                      </a:lnTo>
                      <a:lnTo>
                        <a:pt x="62" y="60"/>
                      </a:lnTo>
                      <a:lnTo>
                        <a:pt x="62" y="60"/>
                      </a:lnTo>
                      <a:lnTo>
                        <a:pt x="66" y="66"/>
                      </a:lnTo>
                      <a:lnTo>
                        <a:pt x="70" y="68"/>
                      </a:lnTo>
                      <a:lnTo>
                        <a:pt x="78" y="70"/>
                      </a:lnTo>
                      <a:lnTo>
                        <a:pt x="88" y="70"/>
                      </a:lnTo>
                      <a:lnTo>
                        <a:pt x="112" y="66"/>
                      </a:lnTo>
                      <a:lnTo>
                        <a:pt x="138" y="60"/>
                      </a:lnTo>
                      <a:lnTo>
                        <a:pt x="138" y="60"/>
                      </a:lnTo>
                      <a:lnTo>
                        <a:pt x="150" y="60"/>
                      </a:lnTo>
                      <a:lnTo>
                        <a:pt x="160" y="60"/>
                      </a:lnTo>
                      <a:lnTo>
                        <a:pt x="166" y="62"/>
                      </a:lnTo>
                      <a:lnTo>
                        <a:pt x="170" y="66"/>
                      </a:lnTo>
                      <a:lnTo>
                        <a:pt x="180" y="78"/>
                      </a:lnTo>
                      <a:lnTo>
                        <a:pt x="186" y="84"/>
                      </a:lnTo>
                      <a:lnTo>
                        <a:pt x="194" y="90"/>
                      </a:lnTo>
                      <a:lnTo>
                        <a:pt x="194" y="90"/>
                      </a:lnTo>
                      <a:lnTo>
                        <a:pt x="198" y="94"/>
                      </a:lnTo>
                      <a:lnTo>
                        <a:pt x="202" y="98"/>
                      </a:lnTo>
                      <a:lnTo>
                        <a:pt x="202" y="102"/>
                      </a:lnTo>
                      <a:lnTo>
                        <a:pt x="202" y="106"/>
                      </a:lnTo>
                      <a:lnTo>
                        <a:pt x="200" y="114"/>
                      </a:lnTo>
                      <a:lnTo>
                        <a:pt x="194" y="120"/>
                      </a:lnTo>
                      <a:lnTo>
                        <a:pt x="190" y="128"/>
                      </a:lnTo>
                      <a:lnTo>
                        <a:pt x="186" y="134"/>
                      </a:lnTo>
                      <a:lnTo>
                        <a:pt x="184" y="140"/>
                      </a:lnTo>
                      <a:lnTo>
                        <a:pt x="186" y="142"/>
                      </a:lnTo>
                      <a:lnTo>
                        <a:pt x="190" y="144"/>
                      </a:lnTo>
                      <a:lnTo>
                        <a:pt x="190" y="144"/>
                      </a:lnTo>
                      <a:lnTo>
                        <a:pt x="196" y="150"/>
                      </a:lnTo>
                      <a:lnTo>
                        <a:pt x="198" y="154"/>
                      </a:lnTo>
                      <a:lnTo>
                        <a:pt x="200" y="164"/>
                      </a:lnTo>
                      <a:lnTo>
                        <a:pt x="200" y="170"/>
                      </a:lnTo>
                      <a:lnTo>
                        <a:pt x="202" y="176"/>
                      </a:lnTo>
                      <a:lnTo>
                        <a:pt x="206" y="182"/>
                      </a:lnTo>
                      <a:lnTo>
                        <a:pt x="216" y="186"/>
                      </a:lnTo>
                      <a:lnTo>
                        <a:pt x="216" y="186"/>
                      </a:lnTo>
                      <a:lnTo>
                        <a:pt x="224" y="190"/>
                      </a:lnTo>
                      <a:lnTo>
                        <a:pt x="232" y="190"/>
                      </a:lnTo>
                      <a:lnTo>
                        <a:pt x="236" y="190"/>
                      </a:lnTo>
                      <a:lnTo>
                        <a:pt x="240" y="188"/>
                      </a:lnTo>
                      <a:lnTo>
                        <a:pt x="244" y="186"/>
                      </a:lnTo>
                      <a:lnTo>
                        <a:pt x="250" y="186"/>
                      </a:lnTo>
                      <a:lnTo>
                        <a:pt x="260" y="188"/>
                      </a:lnTo>
                      <a:lnTo>
                        <a:pt x="274" y="194"/>
                      </a:lnTo>
                      <a:lnTo>
                        <a:pt x="274" y="194"/>
                      </a:lnTo>
                      <a:lnTo>
                        <a:pt x="282" y="198"/>
                      </a:lnTo>
                      <a:lnTo>
                        <a:pt x="290" y="198"/>
                      </a:lnTo>
                      <a:lnTo>
                        <a:pt x="304" y="198"/>
                      </a:lnTo>
                      <a:lnTo>
                        <a:pt x="316" y="194"/>
                      </a:lnTo>
                      <a:lnTo>
                        <a:pt x="326" y="188"/>
                      </a:lnTo>
                      <a:lnTo>
                        <a:pt x="340" y="180"/>
                      </a:lnTo>
                      <a:lnTo>
                        <a:pt x="342" y="180"/>
                      </a:lnTo>
                      <a:lnTo>
                        <a:pt x="342" y="180"/>
                      </a:lnTo>
                      <a:lnTo>
                        <a:pt x="342" y="188"/>
                      </a:lnTo>
                      <a:lnTo>
                        <a:pt x="342" y="188"/>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78" name="Freeform 6103">
                  <a:extLst>
                    <a:ext uri="{FF2B5EF4-FFF2-40B4-BE49-F238E27FC236}">
                      <a16:creationId xmlns:a16="http://schemas.microsoft.com/office/drawing/2014/main" id="{EBF53502-5E51-9509-AD4D-32058D2B33AE}"/>
                    </a:ext>
                  </a:extLst>
                </p:cNvPr>
                <p:cNvSpPr>
                  <a:spLocks/>
                </p:cNvSpPr>
                <p:nvPr/>
              </p:nvSpPr>
              <p:spPr bwMode="auto">
                <a:xfrm>
                  <a:off x="1936750" y="1119823"/>
                  <a:ext cx="81280" cy="49530"/>
                </a:xfrm>
                <a:custGeom>
                  <a:avLst/>
                  <a:gdLst/>
                  <a:ahLst/>
                  <a:cxnLst>
                    <a:cxn ang="0">
                      <a:pos x="94" y="78"/>
                    </a:cxn>
                    <a:cxn ang="0">
                      <a:pos x="94" y="78"/>
                    </a:cxn>
                    <a:cxn ang="0">
                      <a:pos x="110" y="76"/>
                    </a:cxn>
                    <a:cxn ang="0">
                      <a:pos x="120" y="72"/>
                    </a:cxn>
                    <a:cxn ang="0">
                      <a:pos x="126" y="66"/>
                    </a:cxn>
                    <a:cxn ang="0">
                      <a:pos x="128" y="58"/>
                    </a:cxn>
                    <a:cxn ang="0">
                      <a:pos x="126" y="48"/>
                    </a:cxn>
                    <a:cxn ang="0">
                      <a:pos x="120" y="38"/>
                    </a:cxn>
                    <a:cxn ang="0">
                      <a:pos x="114" y="28"/>
                    </a:cxn>
                    <a:cxn ang="0">
                      <a:pos x="104" y="16"/>
                    </a:cxn>
                    <a:cxn ang="0">
                      <a:pos x="104" y="16"/>
                    </a:cxn>
                    <a:cxn ang="0">
                      <a:pos x="92" y="8"/>
                    </a:cxn>
                    <a:cxn ang="0">
                      <a:pos x="80" y="2"/>
                    </a:cxn>
                    <a:cxn ang="0">
                      <a:pos x="68" y="0"/>
                    </a:cxn>
                    <a:cxn ang="0">
                      <a:pos x="58" y="0"/>
                    </a:cxn>
                    <a:cxn ang="0">
                      <a:pos x="46" y="2"/>
                    </a:cxn>
                    <a:cxn ang="0">
                      <a:pos x="34" y="8"/>
                    </a:cxn>
                    <a:cxn ang="0">
                      <a:pos x="24" y="14"/>
                    </a:cxn>
                    <a:cxn ang="0">
                      <a:pos x="16" y="24"/>
                    </a:cxn>
                    <a:cxn ang="0">
                      <a:pos x="16" y="24"/>
                    </a:cxn>
                    <a:cxn ang="0">
                      <a:pos x="6" y="36"/>
                    </a:cxn>
                    <a:cxn ang="0">
                      <a:pos x="2" y="42"/>
                    </a:cxn>
                    <a:cxn ang="0">
                      <a:pos x="0" y="48"/>
                    </a:cxn>
                    <a:cxn ang="0">
                      <a:pos x="0" y="52"/>
                    </a:cxn>
                    <a:cxn ang="0">
                      <a:pos x="4" y="56"/>
                    </a:cxn>
                    <a:cxn ang="0">
                      <a:pos x="10" y="58"/>
                    </a:cxn>
                    <a:cxn ang="0">
                      <a:pos x="22" y="60"/>
                    </a:cxn>
                    <a:cxn ang="0">
                      <a:pos x="22" y="60"/>
                    </a:cxn>
                    <a:cxn ang="0">
                      <a:pos x="32" y="62"/>
                    </a:cxn>
                    <a:cxn ang="0">
                      <a:pos x="40" y="64"/>
                    </a:cxn>
                    <a:cxn ang="0">
                      <a:pos x="54" y="70"/>
                    </a:cxn>
                    <a:cxn ang="0">
                      <a:pos x="68" y="76"/>
                    </a:cxn>
                    <a:cxn ang="0">
                      <a:pos x="80" y="76"/>
                    </a:cxn>
                    <a:cxn ang="0">
                      <a:pos x="94" y="78"/>
                    </a:cxn>
                    <a:cxn ang="0">
                      <a:pos x="94" y="78"/>
                    </a:cxn>
                  </a:cxnLst>
                  <a:rect l="0" t="0" r="r" b="b"/>
                  <a:pathLst>
                    <a:path w="128" h="78">
                      <a:moveTo>
                        <a:pt x="94" y="78"/>
                      </a:moveTo>
                      <a:lnTo>
                        <a:pt x="94" y="78"/>
                      </a:lnTo>
                      <a:lnTo>
                        <a:pt x="110" y="76"/>
                      </a:lnTo>
                      <a:lnTo>
                        <a:pt x="120" y="72"/>
                      </a:lnTo>
                      <a:lnTo>
                        <a:pt x="126" y="66"/>
                      </a:lnTo>
                      <a:lnTo>
                        <a:pt x="128" y="58"/>
                      </a:lnTo>
                      <a:lnTo>
                        <a:pt x="126" y="48"/>
                      </a:lnTo>
                      <a:lnTo>
                        <a:pt x="120" y="38"/>
                      </a:lnTo>
                      <a:lnTo>
                        <a:pt x="114" y="28"/>
                      </a:lnTo>
                      <a:lnTo>
                        <a:pt x="104" y="16"/>
                      </a:lnTo>
                      <a:lnTo>
                        <a:pt x="104" y="16"/>
                      </a:lnTo>
                      <a:lnTo>
                        <a:pt x="92" y="8"/>
                      </a:lnTo>
                      <a:lnTo>
                        <a:pt x="80" y="2"/>
                      </a:lnTo>
                      <a:lnTo>
                        <a:pt x="68" y="0"/>
                      </a:lnTo>
                      <a:lnTo>
                        <a:pt x="58" y="0"/>
                      </a:lnTo>
                      <a:lnTo>
                        <a:pt x="46" y="2"/>
                      </a:lnTo>
                      <a:lnTo>
                        <a:pt x="34" y="8"/>
                      </a:lnTo>
                      <a:lnTo>
                        <a:pt x="24" y="14"/>
                      </a:lnTo>
                      <a:lnTo>
                        <a:pt x="16" y="24"/>
                      </a:lnTo>
                      <a:lnTo>
                        <a:pt x="16" y="24"/>
                      </a:lnTo>
                      <a:lnTo>
                        <a:pt x="6" y="36"/>
                      </a:lnTo>
                      <a:lnTo>
                        <a:pt x="2" y="42"/>
                      </a:lnTo>
                      <a:lnTo>
                        <a:pt x="0" y="48"/>
                      </a:lnTo>
                      <a:lnTo>
                        <a:pt x="0" y="52"/>
                      </a:lnTo>
                      <a:lnTo>
                        <a:pt x="4" y="56"/>
                      </a:lnTo>
                      <a:lnTo>
                        <a:pt x="10" y="58"/>
                      </a:lnTo>
                      <a:lnTo>
                        <a:pt x="22" y="60"/>
                      </a:lnTo>
                      <a:lnTo>
                        <a:pt x="22" y="60"/>
                      </a:lnTo>
                      <a:lnTo>
                        <a:pt x="32" y="62"/>
                      </a:lnTo>
                      <a:lnTo>
                        <a:pt x="40" y="64"/>
                      </a:lnTo>
                      <a:lnTo>
                        <a:pt x="54" y="70"/>
                      </a:lnTo>
                      <a:lnTo>
                        <a:pt x="68" y="76"/>
                      </a:lnTo>
                      <a:lnTo>
                        <a:pt x="80" y="76"/>
                      </a:lnTo>
                      <a:lnTo>
                        <a:pt x="94" y="78"/>
                      </a:lnTo>
                      <a:lnTo>
                        <a:pt x="94" y="78"/>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79" name="Freeform 6104">
                  <a:extLst>
                    <a:ext uri="{FF2B5EF4-FFF2-40B4-BE49-F238E27FC236}">
                      <a16:creationId xmlns:a16="http://schemas.microsoft.com/office/drawing/2014/main" id="{1DC5BCC1-F144-701A-405B-38EB34883239}"/>
                    </a:ext>
                  </a:extLst>
                </p:cNvPr>
                <p:cNvSpPr>
                  <a:spLocks/>
                </p:cNvSpPr>
                <p:nvPr/>
              </p:nvSpPr>
              <p:spPr bwMode="auto">
                <a:xfrm>
                  <a:off x="1940560" y="1010603"/>
                  <a:ext cx="80010" cy="19050"/>
                </a:xfrm>
                <a:custGeom>
                  <a:avLst/>
                  <a:gdLst/>
                  <a:ahLst/>
                  <a:cxnLst>
                    <a:cxn ang="0">
                      <a:pos x="92" y="28"/>
                    </a:cxn>
                    <a:cxn ang="0">
                      <a:pos x="92" y="28"/>
                    </a:cxn>
                    <a:cxn ang="0">
                      <a:pos x="108" y="28"/>
                    </a:cxn>
                    <a:cxn ang="0">
                      <a:pos x="120" y="26"/>
                    </a:cxn>
                    <a:cxn ang="0">
                      <a:pos x="124" y="22"/>
                    </a:cxn>
                    <a:cxn ang="0">
                      <a:pos x="126" y="20"/>
                    </a:cxn>
                    <a:cxn ang="0">
                      <a:pos x="126" y="16"/>
                    </a:cxn>
                    <a:cxn ang="0">
                      <a:pos x="122" y="12"/>
                    </a:cxn>
                    <a:cxn ang="0">
                      <a:pos x="112" y="8"/>
                    </a:cxn>
                    <a:cxn ang="0">
                      <a:pos x="100" y="4"/>
                    </a:cxn>
                    <a:cxn ang="0">
                      <a:pos x="82" y="2"/>
                    </a:cxn>
                    <a:cxn ang="0">
                      <a:pos x="82" y="2"/>
                    </a:cxn>
                    <a:cxn ang="0">
                      <a:pos x="48" y="0"/>
                    </a:cxn>
                    <a:cxn ang="0">
                      <a:pos x="22" y="4"/>
                    </a:cxn>
                    <a:cxn ang="0">
                      <a:pos x="14" y="6"/>
                    </a:cxn>
                    <a:cxn ang="0">
                      <a:pos x="6" y="8"/>
                    </a:cxn>
                    <a:cxn ang="0">
                      <a:pos x="2" y="12"/>
                    </a:cxn>
                    <a:cxn ang="0">
                      <a:pos x="0" y="18"/>
                    </a:cxn>
                    <a:cxn ang="0">
                      <a:pos x="0" y="18"/>
                    </a:cxn>
                    <a:cxn ang="0">
                      <a:pos x="2" y="24"/>
                    </a:cxn>
                    <a:cxn ang="0">
                      <a:pos x="6" y="26"/>
                    </a:cxn>
                    <a:cxn ang="0">
                      <a:pos x="16" y="28"/>
                    </a:cxn>
                    <a:cxn ang="0">
                      <a:pos x="26" y="30"/>
                    </a:cxn>
                    <a:cxn ang="0">
                      <a:pos x="56" y="28"/>
                    </a:cxn>
                    <a:cxn ang="0">
                      <a:pos x="92" y="28"/>
                    </a:cxn>
                    <a:cxn ang="0">
                      <a:pos x="92" y="28"/>
                    </a:cxn>
                  </a:cxnLst>
                  <a:rect l="0" t="0" r="r" b="b"/>
                  <a:pathLst>
                    <a:path w="126" h="30">
                      <a:moveTo>
                        <a:pt x="92" y="28"/>
                      </a:moveTo>
                      <a:lnTo>
                        <a:pt x="92" y="28"/>
                      </a:lnTo>
                      <a:lnTo>
                        <a:pt x="108" y="28"/>
                      </a:lnTo>
                      <a:lnTo>
                        <a:pt x="120" y="26"/>
                      </a:lnTo>
                      <a:lnTo>
                        <a:pt x="124" y="22"/>
                      </a:lnTo>
                      <a:lnTo>
                        <a:pt x="126" y="20"/>
                      </a:lnTo>
                      <a:lnTo>
                        <a:pt x="126" y="16"/>
                      </a:lnTo>
                      <a:lnTo>
                        <a:pt x="122" y="12"/>
                      </a:lnTo>
                      <a:lnTo>
                        <a:pt x="112" y="8"/>
                      </a:lnTo>
                      <a:lnTo>
                        <a:pt x="100" y="4"/>
                      </a:lnTo>
                      <a:lnTo>
                        <a:pt x="82" y="2"/>
                      </a:lnTo>
                      <a:lnTo>
                        <a:pt x="82" y="2"/>
                      </a:lnTo>
                      <a:lnTo>
                        <a:pt x="48" y="0"/>
                      </a:lnTo>
                      <a:lnTo>
                        <a:pt x="22" y="4"/>
                      </a:lnTo>
                      <a:lnTo>
                        <a:pt x="14" y="6"/>
                      </a:lnTo>
                      <a:lnTo>
                        <a:pt x="6" y="8"/>
                      </a:lnTo>
                      <a:lnTo>
                        <a:pt x="2" y="12"/>
                      </a:lnTo>
                      <a:lnTo>
                        <a:pt x="0" y="18"/>
                      </a:lnTo>
                      <a:lnTo>
                        <a:pt x="0" y="18"/>
                      </a:lnTo>
                      <a:lnTo>
                        <a:pt x="2" y="24"/>
                      </a:lnTo>
                      <a:lnTo>
                        <a:pt x="6" y="26"/>
                      </a:lnTo>
                      <a:lnTo>
                        <a:pt x="16" y="28"/>
                      </a:lnTo>
                      <a:lnTo>
                        <a:pt x="26" y="30"/>
                      </a:lnTo>
                      <a:lnTo>
                        <a:pt x="56" y="28"/>
                      </a:lnTo>
                      <a:lnTo>
                        <a:pt x="92" y="28"/>
                      </a:lnTo>
                      <a:lnTo>
                        <a:pt x="92" y="28"/>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80" name="Freeform 6105">
                  <a:extLst>
                    <a:ext uri="{FF2B5EF4-FFF2-40B4-BE49-F238E27FC236}">
                      <a16:creationId xmlns:a16="http://schemas.microsoft.com/office/drawing/2014/main" id="{357C5B9E-CAE7-D078-3CEA-0A23B5D2E310}"/>
                    </a:ext>
                  </a:extLst>
                </p:cNvPr>
                <p:cNvSpPr>
                  <a:spLocks/>
                </p:cNvSpPr>
                <p:nvPr/>
              </p:nvSpPr>
              <p:spPr bwMode="auto">
                <a:xfrm>
                  <a:off x="2194560" y="944563"/>
                  <a:ext cx="34290" cy="12700"/>
                </a:xfrm>
                <a:custGeom>
                  <a:avLst/>
                  <a:gdLst/>
                  <a:ahLst/>
                  <a:cxnLst>
                    <a:cxn ang="0">
                      <a:pos x="54" y="4"/>
                    </a:cxn>
                    <a:cxn ang="0">
                      <a:pos x="54" y="4"/>
                    </a:cxn>
                    <a:cxn ang="0">
                      <a:pos x="54" y="2"/>
                    </a:cxn>
                    <a:cxn ang="0">
                      <a:pos x="50" y="0"/>
                    </a:cxn>
                    <a:cxn ang="0">
                      <a:pos x="36" y="0"/>
                    </a:cxn>
                    <a:cxn ang="0">
                      <a:pos x="18" y="6"/>
                    </a:cxn>
                    <a:cxn ang="0">
                      <a:pos x="8" y="10"/>
                    </a:cxn>
                    <a:cxn ang="0">
                      <a:pos x="2" y="14"/>
                    </a:cxn>
                    <a:cxn ang="0">
                      <a:pos x="2" y="14"/>
                    </a:cxn>
                    <a:cxn ang="0">
                      <a:pos x="0" y="18"/>
                    </a:cxn>
                    <a:cxn ang="0">
                      <a:pos x="4" y="20"/>
                    </a:cxn>
                    <a:cxn ang="0">
                      <a:pos x="20" y="18"/>
                    </a:cxn>
                    <a:cxn ang="0">
                      <a:pos x="42" y="12"/>
                    </a:cxn>
                    <a:cxn ang="0">
                      <a:pos x="50" y="8"/>
                    </a:cxn>
                    <a:cxn ang="0">
                      <a:pos x="54" y="4"/>
                    </a:cxn>
                    <a:cxn ang="0">
                      <a:pos x="54" y="4"/>
                    </a:cxn>
                  </a:cxnLst>
                  <a:rect l="0" t="0" r="r" b="b"/>
                  <a:pathLst>
                    <a:path w="54" h="20">
                      <a:moveTo>
                        <a:pt x="54" y="4"/>
                      </a:moveTo>
                      <a:lnTo>
                        <a:pt x="54" y="4"/>
                      </a:lnTo>
                      <a:lnTo>
                        <a:pt x="54" y="2"/>
                      </a:lnTo>
                      <a:lnTo>
                        <a:pt x="50" y="0"/>
                      </a:lnTo>
                      <a:lnTo>
                        <a:pt x="36" y="0"/>
                      </a:lnTo>
                      <a:lnTo>
                        <a:pt x="18" y="6"/>
                      </a:lnTo>
                      <a:lnTo>
                        <a:pt x="8" y="10"/>
                      </a:lnTo>
                      <a:lnTo>
                        <a:pt x="2" y="14"/>
                      </a:lnTo>
                      <a:lnTo>
                        <a:pt x="2" y="14"/>
                      </a:lnTo>
                      <a:lnTo>
                        <a:pt x="0" y="18"/>
                      </a:lnTo>
                      <a:lnTo>
                        <a:pt x="4" y="20"/>
                      </a:lnTo>
                      <a:lnTo>
                        <a:pt x="20" y="18"/>
                      </a:lnTo>
                      <a:lnTo>
                        <a:pt x="42" y="12"/>
                      </a:lnTo>
                      <a:lnTo>
                        <a:pt x="50" y="8"/>
                      </a:lnTo>
                      <a:lnTo>
                        <a:pt x="54" y="4"/>
                      </a:lnTo>
                      <a:lnTo>
                        <a:pt x="54" y="4"/>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81" name="Freeform 6106">
                  <a:extLst>
                    <a:ext uri="{FF2B5EF4-FFF2-40B4-BE49-F238E27FC236}">
                      <a16:creationId xmlns:a16="http://schemas.microsoft.com/office/drawing/2014/main" id="{0DC52CFC-D36C-E686-D44B-A4C7758D4911}"/>
                    </a:ext>
                  </a:extLst>
                </p:cNvPr>
                <p:cNvSpPr>
                  <a:spLocks/>
                </p:cNvSpPr>
                <p:nvPr/>
              </p:nvSpPr>
              <p:spPr bwMode="auto">
                <a:xfrm>
                  <a:off x="2057400" y="727393"/>
                  <a:ext cx="784860" cy="367030"/>
                </a:xfrm>
                <a:custGeom>
                  <a:avLst/>
                  <a:gdLst/>
                  <a:ahLst/>
                  <a:cxnLst>
                    <a:cxn ang="0">
                      <a:pos x="68" y="162"/>
                    </a:cxn>
                    <a:cxn ang="0">
                      <a:pos x="122" y="204"/>
                    </a:cxn>
                    <a:cxn ang="0">
                      <a:pos x="246" y="182"/>
                    </a:cxn>
                    <a:cxn ang="0">
                      <a:pos x="202" y="210"/>
                    </a:cxn>
                    <a:cxn ang="0">
                      <a:pos x="334" y="210"/>
                    </a:cxn>
                    <a:cxn ang="0">
                      <a:pos x="494" y="186"/>
                    </a:cxn>
                    <a:cxn ang="0">
                      <a:pos x="540" y="190"/>
                    </a:cxn>
                    <a:cxn ang="0">
                      <a:pos x="450" y="222"/>
                    </a:cxn>
                    <a:cxn ang="0">
                      <a:pos x="402" y="274"/>
                    </a:cxn>
                    <a:cxn ang="0">
                      <a:pos x="402" y="298"/>
                    </a:cxn>
                    <a:cxn ang="0">
                      <a:pos x="246" y="240"/>
                    </a:cxn>
                    <a:cxn ang="0">
                      <a:pos x="226" y="284"/>
                    </a:cxn>
                    <a:cxn ang="0">
                      <a:pos x="296" y="336"/>
                    </a:cxn>
                    <a:cxn ang="0">
                      <a:pos x="336" y="356"/>
                    </a:cxn>
                    <a:cxn ang="0">
                      <a:pos x="298" y="364"/>
                    </a:cxn>
                    <a:cxn ang="0">
                      <a:pos x="168" y="410"/>
                    </a:cxn>
                    <a:cxn ang="0">
                      <a:pos x="226" y="422"/>
                    </a:cxn>
                    <a:cxn ang="0">
                      <a:pos x="256" y="440"/>
                    </a:cxn>
                    <a:cxn ang="0">
                      <a:pos x="330" y="460"/>
                    </a:cxn>
                    <a:cxn ang="0">
                      <a:pos x="342" y="464"/>
                    </a:cxn>
                    <a:cxn ang="0">
                      <a:pos x="238" y="460"/>
                    </a:cxn>
                    <a:cxn ang="0">
                      <a:pos x="140" y="450"/>
                    </a:cxn>
                    <a:cxn ang="0">
                      <a:pos x="160" y="502"/>
                    </a:cxn>
                    <a:cxn ang="0">
                      <a:pos x="92" y="546"/>
                    </a:cxn>
                    <a:cxn ang="0">
                      <a:pos x="146" y="562"/>
                    </a:cxn>
                    <a:cxn ang="0">
                      <a:pos x="244" y="562"/>
                    </a:cxn>
                    <a:cxn ang="0">
                      <a:pos x="322" y="552"/>
                    </a:cxn>
                    <a:cxn ang="0">
                      <a:pos x="438" y="548"/>
                    </a:cxn>
                    <a:cxn ang="0">
                      <a:pos x="462" y="578"/>
                    </a:cxn>
                    <a:cxn ang="0">
                      <a:pos x="560" y="538"/>
                    </a:cxn>
                    <a:cxn ang="0">
                      <a:pos x="518" y="514"/>
                    </a:cxn>
                    <a:cxn ang="0">
                      <a:pos x="550" y="472"/>
                    </a:cxn>
                    <a:cxn ang="0">
                      <a:pos x="550" y="432"/>
                    </a:cxn>
                    <a:cxn ang="0">
                      <a:pos x="668" y="402"/>
                    </a:cxn>
                    <a:cxn ang="0">
                      <a:pos x="684" y="372"/>
                    </a:cxn>
                    <a:cxn ang="0">
                      <a:pos x="686" y="348"/>
                    </a:cxn>
                    <a:cxn ang="0">
                      <a:pos x="658" y="326"/>
                    </a:cxn>
                    <a:cxn ang="0">
                      <a:pos x="588" y="318"/>
                    </a:cxn>
                    <a:cxn ang="0">
                      <a:pos x="752" y="284"/>
                    </a:cxn>
                    <a:cxn ang="0">
                      <a:pos x="832" y="278"/>
                    </a:cxn>
                    <a:cxn ang="0">
                      <a:pos x="1076" y="154"/>
                    </a:cxn>
                    <a:cxn ang="0">
                      <a:pos x="1000" y="142"/>
                    </a:cxn>
                    <a:cxn ang="0">
                      <a:pos x="1232" y="76"/>
                    </a:cxn>
                    <a:cxn ang="0">
                      <a:pos x="1168" y="54"/>
                    </a:cxn>
                    <a:cxn ang="0">
                      <a:pos x="1094" y="20"/>
                    </a:cxn>
                    <a:cxn ang="0">
                      <a:pos x="962" y="40"/>
                    </a:cxn>
                    <a:cxn ang="0">
                      <a:pos x="1006" y="20"/>
                    </a:cxn>
                    <a:cxn ang="0">
                      <a:pos x="858" y="2"/>
                    </a:cxn>
                    <a:cxn ang="0">
                      <a:pos x="690" y="10"/>
                    </a:cxn>
                    <a:cxn ang="0">
                      <a:pos x="500" y="14"/>
                    </a:cxn>
                    <a:cxn ang="0">
                      <a:pos x="412" y="24"/>
                    </a:cxn>
                    <a:cxn ang="0">
                      <a:pos x="392" y="42"/>
                    </a:cxn>
                    <a:cxn ang="0">
                      <a:pos x="340" y="70"/>
                    </a:cxn>
                    <a:cxn ang="0">
                      <a:pos x="264" y="52"/>
                    </a:cxn>
                    <a:cxn ang="0">
                      <a:pos x="224" y="76"/>
                    </a:cxn>
                    <a:cxn ang="0">
                      <a:pos x="248" y="98"/>
                    </a:cxn>
                    <a:cxn ang="0">
                      <a:pos x="130" y="92"/>
                    </a:cxn>
                    <a:cxn ang="0">
                      <a:pos x="50" y="104"/>
                    </a:cxn>
                    <a:cxn ang="0">
                      <a:pos x="12" y="144"/>
                    </a:cxn>
                  </a:cxnLst>
                  <a:rect l="0" t="0" r="r" b="b"/>
                  <a:pathLst>
                    <a:path w="1236" h="578">
                      <a:moveTo>
                        <a:pt x="44" y="148"/>
                      </a:moveTo>
                      <a:lnTo>
                        <a:pt x="44" y="148"/>
                      </a:lnTo>
                      <a:lnTo>
                        <a:pt x="50" y="150"/>
                      </a:lnTo>
                      <a:lnTo>
                        <a:pt x="58" y="152"/>
                      </a:lnTo>
                      <a:lnTo>
                        <a:pt x="74" y="150"/>
                      </a:lnTo>
                      <a:lnTo>
                        <a:pt x="80" y="150"/>
                      </a:lnTo>
                      <a:lnTo>
                        <a:pt x="80" y="152"/>
                      </a:lnTo>
                      <a:lnTo>
                        <a:pt x="74" y="156"/>
                      </a:lnTo>
                      <a:lnTo>
                        <a:pt x="74" y="156"/>
                      </a:lnTo>
                      <a:lnTo>
                        <a:pt x="68" y="162"/>
                      </a:lnTo>
                      <a:lnTo>
                        <a:pt x="62" y="168"/>
                      </a:lnTo>
                      <a:lnTo>
                        <a:pt x="62" y="172"/>
                      </a:lnTo>
                      <a:lnTo>
                        <a:pt x="62" y="178"/>
                      </a:lnTo>
                      <a:lnTo>
                        <a:pt x="66" y="182"/>
                      </a:lnTo>
                      <a:lnTo>
                        <a:pt x="72" y="186"/>
                      </a:lnTo>
                      <a:lnTo>
                        <a:pt x="82" y="190"/>
                      </a:lnTo>
                      <a:lnTo>
                        <a:pt x="94" y="194"/>
                      </a:lnTo>
                      <a:lnTo>
                        <a:pt x="94" y="194"/>
                      </a:lnTo>
                      <a:lnTo>
                        <a:pt x="108" y="200"/>
                      </a:lnTo>
                      <a:lnTo>
                        <a:pt x="122" y="204"/>
                      </a:lnTo>
                      <a:lnTo>
                        <a:pt x="144" y="212"/>
                      </a:lnTo>
                      <a:lnTo>
                        <a:pt x="156" y="216"/>
                      </a:lnTo>
                      <a:lnTo>
                        <a:pt x="166" y="214"/>
                      </a:lnTo>
                      <a:lnTo>
                        <a:pt x="178" y="212"/>
                      </a:lnTo>
                      <a:lnTo>
                        <a:pt x="192" y="204"/>
                      </a:lnTo>
                      <a:lnTo>
                        <a:pt x="192" y="204"/>
                      </a:lnTo>
                      <a:lnTo>
                        <a:pt x="206" y="194"/>
                      </a:lnTo>
                      <a:lnTo>
                        <a:pt x="222" y="188"/>
                      </a:lnTo>
                      <a:lnTo>
                        <a:pt x="234" y="184"/>
                      </a:lnTo>
                      <a:lnTo>
                        <a:pt x="246" y="182"/>
                      </a:lnTo>
                      <a:lnTo>
                        <a:pt x="254" y="182"/>
                      </a:lnTo>
                      <a:lnTo>
                        <a:pt x="258" y="182"/>
                      </a:lnTo>
                      <a:lnTo>
                        <a:pt x="256" y="184"/>
                      </a:lnTo>
                      <a:lnTo>
                        <a:pt x="250" y="186"/>
                      </a:lnTo>
                      <a:lnTo>
                        <a:pt x="250" y="186"/>
                      </a:lnTo>
                      <a:lnTo>
                        <a:pt x="224" y="194"/>
                      </a:lnTo>
                      <a:lnTo>
                        <a:pt x="212" y="200"/>
                      </a:lnTo>
                      <a:lnTo>
                        <a:pt x="204" y="206"/>
                      </a:lnTo>
                      <a:lnTo>
                        <a:pt x="202" y="208"/>
                      </a:lnTo>
                      <a:lnTo>
                        <a:pt x="202" y="210"/>
                      </a:lnTo>
                      <a:lnTo>
                        <a:pt x="204" y="214"/>
                      </a:lnTo>
                      <a:lnTo>
                        <a:pt x="208" y="216"/>
                      </a:lnTo>
                      <a:lnTo>
                        <a:pt x="224" y="220"/>
                      </a:lnTo>
                      <a:lnTo>
                        <a:pt x="254" y="224"/>
                      </a:lnTo>
                      <a:lnTo>
                        <a:pt x="254" y="224"/>
                      </a:lnTo>
                      <a:lnTo>
                        <a:pt x="284" y="224"/>
                      </a:lnTo>
                      <a:lnTo>
                        <a:pt x="304" y="224"/>
                      </a:lnTo>
                      <a:lnTo>
                        <a:pt x="318" y="220"/>
                      </a:lnTo>
                      <a:lnTo>
                        <a:pt x="326" y="216"/>
                      </a:lnTo>
                      <a:lnTo>
                        <a:pt x="334" y="210"/>
                      </a:lnTo>
                      <a:lnTo>
                        <a:pt x="338" y="210"/>
                      </a:lnTo>
                      <a:lnTo>
                        <a:pt x="346" y="214"/>
                      </a:lnTo>
                      <a:lnTo>
                        <a:pt x="346" y="214"/>
                      </a:lnTo>
                      <a:lnTo>
                        <a:pt x="358" y="218"/>
                      </a:lnTo>
                      <a:lnTo>
                        <a:pt x="374" y="218"/>
                      </a:lnTo>
                      <a:lnTo>
                        <a:pt x="394" y="216"/>
                      </a:lnTo>
                      <a:lnTo>
                        <a:pt x="418" y="212"/>
                      </a:lnTo>
                      <a:lnTo>
                        <a:pt x="442" y="206"/>
                      </a:lnTo>
                      <a:lnTo>
                        <a:pt x="468" y="196"/>
                      </a:lnTo>
                      <a:lnTo>
                        <a:pt x="494" y="186"/>
                      </a:lnTo>
                      <a:lnTo>
                        <a:pt x="520" y="174"/>
                      </a:lnTo>
                      <a:lnTo>
                        <a:pt x="520" y="174"/>
                      </a:lnTo>
                      <a:lnTo>
                        <a:pt x="546" y="160"/>
                      </a:lnTo>
                      <a:lnTo>
                        <a:pt x="544" y="162"/>
                      </a:lnTo>
                      <a:lnTo>
                        <a:pt x="540" y="168"/>
                      </a:lnTo>
                      <a:lnTo>
                        <a:pt x="536" y="176"/>
                      </a:lnTo>
                      <a:lnTo>
                        <a:pt x="534" y="180"/>
                      </a:lnTo>
                      <a:lnTo>
                        <a:pt x="534" y="184"/>
                      </a:lnTo>
                      <a:lnTo>
                        <a:pt x="536" y="186"/>
                      </a:lnTo>
                      <a:lnTo>
                        <a:pt x="540" y="190"/>
                      </a:lnTo>
                      <a:lnTo>
                        <a:pt x="548" y="192"/>
                      </a:lnTo>
                      <a:lnTo>
                        <a:pt x="558" y="192"/>
                      </a:lnTo>
                      <a:lnTo>
                        <a:pt x="558" y="192"/>
                      </a:lnTo>
                      <a:lnTo>
                        <a:pt x="576" y="194"/>
                      </a:lnTo>
                      <a:lnTo>
                        <a:pt x="584" y="196"/>
                      </a:lnTo>
                      <a:lnTo>
                        <a:pt x="584" y="196"/>
                      </a:lnTo>
                      <a:lnTo>
                        <a:pt x="580" y="198"/>
                      </a:lnTo>
                      <a:lnTo>
                        <a:pt x="570" y="200"/>
                      </a:lnTo>
                      <a:lnTo>
                        <a:pt x="524" y="208"/>
                      </a:lnTo>
                      <a:lnTo>
                        <a:pt x="450" y="222"/>
                      </a:lnTo>
                      <a:lnTo>
                        <a:pt x="450" y="222"/>
                      </a:lnTo>
                      <a:lnTo>
                        <a:pt x="388" y="236"/>
                      </a:lnTo>
                      <a:lnTo>
                        <a:pt x="370" y="238"/>
                      </a:lnTo>
                      <a:lnTo>
                        <a:pt x="360" y="242"/>
                      </a:lnTo>
                      <a:lnTo>
                        <a:pt x="358" y="242"/>
                      </a:lnTo>
                      <a:lnTo>
                        <a:pt x="358" y="244"/>
                      </a:lnTo>
                      <a:lnTo>
                        <a:pt x="362" y="248"/>
                      </a:lnTo>
                      <a:lnTo>
                        <a:pt x="386" y="264"/>
                      </a:lnTo>
                      <a:lnTo>
                        <a:pt x="386" y="264"/>
                      </a:lnTo>
                      <a:lnTo>
                        <a:pt x="402" y="274"/>
                      </a:lnTo>
                      <a:lnTo>
                        <a:pt x="418" y="282"/>
                      </a:lnTo>
                      <a:lnTo>
                        <a:pt x="442" y="292"/>
                      </a:lnTo>
                      <a:lnTo>
                        <a:pt x="450" y="296"/>
                      </a:lnTo>
                      <a:lnTo>
                        <a:pt x="452" y="298"/>
                      </a:lnTo>
                      <a:lnTo>
                        <a:pt x="448" y="302"/>
                      </a:lnTo>
                      <a:lnTo>
                        <a:pt x="436" y="304"/>
                      </a:lnTo>
                      <a:lnTo>
                        <a:pt x="436" y="304"/>
                      </a:lnTo>
                      <a:lnTo>
                        <a:pt x="422" y="304"/>
                      </a:lnTo>
                      <a:lnTo>
                        <a:pt x="410" y="302"/>
                      </a:lnTo>
                      <a:lnTo>
                        <a:pt x="402" y="298"/>
                      </a:lnTo>
                      <a:lnTo>
                        <a:pt x="394" y="292"/>
                      </a:lnTo>
                      <a:lnTo>
                        <a:pt x="378" y="276"/>
                      </a:lnTo>
                      <a:lnTo>
                        <a:pt x="368" y="268"/>
                      </a:lnTo>
                      <a:lnTo>
                        <a:pt x="356" y="260"/>
                      </a:lnTo>
                      <a:lnTo>
                        <a:pt x="356" y="260"/>
                      </a:lnTo>
                      <a:lnTo>
                        <a:pt x="338" y="254"/>
                      </a:lnTo>
                      <a:lnTo>
                        <a:pt x="316" y="248"/>
                      </a:lnTo>
                      <a:lnTo>
                        <a:pt x="292" y="244"/>
                      </a:lnTo>
                      <a:lnTo>
                        <a:pt x="268" y="242"/>
                      </a:lnTo>
                      <a:lnTo>
                        <a:pt x="246" y="240"/>
                      </a:lnTo>
                      <a:lnTo>
                        <a:pt x="228" y="242"/>
                      </a:lnTo>
                      <a:lnTo>
                        <a:pt x="220" y="244"/>
                      </a:lnTo>
                      <a:lnTo>
                        <a:pt x="216" y="246"/>
                      </a:lnTo>
                      <a:lnTo>
                        <a:pt x="212" y="250"/>
                      </a:lnTo>
                      <a:lnTo>
                        <a:pt x="210" y="254"/>
                      </a:lnTo>
                      <a:lnTo>
                        <a:pt x="210" y="254"/>
                      </a:lnTo>
                      <a:lnTo>
                        <a:pt x="210" y="270"/>
                      </a:lnTo>
                      <a:lnTo>
                        <a:pt x="212" y="274"/>
                      </a:lnTo>
                      <a:lnTo>
                        <a:pt x="214" y="278"/>
                      </a:lnTo>
                      <a:lnTo>
                        <a:pt x="226" y="284"/>
                      </a:lnTo>
                      <a:lnTo>
                        <a:pt x="250" y="292"/>
                      </a:lnTo>
                      <a:lnTo>
                        <a:pt x="250" y="292"/>
                      </a:lnTo>
                      <a:lnTo>
                        <a:pt x="262" y="298"/>
                      </a:lnTo>
                      <a:lnTo>
                        <a:pt x="276" y="304"/>
                      </a:lnTo>
                      <a:lnTo>
                        <a:pt x="294" y="318"/>
                      </a:lnTo>
                      <a:lnTo>
                        <a:pt x="300" y="326"/>
                      </a:lnTo>
                      <a:lnTo>
                        <a:pt x="302" y="330"/>
                      </a:lnTo>
                      <a:lnTo>
                        <a:pt x="302" y="334"/>
                      </a:lnTo>
                      <a:lnTo>
                        <a:pt x="296" y="336"/>
                      </a:lnTo>
                      <a:lnTo>
                        <a:pt x="296" y="336"/>
                      </a:lnTo>
                      <a:lnTo>
                        <a:pt x="290" y="338"/>
                      </a:lnTo>
                      <a:lnTo>
                        <a:pt x="286" y="340"/>
                      </a:lnTo>
                      <a:lnTo>
                        <a:pt x="284" y="344"/>
                      </a:lnTo>
                      <a:lnTo>
                        <a:pt x="286" y="346"/>
                      </a:lnTo>
                      <a:lnTo>
                        <a:pt x="290" y="348"/>
                      </a:lnTo>
                      <a:lnTo>
                        <a:pt x="296" y="352"/>
                      </a:lnTo>
                      <a:lnTo>
                        <a:pt x="308" y="354"/>
                      </a:lnTo>
                      <a:lnTo>
                        <a:pt x="320" y="356"/>
                      </a:lnTo>
                      <a:lnTo>
                        <a:pt x="320" y="356"/>
                      </a:lnTo>
                      <a:lnTo>
                        <a:pt x="336" y="356"/>
                      </a:lnTo>
                      <a:lnTo>
                        <a:pt x="348" y="360"/>
                      </a:lnTo>
                      <a:lnTo>
                        <a:pt x="356" y="362"/>
                      </a:lnTo>
                      <a:lnTo>
                        <a:pt x="362" y="366"/>
                      </a:lnTo>
                      <a:lnTo>
                        <a:pt x="364" y="368"/>
                      </a:lnTo>
                      <a:lnTo>
                        <a:pt x="360" y="368"/>
                      </a:lnTo>
                      <a:lnTo>
                        <a:pt x="352" y="368"/>
                      </a:lnTo>
                      <a:lnTo>
                        <a:pt x="340" y="368"/>
                      </a:lnTo>
                      <a:lnTo>
                        <a:pt x="340" y="368"/>
                      </a:lnTo>
                      <a:lnTo>
                        <a:pt x="320" y="366"/>
                      </a:lnTo>
                      <a:lnTo>
                        <a:pt x="298" y="364"/>
                      </a:lnTo>
                      <a:lnTo>
                        <a:pt x="250" y="366"/>
                      </a:lnTo>
                      <a:lnTo>
                        <a:pt x="228" y="368"/>
                      </a:lnTo>
                      <a:lnTo>
                        <a:pt x="208" y="372"/>
                      </a:lnTo>
                      <a:lnTo>
                        <a:pt x="192" y="376"/>
                      </a:lnTo>
                      <a:lnTo>
                        <a:pt x="182" y="382"/>
                      </a:lnTo>
                      <a:lnTo>
                        <a:pt x="182" y="382"/>
                      </a:lnTo>
                      <a:lnTo>
                        <a:pt x="176" y="388"/>
                      </a:lnTo>
                      <a:lnTo>
                        <a:pt x="172" y="394"/>
                      </a:lnTo>
                      <a:lnTo>
                        <a:pt x="170" y="402"/>
                      </a:lnTo>
                      <a:lnTo>
                        <a:pt x="168" y="410"/>
                      </a:lnTo>
                      <a:lnTo>
                        <a:pt x="170" y="416"/>
                      </a:lnTo>
                      <a:lnTo>
                        <a:pt x="176" y="420"/>
                      </a:lnTo>
                      <a:lnTo>
                        <a:pt x="184" y="422"/>
                      </a:lnTo>
                      <a:lnTo>
                        <a:pt x="196" y="420"/>
                      </a:lnTo>
                      <a:lnTo>
                        <a:pt x="196" y="420"/>
                      </a:lnTo>
                      <a:lnTo>
                        <a:pt x="208" y="418"/>
                      </a:lnTo>
                      <a:lnTo>
                        <a:pt x="216" y="418"/>
                      </a:lnTo>
                      <a:lnTo>
                        <a:pt x="220" y="418"/>
                      </a:lnTo>
                      <a:lnTo>
                        <a:pt x="224" y="420"/>
                      </a:lnTo>
                      <a:lnTo>
                        <a:pt x="226" y="422"/>
                      </a:lnTo>
                      <a:lnTo>
                        <a:pt x="230" y="424"/>
                      </a:lnTo>
                      <a:lnTo>
                        <a:pt x="236" y="424"/>
                      </a:lnTo>
                      <a:lnTo>
                        <a:pt x="246" y="424"/>
                      </a:lnTo>
                      <a:lnTo>
                        <a:pt x="246" y="424"/>
                      </a:lnTo>
                      <a:lnTo>
                        <a:pt x="256" y="422"/>
                      </a:lnTo>
                      <a:lnTo>
                        <a:pt x="260" y="422"/>
                      </a:lnTo>
                      <a:lnTo>
                        <a:pt x="260" y="424"/>
                      </a:lnTo>
                      <a:lnTo>
                        <a:pt x="260" y="428"/>
                      </a:lnTo>
                      <a:lnTo>
                        <a:pt x="258" y="434"/>
                      </a:lnTo>
                      <a:lnTo>
                        <a:pt x="256" y="440"/>
                      </a:lnTo>
                      <a:lnTo>
                        <a:pt x="258" y="450"/>
                      </a:lnTo>
                      <a:lnTo>
                        <a:pt x="266" y="460"/>
                      </a:lnTo>
                      <a:lnTo>
                        <a:pt x="266" y="460"/>
                      </a:lnTo>
                      <a:lnTo>
                        <a:pt x="270" y="464"/>
                      </a:lnTo>
                      <a:lnTo>
                        <a:pt x="276" y="468"/>
                      </a:lnTo>
                      <a:lnTo>
                        <a:pt x="282" y="470"/>
                      </a:lnTo>
                      <a:lnTo>
                        <a:pt x="288" y="472"/>
                      </a:lnTo>
                      <a:lnTo>
                        <a:pt x="302" y="470"/>
                      </a:lnTo>
                      <a:lnTo>
                        <a:pt x="316" y="466"/>
                      </a:lnTo>
                      <a:lnTo>
                        <a:pt x="330" y="460"/>
                      </a:lnTo>
                      <a:lnTo>
                        <a:pt x="342" y="450"/>
                      </a:lnTo>
                      <a:lnTo>
                        <a:pt x="354" y="442"/>
                      </a:lnTo>
                      <a:lnTo>
                        <a:pt x="366" y="432"/>
                      </a:lnTo>
                      <a:lnTo>
                        <a:pt x="366" y="432"/>
                      </a:lnTo>
                      <a:lnTo>
                        <a:pt x="372" y="426"/>
                      </a:lnTo>
                      <a:lnTo>
                        <a:pt x="372" y="428"/>
                      </a:lnTo>
                      <a:lnTo>
                        <a:pt x="372" y="430"/>
                      </a:lnTo>
                      <a:lnTo>
                        <a:pt x="366" y="440"/>
                      </a:lnTo>
                      <a:lnTo>
                        <a:pt x="356" y="452"/>
                      </a:lnTo>
                      <a:lnTo>
                        <a:pt x="342" y="464"/>
                      </a:lnTo>
                      <a:lnTo>
                        <a:pt x="326" y="476"/>
                      </a:lnTo>
                      <a:lnTo>
                        <a:pt x="316" y="482"/>
                      </a:lnTo>
                      <a:lnTo>
                        <a:pt x="306" y="484"/>
                      </a:lnTo>
                      <a:lnTo>
                        <a:pt x="296" y="486"/>
                      </a:lnTo>
                      <a:lnTo>
                        <a:pt x="286" y="486"/>
                      </a:lnTo>
                      <a:lnTo>
                        <a:pt x="286" y="486"/>
                      </a:lnTo>
                      <a:lnTo>
                        <a:pt x="270" y="482"/>
                      </a:lnTo>
                      <a:lnTo>
                        <a:pt x="256" y="476"/>
                      </a:lnTo>
                      <a:lnTo>
                        <a:pt x="246" y="468"/>
                      </a:lnTo>
                      <a:lnTo>
                        <a:pt x="238" y="460"/>
                      </a:lnTo>
                      <a:lnTo>
                        <a:pt x="228" y="452"/>
                      </a:lnTo>
                      <a:lnTo>
                        <a:pt x="218" y="446"/>
                      </a:lnTo>
                      <a:lnTo>
                        <a:pt x="206" y="440"/>
                      </a:lnTo>
                      <a:lnTo>
                        <a:pt x="190" y="438"/>
                      </a:lnTo>
                      <a:lnTo>
                        <a:pt x="190" y="438"/>
                      </a:lnTo>
                      <a:lnTo>
                        <a:pt x="160" y="440"/>
                      </a:lnTo>
                      <a:lnTo>
                        <a:pt x="150" y="440"/>
                      </a:lnTo>
                      <a:lnTo>
                        <a:pt x="144" y="444"/>
                      </a:lnTo>
                      <a:lnTo>
                        <a:pt x="140" y="446"/>
                      </a:lnTo>
                      <a:lnTo>
                        <a:pt x="140" y="450"/>
                      </a:lnTo>
                      <a:lnTo>
                        <a:pt x="144" y="456"/>
                      </a:lnTo>
                      <a:lnTo>
                        <a:pt x="150" y="462"/>
                      </a:lnTo>
                      <a:lnTo>
                        <a:pt x="150" y="462"/>
                      </a:lnTo>
                      <a:lnTo>
                        <a:pt x="166" y="476"/>
                      </a:lnTo>
                      <a:lnTo>
                        <a:pt x="182" y="490"/>
                      </a:lnTo>
                      <a:lnTo>
                        <a:pt x="184" y="494"/>
                      </a:lnTo>
                      <a:lnTo>
                        <a:pt x="184" y="496"/>
                      </a:lnTo>
                      <a:lnTo>
                        <a:pt x="182" y="498"/>
                      </a:lnTo>
                      <a:lnTo>
                        <a:pt x="174" y="500"/>
                      </a:lnTo>
                      <a:lnTo>
                        <a:pt x="160" y="502"/>
                      </a:lnTo>
                      <a:lnTo>
                        <a:pt x="160" y="502"/>
                      </a:lnTo>
                      <a:lnTo>
                        <a:pt x="142" y="502"/>
                      </a:lnTo>
                      <a:lnTo>
                        <a:pt x="124" y="506"/>
                      </a:lnTo>
                      <a:lnTo>
                        <a:pt x="110" y="512"/>
                      </a:lnTo>
                      <a:lnTo>
                        <a:pt x="98" y="518"/>
                      </a:lnTo>
                      <a:lnTo>
                        <a:pt x="90" y="526"/>
                      </a:lnTo>
                      <a:lnTo>
                        <a:pt x="88" y="534"/>
                      </a:lnTo>
                      <a:lnTo>
                        <a:pt x="88" y="538"/>
                      </a:lnTo>
                      <a:lnTo>
                        <a:pt x="88" y="542"/>
                      </a:lnTo>
                      <a:lnTo>
                        <a:pt x="92" y="546"/>
                      </a:lnTo>
                      <a:lnTo>
                        <a:pt x="96" y="550"/>
                      </a:lnTo>
                      <a:lnTo>
                        <a:pt x="96" y="550"/>
                      </a:lnTo>
                      <a:lnTo>
                        <a:pt x="100" y="552"/>
                      </a:lnTo>
                      <a:lnTo>
                        <a:pt x="104" y="552"/>
                      </a:lnTo>
                      <a:lnTo>
                        <a:pt x="114" y="552"/>
                      </a:lnTo>
                      <a:lnTo>
                        <a:pt x="124" y="552"/>
                      </a:lnTo>
                      <a:lnTo>
                        <a:pt x="130" y="554"/>
                      </a:lnTo>
                      <a:lnTo>
                        <a:pt x="138" y="558"/>
                      </a:lnTo>
                      <a:lnTo>
                        <a:pt x="138" y="558"/>
                      </a:lnTo>
                      <a:lnTo>
                        <a:pt x="146" y="562"/>
                      </a:lnTo>
                      <a:lnTo>
                        <a:pt x="154" y="566"/>
                      </a:lnTo>
                      <a:lnTo>
                        <a:pt x="162" y="566"/>
                      </a:lnTo>
                      <a:lnTo>
                        <a:pt x="170" y="564"/>
                      </a:lnTo>
                      <a:lnTo>
                        <a:pt x="186" y="560"/>
                      </a:lnTo>
                      <a:lnTo>
                        <a:pt x="200" y="552"/>
                      </a:lnTo>
                      <a:lnTo>
                        <a:pt x="200" y="552"/>
                      </a:lnTo>
                      <a:lnTo>
                        <a:pt x="206" y="552"/>
                      </a:lnTo>
                      <a:lnTo>
                        <a:pt x="212" y="552"/>
                      </a:lnTo>
                      <a:lnTo>
                        <a:pt x="226" y="556"/>
                      </a:lnTo>
                      <a:lnTo>
                        <a:pt x="244" y="562"/>
                      </a:lnTo>
                      <a:lnTo>
                        <a:pt x="256" y="566"/>
                      </a:lnTo>
                      <a:lnTo>
                        <a:pt x="272" y="566"/>
                      </a:lnTo>
                      <a:lnTo>
                        <a:pt x="272" y="566"/>
                      </a:lnTo>
                      <a:lnTo>
                        <a:pt x="286" y="566"/>
                      </a:lnTo>
                      <a:lnTo>
                        <a:pt x="294" y="564"/>
                      </a:lnTo>
                      <a:lnTo>
                        <a:pt x="298" y="560"/>
                      </a:lnTo>
                      <a:lnTo>
                        <a:pt x="302" y="556"/>
                      </a:lnTo>
                      <a:lnTo>
                        <a:pt x="306" y="554"/>
                      </a:lnTo>
                      <a:lnTo>
                        <a:pt x="312" y="552"/>
                      </a:lnTo>
                      <a:lnTo>
                        <a:pt x="322" y="552"/>
                      </a:lnTo>
                      <a:lnTo>
                        <a:pt x="336" y="558"/>
                      </a:lnTo>
                      <a:lnTo>
                        <a:pt x="336" y="558"/>
                      </a:lnTo>
                      <a:lnTo>
                        <a:pt x="346" y="560"/>
                      </a:lnTo>
                      <a:lnTo>
                        <a:pt x="356" y="560"/>
                      </a:lnTo>
                      <a:lnTo>
                        <a:pt x="376" y="560"/>
                      </a:lnTo>
                      <a:lnTo>
                        <a:pt x="394" y="556"/>
                      </a:lnTo>
                      <a:lnTo>
                        <a:pt x="412" y="552"/>
                      </a:lnTo>
                      <a:lnTo>
                        <a:pt x="426" y="548"/>
                      </a:lnTo>
                      <a:lnTo>
                        <a:pt x="436" y="548"/>
                      </a:lnTo>
                      <a:lnTo>
                        <a:pt x="438" y="548"/>
                      </a:lnTo>
                      <a:lnTo>
                        <a:pt x="440" y="550"/>
                      </a:lnTo>
                      <a:lnTo>
                        <a:pt x="442" y="554"/>
                      </a:lnTo>
                      <a:lnTo>
                        <a:pt x="440" y="560"/>
                      </a:lnTo>
                      <a:lnTo>
                        <a:pt x="440" y="560"/>
                      </a:lnTo>
                      <a:lnTo>
                        <a:pt x="438" y="564"/>
                      </a:lnTo>
                      <a:lnTo>
                        <a:pt x="438" y="570"/>
                      </a:lnTo>
                      <a:lnTo>
                        <a:pt x="440" y="572"/>
                      </a:lnTo>
                      <a:lnTo>
                        <a:pt x="442" y="576"/>
                      </a:lnTo>
                      <a:lnTo>
                        <a:pt x="450" y="578"/>
                      </a:lnTo>
                      <a:lnTo>
                        <a:pt x="462" y="578"/>
                      </a:lnTo>
                      <a:lnTo>
                        <a:pt x="474" y="574"/>
                      </a:lnTo>
                      <a:lnTo>
                        <a:pt x="486" y="570"/>
                      </a:lnTo>
                      <a:lnTo>
                        <a:pt x="510" y="558"/>
                      </a:lnTo>
                      <a:lnTo>
                        <a:pt x="510" y="558"/>
                      </a:lnTo>
                      <a:lnTo>
                        <a:pt x="518" y="552"/>
                      </a:lnTo>
                      <a:lnTo>
                        <a:pt x="528" y="552"/>
                      </a:lnTo>
                      <a:lnTo>
                        <a:pt x="544" y="550"/>
                      </a:lnTo>
                      <a:lnTo>
                        <a:pt x="550" y="550"/>
                      </a:lnTo>
                      <a:lnTo>
                        <a:pt x="556" y="546"/>
                      </a:lnTo>
                      <a:lnTo>
                        <a:pt x="560" y="538"/>
                      </a:lnTo>
                      <a:lnTo>
                        <a:pt x="562" y="526"/>
                      </a:lnTo>
                      <a:lnTo>
                        <a:pt x="562" y="526"/>
                      </a:lnTo>
                      <a:lnTo>
                        <a:pt x="562" y="520"/>
                      </a:lnTo>
                      <a:lnTo>
                        <a:pt x="560" y="518"/>
                      </a:lnTo>
                      <a:lnTo>
                        <a:pt x="558" y="514"/>
                      </a:lnTo>
                      <a:lnTo>
                        <a:pt x="556" y="514"/>
                      </a:lnTo>
                      <a:lnTo>
                        <a:pt x="546" y="512"/>
                      </a:lnTo>
                      <a:lnTo>
                        <a:pt x="536" y="512"/>
                      </a:lnTo>
                      <a:lnTo>
                        <a:pt x="526" y="514"/>
                      </a:lnTo>
                      <a:lnTo>
                        <a:pt x="518" y="514"/>
                      </a:lnTo>
                      <a:lnTo>
                        <a:pt x="512" y="512"/>
                      </a:lnTo>
                      <a:lnTo>
                        <a:pt x="510" y="510"/>
                      </a:lnTo>
                      <a:lnTo>
                        <a:pt x="508" y="506"/>
                      </a:lnTo>
                      <a:lnTo>
                        <a:pt x="508" y="506"/>
                      </a:lnTo>
                      <a:lnTo>
                        <a:pt x="510" y="500"/>
                      </a:lnTo>
                      <a:lnTo>
                        <a:pt x="512" y="494"/>
                      </a:lnTo>
                      <a:lnTo>
                        <a:pt x="514" y="490"/>
                      </a:lnTo>
                      <a:lnTo>
                        <a:pt x="520" y="488"/>
                      </a:lnTo>
                      <a:lnTo>
                        <a:pt x="532" y="482"/>
                      </a:lnTo>
                      <a:lnTo>
                        <a:pt x="550" y="472"/>
                      </a:lnTo>
                      <a:lnTo>
                        <a:pt x="550" y="472"/>
                      </a:lnTo>
                      <a:lnTo>
                        <a:pt x="554" y="468"/>
                      </a:lnTo>
                      <a:lnTo>
                        <a:pt x="556" y="464"/>
                      </a:lnTo>
                      <a:lnTo>
                        <a:pt x="556" y="460"/>
                      </a:lnTo>
                      <a:lnTo>
                        <a:pt x="556" y="456"/>
                      </a:lnTo>
                      <a:lnTo>
                        <a:pt x="552" y="448"/>
                      </a:lnTo>
                      <a:lnTo>
                        <a:pt x="548" y="442"/>
                      </a:lnTo>
                      <a:lnTo>
                        <a:pt x="546" y="436"/>
                      </a:lnTo>
                      <a:lnTo>
                        <a:pt x="548" y="434"/>
                      </a:lnTo>
                      <a:lnTo>
                        <a:pt x="550" y="432"/>
                      </a:lnTo>
                      <a:lnTo>
                        <a:pt x="560" y="430"/>
                      </a:lnTo>
                      <a:lnTo>
                        <a:pt x="582" y="434"/>
                      </a:lnTo>
                      <a:lnTo>
                        <a:pt x="582" y="434"/>
                      </a:lnTo>
                      <a:lnTo>
                        <a:pt x="602" y="436"/>
                      </a:lnTo>
                      <a:lnTo>
                        <a:pt x="620" y="434"/>
                      </a:lnTo>
                      <a:lnTo>
                        <a:pt x="636" y="430"/>
                      </a:lnTo>
                      <a:lnTo>
                        <a:pt x="650" y="424"/>
                      </a:lnTo>
                      <a:lnTo>
                        <a:pt x="660" y="418"/>
                      </a:lnTo>
                      <a:lnTo>
                        <a:pt x="666" y="410"/>
                      </a:lnTo>
                      <a:lnTo>
                        <a:pt x="668" y="402"/>
                      </a:lnTo>
                      <a:lnTo>
                        <a:pt x="668" y="400"/>
                      </a:lnTo>
                      <a:lnTo>
                        <a:pt x="666" y="396"/>
                      </a:lnTo>
                      <a:lnTo>
                        <a:pt x="666" y="396"/>
                      </a:lnTo>
                      <a:lnTo>
                        <a:pt x="664" y="394"/>
                      </a:lnTo>
                      <a:lnTo>
                        <a:pt x="664" y="392"/>
                      </a:lnTo>
                      <a:lnTo>
                        <a:pt x="666" y="388"/>
                      </a:lnTo>
                      <a:lnTo>
                        <a:pt x="680" y="382"/>
                      </a:lnTo>
                      <a:lnTo>
                        <a:pt x="684" y="378"/>
                      </a:lnTo>
                      <a:lnTo>
                        <a:pt x="684" y="376"/>
                      </a:lnTo>
                      <a:lnTo>
                        <a:pt x="684" y="372"/>
                      </a:lnTo>
                      <a:lnTo>
                        <a:pt x="678" y="366"/>
                      </a:lnTo>
                      <a:lnTo>
                        <a:pt x="662" y="356"/>
                      </a:lnTo>
                      <a:lnTo>
                        <a:pt x="662" y="356"/>
                      </a:lnTo>
                      <a:lnTo>
                        <a:pt x="648" y="350"/>
                      </a:lnTo>
                      <a:lnTo>
                        <a:pt x="644" y="348"/>
                      </a:lnTo>
                      <a:lnTo>
                        <a:pt x="644" y="346"/>
                      </a:lnTo>
                      <a:lnTo>
                        <a:pt x="650" y="346"/>
                      </a:lnTo>
                      <a:lnTo>
                        <a:pt x="662" y="348"/>
                      </a:lnTo>
                      <a:lnTo>
                        <a:pt x="674" y="348"/>
                      </a:lnTo>
                      <a:lnTo>
                        <a:pt x="686" y="348"/>
                      </a:lnTo>
                      <a:lnTo>
                        <a:pt x="690" y="348"/>
                      </a:lnTo>
                      <a:lnTo>
                        <a:pt x="694" y="346"/>
                      </a:lnTo>
                      <a:lnTo>
                        <a:pt x="696" y="344"/>
                      </a:lnTo>
                      <a:lnTo>
                        <a:pt x="694" y="340"/>
                      </a:lnTo>
                      <a:lnTo>
                        <a:pt x="694" y="340"/>
                      </a:lnTo>
                      <a:lnTo>
                        <a:pt x="690" y="332"/>
                      </a:lnTo>
                      <a:lnTo>
                        <a:pt x="684" y="328"/>
                      </a:lnTo>
                      <a:lnTo>
                        <a:pt x="680" y="324"/>
                      </a:lnTo>
                      <a:lnTo>
                        <a:pt x="674" y="324"/>
                      </a:lnTo>
                      <a:lnTo>
                        <a:pt x="658" y="326"/>
                      </a:lnTo>
                      <a:lnTo>
                        <a:pt x="638" y="328"/>
                      </a:lnTo>
                      <a:lnTo>
                        <a:pt x="638" y="328"/>
                      </a:lnTo>
                      <a:lnTo>
                        <a:pt x="614" y="328"/>
                      </a:lnTo>
                      <a:lnTo>
                        <a:pt x="592" y="328"/>
                      </a:lnTo>
                      <a:lnTo>
                        <a:pt x="584" y="328"/>
                      </a:lnTo>
                      <a:lnTo>
                        <a:pt x="578" y="326"/>
                      </a:lnTo>
                      <a:lnTo>
                        <a:pt x="576" y="324"/>
                      </a:lnTo>
                      <a:lnTo>
                        <a:pt x="580" y="320"/>
                      </a:lnTo>
                      <a:lnTo>
                        <a:pt x="580" y="320"/>
                      </a:lnTo>
                      <a:lnTo>
                        <a:pt x="588" y="318"/>
                      </a:lnTo>
                      <a:lnTo>
                        <a:pt x="602" y="314"/>
                      </a:lnTo>
                      <a:lnTo>
                        <a:pt x="644" y="312"/>
                      </a:lnTo>
                      <a:lnTo>
                        <a:pt x="692" y="310"/>
                      </a:lnTo>
                      <a:lnTo>
                        <a:pt x="730" y="306"/>
                      </a:lnTo>
                      <a:lnTo>
                        <a:pt x="730" y="306"/>
                      </a:lnTo>
                      <a:lnTo>
                        <a:pt x="742" y="304"/>
                      </a:lnTo>
                      <a:lnTo>
                        <a:pt x="750" y="300"/>
                      </a:lnTo>
                      <a:lnTo>
                        <a:pt x="752" y="296"/>
                      </a:lnTo>
                      <a:lnTo>
                        <a:pt x="752" y="290"/>
                      </a:lnTo>
                      <a:lnTo>
                        <a:pt x="752" y="284"/>
                      </a:lnTo>
                      <a:lnTo>
                        <a:pt x="754" y="284"/>
                      </a:lnTo>
                      <a:lnTo>
                        <a:pt x="762" y="286"/>
                      </a:lnTo>
                      <a:lnTo>
                        <a:pt x="762" y="286"/>
                      </a:lnTo>
                      <a:lnTo>
                        <a:pt x="770" y="290"/>
                      </a:lnTo>
                      <a:lnTo>
                        <a:pt x="780" y="292"/>
                      </a:lnTo>
                      <a:lnTo>
                        <a:pt x="790" y="294"/>
                      </a:lnTo>
                      <a:lnTo>
                        <a:pt x="800" y="292"/>
                      </a:lnTo>
                      <a:lnTo>
                        <a:pt x="812" y="290"/>
                      </a:lnTo>
                      <a:lnTo>
                        <a:pt x="822" y="286"/>
                      </a:lnTo>
                      <a:lnTo>
                        <a:pt x="832" y="278"/>
                      </a:lnTo>
                      <a:lnTo>
                        <a:pt x="842" y="270"/>
                      </a:lnTo>
                      <a:lnTo>
                        <a:pt x="842" y="270"/>
                      </a:lnTo>
                      <a:lnTo>
                        <a:pt x="852" y="260"/>
                      </a:lnTo>
                      <a:lnTo>
                        <a:pt x="866" y="248"/>
                      </a:lnTo>
                      <a:lnTo>
                        <a:pt x="882" y="238"/>
                      </a:lnTo>
                      <a:lnTo>
                        <a:pt x="902" y="228"/>
                      </a:lnTo>
                      <a:lnTo>
                        <a:pt x="954" y="204"/>
                      </a:lnTo>
                      <a:lnTo>
                        <a:pt x="1020" y="178"/>
                      </a:lnTo>
                      <a:lnTo>
                        <a:pt x="1020" y="178"/>
                      </a:lnTo>
                      <a:lnTo>
                        <a:pt x="1076" y="154"/>
                      </a:lnTo>
                      <a:lnTo>
                        <a:pt x="1092" y="146"/>
                      </a:lnTo>
                      <a:lnTo>
                        <a:pt x="1098" y="142"/>
                      </a:lnTo>
                      <a:lnTo>
                        <a:pt x="1098" y="140"/>
                      </a:lnTo>
                      <a:lnTo>
                        <a:pt x="1094" y="140"/>
                      </a:lnTo>
                      <a:lnTo>
                        <a:pt x="1084" y="140"/>
                      </a:lnTo>
                      <a:lnTo>
                        <a:pt x="1038" y="142"/>
                      </a:lnTo>
                      <a:lnTo>
                        <a:pt x="1038" y="142"/>
                      </a:lnTo>
                      <a:lnTo>
                        <a:pt x="1014" y="144"/>
                      </a:lnTo>
                      <a:lnTo>
                        <a:pt x="1002" y="144"/>
                      </a:lnTo>
                      <a:lnTo>
                        <a:pt x="1000" y="142"/>
                      </a:lnTo>
                      <a:lnTo>
                        <a:pt x="1000" y="142"/>
                      </a:lnTo>
                      <a:lnTo>
                        <a:pt x="1006" y="138"/>
                      </a:lnTo>
                      <a:lnTo>
                        <a:pt x="1034" y="130"/>
                      </a:lnTo>
                      <a:lnTo>
                        <a:pt x="1072" y="122"/>
                      </a:lnTo>
                      <a:lnTo>
                        <a:pt x="1072" y="122"/>
                      </a:lnTo>
                      <a:lnTo>
                        <a:pt x="1118" y="112"/>
                      </a:lnTo>
                      <a:lnTo>
                        <a:pt x="1172" y="100"/>
                      </a:lnTo>
                      <a:lnTo>
                        <a:pt x="1198" y="92"/>
                      </a:lnTo>
                      <a:lnTo>
                        <a:pt x="1218" y="84"/>
                      </a:lnTo>
                      <a:lnTo>
                        <a:pt x="1232" y="76"/>
                      </a:lnTo>
                      <a:lnTo>
                        <a:pt x="1236" y="72"/>
                      </a:lnTo>
                      <a:lnTo>
                        <a:pt x="1236" y="68"/>
                      </a:lnTo>
                      <a:lnTo>
                        <a:pt x="1236" y="68"/>
                      </a:lnTo>
                      <a:lnTo>
                        <a:pt x="1236" y="64"/>
                      </a:lnTo>
                      <a:lnTo>
                        <a:pt x="1234" y="62"/>
                      </a:lnTo>
                      <a:lnTo>
                        <a:pt x="1224" y="58"/>
                      </a:lnTo>
                      <a:lnTo>
                        <a:pt x="1210" y="58"/>
                      </a:lnTo>
                      <a:lnTo>
                        <a:pt x="1196" y="56"/>
                      </a:lnTo>
                      <a:lnTo>
                        <a:pt x="1182" y="56"/>
                      </a:lnTo>
                      <a:lnTo>
                        <a:pt x="1168" y="54"/>
                      </a:lnTo>
                      <a:lnTo>
                        <a:pt x="1160" y="50"/>
                      </a:lnTo>
                      <a:lnTo>
                        <a:pt x="1158" y="48"/>
                      </a:lnTo>
                      <a:lnTo>
                        <a:pt x="1156" y="44"/>
                      </a:lnTo>
                      <a:lnTo>
                        <a:pt x="1156" y="44"/>
                      </a:lnTo>
                      <a:lnTo>
                        <a:pt x="1156" y="40"/>
                      </a:lnTo>
                      <a:lnTo>
                        <a:pt x="1154" y="36"/>
                      </a:lnTo>
                      <a:lnTo>
                        <a:pt x="1146" y="30"/>
                      </a:lnTo>
                      <a:lnTo>
                        <a:pt x="1136" y="26"/>
                      </a:lnTo>
                      <a:lnTo>
                        <a:pt x="1122" y="24"/>
                      </a:lnTo>
                      <a:lnTo>
                        <a:pt x="1094" y="20"/>
                      </a:lnTo>
                      <a:lnTo>
                        <a:pt x="1078" y="20"/>
                      </a:lnTo>
                      <a:lnTo>
                        <a:pt x="1078" y="20"/>
                      </a:lnTo>
                      <a:lnTo>
                        <a:pt x="1062" y="22"/>
                      </a:lnTo>
                      <a:lnTo>
                        <a:pt x="1050" y="22"/>
                      </a:lnTo>
                      <a:lnTo>
                        <a:pt x="1038" y="22"/>
                      </a:lnTo>
                      <a:lnTo>
                        <a:pt x="1018" y="30"/>
                      </a:lnTo>
                      <a:lnTo>
                        <a:pt x="1018" y="30"/>
                      </a:lnTo>
                      <a:lnTo>
                        <a:pt x="1004" y="34"/>
                      </a:lnTo>
                      <a:lnTo>
                        <a:pt x="990" y="38"/>
                      </a:lnTo>
                      <a:lnTo>
                        <a:pt x="962" y="40"/>
                      </a:lnTo>
                      <a:lnTo>
                        <a:pt x="948" y="40"/>
                      </a:lnTo>
                      <a:lnTo>
                        <a:pt x="948" y="40"/>
                      </a:lnTo>
                      <a:lnTo>
                        <a:pt x="948" y="38"/>
                      </a:lnTo>
                      <a:lnTo>
                        <a:pt x="958" y="36"/>
                      </a:lnTo>
                      <a:lnTo>
                        <a:pt x="958" y="36"/>
                      </a:lnTo>
                      <a:lnTo>
                        <a:pt x="986" y="30"/>
                      </a:lnTo>
                      <a:lnTo>
                        <a:pt x="1004" y="24"/>
                      </a:lnTo>
                      <a:lnTo>
                        <a:pt x="1008" y="22"/>
                      </a:lnTo>
                      <a:lnTo>
                        <a:pt x="1008" y="20"/>
                      </a:lnTo>
                      <a:lnTo>
                        <a:pt x="1006" y="20"/>
                      </a:lnTo>
                      <a:lnTo>
                        <a:pt x="998" y="18"/>
                      </a:lnTo>
                      <a:lnTo>
                        <a:pt x="980" y="16"/>
                      </a:lnTo>
                      <a:lnTo>
                        <a:pt x="980" y="16"/>
                      </a:lnTo>
                      <a:lnTo>
                        <a:pt x="958" y="16"/>
                      </a:lnTo>
                      <a:lnTo>
                        <a:pt x="942" y="14"/>
                      </a:lnTo>
                      <a:lnTo>
                        <a:pt x="912" y="6"/>
                      </a:lnTo>
                      <a:lnTo>
                        <a:pt x="900" y="2"/>
                      </a:lnTo>
                      <a:lnTo>
                        <a:pt x="888" y="0"/>
                      </a:lnTo>
                      <a:lnTo>
                        <a:pt x="874" y="0"/>
                      </a:lnTo>
                      <a:lnTo>
                        <a:pt x="858" y="2"/>
                      </a:lnTo>
                      <a:lnTo>
                        <a:pt x="858" y="2"/>
                      </a:lnTo>
                      <a:lnTo>
                        <a:pt x="830" y="4"/>
                      </a:lnTo>
                      <a:lnTo>
                        <a:pt x="808" y="4"/>
                      </a:lnTo>
                      <a:lnTo>
                        <a:pt x="788" y="4"/>
                      </a:lnTo>
                      <a:lnTo>
                        <a:pt x="776" y="6"/>
                      </a:lnTo>
                      <a:lnTo>
                        <a:pt x="762" y="10"/>
                      </a:lnTo>
                      <a:lnTo>
                        <a:pt x="762" y="10"/>
                      </a:lnTo>
                      <a:lnTo>
                        <a:pt x="746" y="14"/>
                      </a:lnTo>
                      <a:lnTo>
                        <a:pt x="728" y="14"/>
                      </a:lnTo>
                      <a:lnTo>
                        <a:pt x="690" y="10"/>
                      </a:lnTo>
                      <a:lnTo>
                        <a:pt x="666" y="10"/>
                      </a:lnTo>
                      <a:lnTo>
                        <a:pt x="640" y="10"/>
                      </a:lnTo>
                      <a:lnTo>
                        <a:pt x="608" y="12"/>
                      </a:lnTo>
                      <a:lnTo>
                        <a:pt x="574" y="20"/>
                      </a:lnTo>
                      <a:lnTo>
                        <a:pt x="574" y="20"/>
                      </a:lnTo>
                      <a:lnTo>
                        <a:pt x="556" y="22"/>
                      </a:lnTo>
                      <a:lnTo>
                        <a:pt x="540" y="22"/>
                      </a:lnTo>
                      <a:lnTo>
                        <a:pt x="526" y="20"/>
                      </a:lnTo>
                      <a:lnTo>
                        <a:pt x="514" y="16"/>
                      </a:lnTo>
                      <a:lnTo>
                        <a:pt x="500" y="14"/>
                      </a:lnTo>
                      <a:lnTo>
                        <a:pt x="490" y="12"/>
                      </a:lnTo>
                      <a:lnTo>
                        <a:pt x="478" y="14"/>
                      </a:lnTo>
                      <a:lnTo>
                        <a:pt x="466" y="18"/>
                      </a:lnTo>
                      <a:lnTo>
                        <a:pt x="466" y="18"/>
                      </a:lnTo>
                      <a:lnTo>
                        <a:pt x="454" y="22"/>
                      </a:lnTo>
                      <a:lnTo>
                        <a:pt x="442" y="24"/>
                      </a:lnTo>
                      <a:lnTo>
                        <a:pt x="432" y="24"/>
                      </a:lnTo>
                      <a:lnTo>
                        <a:pt x="422" y="24"/>
                      </a:lnTo>
                      <a:lnTo>
                        <a:pt x="416" y="22"/>
                      </a:lnTo>
                      <a:lnTo>
                        <a:pt x="412" y="24"/>
                      </a:lnTo>
                      <a:lnTo>
                        <a:pt x="416" y="28"/>
                      </a:lnTo>
                      <a:lnTo>
                        <a:pt x="424" y="36"/>
                      </a:lnTo>
                      <a:lnTo>
                        <a:pt x="424" y="36"/>
                      </a:lnTo>
                      <a:lnTo>
                        <a:pt x="430" y="44"/>
                      </a:lnTo>
                      <a:lnTo>
                        <a:pt x="430" y="46"/>
                      </a:lnTo>
                      <a:lnTo>
                        <a:pt x="430" y="48"/>
                      </a:lnTo>
                      <a:lnTo>
                        <a:pt x="424" y="48"/>
                      </a:lnTo>
                      <a:lnTo>
                        <a:pt x="414" y="46"/>
                      </a:lnTo>
                      <a:lnTo>
                        <a:pt x="404" y="44"/>
                      </a:lnTo>
                      <a:lnTo>
                        <a:pt x="392" y="42"/>
                      </a:lnTo>
                      <a:lnTo>
                        <a:pt x="384" y="44"/>
                      </a:lnTo>
                      <a:lnTo>
                        <a:pt x="380" y="46"/>
                      </a:lnTo>
                      <a:lnTo>
                        <a:pt x="378" y="50"/>
                      </a:lnTo>
                      <a:lnTo>
                        <a:pt x="378" y="50"/>
                      </a:lnTo>
                      <a:lnTo>
                        <a:pt x="376" y="58"/>
                      </a:lnTo>
                      <a:lnTo>
                        <a:pt x="372" y="62"/>
                      </a:lnTo>
                      <a:lnTo>
                        <a:pt x="366" y="66"/>
                      </a:lnTo>
                      <a:lnTo>
                        <a:pt x="360" y="68"/>
                      </a:lnTo>
                      <a:lnTo>
                        <a:pt x="352" y="70"/>
                      </a:lnTo>
                      <a:lnTo>
                        <a:pt x="340" y="70"/>
                      </a:lnTo>
                      <a:lnTo>
                        <a:pt x="312" y="68"/>
                      </a:lnTo>
                      <a:lnTo>
                        <a:pt x="312" y="68"/>
                      </a:lnTo>
                      <a:lnTo>
                        <a:pt x="300" y="66"/>
                      </a:lnTo>
                      <a:lnTo>
                        <a:pt x="292" y="64"/>
                      </a:lnTo>
                      <a:lnTo>
                        <a:pt x="290" y="60"/>
                      </a:lnTo>
                      <a:lnTo>
                        <a:pt x="290" y="58"/>
                      </a:lnTo>
                      <a:lnTo>
                        <a:pt x="290" y="56"/>
                      </a:lnTo>
                      <a:lnTo>
                        <a:pt x="288" y="54"/>
                      </a:lnTo>
                      <a:lnTo>
                        <a:pt x="280" y="52"/>
                      </a:lnTo>
                      <a:lnTo>
                        <a:pt x="264" y="52"/>
                      </a:lnTo>
                      <a:lnTo>
                        <a:pt x="264" y="52"/>
                      </a:lnTo>
                      <a:lnTo>
                        <a:pt x="250" y="52"/>
                      </a:lnTo>
                      <a:lnTo>
                        <a:pt x="244" y="52"/>
                      </a:lnTo>
                      <a:lnTo>
                        <a:pt x="244" y="56"/>
                      </a:lnTo>
                      <a:lnTo>
                        <a:pt x="246" y="60"/>
                      </a:lnTo>
                      <a:lnTo>
                        <a:pt x="248" y="64"/>
                      </a:lnTo>
                      <a:lnTo>
                        <a:pt x="248" y="66"/>
                      </a:lnTo>
                      <a:lnTo>
                        <a:pt x="248" y="68"/>
                      </a:lnTo>
                      <a:lnTo>
                        <a:pt x="240" y="72"/>
                      </a:lnTo>
                      <a:lnTo>
                        <a:pt x="224" y="76"/>
                      </a:lnTo>
                      <a:lnTo>
                        <a:pt x="224" y="76"/>
                      </a:lnTo>
                      <a:lnTo>
                        <a:pt x="208" y="78"/>
                      </a:lnTo>
                      <a:lnTo>
                        <a:pt x="206" y="78"/>
                      </a:lnTo>
                      <a:lnTo>
                        <a:pt x="206" y="80"/>
                      </a:lnTo>
                      <a:lnTo>
                        <a:pt x="212" y="82"/>
                      </a:lnTo>
                      <a:lnTo>
                        <a:pt x="224" y="86"/>
                      </a:lnTo>
                      <a:lnTo>
                        <a:pt x="248" y="92"/>
                      </a:lnTo>
                      <a:lnTo>
                        <a:pt x="254" y="94"/>
                      </a:lnTo>
                      <a:lnTo>
                        <a:pt x="252" y="96"/>
                      </a:lnTo>
                      <a:lnTo>
                        <a:pt x="248" y="98"/>
                      </a:lnTo>
                      <a:lnTo>
                        <a:pt x="248" y="98"/>
                      </a:lnTo>
                      <a:lnTo>
                        <a:pt x="238" y="98"/>
                      </a:lnTo>
                      <a:lnTo>
                        <a:pt x="228" y="98"/>
                      </a:lnTo>
                      <a:lnTo>
                        <a:pt x="206" y="92"/>
                      </a:lnTo>
                      <a:lnTo>
                        <a:pt x="194" y="90"/>
                      </a:lnTo>
                      <a:lnTo>
                        <a:pt x="180" y="88"/>
                      </a:lnTo>
                      <a:lnTo>
                        <a:pt x="166" y="86"/>
                      </a:lnTo>
                      <a:lnTo>
                        <a:pt x="146" y="88"/>
                      </a:lnTo>
                      <a:lnTo>
                        <a:pt x="146" y="88"/>
                      </a:lnTo>
                      <a:lnTo>
                        <a:pt x="130" y="92"/>
                      </a:lnTo>
                      <a:lnTo>
                        <a:pt x="120" y="94"/>
                      </a:lnTo>
                      <a:lnTo>
                        <a:pt x="112" y="98"/>
                      </a:lnTo>
                      <a:lnTo>
                        <a:pt x="108" y="102"/>
                      </a:lnTo>
                      <a:lnTo>
                        <a:pt x="104" y="106"/>
                      </a:lnTo>
                      <a:lnTo>
                        <a:pt x="100" y="106"/>
                      </a:lnTo>
                      <a:lnTo>
                        <a:pt x="92" y="108"/>
                      </a:lnTo>
                      <a:lnTo>
                        <a:pt x="80" y="106"/>
                      </a:lnTo>
                      <a:lnTo>
                        <a:pt x="80" y="106"/>
                      </a:lnTo>
                      <a:lnTo>
                        <a:pt x="66" y="104"/>
                      </a:lnTo>
                      <a:lnTo>
                        <a:pt x="50" y="104"/>
                      </a:lnTo>
                      <a:lnTo>
                        <a:pt x="36" y="108"/>
                      </a:lnTo>
                      <a:lnTo>
                        <a:pt x="22" y="112"/>
                      </a:lnTo>
                      <a:lnTo>
                        <a:pt x="12" y="118"/>
                      </a:lnTo>
                      <a:lnTo>
                        <a:pt x="4" y="124"/>
                      </a:lnTo>
                      <a:lnTo>
                        <a:pt x="0" y="130"/>
                      </a:lnTo>
                      <a:lnTo>
                        <a:pt x="2" y="134"/>
                      </a:lnTo>
                      <a:lnTo>
                        <a:pt x="4" y="138"/>
                      </a:lnTo>
                      <a:lnTo>
                        <a:pt x="4" y="138"/>
                      </a:lnTo>
                      <a:lnTo>
                        <a:pt x="8" y="142"/>
                      </a:lnTo>
                      <a:lnTo>
                        <a:pt x="12" y="144"/>
                      </a:lnTo>
                      <a:lnTo>
                        <a:pt x="16" y="144"/>
                      </a:lnTo>
                      <a:lnTo>
                        <a:pt x="22" y="144"/>
                      </a:lnTo>
                      <a:lnTo>
                        <a:pt x="32" y="144"/>
                      </a:lnTo>
                      <a:lnTo>
                        <a:pt x="36" y="144"/>
                      </a:lnTo>
                      <a:lnTo>
                        <a:pt x="44" y="148"/>
                      </a:lnTo>
                      <a:lnTo>
                        <a:pt x="44" y="148"/>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82" name="Freeform 6107">
                  <a:extLst>
                    <a:ext uri="{FF2B5EF4-FFF2-40B4-BE49-F238E27FC236}">
                      <a16:creationId xmlns:a16="http://schemas.microsoft.com/office/drawing/2014/main" id="{846638D1-7F6C-F864-DBD3-3BB32B1F1AB5}"/>
                    </a:ext>
                  </a:extLst>
                </p:cNvPr>
                <p:cNvSpPr>
                  <a:spLocks/>
                </p:cNvSpPr>
                <p:nvPr/>
              </p:nvSpPr>
              <p:spPr bwMode="auto">
                <a:xfrm>
                  <a:off x="2335530" y="1211263"/>
                  <a:ext cx="121920" cy="48260"/>
                </a:xfrm>
                <a:custGeom>
                  <a:avLst/>
                  <a:gdLst/>
                  <a:ahLst/>
                  <a:cxnLst>
                    <a:cxn ang="0">
                      <a:pos x="2" y="16"/>
                    </a:cxn>
                    <a:cxn ang="0">
                      <a:pos x="2" y="16"/>
                    </a:cxn>
                    <a:cxn ang="0">
                      <a:pos x="0" y="24"/>
                    </a:cxn>
                    <a:cxn ang="0">
                      <a:pos x="2" y="30"/>
                    </a:cxn>
                    <a:cxn ang="0">
                      <a:pos x="6" y="34"/>
                    </a:cxn>
                    <a:cxn ang="0">
                      <a:pos x="18" y="38"/>
                    </a:cxn>
                    <a:cxn ang="0">
                      <a:pos x="18" y="38"/>
                    </a:cxn>
                    <a:cxn ang="0">
                      <a:pos x="22" y="42"/>
                    </a:cxn>
                    <a:cxn ang="0">
                      <a:pos x="26" y="46"/>
                    </a:cxn>
                    <a:cxn ang="0">
                      <a:pos x="26" y="52"/>
                    </a:cxn>
                    <a:cxn ang="0">
                      <a:pos x="28" y="56"/>
                    </a:cxn>
                    <a:cxn ang="0">
                      <a:pos x="30" y="62"/>
                    </a:cxn>
                    <a:cxn ang="0">
                      <a:pos x="36" y="66"/>
                    </a:cxn>
                    <a:cxn ang="0">
                      <a:pos x="46" y="72"/>
                    </a:cxn>
                    <a:cxn ang="0">
                      <a:pos x="46" y="72"/>
                    </a:cxn>
                    <a:cxn ang="0">
                      <a:pos x="56" y="76"/>
                    </a:cxn>
                    <a:cxn ang="0">
                      <a:pos x="66" y="76"/>
                    </a:cxn>
                    <a:cxn ang="0">
                      <a:pos x="72" y="76"/>
                    </a:cxn>
                    <a:cxn ang="0">
                      <a:pos x="80" y="74"/>
                    </a:cxn>
                    <a:cxn ang="0">
                      <a:pos x="94" y="68"/>
                    </a:cxn>
                    <a:cxn ang="0">
                      <a:pos x="104" y="66"/>
                    </a:cxn>
                    <a:cxn ang="0">
                      <a:pos x="118" y="68"/>
                    </a:cxn>
                    <a:cxn ang="0">
                      <a:pos x="118" y="68"/>
                    </a:cxn>
                    <a:cxn ang="0">
                      <a:pos x="148" y="70"/>
                    </a:cxn>
                    <a:cxn ang="0">
                      <a:pos x="176" y="72"/>
                    </a:cxn>
                    <a:cxn ang="0">
                      <a:pos x="184" y="70"/>
                    </a:cxn>
                    <a:cxn ang="0">
                      <a:pos x="192" y="68"/>
                    </a:cxn>
                    <a:cxn ang="0">
                      <a:pos x="192" y="66"/>
                    </a:cxn>
                    <a:cxn ang="0">
                      <a:pos x="192" y="62"/>
                    </a:cxn>
                    <a:cxn ang="0">
                      <a:pos x="188" y="58"/>
                    </a:cxn>
                    <a:cxn ang="0">
                      <a:pos x="188" y="58"/>
                    </a:cxn>
                    <a:cxn ang="0">
                      <a:pos x="174" y="42"/>
                    </a:cxn>
                    <a:cxn ang="0">
                      <a:pos x="166" y="34"/>
                    </a:cxn>
                    <a:cxn ang="0">
                      <a:pos x="156" y="26"/>
                    </a:cxn>
                    <a:cxn ang="0">
                      <a:pos x="144" y="18"/>
                    </a:cxn>
                    <a:cxn ang="0">
                      <a:pos x="130" y="12"/>
                    </a:cxn>
                    <a:cxn ang="0">
                      <a:pos x="114" y="10"/>
                    </a:cxn>
                    <a:cxn ang="0">
                      <a:pos x="96" y="10"/>
                    </a:cxn>
                    <a:cxn ang="0">
                      <a:pos x="96" y="10"/>
                    </a:cxn>
                    <a:cxn ang="0">
                      <a:pos x="76" y="8"/>
                    </a:cxn>
                    <a:cxn ang="0">
                      <a:pos x="58" y="6"/>
                    </a:cxn>
                    <a:cxn ang="0">
                      <a:pos x="30" y="2"/>
                    </a:cxn>
                    <a:cxn ang="0">
                      <a:pos x="18" y="0"/>
                    </a:cxn>
                    <a:cxn ang="0">
                      <a:pos x="10" y="2"/>
                    </a:cxn>
                    <a:cxn ang="0">
                      <a:pos x="8" y="4"/>
                    </a:cxn>
                    <a:cxn ang="0">
                      <a:pos x="4" y="6"/>
                    </a:cxn>
                    <a:cxn ang="0">
                      <a:pos x="2" y="16"/>
                    </a:cxn>
                    <a:cxn ang="0">
                      <a:pos x="2" y="16"/>
                    </a:cxn>
                  </a:cxnLst>
                  <a:rect l="0" t="0" r="r" b="b"/>
                  <a:pathLst>
                    <a:path w="192" h="76">
                      <a:moveTo>
                        <a:pt x="2" y="16"/>
                      </a:moveTo>
                      <a:lnTo>
                        <a:pt x="2" y="16"/>
                      </a:lnTo>
                      <a:lnTo>
                        <a:pt x="0" y="24"/>
                      </a:lnTo>
                      <a:lnTo>
                        <a:pt x="2" y="30"/>
                      </a:lnTo>
                      <a:lnTo>
                        <a:pt x="6" y="34"/>
                      </a:lnTo>
                      <a:lnTo>
                        <a:pt x="18" y="38"/>
                      </a:lnTo>
                      <a:lnTo>
                        <a:pt x="18" y="38"/>
                      </a:lnTo>
                      <a:lnTo>
                        <a:pt x="22" y="42"/>
                      </a:lnTo>
                      <a:lnTo>
                        <a:pt x="26" y="46"/>
                      </a:lnTo>
                      <a:lnTo>
                        <a:pt x="26" y="52"/>
                      </a:lnTo>
                      <a:lnTo>
                        <a:pt x="28" y="56"/>
                      </a:lnTo>
                      <a:lnTo>
                        <a:pt x="30" y="62"/>
                      </a:lnTo>
                      <a:lnTo>
                        <a:pt x="36" y="66"/>
                      </a:lnTo>
                      <a:lnTo>
                        <a:pt x="46" y="72"/>
                      </a:lnTo>
                      <a:lnTo>
                        <a:pt x="46" y="72"/>
                      </a:lnTo>
                      <a:lnTo>
                        <a:pt x="56" y="76"/>
                      </a:lnTo>
                      <a:lnTo>
                        <a:pt x="66" y="76"/>
                      </a:lnTo>
                      <a:lnTo>
                        <a:pt x="72" y="76"/>
                      </a:lnTo>
                      <a:lnTo>
                        <a:pt x="80" y="74"/>
                      </a:lnTo>
                      <a:lnTo>
                        <a:pt x="94" y="68"/>
                      </a:lnTo>
                      <a:lnTo>
                        <a:pt x="104" y="66"/>
                      </a:lnTo>
                      <a:lnTo>
                        <a:pt x="118" y="68"/>
                      </a:lnTo>
                      <a:lnTo>
                        <a:pt x="118" y="68"/>
                      </a:lnTo>
                      <a:lnTo>
                        <a:pt x="148" y="70"/>
                      </a:lnTo>
                      <a:lnTo>
                        <a:pt x="176" y="72"/>
                      </a:lnTo>
                      <a:lnTo>
                        <a:pt x="184" y="70"/>
                      </a:lnTo>
                      <a:lnTo>
                        <a:pt x="192" y="68"/>
                      </a:lnTo>
                      <a:lnTo>
                        <a:pt x="192" y="66"/>
                      </a:lnTo>
                      <a:lnTo>
                        <a:pt x="192" y="62"/>
                      </a:lnTo>
                      <a:lnTo>
                        <a:pt x="188" y="58"/>
                      </a:lnTo>
                      <a:lnTo>
                        <a:pt x="188" y="58"/>
                      </a:lnTo>
                      <a:lnTo>
                        <a:pt x="174" y="42"/>
                      </a:lnTo>
                      <a:lnTo>
                        <a:pt x="166" y="34"/>
                      </a:lnTo>
                      <a:lnTo>
                        <a:pt x="156" y="26"/>
                      </a:lnTo>
                      <a:lnTo>
                        <a:pt x="144" y="18"/>
                      </a:lnTo>
                      <a:lnTo>
                        <a:pt x="130" y="12"/>
                      </a:lnTo>
                      <a:lnTo>
                        <a:pt x="114" y="10"/>
                      </a:lnTo>
                      <a:lnTo>
                        <a:pt x="96" y="10"/>
                      </a:lnTo>
                      <a:lnTo>
                        <a:pt x="96" y="10"/>
                      </a:lnTo>
                      <a:lnTo>
                        <a:pt x="76" y="8"/>
                      </a:lnTo>
                      <a:lnTo>
                        <a:pt x="58" y="6"/>
                      </a:lnTo>
                      <a:lnTo>
                        <a:pt x="30" y="2"/>
                      </a:lnTo>
                      <a:lnTo>
                        <a:pt x="18" y="0"/>
                      </a:lnTo>
                      <a:lnTo>
                        <a:pt x="10" y="2"/>
                      </a:lnTo>
                      <a:lnTo>
                        <a:pt x="8" y="4"/>
                      </a:lnTo>
                      <a:lnTo>
                        <a:pt x="4" y="6"/>
                      </a:lnTo>
                      <a:lnTo>
                        <a:pt x="2" y="16"/>
                      </a:lnTo>
                      <a:lnTo>
                        <a:pt x="2" y="16"/>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83" name="Freeform 6108">
                  <a:extLst>
                    <a:ext uri="{FF2B5EF4-FFF2-40B4-BE49-F238E27FC236}">
                      <a16:creationId xmlns:a16="http://schemas.microsoft.com/office/drawing/2014/main" id="{789C6915-92E7-BB32-B82D-81C71DC7CFDA}"/>
                    </a:ext>
                  </a:extLst>
                </p:cNvPr>
                <p:cNvSpPr>
                  <a:spLocks/>
                </p:cNvSpPr>
                <p:nvPr/>
              </p:nvSpPr>
              <p:spPr bwMode="auto">
                <a:xfrm>
                  <a:off x="1762760" y="1103313"/>
                  <a:ext cx="29210" cy="11430"/>
                </a:xfrm>
                <a:custGeom>
                  <a:avLst/>
                  <a:gdLst/>
                  <a:ahLst/>
                  <a:cxnLst>
                    <a:cxn ang="0">
                      <a:pos x="2" y="18"/>
                    </a:cxn>
                    <a:cxn ang="0">
                      <a:pos x="2" y="18"/>
                    </a:cxn>
                    <a:cxn ang="0">
                      <a:pos x="8" y="18"/>
                    </a:cxn>
                    <a:cxn ang="0">
                      <a:pos x="14" y="18"/>
                    </a:cxn>
                    <a:cxn ang="0">
                      <a:pos x="30" y="12"/>
                    </a:cxn>
                    <a:cxn ang="0">
                      <a:pos x="42" y="4"/>
                    </a:cxn>
                    <a:cxn ang="0">
                      <a:pos x="46" y="2"/>
                    </a:cxn>
                    <a:cxn ang="0">
                      <a:pos x="44" y="0"/>
                    </a:cxn>
                    <a:cxn ang="0">
                      <a:pos x="44" y="0"/>
                    </a:cxn>
                    <a:cxn ang="0">
                      <a:pos x="32" y="2"/>
                    </a:cxn>
                    <a:cxn ang="0">
                      <a:pos x="16" y="6"/>
                    </a:cxn>
                    <a:cxn ang="0">
                      <a:pos x="2" y="14"/>
                    </a:cxn>
                    <a:cxn ang="0">
                      <a:pos x="0" y="16"/>
                    </a:cxn>
                    <a:cxn ang="0">
                      <a:pos x="2" y="18"/>
                    </a:cxn>
                    <a:cxn ang="0">
                      <a:pos x="2" y="18"/>
                    </a:cxn>
                  </a:cxnLst>
                  <a:rect l="0" t="0" r="r" b="b"/>
                  <a:pathLst>
                    <a:path w="46" h="18">
                      <a:moveTo>
                        <a:pt x="2" y="18"/>
                      </a:moveTo>
                      <a:lnTo>
                        <a:pt x="2" y="18"/>
                      </a:lnTo>
                      <a:lnTo>
                        <a:pt x="8" y="18"/>
                      </a:lnTo>
                      <a:lnTo>
                        <a:pt x="14" y="18"/>
                      </a:lnTo>
                      <a:lnTo>
                        <a:pt x="30" y="12"/>
                      </a:lnTo>
                      <a:lnTo>
                        <a:pt x="42" y="4"/>
                      </a:lnTo>
                      <a:lnTo>
                        <a:pt x="46" y="2"/>
                      </a:lnTo>
                      <a:lnTo>
                        <a:pt x="44" y="0"/>
                      </a:lnTo>
                      <a:lnTo>
                        <a:pt x="44" y="0"/>
                      </a:lnTo>
                      <a:lnTo>
                        <a:pt x="32" y="2"/>
                      </a:lnTo>
                      <a:lnTo>
                        <a:pt x="16" y="6"/>
                      </a:lnTo>
                      <a:lnTo>
                        <a:pt x="2" y="14"/>
                      </a:lnTo>
                      <a:lnTo>
                        <a:pt x="0" y="16"/>
                      </a:lnTo>
                      <a:lnTo>
                        <a:pt x="2" y="18"/>
                      </a:lnTo>
                      <a:lnTo>
                        <a:pt x="2" y="18"/>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84" name="Freeform 6109">
                  <a:extLst>
                    <a:ext uri="{FF2B5EF4-FFF2-40B4-BE49-F238E27FC236}">
                      <a16:creationId xmlns:a16="http://schemas.microsoft.com/office/drawing/2014/main" id="{D7D9E408-2294-9583-F342-458020A7077C}"/>
                    </a:ext>
                  </a:extLst>
                </p:cNvPr>
                <p:cNvSpPr>
                  <a:spLocks/>
                </p:cNvSpPr>
                <p:nvPr/>
              </p:nvSpPr>
              <p:spPr bwMode="auto">
                <a:xfrm>
                  <a:off x="1954530" y="1190943"/>
                  <a:ext cx="138430" cy="102870"/>
                </a:xfrm>
                <a:custGeom>
                  <a:avLst/>
                  <a:gdLst/>
                  <a:ahLst/>
                  <a:cxnLst>
                    <a:cxn ang="0">
                      <a:pos x="166" y="92"/>
                    </a:cxn>
                    <a:cxn ang="0">
                      <a:pos x="186" y="66"/>
                    </a:cxn>
                    <a:cxn ang="0">
                      <a:pos x="216" y="36"/>
                    </a:cxn>
                    <a:cxn ang="0">
                      <a:pos x="218" y="28"/>
                    </a:cxn>
                    <a:cxn ang="0">
                      <a:pos x="216" y="22"/>
                    </a:cxn>
                    <a:cxn ang="0">
                      <a:pos x="204" y="16"/>
                    </a:cxn>
                    <a:cxn ang="0">
                      <a:pos x="190" y="12"/>
                    </a:cxn>
                    <a:cxn ang="0">
                      <a:pos x="172" y="12"/>
                    </a:cxn>
                    <a:cxn ang="0">
                      <a:pos x="156" y="16"/>
                    </a:cxn>
                    <a:cxn ang="0">
                      <a:pos x="140" y="12"/>
                    </a:cxn>
                    <a:cxn ang="0">
                      <a:pos x="122" y="4"/>
                    </a:cxn>
                    <a:cxn ang="0">
                      <a:pos x="106" y="0"/>
                    </a:cxn>
                    <a:cxn ang="0">
                      <a:pos x="84" y="0"/>
                    </a:cxn>
                    <a:cxn ang="0">
                      <a:pos x="48" y="6"/>
                    </a:cxn>
                    <a:cxn ang="0">
                      <a:pos x="20" y="16"/>
                    </a:cxn>
                    <a:cxn ang="0">
                      <a:pos x="16" y="24"/>
                    </a:cxn>
                    <a:cxn ang="0">
                      <a:pos x="22" y="30"/>
                    </a:cxn>
                    <a:cxn ang="0">
                      <a:pos x="18" y="32"/>
                    </a:cxn>
                    <a:cxn ang="0">
                      <a:pos x="6" y="32"/>
                    </a:cxn>
                    <a:cxn ang="0">
                      <a:pos x="0" y="48"/>
                    </a:cxn>
                    <a:cxn ang="0">
                      <a:pos x="0" y="74"/>
                    </a:cxn>
                    <a:cxn ang="0">
                      <a:pos x="2" y="98"/>
                    </a:cxn>
                    <a:cxn ang="0">
                      <a:pos x="10" y="114"/>
                    </a:cxn>
                    <a:cxn ang="0">
                      <a:pos x="20" y="134"/>
                    </a:cxn>
                    <a:cxn ang="0">
                      <a:pos x="20" y="142"/>
                    </a:cxn>
                    <a:cxn ang="0">
                      <a:pos x="22" y="154"/>
                    </a:cxn>
                    <a:cxn ang="0">
                      <a:pos x="30" y="156"/>
                    </a:cxn>
                    <a:cxn ang="0">
                      <a:pos x="54" y="156"/>
                    </a:cxn>
                    <a:cxn ang="0">
                      <a:pos x="62" y="160"/>
                    </a:cxn>
                    <a:cxn ang="0">
                      <a:pos x="70" y="160"/>
                    </a:cxn>
                    <a:cxn ang="0">
                      <a:pos x="76" y="146"/>
                    </a:cxn>
                    <a:cxn ang="0">
                      <a:pos x="82" y="138"/>
                    </a:cxn>
                    <a:cxn ang="0">
                      <a:pos x="90" y="132"/>
                    </a:cxn>
                    <a:cxn ang="0">
                      <a:pos x="90" y="122"/>
                    </a:cxn>
                    <a:cxn ang="0">
                      <a:pos x="86" y="114"/>
                    </a:cxn>
                    <a:cxn ang="0">
                      <a:pos x="84" y="106"/>
                    </a:cxn>
                    <a:cxn ang="0">
                      <a:pos x="88" y="104"/>
                    </a:cxn>
                    <a:cxn ang="0">
                      <a:pos x="112" y="106"/>
                    </a:cxn>
                    <a:cxn ang="0">
                      <a:pos x="142" y="106"/>
                    </a:cxn>
                    <a:cxn ang="0">
                      <a:pos x="156" y="102"/>
                    </a:cxn>
                    <a:cxn ang="0">
                      <a:pos x="166" y="92"/>
                    </a:cxn>
                  </a:cxnLst>
                  <a:rect l="0" t="0" r="r" b="b"/>
                  <a:pathLst>
                    <a:path w="218" h="162">
                      <a:moveTo>
                        <a:pt x="166" y="92"/>
                      </a:moveTo>
                      <a:lnTo>
                        <a:pt x="166" y="92"/>
                      </a:lnTo>
                      <a:lnTo>
                        <a:pt x="176" y="80"/>
                      </a:lnTo>
                      <a:lnTo>
                        <a:pt x="186" y="66"/>
                      </a:lnTo>
                      <a:lnTo>
                        <a:pt x="208" y="46"/>
                      </a:lnTo>
                      <a:lnTo>
                        <a:pt x="216" y="36"/>
                      </a:lnTo>
                      <a:lnTo>
                        <a:pt x="218" y="32"/>
                      </a:lnTo>
                      <a:lnTo>
                        <a:pt x="218" y="28"/>
                      </a:lnTo>
                      <a:lnTo>
                        <a:pt x="218" y="24"/>
                      </a:lnTo>
                      <a:lnTo>
                        <a:pt x="216" y="22"/>
                      </a:lnTo>
                      <a:lnTo>
                        <a:pt x="210" y="18"/>
                      </a:lnTo>
                      <a:lnTo>
                        <a:pt x="204" y="16"/>
                      </a:lnTo>
                      <a:lnTo>
                        <a:pt x="204" y="16"/>
                      </a:lnTo>
                      <a:lnTo>
                        <a:pt x="190" y="12"/>
                      </a:lnTo>
                      <a:lnTo>
                        <a:pt x="180" y="12"/>
                      </a:lnTo>
                      <a:lnTo>
                        <a:pt x="172" y="12"/>
                      </a:lnTo>
                      <a:lnTo>
                        <a:pt x="166" y="14"/>
                      </a:lnTo>
                      <a:lnTo>
                        <a:pt x="156" y="16"/>
                      </a:lnTo>
                      <a:lnTo>
                        <a:pt x="148" y="16"/>
                      </a:lnTo>
                      <a:lnTo>
                        <a:pt x="140" y="12"/>
                      </a:lnTo>
                      <a:lnTo>
                        <a:pt x="140" y="12"/>
                      </a:lnTo>
                      <a:lnTo>
                        <a:pt x="122" y="4"/>
                      </a:lnTo>
                      <a:lnTo>
                        <a:pt x="114" y="2"/>
                      </a:lnTo>
                      <a:lnTo>
                        <a:pt x="106" y="0"/>
                      </a:lnTo>
                      <a:lnTo>
                        <a:pt x="96" y="0"/>
                      </a:lnTo>
                      <a:lnTo>
                        <a:pt x="84" y="0"/>
                      </a:lnTo>
                      <a:lnTo>
                        <a:pt x="48" y="6"/>
                      </a:lnTo>
                      <a:lnTo>
                        <a:pt x="48" y="6"/>
                      </a:lnTo>
                      <a:lnTo>
                        <a:pt x="30" y="10"/>
                      </a:lnTo>
                      <a:lnTo>
                        <a:pt x="20" y="16"/>
                      </a:lnTo>
                      <a:lnTo>
                        <a:pt x="16" y="20"/>
                      </a:lnTo>
                      <a:lnTo>
                        <a:pt x="16" y="24"/>
                      </a:lnTo>
                      <a:lnTo>
                        <a:pt x="22" y="30"/>
                      </a:lnTo>
                      <a:lnTo>
                        <a:pt x="22" y="30"/>
                      </a:lnTo>
                      <a:lnTo>
                        <a:pt x="18" y="32"/>
                      </a:lnTo>
                      <a:lnTo>
                        <a:pt x="18" y="32"/>
                      </a:lnTo>
                      <a:lnTo>
                        <a:pt x="8" y="30"/>
                      </a:lnTo>
                      <a:lnTo>
                        <a:pt x="6" y="32"/>
                      </a:lnTo>
                      <a:lnTo>
                        <a:pt x="4" y="36"/>
                      </a:lnTo>
                      <a:lnTo>
                        <a:pt x="0" y="48"/>
                      </a:lnTo>
                      <a:lnTo>
                        <a:pt x="0" y="74"/>
                      </a:lnTo>
                      <a:lnTo>
                        <a:pt x="0" y="74"/>
                      </a:lnTo>
                      <a:lnTo>
                        <a:pt x="0" y="88"/>
                      </a:lnTo>
                      <a:lnTo>
                        <a:pt x="2" y="98"/>
                      </a:lnTo>
                      <a:lnTo>
                        <a:pt x="6" y="108"/>
                      </a:lnTo>
                      <a:lnTo>
                        <a:pt x="10" y="114"/>
                      </a:lnTo>
                      <a:lnTo>
                        <a:pt x="18" y="126"/>
                      </a:lnTo>
                      <a:lnTo>
                        <a:pt x="20" y="134"/>
                      </a:lnTo>
                      <a:lnTo>
                        <a:pt x="20" y="142"/>
                      </a:lnTo>
                      <a:lnTo>
                        <a:pt x="20" y="142"/>
                      </a:lnTo>
                      <a:lnTo>
                        <a:pt x="20" y="150"/>
                      </a:lnTo>
                      <a:lnTo>
                        <a:pt x="22" y="154"/>
                      </a:lnTo>
                      <a:lnTo>
                        <a:pt x="26" y="156"/>
                      </a:lnTo>
                      <a:lnTo>
                        <a:pt x="30" y="156"/>
                      </a:lnTo>
                      <a:lnTo>
                        <a:pt x="46" y="156"/>
                      </a:lnTo>
                      <a:lnTo>
                        <a:pt x="54" y="156"/>
                      </a:lnTo>
                      <a:lnTo>
                        <a:pt x="62" y="160"/>
                      </a:lnTo>
                      <a:lnTo>
                        <a:pt x="62" y="160"/>
                      </a:lnTo>
                      <a:lnTo>
                        <a:pt x="68" y="162"/>
                      </a:lnTo>
                      <a:lnTo>
                        <a:pt x="70" y="160"/>
                      </a:lnTo>
                      <a:lnTo>
                        <a:pt x="76" y="146"/>
                      </a:lnTo>
                      <a:lnTo>
                        <a:pt x="76" y="146"/>
                      </a:lnTo>
                      <a:lnTo>
                        <a:pt x="78" y="140"/>
                      </a:lnTo>
                      <a:lnTo>
                        <a:pt x="82" y="138"/>
                      </a:lnTo>
                      <a:lnTo>
                        <a:pt x="88" y="134"/>
                      </a:lnTo>
                      <a:lnTo>
                        <a:pt x="90" y="132"/>
                      </a:lnTo>
                      <a:lnTo>
                        <a:pt x="90" y="128"/>
                      </a:lnTo>
                      <a:lnTo>
                        <a:pt x="90" y="122"/>
                      </a:lnTo>
                      <a:lnTo>
                        <a:pt x="86" y="114"/>
                      </a:lnTo>
                      <a:lnTo>
                        <a:pt x="86" y="114"/>
                      </a:lnTo>
                      <a:lnTo>
                        <a:pt x="84" y="110"/>
                      </a:lnTo>
                      <a:lnTo>
                        <a:pt x="84" y="106"/>
                      </a:lnTo>
                      <a:lnTo>
                        <a:pt x="86" y="104"/>
                      </a:lnTo>
                      <a:lnTo>
                        <a:pt x="88" y="104"/>
                      </a:lnTo>
                      <a:lnTo>
                        <a:pt x="98" y="104"/>
                      </a:lnTo>
                      <a:lnTo>
                        <a:pt x="112" y="106"/>
                      </a:lnTo>
                      <a:lnTo>
                        <a:pt x="128" y="108"/>
                      </a:lnTo>
                      <a:lnTo>
                        <a:pt x="142" y="106"/>
                      </a:lnTo>
                      <a:lnTo>
                        <a:pt x="150" y="106"/>
                      </a:lnTo>
                      <a:lnTo>
                        <a:pt x="156" y="102"/>
                      </a:lnTo>
                      <a:lnTo>
                        <a:pt x="162" y="98"/>
                      </a:lnTo>
                      <a:lnTo>
                        <a:pt x="166" y="92"/>
                      </a:lnTo>
                      <a:lnTo>
                        <a:pt x="166" y="92"/>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85" name="Freeform 6110">
                  <a:extLst>
                    <a:ext uri="{FF2B5EF4-FFF2-40B4-BE49-F238E27FC236}">
                      <a16:creationId xmlns:a16="http://schemas.microsoft.com/office/drawing/2014/main" id="{CCE8818E-5B7F-6AD0-E7CA-CD8DD86FBD32}"/>
                    </a:ext>
                  </a:extLst>
                </p:cNvPr>
                <p:cNvSpPr>
                  <a:spLocks/>
                </p:cNvSpPr>
                <p:nvPr/>
              </p:nvSpPr>
              <p:spPr bwMode="auto">
                <a:xfrm>
                  <a:off x="2172970" y="1573213"/>
                  <a:ext cx="176530" cy="121920"/>
                </a:xfrm>
                <a:custGeom>
                  <a:avLst/>
                  <a:gdLst/>
                  <a:ahLst/>
                  <a:cxnLst>
                    <a:cxn ang="0">
                      <a:pos x="272" y="132"/>
                    </a:cxn>
                    <a:cxn ang="0">
                      <a:pos x="258" y="122"/>
                    </a:cxn>
                    <a:cxn ang="0">
                      <a:pos x="250" y="126"/>
                    </a:cxn>
                    <a:cxn ang="0">
                      <a:pos x="236" y="124"/>
                    </a:cxn>
                    <a:cxn ang="0">
                      <a:pos x="228" y="120"/>
                    </a:cxn>
                    <a:cxn ang="0">
                      <a:pos x="220" y="102"/>
                    </a:cxn>
                    <a:cxn ang="0">
                      <a:pos x="212" y="88"/>
                    </a:cxn>
                    <a:cxn ang="0">
                      <a:pos x="192" y="78"/>
                    </a:cxn>
                    <a:cxn ang="0">
                      <a:pos x="178" y="72"/>
                    </a:cxn>
                    <a:cxn ang="0">
                      <a:pos x="140" y="46"/>
                    </a:cxn>
                    <a:cxn ang="0">
                      <a:pos x="122" y="34"/>
                    </a:cxn>
                    <a:cxn ang="0">
                      <a:pos x="110" y="34"/>
                    </a:cxn>
                    <a:cxn ang="0">
                      <a:pos x="106" y="36"/>
                    </a:cxn>
                    <a:cxn ang="0">
                      <a:pos x="100" y="40"/>
                    </a:cxn>
                    <a:cxn ang="0">
                      <a:pos x="96" y="38"/>
                    </a:cxn>
                    <a:cxn ang="0">
                      <a:pos x="86" y="24"/>
                    </a:cxn>
                    <a:cxn ang="0">
                      <a:pos x="76" y="8"/>
                    </a:cxn>
                    <a:cxn ang="0">
                      <a:pos x="66" y="0"/>
                    </a:cxn>
                    <a:cxn ang="0">
                      <a:pos x="62" y="2"/>
                    </a:cxn>
                    <a:cxn ang="0">
                      <a:pos x="54" y="6"/>
                    </a:cxn>
                    <a:cxn ang="0">
                      <a:pos x="42" y="26"/>
                    </a:cxn>
                    <a:cxn ang="0">
                      <a:pos x="36" y="58"/>
                    </a:cxn>
                    <a:cxn ang="0">
                      <a:pos x="34" y="90"/>
                    </a:cxn>
                    <a:cxn ang="0">
                      <a:pos x="38" y="106"/>
                    </a:cxn>
                    <a:cxn ang="0">
                      <a:pos x="38" y="116"/>
                    </a:cxn>
                    <a:cxn ang="0">
                      <a:pos x="34" y="124"/>
                    </a:cxn>
                    <a:cxn ang="0">
                      <a:pos x="18" y="134"/>
                    </a:cxn>
                    <a:cxn ang="0">
                      <a:pos x="4" y="142"/>
                    </a:cxn>
                    <a:cxn ang="0">
                      <a:pos x="0" y="150"/>
                    </a:cxn>
                    <a:cxn ang="0">
                      <a:pos x="4" y="158"/>
                    </a:cxn>
                    <a:cxn ang="0">
                      <a:pos x="4" y="160"/>
                    </a:cxn>
                    <a:cxn ang="0">
                      <a:pos x="16" y="162"/>
                    </a:cxn>
                    <a:cxn ang="0">
                      <a:pos x="50" y="156"/>
                    </a:cxn>
                    <a:cxn ang="0">
                      <a:pos x="64" y="156"/>
                    </a:cxn>
                    <a:cxn ang="0">
                      <a:pos x="66" y="162"/>
                    </a:cxn>
                    <a:cxn ang="0">
                      <a:pos x="66" y="166"/>
                    </a:cxn>
                    <a:cxn ang="0">
                      <a:pos x="70" y="182"/>
                    </a:cxn>
                    <a:cxn ang="0">
                      <a:pos x="82" y="190"/>
                    </a:cxn>
                    <a:cxn ang="0">
                      <a:pos x="96" y="190"/>
                    </a:cxn>
                    <a:cxn ang="0">
                      <a:pos x="110" y="176"/>
                    </a:cxn>
                    <a:cxn ang="0">
                      <a:pos x="114" y="166"/>
                    </a:cxn>
                    <a:cxn ang="0">
                      <a:pos x="124" y="160"/>
                    </a:cxn>
                    <a:cxn ang="0">
                      <a:pos x="134" y="158"/>
                    </a:cxn>
                    <a:cxn ang="0">
                      <a:pos x="142" y="150"/>
                    </a:cxn>
                    <a:cxn ang="0">
                      <a:pos x="144" y="142"/>
                    </a:cxn>
                    <a:cxn ang="0">
                      <a:pos x="154" y="128"/>
                    </a:cxn>
                    <a:cxn ang="0">
                      <a:pos x="170" y="124"/>
                    </a:cxn>
                    <a:cxn ang="0">
                      <a:pos x="184" y="130"/>
                    </a:cxn>
                    <a:cxn ang="0">
                      <a:pos x="192" y="142"/>
                    </a:cxn>
                    <a:cxn ang="0">
                      <a:pos x="194" y="148"/>
                    </a:cxn>
                    <a:cxn ang="0">
                      <a:pos x="198" y="154"/>
                    </a:cxn>
                    <a:cxn ang="0">
                      <a:pos x="214" y="156"/>
                    </a:cxn>
                    <a:cxn ang="0">
                      <a:pos x="232" y="160"/>
                    </a:cxn>
                    <a:cxn ang="0">
                      <a:pos x="254" y="162"/>
                    </a:cxn>
                    <a:cxn ang="0">
                      <a:pos x="272" y="158"/>
                    </a:cxn>
                    <a:cxn ang="0">
                      <a:pos x="278" y="148"/>
                    </a:cxn>
                    <a:cxn ang="0">
                      <a:pos x="272" y="132"/>
                    </a:cxn>
                  </a:cxnLst>
                  <a:rect l="0" t="0" r="r" b="b"/>
                  <a:pathLst>
                    <a:path w="278" h="192">
                      <a:moveTo>
                        <a:pt x="272" y="132"/>
                      </a:moveTo>
                      <a:lnTo>
                        <a:pt x="272" y="132"/>
                      </a:lnTo>
                      <a:lnTo>
                        <a:pt x="262" y="122"/>
                      </a:lnTo>
                      <a:lnTo>
                        <a:pt x="258" y="122"/>
                      </a:lnTo>
                      <a:lnTo>
                        <a:pt x="256" y="122"/>
                      </a:lnTo>
                      <a:lnTo>
                        <a:pt x="250" y="126"/>
                      </a:lnTo>
                      <a:lnTo>
                        <a:pt x="244" y="126"/>
                      </a:lnTo>
                      <a:lnTo>
                        <a:pt x="236" y="124"/>
                      </a:lnTo>
                      <a:lnTo>
                        <a:pt x="236" y="124"/>
                      </a:lnTo>
                      <a:lnTo>
                        <a:pt x="228" y="120"/>
                      </a:lnTo>
                      <a:lnTo>
                        <a:pt x="224" y="114"/>
                      </a:lnTo>
                      <a:lnTo>
                        <a:pt x="220" y="102"/>
                      </a:lnTo>
                      <a:lnTo>
                        <a:pt x="218" y="96"/>
                      </a:lnTo>
                      <a:lnTo>
                        <a:pt x="212" y="88"/>
                      </a:lnTo>
                      <a:lnTo>
                        <a:pt x="204" y="82"/>
                      </a:lnTo>
                      <a:lnTo>
                        <a:pt x="192" y="78"/>
                      </a:lnTo>
                      <a:lnTo>
                        <a:pt x="192" y="78"/>
                      </a:lnTo>
                      <a:lnTo>
                        <a:pt x="178" y="72"/>
                      </a:lnTo>
                      <a:lnTo>
                        <a:pt x="164" y="64"/>
                      </a:lnTo>
                      <a:lnTo>
                        <a:pt x="140" y="46"/>
                      </a:lnTo>
                      <a:lnTo>
                        <a:pt x="130" y="38"/>
                      </a:lnTo>
                      <a:lnTo>
                        <a:pt x="122" y="34"/>
                      </a:lnTo>
                      <a:lnTo>
                        <a:pt x="114" y="32"/>
                      </a:lnTo>
                      <a:lnTo>
                        <a:pt x="110" y="34"/>
                      </a:lnTo>
                      <a:lnTo>
                        <a:pt x="106" y="36"/>
                      </a:lnTo>
                      <a:lnTo>
                        <a:pt x="106" y="36"/>
                      </a:lnTo>
                      <a:lnTo>
                        <a:pt x="104" y="38"/>
                      </a:lnTo>
                      <a:lnTo>
                        <a:pt x="100" y="40"/>
                      </a:lnTo>
                      <a:lnTo>
                        <a:pt x="98" y="40"/>
                      </a:lnTo>
                      <a:lnTo>
                        <a:pt x="96" y="38"/>
                      </a:lnTo>
                      <a:lnTo>
                        <a:pt x="90" y="32"/>
                      </a:lnTo>
                      <a:lnTo>
                        <a:pt x="86" y="24"/>
                      </a:lnTo>
                      <a:lnTo>
                        <a:pt x="82" y="14"/>
                      </a:lnTo>
                      <a:lnTo>
                        <a:pt x="76" y="8"/>
                      </a:lnTo>
                      <a:lnTo>
                        <a:pt x="70" y="2"/>
                      </a:lnTo>
                      <a:lnTo>
                        <a:pt x="66" y="0"/>
                      </a:lnTo>
                      <a:lnTo>
                        <a:pt x="62" y="2"/>
                      </a:lnTo>
                      <a:lnTo>
                        <a:pt x="62" y="2"/>
                      </a:lnTo>
                      <a:lnTo>
                        <a:pt x="58" y="2"/>
                      </a:lnTo>
                      <a:lnTo>
                        <a:pt x="54" y="6"/>
                      </a:lnTo>
                      <a:lnTo>
                        <a:pt x="48" y="14"/>
                      </a:lnTo>
                      <a:lnTo>
                        <a:pt x="42" y="26"/>
                      </a:lnTo>
                      <a:lnTo>
                        <a:pt x="38" y="42"/>
                      </a:lnTo>
                      <a:lnTo>
                        <a:pt x="36" y="58"/>
                      </a:lnTo>
                      <a:lnTo>
                        <a:pt x="34" y="74"/>
                      </a:lnTo>
                      <a:lnTo>
                        <a:pt x="34" y="90"/>
                      </a:lnTo>
                      <a:lnTo>
                        <a:pt x="38" y="106"/>
                      </a:lnTo>
                      <a:lnTo>
                        <a:pt x="38" y="106"/>
                      </a:lnTo>
                      <a:lnTo>
                        <a:pt x="38" y="112"/>
                      </a:lnTo>
                      <a:lnTo>
                        <a:pt x="38" y="116"/>
                      </a:lnTo>
                      <a:lnTo>
                        <a:pt x="36" y="122"/>
                      </a:lnTo>
                      <a:lnTo>
                        <a:pt x="34" y="124"/>
                      </a:lnTo>
                      <a:lnTo>
                        <a:pt x="26" y="130"/>
                      </a:lnTo>
                      <a:lnTo>
                        <a:pt x="18" y="134"/>
                      </a:lnTo>
                      <a:lnTo>
                        <a:pt x="10" y="138"/>
                      </a:lnTo>
                      <a:lnTo>
                        <a:pt x="4" y="142"/>
                      </a:lnTo>
                      <a:lnTo>
                        <a:pt x="2" y="146"/>
                      </a:lnTo>
                      <a:lnTo>
                        <a:pt x="0" y="150"/>
                      </a:lnTo>
                      <a:lnTo>
                        <a:pt x="2" y="154"/>
                      </a:lnTo>
                      <a:lnTo>
                        <a:pt x="4" y="158"/>
                      </a:lnTo>
                      <a:lnTo>
                        <a:pt x="4" y="158"/>
                      </a:lnTo>
                      <a:lnTo>
                        <a:pt x="4" y="160"/>
                      </a:lnTo>
                      <a:lnTo>
                        <a:pt x="8" y="162"/>
                      </a:lnTo>
                      <a:lnTo>
                        <a:pt x="16" y="162"/>
                      </a:lnTo>
                      <a:lnTo>
                        <a:pt x="38" y="158"/>
                      </a:lnTo>
                      <a:lnTo>
                        <a:pt x="50" y="156"/>
                      </a:lnTo>
                      <a:lnTo>
                        <a:pt x="60" y="156"/>
                      </a:lnTo>
                      <a:lnTo>
                        <a:pt x="64" y="156"/>
                      </a:lnTo>
                      <a:lnTo>
                        <a:pt x="66" y="158"/>
                      </a:lnTo>
                      <a:lnTo>
                        <a:pt x="66" y="162"/>
                      </a:lnTo>
                      <a:lnTo>
                        <a:pt x="66" y="166"/>
                      </a:lnTo>
                      <a:lnTo>
                        <a:pt x="66" y="166"/>
                      </a:lnTo>
                      <a:lnTo>
                        <a:pt x="66" y="174"/>
                      </a:lnTo>
                      <a:lnTo>
                        <a:pt x="70" y="182"/>
                      </a:lnTo>
                      <a:lnTo>
                        <a:pt x="74" y="188"/>
                      </a:lnTo>
                      <a:lnTo>
                        <a:pt x="82" y="190"/>
                      </a:lnTo>
                      <a:lnTo>
                        <a:pt x="88" y="192"/>
                      </a:lnTo>
                      <a:lnTo>
                        <a:pt x="96" y="190"/>
                      </a:lnTo>
                      <a:lnTo>
                        <a:pt x="104" y="184"/>
                      </a:lnTo>
                      <a:lnTo>
                        <a:pt x="110" y="176"/>
                      </a:lnTo>
                      <a:lnTo>
                        <a:pt x="110" y="176"/>
                      </a:lnTo>
                      <a:lnTo>
                        <a:pt x="114" y="166"/>
                      </a:lnTo>
                      <a:lnTo>
                        <a:pt x="120" y="162"/>
                      </a:lnTo>
                      <a:lnTo>
                        <a:pt x="124" y="160"/>
                      </a:lnTo>
                      <a:lnTo>
                        <a:pt x="130" y="158"/>
                      </a:lnTo>
                      <a:lnTo>
                        <a:pt x="134" y="158"/>
                      </a:lnTo>
                      <a:lnTo>
                        <a:pt x="138" y="156"/>
                      </a:lnTo>
                      <a:lnTo>
                        <a:pt x="142" y="150"/>
                      </a:lnTo>
                      <a:lnTo>
                        <a:pt x="144" y="142"/>
                      </a:lnTo>
                      <a:lnTo>
                        <a:pt x="144" y="142"/>
                      </a:lnTo>
                      <a:lnTo>
                        <a:pt x="148" y="134"/>
                      </a:lnTo>
                      <a:lnTo>
                        <a:pt x="154" y="128"/>
                      </a:lnTo>
                      <a:lnTo>
                        <a:pt x="162" y="124"/>
                      </a:lnTo>
                      <a:lnTo>
                        <a:pt x="170" y="124"/>
                      </a:lnTo>
                      <a:lnTo>
                        <a:pt x="178" y="126"/>
                      </a:lnTo>
                      <a:lnTo>
                        <a:pt x="184" y="130"/>
                      </a:lnTo>
                      <a:lnTo>
                        <a:pt x="190" y="136"/>
                      </a:lnTo>
                      <a:lnTo>
                        <a:pt x="192" y="142"/>
                      </a:lnTo>
                      <a:lnTo>
                        <a:pt x="192" y="142"/>
                      </a:lnTo>
                      <a:lnTo>
                        <a:pt x="194" y="148"/>
                      </a:lnTo>
                      <a:lnTo>
                        <a:pt x="196" y="152"/>
                      </a:lnTo>
                      <a:lnTo>
                        <a:pt x="198" y="154"/>
                      </a:lnTo>
                      <a:lnTo>
                        <a:pt x="202" y="156"/>
                      </a:lnTo>
                      <a:lnTo>
                        <a:pt x="214" y="156"/>
                      </a:lnTo>
                      <a:lnTo>
                        <a:pt x="232" y="160"/>
                      </a:lnTo>
                      <a:lnTo>
                        <a:pt x="232" y="160"/>
                      </a:lnTo>
                      <a:lnTo>
                        <a:pt x="244" y="162"/>
                      </a:lnTo>
                      <a:lnTo>
                        <a:pt x="254" y="162"/>
                      </a:lnTo>
                      <a:lnTo>
                        <a:pt x="264" y="160"/>
                      </a:lnTo>
                      <a:lnTo>
                        <a:pt x="272" y="158"/>
                      </a:lnTo>
                      <a:lnTo>
                        <a:pt x="276" y="154"/>
                      </a:lnTo>
                      <a:lnTo>
                        <a:pt x="278" y="148"/>
                      </a:lnTo>
                      <a:lnTo>
                        <a:pt x="278" y="140"/>
                      </a:lnTo>
                      <a:lnTo>
                        <a:pt x="272" y="132"/>
                      </a:lnTo>
                      <a:lnTo>
                        <a:pt x="272" y="132"/>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86" name="Freeform 6111">
                  <a:extLst>
                    <a:ext uri="{FF2B5EF4-FFF2-40B4-BE49-F238E27FC236}">
                      <a16:creationId xmlns:a16="http://schemas.microsoft.com/office/drawing/2014/main" id="{E1FDD328-D5E4-55AD-6B18-78BD5FF6A6ED}"/>
                    </a:ext>
                  </a:extLst>
                </p:cNvPr>
                <p:cNvSpPr>
                  <a:spLocks/>
                </p:cNvSpPr>
                <p:nvPr/>
              </p:nvSpPr>
              <p:spPr bwMode="auto">
                <a:xfrm>
                  <a:off x="2178050" y="1465263"/>
                  <a:ext cx="15240" cy="24130"/>
                </a:xfrm>
                <a:custGeom>
                  <a:avLst/>
                  <a:gdLst/>
                  <a:ahLst/>
                  <a:cxnLst>
                    <a:cxn ang="0">
                      <a:pos x="4" y="28"/>
                    </a:cxn>
                    <a:cxn ang="0">
                      <a:pos x="4" y="28"/>
                    </a:cxn>
                    <a:cxn ang="0">
                      <a:pos x="12" y="36"/>
                    </a:cxn>
                    <a:cxn ang="0">
                      <a:pos x="16" y="38"/>
                    </a:cxn>
                    <a:cxn ang="0">
                      <a:pos x="18" y="38"/>
                    </a:cxn>
                    <a:cxn ang="0">
                      <a:pos x="22" y="36"/>
                    </a:cxn>
                    <a:cxn ang="0">
                      <a:pos x="24" y="30"/>
                    </a:cxn>
                    <a:cxn ang="0">
                      <a:pos x="24" y="12"/>
                    </a:cxn>
                    <a:cxn ang="0">
                      <a:pos x="20" y="0"/>
                    </a:cxn>
                    <a:cxn ang="0">
                      <a:pos x="20" y="0"/>
                    </a:cxn>
                    <a:cxn ang="0">
                      <a:pos x="18" y="0"/>
                    </a:cxn>
                    <a:cxn ang="0">
                      <a:pos x="14" y="0"/>
                    </a:cxn>
                    <a:cxn ang="0">
                      <a:pos x="10" y="2"/>
                    </a:cxn>
                    <a:cxn ang="0">
                      <a:pos x="6" y="6"/>
                    </a:cxn>
                    <a:cxn ang="0">
                      <a:pos x="2" y="10"/>
                    </a:cxn>
                    <a:cxn ang="0">
                      <a:pos x="0" y="16"/>
                    </a:cxn>
                    <a:cxn ang="0">
                      <a:pos x="0" y="22"/>
                    </a:cxn>
                    <a:cxn ang="0">
                      <a:pos x="4" y="28"/>
                    </a:cxn>
                    <a:cxn ang="0">
                      <a:pos x="4" y="28"/>
                    </a:cxn>
                  </a:cxnLst>
                  <a:rect l="0" t="0" r="r" b="b"/>
                  <a:pathLst>
                    <a:path w="24" h="38">
                      <a:moveTo>
                        <a:pt x="4" y="28"/>
                      </a:moveTo>
                      <a:lnTo>
                        <a:pt x="4" y="28"/>
                      </a:lnTo>
                      <a:lnTo>
                        <a:pt x="12" y="36"/>
                      </a:lnTo>
                      <a:lnTo>
                        <a:pt x="16" y="38"/>
                      </a:lnTo>
                      <a:lnTo>
                        <a:pt x="18" y="38"/>
                      </a:lnTo>
                      <a:lnTo>
                        <a:pt x="22" y="36"/>
                      </a:lnTo>
                      <a:lnTo>
                        <a:pt x="24" y="30"/>
                      </a:lnTo>
                      <a:lnTo>
                        <a:pt x="24" y="12"/>
                      </a:lnTo>
                      <a:lnTo>
                        <a:pt x="20" y="0"/>
                      </a:lnTo>
                      <a:lnTo>
                        <a:pt x="20" y="0"/>
                      </a:lnTo>
                      <a:lnTo>
                        <a:pt x="18" y="0"/>
                      </a:lnTo>
                      <a:lnTo>
                        <a:pt x="14" y="0"/>
                      </a:lnTo>
                      <a:lnTo>
                        <a:pt x="10" y="2"/>
                      </a:lnTo>
                      <a:lnTo>
                        <a:pt x="6" y="6"/>
                      </a:lnTo>
                      <a:lnTo>
                        <a:pt x="2" y="10"/>
                      </a:lnTo>
                      <a:lnTo>
                        <a:pt x="0" y="16"/>
                      </a:lnTo>
                      <a:lnTo>
                        <a:pt x="0" y="22"/>
                      </a:lnTo>
                      <a:lnTo>
                        <a:pt x="4" y="28"/>
                      </a:lnTo>
                      <a:lnTo>
                        <a:pt x="4" y="28"/>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87" name="Freeform 6112">
                  <a:extLst>
                    <a:ext uri="{FF2B5EF4-FFF2-40B4-BE49-F238E27FC236}">
                      <a16:creationId xmlns:a16="http://schemas.microsoft.com/office/drawing/2014/main" id="{C49027DE-998A-7024-B75A-F2E67FCED4C9}"/>
                    </a:ext>
                  </a:extLst>
                </p:cNvPr>
                <p:cNvSpPr>
                  <a:spLocks/>
                </p:cNvSpPr>
                <p:nvPr/>
              </p:nvSpPr>
              <p:spPr bwMode="auto">
                <a:xfrm>
                  <a:off x="2258060" y="1697673"/>
                  <a:ext cx="52070" cy="36830"/>
                </a:xfrm>
                <a:custGeom>
                  <a:avLst/>
                  <a:gdLst/>
                  <a:ahLst/>
                  <a:cxnLst>
                    <a:cxn ang="0">
                      <a:pos x="78" y="4"/>
                    </a:cxn>
                    <a:cxn ang="0">
                      <a:pos x="78" y="4"/>
                    </a:cxn>
                    <a:cxn ang="0">
                      <a:pos x="72" y="2"/>
                    </a:cxn>
                    <a:cxn ang="0">
                      <a:pos x="68" y="0"/>
                    </a:cxn>
                    <a:cxn ang="0">
                      <a:pos x="54" y="2"/>
                    </a:cxn>
                    <a:cxn ang="0">
                      <a:pos x="38" y="6"/>
                    </a:cxn>
                    <a:cxn ang="0">
                      <a:pos x="24" y="14"/>
                    </a:cxn>
                    <a:cxn ang="0">
                      <a:pos x="12" y="22"/>
                    </a:cxn>
                    <a:cxn ang="0">
                      <a:pos x="4" y="32"/>
                    </a:cxn>
                    <a:cxn ang="0">
                      <a:pos x="0" y="38"/>
                    </a:cxn>
                    <a:cxn ang="0">
                      <a:pos x="0" y="42"/>
                    </a:cxn>
                    <a:cxn ang="0">
                      <a:pos x="2" y="48"/>
                    </a:cxn>
                    <a:cxn ang="0">
                      <a:pos x="6" y="52"/>
                    </a:cxn>
                    <a:cxn ang="0">
                      <a:pos x="6" y="52"/>
                    </a:cxn>
                    <a:cxn ang="0">
                      <a:pos x="10" y="56"/>
                    </a:cxn>
                    <a:cxn ang="0">
                      <a:pos x="16" y="58"/>
                    </a:cxn>
                    <a:cxn ang="0">
                      <a:pos x="22" y="58"/>
                    </a:cxn>
                    <a:cxn ang="0">
                      <a:pos x="28" y="56"/>
                    </a:cxn>
                    <a:cxn ang="0">
                      <a:pos x="42" y="50"/>
                    </a:cxn>
                    <a:cxn ang="0">
                      <a:pos x="58" y="42"/>
                    </a:cxn>
                    <a:cxn ang="0">
                      <a:pos x="70" y="32"/>
                    </a:cxn>
                    <a:cxn ang="0">
                      <a:pos x="78" y="20"/>
                    </a:cxn>
                    <a:cxn ang="0">
                      <a:pos x="80" y="16"/>
                    </a:cxn>
                    <a:cxn ang="0">
                      <a:pos x="82" y="10"/>
                    </a:cxn>
                    <a:cxn ang="0">
                      <a:pos x="80" y="6"/>
                    </a:cxn>
                    <a:cxn ang="0">
                      <a:pos x="78" y="4"/>
                    </a:cxn>
                    <a:cxn ang="0">
                      <a:pos x="78" y="4"/>
                    </a:cxn>
                  </a:cxnLst>
                  <a:rect l="0" t="0" r="r" b="b"/>
                  <a:pathLst>
                    <a:path w="82" h="58">
                      <a:moveTo>
                        <a:pt x="78" y="4"/>
                      </a:moveTo>
                      <a:lnTo>
                        <a:pt x="78" y="4"/>
                      </a:lnTo>
                      <a:lnTo>
                        <a:pt x="72" y="2"/>
                      </a:lnTo>
                      <a:lnTo>
                        <a:pt x="68" y="0"/>
                      </a:lnTo>
                      <a:lnTo>
                        <a:pt x="54" y="2"/>
                      </a:lnTo>
                      <a:lnTo>
                        <a:pt x="38" y="6"/>
                      </a:lnTo>
                      <a:lnTo>
                        <a:pt x="24" y="14"/>
                      </a:lnTo>
                      <a:lnTo>
                        <a:pt x="12" y="22"/>
                      </a:lnTo>
                      <a:lnTo>
                        <a:pt x="4" y="32"/>
                      </a:lnTo>
                      <a:lnTo>
                        <a:pt x="0" y="38"/>
                      </a:lnTo>
                      <a:lnTo>
                        <a:pt x="0" y="42"/>
                      </a:lnTo>
                      <a:lnTo>
                        <a:pt x="2" y="48"/>
                      </a:lnTo>
                      <a:lnTo>
                        <a:pt x="6" y="52"/>
                      </a:lnTo>
                      <a:lnTo>
                        <a:pt x="6" y="52"/>
                      </a:lnTo>
                      <a:lnTo>
                        <a:pt x="10" y="56"/>
                      </a:lnTo>
                      <a:lnTo>
                        <a:pt x="16" y="58"/>
                      </a:lnTo>
                      <a:lnTo>
                        <a:pt x="22" y="58"/>
                      </a:lnTo>
                      <a:lnTo>
                        <a:pt x="28" y="56"/>
                      </a:lnTo>
                      <a:lnTo>
                        <a:pt x="42" y="50"/>
                      </a:lnTo>
                      <a:lnTo>
                        <a:pt x="58" y="42"/>
                      </a:lnTo>
                      <a:lnTo>
                        <a:pt x="70" y="32"/>
                      </a:lnTo>
                      <a:lnTo>
                        <a:pt x="78" y="20"/>
                      </a:lnTo>
                      <a:lnTo>
                        <a:pt x="80" y="16"/>
                      </a:lnTo>
                      <a:lnTo>
                        <a:pt x="82" y="10"/>
                      </a:lnTo>
                      <a:lnTo>
                        <a:pt x="80" y="6"/>
                      </a:lnTo>
                      <a:lnTo>
                        <a:pt x="78" y="4"/>
                      </a:lnTo>
                      <a:lnTo>
                        <a:pt x="78" y="4"/>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88" name="Freeform 6113">
                  <a:extLst>
                    <a:ext uri="{FF2B5EF4-FFF2-40B4-BE49-F238E27FC236}">
                      <a16:creationId xmlns:a16="http://schemas.microsoft.com/office/drawing/2014/main" id="{7C9580AB-F583-9B29-7B53-9869A95E55AB}"/>
                    </a:ext>
                  </a:extLst>
                </p:cNvPr>
                <p:cNvSpPr>
                  <a:spLocks/>
                </p:cNvSpPr>
                <p:nvPr/>
              </p:nvSpPr>
              <p:spPr bwMode="auto">
                <a:xfrm>
                  <a:off x="1357630" y="1230313"/>
                  <a:ext cx="467360" cy="227330"/>
                </a:xfrm>
                <a:custGeom>
                  <a:avLst/>
                  <a:gdLst/>
                  <a:ahLst/>
                  <a:cxnLst>
                    <a:cxn ang="0">
                      <a:pos x="700" y="272"/>
                    </a:cxn>
                    <a:cxn ang="0">
                      <a:pos x="720" y="274"/>
                    </a:cxn>
                    <a:cxn ang="0">
                      <a:pos x="736" y="254"/>
                    </a:cxn>
                    <a:cxn ang="0">
                      <a:pos x="708" y="238"/>
                    </a:cxn>
                    <a:cxn ang="0">
                      <a:pos x="684" y="224"/>
                    </a:cxn>
                    <a:cxn ang="0">
                      <a:pos x="646" y="206"/>
                    </a:cxn>
                    <a:cxn ang="0">
                      <a:pos x="608" y="190"/>
                    </a:cxn>
                    <a:cxn ang="0">
                      <a:pos x="586" y="166"/>
                    </a:cxn>
                    <a:cxn ang="0">
                      <a:pos x="592" y="128"/>
                    </a:cxn>
                    <a:cxn ang="0">
                      <a:pos x="560" y="58"/>
                    </a:cxn>
                    <a:cxn ang="0">
                      <a:pos x="506" y="10"/>
                    </a:cxn>
                    <a:cxn ang="0">
                      <a:pos x="482" y="10"/>
                    </a:cxn>
                    <a:cxn ang="0">
                      <a:pos x="438" y="8"/>
                    </a:cxn>
                    <a:cxn ang="0">
                      <a:pos x="450" y="68"/>
                    </a:cxn>
                    <a:cxn ang="0">
                      <a:pos x="478" y="114"/>
                    </a:cxn>
                    <a:cxn ang="0">
                      <a:pos x="456" y="132"/>
                    </a:cxn>
                    <a:cxn ang="0">
                      <a:pos x="420" y="68"/>
                    </a:cxn>
                    <a:cxn ang="0">
                      <a:pos x="382" y="40"/>
                    </a:cxn>
                    <a:cxn ang="0">
                      <a:pos x="354" y="26"/>
                    </a:cxn>
                    <a:cxn ang="0">
                      <a:pos x="352" y="40"/>
                    </a:cxn>
                    <a:cxn ang="0">
                      <a:pos x="372" y="58"/>
                    </a:cxn>
                    <a:cxn ang="0">
                      <a:pos x="336" y="62"/>
                    </a:cxn>
                    <a:cxn ang="0">
                      <a:pos x="318" y="74"/>
                    </a:cxn>
                    <a:cxn ang="0">
                      <a:pos x="296" y="40"/>
                    </a:cxn>
                    <a:cxn ang="0">
                      <a:pos x="224" y="38"/>
                    </a:cxn>
                    <a:cxn ang="0">
                      <a:pos x="190" y="60"/>
                    </a:cxn>
                    <a:cxn ang="0">
                      <a:pos x="206" y="32"/>
                    </a:cxn>
                    <a:cxn ang="0">
                      <a:pos x="196" y="2"/>
                    </a:cxn>
                    <a:cxn ang="0">
                      <a:pos x="100" y="26"/>
                    </a:cxn>
                    <a:cxn ang="0">
                      <a:pos x="22" y="72"/>
                    </a:cxn>
                    <a:cxn ang="0">
                      <a:pos x="40" y="86"/>
                    </a:cxn>
                    <a:cxn ang="0">
                      <a:pos x="2" y="116"/>
                    </a:cxn>
                    <a:cxn ang="0">
                      <a:pos x="14" y="130"/>
                    </a:cxn>
                    <a:cxn ang="0">
                      <a:pos x="34" y="146"/>
                    </a:cxn>
                    <a:cxn ang="0">
                      <a:pos x="116" y="140"/>
                    </a:cxn>
                    <a:cxn ang="0">
                      <a:pos x="76" y="160"/>
                    </a:cxn>
                    <a:cxn ang="0">
                      <a:pos x="44" y="192"/>
                    </a:cxn>
                    <a:cxn ang="0">
                      <a:pos x="110" y="204"/>
                    </a:cxn>
                    <a:cxn ang="0">
                      <a:pos x="210" y="202"/>
                    </a:cxn>
                    <a:cxn ang="0">
                      <a:pos x="276" y="214"/>
                    </a:cxn>
                    <a:cxn ang="0">
                      <a:pos x="294" y="230"/>
                    </a:cxn>
                    <a:cxn ang="0">
                      <a:pos x="168" y="230"/>
                    </a:cxn>
                    <a:cxn ang="0">
                      <a:pos x="70" y="254"/>
                    </a:cxn>
                    <a:cxn ang="0">
                      <a:pos x="122" y="300"/>
                    </a:cxn>
                    <a:cxn ang="0">
                      <a:pos x="222" y="308"/>
                    </a:cxn>
                    <a:cxn ang="0">
                      <a:pos x="232" y="350"/>
                    </a:cxn>
                    <a:cxn ang="0">
                      <a:pos x="314" y="358"/>
                    </a:cxn>
                    <a:cxn ang="0">
                      <a:pos x="420" y="332"/>
                    </a:cxn>
                    <a:cxn ang="0">
                      <a:pos x="478" y="318"/>
                    </a:cxn>
                    <a:cxn ang="0">
                      <a:pos x="490" y="296"/>
                    </a:cxn>
                    <a:cxn ang="0">
                      <a:pos x="516" y="294"/>
                    </a:cxn>
                    <a:cxn ang="0">
                      <a:pos x="540" y="312"/>
                    </a:cxn>
                    <a:cxn ang="0">
                      <a:pos x="560" y="324"/>
                    </a:cxn>
                    <a:cxn ang="0">
                      <a:pos x="592" y="328"/>
                    </a:cxn>
                    <a:cxn ang="0">
                      <a:pos x="640" y="334"/>
                    </a:cxn>
                    <a:cxn ang="0">
                      <a:pos x="680" y="324"/>
                    </a:cxn>
                    <a:cxn ang="0">
                      <a:pos x="700" y="306"/>
                    </a:cxn>
                    <a:cxn ang="0">
                      <a:pos x="692" y="288"/>
                    </a:cxn>
                    <a:cxn ang="0">
                      <a:pos x="648" y="300"/>
                    </a:cxn>
                    <a:cxn ang="0">
                      <a:pos x="632" y="278"/>
                    </a:cxn>
                    <a:cxn ang="0">
                      <a:pos x="660" y="282"/>
                    </a:cxn>
                    <a:cxn ang="0">
                      <a:pos x="668" y="272"/>
                    </a:cxn>
                  </a:cxnLst>
                  <a:rect l="0" t="0" r="r" b="b"/>
                  <a:pathLst>
                    <a:path w="736" h="358">
                      <a:moveTo>
                        <a:pt x="674" y="264"/>
                      </a:moveTo>
                      <a:lnTo>
                        <a:pt x="674" y="264"/>
                      </a:lnTo>
                      <a:lnTo>
                        <a:pt x="682" y="262"/>
                      </a:lnTo>
                      <a:lnTo>
                        <a:pt x="686" y="262"/>
                      </a:lnTo>
                      <a:lnTo>
                        <a:pt x="690" y="264"/>
                      </a:lnTo>
                      <a:lnTo>
                        <a:pt x="694" y="268"/>
                      </a:lnTo>
                      <a:lnTo>
                        <a:pt x="700" y="272"/>
                      </a:lnTo>
                      <a:lnTo>
                        <a:pt x="702" y="274"/>
                      </a:lnTo>
                      <a:lnTo>
                        <a:pt x="704" y="272"/>
                      </a:lnTo>
                      <a:lnTo>
                        <a:pt x="704" y="272"/>
                      </a:lnTo>
                      <a:lnTo>
                        <a:pt x="710" y="268"/>
                      </a:lnTo>
                      <a:lnTo>
                        <a:pt x="714" y="268"/>
                      </a:lnTo>
                      <a:lnTo>
                        <a:pt x="718" y="272"/>
                      </a:lnTo>
                      <a:lnTo>
                        <a:pt x="720" y="274"/>
                      </a:lnTo>
                      <a:lnTo>
                        <a:pt x="726" y="274"/>
                      </a:lnTo>
                      <a:lnTo>
                        <a:pt x="726" y="274"/>
                      </a:lnTo>
                      <a:lnTo>
                        <a:pt x="730" y="274"/>
                      </a:lnTo>
                      <a:lnTo>
                        <a:pt x="734" y="272"/>
                      </a:lnTo>
                      <a:lnTo>
                        <a:pt x="736" y="268"/>
                      </a:lnTo>
                      <a:lnTo>
                        <a:pt x="736" y="264"/>
                      </a:lnTo>
                      <a:lnTo>
                        <a:pt x="736" y="254"/>
                      </a:lnTo>
                      <a:lnTo>
                        <a:pt x="734" y="244"/>
                      </a:lnTo>
                      <a:lnTo>
                        <a:pt x="734" y="244"/>
                      </a:lnTo>
                      <a:lnTo>
                        <a:pt x="732" y="240"/>
                      </a:lnTo>
                      <a:lnTo>
                        <a:pt x="728" y="238"/>
                      </a:lnTo>
                      <a:lnTo>
                        <a:pt x="720" y="238"/>
                      </a:lnTo>
                      <a:lnTo>
                        <a:pt x="712" y="238"/>
                      </a:lnTo>
                      <a:lnTo>
                        <a:pt x="708" y="238"/>
                      </a:lnTo>
                      <a:lnTo>
                        <a:pt x="708" y="234"/>
                      </a:lnTo>
                      <a:lnTo>
                        <a:pt x="708" y="234"/>
                      </a:lnTo>
                      <a:lnTo>
                        <a:pt x="706" y="230"/>
                      </a:lnTo>
                      <a:lnTo>
                        <a:pt x="704" y="230"/>
                      </a:lnTo>
                      <a:lnTo>
                        <a:pt x="698" y="228"/>
                      </a:lnTo>
                      <a:lnTo>
                        <a:pt x="692" y="228"/>
                      </a:lnTo>
                      <a:lnTo>
                        <a:pt x="684" y="224"/>
                      </a:lnTo>
                      <a:lnTo>
                        <a:pt x="674" y="218"/>
                      </a:lnTo>
                      <a:lnTo>
                        <a:pt x="660" y="210"/>
                      </a:lnTo>
                      <a:lnTo>
                        <a:pt x="660" y="210"/>
                      </a:lnTo>
                      <a:lnTo>
                        <a:pt x="652" y="204"/>
                      </a:lnTo>
                      <a:lnTo>
                        <a:pt x="648" y="200"/>
                      </a:lnTo>
                      <a:lnTo>
                        <a:pt x="644" y="202"/>
                      </a:lnTo>
                      <a:lnTo>
                        <a:pt x="646" y="206"/>
                      </a:lnTo>
                      <a:lnTo>
                        <a:pt x="646" y="206"/>
                      </a:lnTo>
                      <a:lnTo>
                        <a:pt x="646" y="208"/>
                      </a:lnTo>
                      <a:lnTo>
                        <a:pt x="642" y="210"/>
                      </a:lnTo>
                      <a:lnTo>
                        <a:pt x="632" y="208"/>
                      </a:lnTo>
                      <a:lnTo>
                        <a:pt x="618" y="200"/>
                      </a:lnTo>
                      <a:lnTo>
                        <a:pt x="612" y="196"/>
                      </a:lnTo>
                      <a:lnTo>
                        <a:pt x="608" y="190"/>
                      </a:lnTo>
                      <a:lnTo>
                        <a:pt x="608" y="190"/>
                      </a:lnTo>
                      <a:lnTo>
                        <a:pt x="602" y="184"/>
                      </a:lnTo>
                      <a:lnTo>
                        <a:pt x="598" y="180"/>
                      </a:lnTo>
                      <a:lnTo>
                        <a:pt x="590" y="174"/>
                      </a:lnTo>
                      <a:lnTo>
                        <a:pt x="586" y="172"/>
                      </a:lnTo>
                      <a:lnTo>
                        <a:pt x="584" y="168"/>
                      </a:lnTo>
                      <a:lnTo>
                        <a:pt x="586" y="166"/>
                      </a:lnTo>
                      <a:lnTo>
                        <a:pt x="588" y="162"/>
                      </a:lnTo>
                      <a:lnTo>
                        <a:pt x="588" y="162"/>
                      </a:lnTo>
                      <a:lnTo>
                        <a:pt x="594" y="152"/>
                      </a:lnTo>
                      <a:lnTo>
                        <a:pt x="596" y="146"/>
                      </a:lnTo>
                      <a:lnTo>
                        <a:pt x="596" y="140"/>
                      </a:lnTo>
                      <a:lnTo>
                        <a:pt x="594" y="134"/>
                      </a:lnTo>
                      <a:lnTo>
                        <a:pt x="592" y="128"/>
                      </a:lnTo>
                      <a:lnTo>
                        <a:pt x="588" y="124"/>
                      </a:lnTo>
                      <a:lnTo>
                        <a:pt x="582" y="118"/>
                      </a:lnTo>
                      <a:lnTo>
                        <a:pt x="582" y="118"/>
                      </a:lnTo>
                      <a:lnTo>
                        <a:pt x="576" y="112"/>
                      </a:lnTo>
                      <a:lnTo>
                        <a:pt x="572" y="102"/>
                      </a:lnTo>
                      <a:lnTo>
                        <a:pt x="566" y="82"/>
                      </a:lnTo>
                      <a:lnTo>
                        <a:pt x="560" y="58"/>
                      </a:lnTo>
                      <a:lnTo>
                        <a:pt x="554" y="48"/>
                      </a:lnTo>
                      <a:lnTo>
                        <a:pt x="548" y="38"/>
                      </a:lnTo>
                      <a:lnTo>
                        <a:pt x="548" y="38"/>
                      </a:lnTo>
                      <a:lnTo>
                        <a:pt x="540" y="28"/>
                      </a:lnTo>
                      <a:lnTo>
                        <a:pt x="532" y="24"/>
                      </a:lnTo>
                      <a:lnTo>
                        <a:pt x="522" y="20"/>
                      </a:lnTo>
                      <a:lnTo>
                        <a:pt x="506" y="10"/>
                      </a:lnTo>
                      <a:lnTo>
                        <a:pt x="506" y="10"/>
                      </a:lnTo>
                      <a:lnTo>
                        <a:pt x="498" y="6"/>
                      </a:lnTo>
                      <a:lnTo>
                        <a:pt x="492" y="4"/>
                      </a:lnTo>
                      <a:lnTo>
                        <a:pt x="490" y="4"/>
                      </a:lnTo>
                      <a:lnTo>
                        <a:pt x="488" y="6"/>
                      </a:lnTo>
                      <a:lnTo>
                        <a:pt x="486" y="8"/>
                      </a:lnTo>
                      <a:lnTo>
                        <a:pt x="482" y="10"/>
                      </a:lnTo>
                      <a:lnTo>
                        <a:pt x="476" y="10"/>
                      </a:lnTo>
                      <a:lnTo>
                        <a:pt x="464" y="6"/>
                      </a:lnTo>
                      <a:lnTo>
                        <a:pt x="464" y="6"/>
                      </a:lnTo>
                      <a:lnTo>
                        <a:pt x="450" y="2"/>
                      </a:lnTo>
                      <a:lnTo>
                        <a:pt x="446" y="2"/>
                      </a:lnTo>
                      <a:lnTo>
                        <a:pt x="440" y="4"/>
                      </a:lnTo>
                      <a:lnTo>
                        <a:pt x="438" y="8"/>
                      </a:lnTo>
                      <a:lnTo>
                        <a:pt x="436" y="12"/>
                      </a:lnTo>
                      <a:lnTo>
                        <a:pt x="436" y="20"/>
                      </a:lnTo>
                      <a:lnTo>
                        <a:pt x="440" y="28"/>
                      </a:lnTo>
                      <a:lnTo>
                        <a:pt x="440" y="28"/>
                      </a:lnTo>
                      <a:lnTo>
                        <a:pt x="444" y="38"/>
                      </a:lnTo>
                      <a:lnTo>
                        <a:pt x="446" y="48"/>
                      </a:lnTo>
                      <a:lnTo>
                        <a:pt x="450" y="68"/>
                      </a:lnTo>
                      <a:lnTo>
                        <a:pt x="454" y="78"/>
                      </a:lnTo>
                      <a:lnTo>
                        <a:pt x="458" y="88"/>
                      </a:lnTo>
                      <a:lnTo>
                        <a:pt x="464" y="98"/>
                      </a:lnTo>
                      <a:lnTo>
                        <a:pt x="472" y="106"/>
                      </a:lnTo>
                      <a:lnTo>
                        <a:pt x="472" y="106"/>
                      </a:lnTo>
                      <a:lnTo>
                        <a:pt x="476" y="110"/>
                      </a:lnTo>
                      <a:lnTo>
                        <a:pt x="478" y="114"/>
                      </a:lnTo>
                      <a:lnTo>
                        <a:pt x="478" y="116"/>
                      </a:lnTo>
                      <a:lnTo>
                        <a:pt x="474" y="118"/>
                      </a:lnTo>
                      <a:lnTo>
                        <a:pt x="468" y="122"/>
                      </a:lnTo>
                      <a:lnTo>
                        <a:pt x="462" y="128"/>
                      </a:lnTo>
                      <a:lnTo>
                        <a:pt x="462" y="128"/>
                      </a:lnTo>
                      <a:lnTo>
                        <a:pt x="458" y="130"/>
                      </a:lnTo>
                      <a:lnTo>
                        <a:pt x="456" y="132"/>
                      </a:lnTo>
                      <a:lnTo>
                        <a:pt x="452" y="130"/>
                      </a:lnTo>
                      <a:lnTo>
                        <a:pt x="446" y="122"/>
                      </a:lnTo>
                      <a:lnTo>
                        <a:pt x="434" y="104"/>
                      </a:lnTo>
                      <a:lnTo>
                        <a:pt x="434" y="104"/>
                      </a:lnTo>
                      <a:lnTo>
                        <a:pt x="430" y="94"/>
                      </a:lnTo>
                      <a:lnTo>
                        <a:pt x="426" y="84"/>
                      </a:lnTo>
                      <a:lnTo>
                        <a:pt x="420" y="68"/>
                      </a:lnTo>
                      <a:lnTo>
                        <a:pt x="418" y="62"/>
                      </a:lnTo>
                      <a:lnTo>
                        <a:pt x="412" y="56"/>
                      </a:lnTo>
                      <a:lnTo>
                        <a:pt x="406" y="50"/>
                      </a:lnTo>
                      <a:lnTo>
                        <a:pt x="396" y="46"/>
                      </a:lnTo>
                      <a:lnTo>
                        <a:pt x="396" y="46"/>
                      </a:lnTo>
                      <a:lnTo>
                        <a:pt x="384" y="42"/>
                      </a:lnTo>
                      <a:lnTo>
                        <a:pt x="382" y="40"/>
                      </a:lnTo>
                      <a:lnTo>
                        <a:pt x="384" y="38"/>
                      </a:lnTo>
                      <a:lnTo>
                        <a:pt x="384" y="36"/>
                      </a:lnTo>
                      <a:lnTo>
                        <a:pt x="384" y="34"/>
                      </a:lnTo>
                      <a:lnTo>
                        <a:pt x="380" y="32"/>
                      </a:lnTo>
                      <a:lnTo>
                        <a:pt x="372" y="30"/>
                      </a:lnTo>
                      <a:lnTo>
                        <a:pt x="372" y="30"/>
                      </a:lnTo>
                      <a:lnTo>
                        <a:pt x="354" y="26"/>
                      </a:lnTo>
                      <a:lnTo>
                        <a:pt x="340" y="26"/>
                      </a:lnTo>
                      <a:lnTo>
                        <a:pt x="338" y="28"/>
                      </a:lnTo>
                      <a:lnTo>
                        <a:pt x="338" y="30"/>
                      </a:lnTo>
                      <a:lnTo>
                        <a:pt x="340" y="32"/>
                      </a:lnTo>
                      <a:lnTo>
                        <a:pt x="346" y="36"/>
                      </a:lnTo>
                      <a:lnTo>
                        <a:pt x="346" y="36"/>
                      </a:lnTo>
                      <a:lnTo>
                        <a:pt x="352" y="40"/>
                      </a:lnTo>
                      <a:lnTo>
                        <a:pt x="356" y="44"/>
                      </a:lnTo>
                      <a:lnTo>
                        <a:pt x="358" y="46"/>
                      </a:lnTo>
                      <a:lnTo>
                        <a:pt x="356" y="48"/>
                      </a:lnTo>
                      <a:lnTo>
                        <a:pt x="356" y="52"/>
                      </a:lnTo>
                      <a:lnTo>
                        <a:pt x="362" y="54"/>
                      </a:lnTo>
                      <a:lnTo>
                        <a:pt x="362" y="54"/>
                      </a:lnTo>
                      <a:lnTo>
                        <a:pt x="372" y="58"/>
                      </a:lnTo>
                      <a:lnTo>
                        <a:pt x="376" y="62"/>
                      </a:lnTo>
                      <a:lnTo>
                        <a:pt x="376" y="64"/>
                      </a:lnTo>
                      <a:lnTo>
                        <a:pt x="372" y="64"/>
                      </a:lnTo>
                      <a:lnTo>
                        <a:pt x="354" y="60"/>
                      </a:lnTo>
                      <a:lnTo>
                        <a:pt x="354" y="60"/>
                      </a:lnTo>
                      <a:lnTo>
                        <a:pt x="344" y="60"/>
                      </a:lnTo>
                      <a:lnTo>
                        <a:pt x="336" y="62"/>
                      </a:lnTo>
                      <a:lnTo>
                        <a:pt x="332" y="66"/>
                      </a:lnTo>
                      <a:lnTo>
                        <a:pt x="330" y="70"/>
                      </a:lnTo>
                      <a:lnTo>
                        <a:pt x="328" y="76"/>
                      </a:lnTo>
                      <a:lnTo>
                        <a:pt x="326" y="78"/>
                      </a:lnTo>
                      <a:lnTo>
                        <a:pt x="322" y="78"/>
                      </a:lnTo>
                      <a:lnTo>
                        <a:pt x="318" y="74"/>
                      </a:lnTo>
                      <a:lnTo>
                        <a:pt x="318" y="74"/>
                      </a:lnTo>
                      <a:lnTo>
                        <a:pt x="314" y="68"/>
                      </a:lnTo>
                      <a:lnTo>
                        <a:pt x="314" y="64"/>
                      </a:lnTo>
                      <a:lnTo>
                        <a:pt x="318" y="56"/>
                      </a:lnTo>
                      <a:lnTo>
                        <a:pt x="318" y="52"/>
                      </a:lnTo>
                      <a:lnTo>
                        <a:pt x="316" y="48"/>
                      </a:lnTo>
                      <a:lnTo>
                        <a:pt x="310" y="44"/>
                      </a:lnTo>
                      <a:lnTo>
                        <a:pt x="296" y="40"/>
                      </a:lnTo>
                      <a:lnTo>
                        <a:pt x="296" y="40"/>
                      </a:lnTo>
                      <a:lnTo>
                        <a:pt x="268" y="34"/>
                      </a:lnTo>
                      <a:lnTo>
                        <a:pt x="250" y="30"/>
                      </a:lnTo>
                      <a:lnTo>
                        <a:pt x="238" y="32"/>
                      </a:lnTo>
                      <a:lnTo>
                        <a:pt x="230" y="36"/>
                      </a:lnTo>
                      <a:lnTo>
                        <a:pt x="230" y="36"/>
                      </a:lnTo>
                      <a:lnTo>
                        <a:pt x="224" y="38"/>
                      </a:lnTo>
                      <a:lnTo>
                        <a:pt x="224" y="42"/>
                      </a:lnTo>
                      <a:lnTo>
                        <a:pt x="226" y="46"/>
                      </a:lnTo>
                      <a:lnTo>
                        <a:pt x="224" y="48"/>
                      </a:lnTo>
                      <a:lnTo>
                        <a:pt x="220" y="50"/>
                      </a:lnTo>
                      <a:lnTo>
                        <a:pt x="198" y="58"/>
                      </a:lnTo>
                      <a:lnTo>
                        <a:pt x="198" y="58"/>
                      </a:lnTo>
                      <a:lnTo>
                        <a:pt x="190" y="60"/>
                      </a:lnTo>
                      <a:lnTo>
                        <a:pt x="186" y="60"/>
                      </a:lnTo>
                      <a:lnTo>
                        <a:pt x="192" y="54"/>
                      </a:lnTo>
                      <a:lnTo>
                        <a:pt x="204" y="44"/>
                      </a:lnTo>
                      <a:lnTo>
                        <a:pt x="206" y="40"/>
                      </a:lnTo>
                      <a:lnTo>
                        <a:pt x="206" y="36"/>
                      </a:lnTo>
                      <a:lnTo>
                        <a:pt x="206" y="36"/>
                      </a:lnTo>
                      <a:lnTo>
                        <a:pt x="206" y="32"/>
                      </a:lnTo>
                      <a:lnTo>
                        <a:pt x="206" y="28"/>
                      </a:lnTo>
                      <a:lnTo>
                        <a:pt x="208" y="20"/>
                      </a:lnTo>
                      <a:lnTo>
                        <a:pt x="208" y="16"/>
                      </a:lnTo>
                      <a:lnTo>
                        <a:pt x="208" y="12"/>
                      </a:lnTo>
                      <a:lnTo>
                        <a:pt x="204" y="8"/>
                      </a:lnTo>
                      <a:lnTo>
                        <a:pt x="196" y="2"/>
                      </a:lnTo>
                      <a:lnTo>
                        <a:pt x="196" y="2"/>
                      </a:lnTo>
                      <a:lnTo>
                        <a:pt x="186" y="0"/>
                      </a:lnTo>
                      <a:lnTo>
                        <a:pt x="176" y="0"/>
                      </a:lnTo>
                      <a:lnTo>
                        <a:pt x="162" y="4"/>
                      </a:lnTo>
                      <a:lnTo>
                        <a:pt x="150" y="8"/>
                      </a:lnTo>
                      <a:lnTo>
                        <a:pt x="122" y="18"/>
                      </a:lnTo>
                      <a:lnTo>
                        <a:pt x="100" y="26"/>
                      </a:lnTo>
                      <a:lnTo>
                        <a:pt x="100" y="26"/>
                      </a:lnTo>
                      <a:lnTo>
                        <a:pt x="82" y="32"/>
                      </a:lnTo>
                      <a:lnTo>
                        <a:pt x="66" y="40"/>
                      </a:lnTo>
                      <a:lnTo>
                        <a:pt x="32" y="60"/>
                      </a:lnTo>
                      <a:lnTo>
                        <a:pt x="32" y="60"/>
                      </a:lnTo>
                      <a:lnTo>
                        <a:pt x="24" y="66"/>
                      </a:lnTo>
                      <a:lnTo>
                        <a:pt x="22" y="70"/>
                      </a:lnTo>
                      <a:lnTo>
                        <a:pt x="22" y="72"/>
                      </a:lnTo>
                      <a:lnTo>
                        <a:pt x="26" y="74"/>
                      </a:lnTo>
                      <a:lnTo>
                        <a:pt x="36" y="78"/>
                      </a:lnTo>
                      <a:lnTo>
                        <a:pt x="40" y="80"/>
                      </a:lnTo>
                      <a:lnTo>
                        <a:pt x="42" y="82"/>
                      </a:lnTo>
                      <a:lnTo>
                        <a:pt x="42" y="82"/>
                      </a:lnTo>
                      <a:lnTo>
                        <a:pt x="42" y="86"/>
                      </a:lnTo>
                      <a:lnTo>
                        <a:pt x="40" y="86"/>
                      </a:lnTo>
                      <a:lnTo>
                        <a:pt x="32" y="90"/>
                      </a:lnTo>
                      <a:lnTo>
                        <a:pt x="20" y="94"/>
                      </a:lnTo>
                      <a:lnTo>
                        <a:pt x="16" y="98"/>
                      </a:lnTo>
                      <a:lnTo>
                        <a:pt x="10" y="104"/>
                      </a:lnTo>
                      <a:lnTo>
                        <a:pt x="10" y="104"/>
                      </a:lnTo>
                      <a:lnTo>
                        <a:pt x="4" y="110"/>
                      </a:lnTo>
                      <a:lnTo>
                        <a:pt x="2" y="116"/>
                      </a:lnTo>
                      <a:lnTo>
                        <a:pt x="0" y="122"/>
                      </a:lnTo>
                      <a:lnTo>
                        <a:pt x="0" y="126"/>
                      </a:lnTo>
                      <a:lnTo>
                        <a:pt x="2" y="130"/>
                      </a:lnTo>
                      <a:lnTo>
                        <a:pt x="6" y="132"/>
                      </a:lnTo>
                      <a:lnTo>
                        <a:pt x="10" y="132"/>
                      </a:lnTo>
                      <a:lnTo>
                        <a:pt x="14" y="130"/>
                      </a:lnTo>
                      <a:lnTo>
                        <a:pt x="14" y="130"/>
                      </a:lnTo>
                      <a:lnTo>
                        <a:pt x="20" y="128"/>
                      </a:lnTo>
                      <a:lnTo>
                        <a:pt x="24" y="126"/>
                      </a:lnTo>
                      <a:lnTo>
                        <a:pt x="26" y="128"/>
                      </a:lnTo>
                      <a:lnTo>
                        <a:pt x="28" y="130"/>
                      </a:lnTo>
                      <a:lnTo>
                        <a:pt x="30" y="138"/>
                      </a:lnTo>
                      <a:lnTo>
                        <a:pt x="34" y="146"/>
                      </a:lnTo>
                      <a:lnTo>
                        <a:pt x="34" y="146"/>
                      </a:lnTo>
                      <a:lnTo>
                        <a:pt x="38" y="150"/>
                      </a:lnTo>
                      <a:lnTo>
                        <a:pt x="44" y="150"/>
                      </a:lnTo>
                      <a:lnTo>
                        <a:pt x="64" y="150"/>
                      </a:lnTo>
                      <a:lnTo>
                        <a:pt x="88" y="144"/>
                      </a:lnTo>
                      <a:lnTo>
                        <a:pt x="104" y="140"/>
                      </a:lnTo>
                      <a:lnTo>
                        <a:pt x="104" y="140"/>
                      </a:lnTo>
                      <a:lnTo>
                        <a:pt x="116" y="140"/>
                      </a:lnTo>
                      <a:lnTo>
                        <a:pt x="120" y="142"/>
                      </a:lnTo>
                      <a:lnTo>
                        <a:pt x="122" y="144"/>
                      </a:lnTo>
                      <a:lnTo>
                        <a:pt x="120" y="146"/>
                      </a:lnTo>
                      <a:lnTo>
                        <a:pt x="114" y="150"/>
                      </a:lnTo>
                      <a:lnTo>
                        <a:pt x="98" y="156"/>
                      </a:lnTo>
                      <a:lnTo>
                        <a:pt x="76" y="160"/>
                      </a:lnTo>
                      <a:lnTo>
                        <a:pt x="76" y="160"/>
                      </a:lnTo>
                      <a:lnTo>
                        <a:pt x="46" y="168"/>
                      </a:lnTo>
                      <a:lnTo>
                        <a:pt x="38" y="170"/>
                      </a:lnTo>
                      <a:lnTo>
                        <a:pt x="34" y="174"/>
                      </a:lnTo>
                      <a:lnTo>
                        <a:pt x="32" y="178"/>
                      </a:lnTo>
                      <a:lnTo>
                        <a:pt x="34" y="182"/>
                      </a:lnTo>
                      <a:lnTo>
                        <a:pt x="38" y="188"/>
                      </a:lnTo>
                      <a:lnTo>
                        <a:pt x="44" y="192"/>
                      </a:lnTo>
                      <a:lnTo>
                        <a:pt x="44" y="192"/>
                      </a:lnTo>
                      <a:lnTo>
                        <a:pt x="56" y="202"/>
                      </a:lnTo>
                      <a:lnTo>
                        <a:pt x="66" y="206"/>
                      </a:lnTo>
                      <a:lnTo>
                        <a:pt x="76" y="206"/>
                      </a:lnTo>
                      <a:lnTo>
                        <a:pt x="94" y="204"/>
                      </a:lnTo>
                      <a:lnTo>
                        <a:pt x="94" y="204"/>
                      </a:lnTo>
                      <a:lnTo>
                        <a:pt x="110" y="204"/>
                      </a:lnTo>
                      <a:lnTo>
                        <a:pt x="120" y="206"/>
                      </a:lnTo>
                      <a:lnTo>
                        <a:pt x="132" y="208"/>
                      </a:lnTo>
                      <a:lnTo>
                        <a:pt x="152" y="208"/>
                      </a:lnTo>
                      <a:lnTo>
                        <a:pt x="152" y="208"/>
                      </a:lnTo>
                      <a:lnTo>
                        <a:pt x="176" y="206"/>
                      </a:lnTo>
                      <a:lnTo>
                        <a:pt x="194" y="202"/>
                      </a:lnTo>
                      <a:lnTo>
                        <a:pt x="210" y="202"/>
                      </a:lnTo>
                      <a:lnTo>
                        <a:pt x="220" y="202"/>
                      </a:lnTo>
                      <a:lnTo>
                        <a:pt x="232" y="204"/>
                      </a:lnTo>
                      <a:lnTo>
                        <a:pt x="232" y="204"/>
                      </a:lnTo>
                      <a:lnTo>
                        <a:pt x="250" y="208"/>
                      </a:lnTo>
                      <a:lnTo>
                        <a:pt x="262" y="210"/>
                      </a:lnTo>
                      <a:lnTo>
                        <a:pt x="268" y="210"/>
                      </a:lnTo>
                      <a:lnTo>
                        <a:pt x="276" y="214"/>
                      </a:lnTo>
                      <a:lnTo>
                        <a:pt x="276" y="214"/>
                      </a:lnTo>
                      <a:lnTo>
                        <a:pt x="290" y="220"/>
                      </a:lnTo>
                      <a:lnTo>
                        <a:pt x="302" y="226"/>
                      </a:lnTo>
                      <a:lnTo>
                        <a:pt x="306" y="228"/>
                      </a:lnTo>
                      <a:lnTo>
                        <a:pt x="306" y="230"/>
                      </a:lnTo>
                      <a:lnTo>
                        <a:pt x="294" y="230"/>
                      </a:lnTo>
                      <a:lnTo>
                        <a:pt x="294" y="230"/>
                      </a:lnTo>
                      <a:lnTo>
                        <a:pt x="280" y="230"/>
                      </a:lnTo>
                      <a:lnTo>
                        <a:pt x="276" y="232"/>
                      </a:lnTo>
                      <a:lnTo>
                        <a:pt x="268" y="232"/>
                      </a:lnTo>
                      <a:lnTo>
                        <a:pt x="246" y="230"/>
                      </a:lnTo>
                      <a:lnTo>
                        <a:pt x="246" y="230"/>
                      </a:lnTo>
                      <a:lnTo>
                        <a:pt x="210" y="228"/>
                      </a:lnTo>
                      <a:lnTo>
                        <a:pt x="168" y="230"/>
                      </a:lnTo>
                      <a:lnTo>
                        <a:pt x="126" y="234"/>
                      </a:lnTo>
                      <a:lnTo>
                        <a:pt x="90" y="240"/>
                      </a:lnTo>
                      <a:lnTo>
                        <a:pt x="90" y="240"/>
                      </a:lnTo>
                      <a:lnTo>
                        <a:pt x="76" y="244"/>
                      </a:lnTo>
                      <a:lnTo>
                        <a:pt x="70" y="250"/>
                      </a:lnTo>
                      <a:lnTo>
                        <a:pt x="70" y="252"/>
                      </a:lnTo>
                      <a:lnTo>
                        <a:pt x="70" y="254"/>
                      </a:lnTo>
                      <a:lnTo>
                        <a:pt x="72" y="262"/>
                      </a:lnTo>
                      <a:lnTo>
                        <a:pt x="78" y="268"/>
                      </a:lnTo>
                      <a:lnTo>
                        <a:pt x="86" y="274"/>
                      </a:lnTo>
                      <a:lnTo>
                        <a:pt x="100" y="290"/>
                      </a:lnTo>
                      <a:lnTo>
                        <a:pt x="100" y="290"/>
                      </a:lnTo>
                      <a:lnTo>
                        <a:pt x="110" y="296"/>
                      </a:lnTo>
                      <a:lnTo>
                        <a:pt x="122" y="300"/>
                      </a:lnTo>
                      <a:lnTo>
                        <a:pt x="138" y="302"/>
                      </a:lnTo>
                      <a:lnTo>
                        <a:pt x="156" y="304"/>
                      </a:lnTo>
                      <a:lnTo>
                        <a:pt x="190" y="304"/>
                      </a:lnTo>
                      <a:lnTo>
                        <a:pt x="214" y="304"/>
                      </a:lnTo>
                      <a:lnTo>
                        <a:pt x="214" y="304"/>
                      </a:lnTo>
                      <a:lnTo>
                        <a:pt x="220" y="306"/>
                      </a:lnTo>
                      <a:lnTo>
                        <a:pt x="222" y="308"/>
                      </a:lnTo>
                      <a:lnTo>
                        <a:pt x="224" y="314"/>
                      </a:lnTo>
                      <a:lnTo>
                        <a:pt x="224" y="320"/>
                      </a:lnTo>
                      <a:lnTo>
                        <a:pt x="222" y="332"/>
                      </a:lnTo>
                      <a:lnTo>
                        <a:pt x="222" y="338"/>
                      </a:lnTo>
                      <a:lnTo>
                        <a:pt x="224" y="342"/>
                      </a:lnTo>
                      <a:lnTo>
                        <a:pt x="224" y="342"/>
                      </a:lnTo>
                      <a:lnTo>
                        <a:pt x="232" y="350"/>
                      </a:lnTo>
                      <a:lnTo>
                        <a:pt x="238" y="356"/>
                      </a:lnTo>
                      <a:lnTo>
                        <a:pt x="246" y="358"/>
                      </a:lnTo>
                      <a:lnTo>
                        <a:pt x="260" y="358"/>
                      </a:lnTo>
                      <a:lnTo>
                        <a:pt x="260" y="358"/>
                      </a:lnTo>
                      <a:lnTo>
                        <a:pt x="282" y="358"/>
                      </a:lnTo>
                      <a:lnTo>
                        <a:pt x="300" y="358"/>
                      </a:lnTo>
                      <a:lnTo>
                        <a:pt x="314" y="358"/>
                      </a:lnTo>
                      <a:lnTo>
                        <a:pt x="324" y="356"/>
                      </a:lnTo>
                      <a:lnTo>
                        <a:pt x="324" y="356"/>
                      </a:lnTo>
                      <a:lnTo>
                        <a:pt x="342" y="352"/>
                      </a:lnTo>
                      <a:lnTo>
                        <a:pt x="370" y="348"/>
                      </a:lnTo>
                      <a:lnTo>
                        <a:pt x="398" y="342"/>
                      </a:lnTo>
                      <a:lnTo>
                        <a:pt x="412" y="338"/>
                      </a:lnTo>
                      <a:lnTo>
                        <a:pt x="420" y="332"/>
                      </a:lnTo>
                      <a:lnTo>
                        <a:pt x="420" y="332"/>
                      </a:lnTo>
                      <a:lnTo>
                        <a:pt x="428" y="328"/>
                      </a:lnTo>
                      <a:lnTo>
                        <a:pt x="436" y="326"/>
                      </a:lnTo>
                      <a:lnTo>
                        <a:pt x="450" y="326"/>
                      </a:lnTo>
                      <a:lnTo>
                        <a:pt x="462" y="324"/>
                      </a:lnTo>
                      <a:lnTo>
                        <a:pt x="470" y="322"/>
                      </a:lnTo>
                      <a:lnTo>
                        <a:pt x="478" y="318"/>
                      </a:lnTo>
                      <a:lnTo>
                        <a:pt x="478" y="318"/>
                      </a:lnTo>
                      <a:lnTo>
                        <a:pt x="486" y="312"/>
                      </a:lnTo>
                      <a:lnTo>
                        <a:pt x="488" y="308"/>
                      </a:lnTo>
                      <a:lnTo>
                        <a:pt x="490" y="304"/>
                      </a:lnTo>
                      <a:lnTo>
                        <a:pt x="490" y="302"/>
                      </a:lnTo>
                      <a:lnTo>
                        <a:pt x="490" y="300"/>
                      </a:lnTo>
                      <a:lnTo>
                        <a:pt x="490" y="296"/>
                      </a:lnTo>
                      <a:lnTo>
                        <a:pt x="494" y="294"/>
                      </a:lnTo>
                      <a:lnTo>
                        <a:pt x="500" y="290"/>
                      </a:lnTo>
                      <a:lnTo>
                        <a:pt x="500" y="290"/>
                      </a:lnTo>
                      <a:lnTo>
                        <a:pt x="506" y="288"/>
                      </a:lnTo>
                      <a:lnTo>
                        <a:pt x="512" y="290"/>
                      </a:lnTo>
                      <a:lnTo>
                        <a:pt x="514" y="292"/>
                      </a:lnTo>
                      <a:lnTo>
                        <a:pt x="516" y="294"/>
                      </a:lnTo>
                      <a:lnTo>
                        <a:pt x="514" y="304"/>
                      </a:lnTo>
                      <a:lnTo>
                        <a:pt x="514" y="304"/>
                      </a:lnTo>
                      <a:lnTo>
                        <a:pt x="514" y="312"/>
                      </a:lnTo>
                      <a:lnTo>
                        <a:pt x="514" y="312"/>
                      </a:lnTo>
                      <a:lnTo>
                        <a:pt x="518" y="312"/>
                      </a:lnTo>
                      <a:lnTo>
                        <a:pt x="530" y="310"/>
                      </a:lnTo>
                      <a:lnTo>
                        <a:pt x="540" y="312"/>
                      </a:lnTo>
                      <a:lnTo>
                        <a:pt x="554" y="314"/>
                      </a:lnTo>
                      <a:lnTo>
                        <a:pt x="554" y="314"/>
                      </a:lnTo>
                      <a:lnTo>
                        <a:pt x="564" y="318"/>
                      </a:lnTo>
                      <a:lnTo>
                        <a:pt x="568" y="320"/>
                      </a:lnTo>
                      <a:lnTo>
                        <a:pt x="568" y="322"/>
                      </a:lnTo>
                      <a:lnTo>
                        <a:pt x="566" y="322"/>
                      </a:lnTo>
                      <a:lnTo>
                        <a:pt x="560" y="324"/>
                      </a:lnTo>
                      <a:lnTo>
                        <a:pt x="562" y="326"/>
                      </a:lnTo>
                      <a:lnTo>
                        <a:pt x="568" y="330"/>
                      </a:lnTo>
                      <a:lnTo>
                        <a:pt x="568" y="330"/>
                      </a:lnTo>
                      <a:lnTo>
                        <a:pt x="576" y="332"/>
                      </a:lnTo>
                      <a:lnTo>
                        <a:pt x="582" y="332"/>
                      </a:lnTo>
                      <a:lnTo>
                        <a:pt x="588" y="330"/>
                      </a:lnTo>
                      <a:lnTo>
                        <a:pt x="592" y="328"/>
                      </a:lnTo>
                      <a:lnTo>
                        <a:pt x="596" y="328"/>
                      </a:lnTo>
                      <a:lnTo>
                        <a:pt x="602" y="328"/>
                      </a:lnTo>
                      <a:lnTo>
                        <a:pt x="612" y="332"/>
                      </a:lnTo>
                      <a:lnTo>
                        <a:pt x="612" y="332"/>
                      </a:lnTo>
                      <a:lnTo>
                        <a:pt x="628" y="336"/>
                      </a:lnTo>
                      <a:lnTo>
                        <a:pt x="636" y="336"/>
                      </a:lnTo>
                      <a:lnTo>
                        <a:pt x="640" y="334"/>
                      </a:lnTo>
                      <a:lnTo>
                        <a:pt x="648" y="336"/>
                      </a:lnTo>
                      <a:lnTo>
                        <a:pt x="648" y="336"/>
                      </a:lnTo>
                      <a:lnTo>
                        <a:pt x="654" y="336"/>
                      </a:lnTo>
                      <a:lnTo>
                        <a:pt x="658" y="336"/>
                      </a:lnTo>
                      <a:lnTo>
                        <a:pt x="668" y="332"/>
                      </a:lnTo>
                      <a:lnTo>
                        <a:pt x="676" y="326"/>
                      </a:lnTo>
                      <a:lnTo>
                        <a:pt x="680" y="324"/>
                      </a:lnTo>
                      <a:lnTo>
                        <a:pt x="686" y="324"/>
                      </a:lnTo>
                      <a:lnTo>
                        <a:pt x="686" y="324"/>
                      </a:lnTo>
                      <a:lnTo>
                        <a:pt x="694" y="322"/>
                      </a:lnTo>
                      <a:lnTo>
                        <a:pt x="700" y="316"/>
                      </a:lnTo>
                      <a:lnTo>
                        <a:pt x="702" y="314"/>
                      </a:lnTo>
                      <a:lnTo>
                        <a:pt x="702" y="310"/>
                      </a:lnTo>
                      <a:lnTo>
                        <a:pt x="700" y="306"/>
                      </a:lnTo>
                      <a:lnTo>
                        <a:pt x="696" y="304"/>
                      </a:lnTo>
                      <a:lnTo>
                        <a:pt x="696" y="304"/>
                      </a:lnTo>
                      <a:lnTo>
                        <a:pt x="692" y="300"/>
                      </a:lnTo>
                      <a:lnTo>
                        <a:pt x="690" y="298"/>
                      </a:lnTo>
                      <a:lnTo>
                        <a:pt x="692" y="294"/>
                      </a:lnTo>
                      <a:lnTo>
                        <a:pt x="694" y="290"/>
                      </a:lnTo>
                      <a:lnTo>
                        <a:pt x="692" y="288"/>
                      </a:lnTo>
                      <a:lnTo>
                        <a:pt x="688" y="286"/>
                      </a:lnTo>
                      <a:lnTo>
                        <a:pt x="688" y="286"/>
                      </a:lnTo>
                      <a:lnTo>
                        <a:pt x="682" y="286"/>
                      </a:lnTo>
                      <a:lnTo>
                        <a:pt x="674" y="288"/>
                      </a:lnTo>
                      <a:lnTo>
                        <a:pt x="660" y="296"/>
                      </a:lnTo>
                      <a:lnTo>
                        <a:pt x="648" y="300"/>
                      </a:lnTo>
                      <a:lnTo>
                        <a:pt x="648" y="300"/>
                      </a:lnTo>
                      <a:lnTo>
                        <a:pt x="650" y="296"/>
                      </a:lnTo>
                      <a:lnTo>
                        <a:pt x="650" y="296"/>
                      </a:lnTo>
                      <a:lnTo>
                        <a:pt x="652" y="290"/>
                      </a:lnTo>
                      <a:lnTo>
                        <a:pt x="650" y="286"/>
                      </a:lnTo>
                      <a:lnTo>
                        <a:pt x="646" y="284"/>
                      </a:lnTo>
                      <a:lnTo>
                        <a:pt x="642" y="280"/>
                      </a:lnTo>
                      <a:lnTo>
                        <a:pt x="632" y="278"/>
                      </a:lnTo>
                      <a:lnTo>
                        <a:pt x="630" y="276"/>
                      </a:lnTo>
                      <a:lnTo>
                        <a:pt x="632" y="274"/>
                      </a:lnTo>
                      <a:lnTo>
                        <a:pt x="632" y="274"/>
                      </a:lnTo>
                      <a:lnTo>
                        <a:pt x="634" y="272"/>
                      </a:lnTo>
                      <a:lnTo>
                        <a:pt x="638" y="272"/>
                      </a:lnTo>
                      <a:lnTo>
                        <a:pt x="650" y="278"/>
                      </a:lnTo>
                      <a:lnTo>
                        <a:pt x="660" y="282"/>
                      </a:lnTo>
                      <a:lnTo>
                        <a:pt x="666" y="282"/>
                      </a:lnTo>
                      <a:lnTo>
                        <a:pt x="670" y="280"/>
                      </a:lnTo>
                      <a:lnTo>
                        <a:pt x="670" y="280"/>
                      </a:lnTo>
                      <a:lnTo>
                        <a:pt x="672" y="278"/>
                      </a:lnTo>
                      <a:lnTo>
                        <a:pt x="672" y="276"/>
                      </a:lnTo>
                      <a:lnTo>
                        <a:pt x="670" y="272"/>
                      </a:lnTo>
                      <a:lnTo>
                        <a:pt x="668" y="272"/>
                      </a:lnTo>
                      <a:lnTo>
                        <a:pt x="668" y="270"/>
                      </a:lnTo>
                      <a:lnTo>
                        <a:pt x="670" y="266"/>
                      </a:lnTo>
                      <a:lnTo>
                        <a:pt x="674" y="264"/>
                      </a:lnTo>
                      <a:lnTo>
                        <a:pt x="674" y="264"/>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89" name="Freeform 6115">
                  <a:extLst>
                    <a:ext uri="{FF2B5EF4-FFF2-40B4-BE49-F238E27FC236}">
                      <a16:creationId xmlns:a16="http://schemas.microsoft.com/office/drawing/2014/main" id="{881861C8-7405-C07C-9B1E-2F17C687BC48}"/>
                    </a:ext>
                  </a:extLst>
                </p:cNvPr>
                <p:cNvSpPr>
                  <a:spLocks/>
                </p:cNvSpPr>
                <p:nvPr/>
              </p:nvSpPr>
              <p:spPr bwMode="auto">
                <a:xfrm>
                  <a:off x="1776730" y="1203643"/>
                  <a:ext cx="165100" cy="125730"/>
                </a:xfrm>
                <a:custGeom>
                  <a:avLst/>
                  <a:gdLst/>
                  <a:ahLst/>
                  <a:cxnLst>
                    <a:cxn ang="0">
                      <a:pos x="256" y="98"/>
                    </a:cxn>
                    <a:cxn ang="0">
                      <a:pos x="250" y="90"/>
                    </a:cxn>
                    <a:cxn ang="0">
                      <a:pos x="242" y="92"/>
                    </a:cxn>
                    <a:cxn ang="0">
                      <a:pos x="234" y="94"/>
                    </a:cxn>
                    <a:cxn ang="0">
                      <a:pos x="222" y="84"/>
                    </a:cxn>
                    <a:cxn ang="0">
                      <a:pos x="216" y="74"/>
                    </a:cxn>
                    <a:cxn ang="0">
                      <a:pos x="192" y="60"/>
                    </a:cxn>
                    <a:cxn ang="0">
                      <a:pos x="188" y="56"/>
                    </a:cxn>
                    <a:cxn ang="0">
                      <a:pos x="196" y="52"/>
                    </a:cxn>
                    <a:cxn ang="0">
                      <a:pos x="208" y="48"/>
                    </a:cxn>
                    <a:cxn ang="0">
                      <a:pos x="226" y="42"/>
                    </a:cxn>
                    <a:cxn ang="0">
                      <a:pos x="222" y="38"/>
                    </a:cxn>
                    <a:cxn ang="0">
                      <a:pos x="216" y="32"/>
                    </a:cxn>
                    <a:cxn ang="0">
                      <a:pos x="222" y="24"/>
                    </a:cxn>
                    <a:cxn ang="0">
                      <a:pos x="230" y="20"/>
                    </a:cxn>
                    <a:cxn ang="0">
                      <a:pos x="230" y="10"/>
                    </a:cxn>
                    <a:cxn ang="0">
                      <a:pos x="218" y="4"/>
                    </a:cxn>
                    <a:cxn ang="0">
                      <a:pos x="194" y="4"/>
                    </a:cxn>
                    <a:cxn ang="0">
                      <a:pos x="180" y="8"/>
                    </a:cxn>
                    <a:cxn ang="0">
                      <a:pos x="152" y="12"/>
                    </a:cxn>
                    <a:cxn ang="0">
                      <a:pos x="130" y="6"/>
                    </a:cxn>
                    <a:cxn ang="0">
                      <a:pos x="110" y="0"/>
                    </a:cxn>
                    <a:cxn ang="0">
                      <a:pos x="86" y="4"/>
                    </a:cxn>
                    <a:cxn ang="0">
                      <a:pos x="64" y="14"/>
                    </a:cxn>
                    <a:cxn ang="0">
                      <a:pos x="50" y="24"/>
                    </a:cxn>
                    <a:cxn ang="0">
                      <a:pos x="48" y="34"/>
                    </a:cxn>
                    <a:cxn ang="0">
                      <a:pos x="62" y="44"/>
                    </a:cxn>
                    <a:cxn ang="0">
                      <a:pos x="70" y="48"/>
                    </a:cxn>
                    <a:cxn ang="0">
                      <a:pos x="88" y="58"/>
                    </a:cxn>
                    <a:cxn ang="0">
                      <a:pos x="96" y="68"/>
                    </a:cxn>
                    <a:cxn ang="0">
                      <a:pos x="92" y="78"/>
                    </a:cxn>
                    <a:cxn ang="0">
                      <a:pos x="78" y="88"/>
                    </a:cxn>
                    <a:cxn ang="0">
                      <a:pos x="74" y="88"/>
                    </a:cxn>
                    <a:cxn ang="0">
                      <a:pos x="58" y="86"/>
                    </a:cxn>
                    <a:cxn ang="0">
                      <a:pos x="38" y="74"/>
                    </a:cxn>
                    <a:cxn ang="0">
                      <a:pos x="20" y="64"/>
                    </a:cxn>
                    <a:cxn ang="0">
                      <a:pos x="10" y="64"/>
                    </a:cxn>
                    <a:cxn ang="0">
                      <a:pos x="2" y="72"/>
                    </a:cxn>
                    <a:cxn ang="0">
                      <a:pos x="0" y="78"/>
                    </a:cxn>
                    <a:cxn ang="0">
                      <a:pos x="6" y="94"/>
                    </a:cxn>
                    <a:cxn ang="0">
                      <a:pos x="26" y="110"/>
                    </a:cxn>
                    <a:cxn ang="0">
                      <a:pos x="56" y="124"/>
                    </a:cxn>
                    <a:cxn ang="0">
                      <a:pos x="74" y="132"/>
                    </a:cxn>
                    <a:cxn ang="0">
                      <a:pos x="104" y="148"/>
                    </a:cxn>
                    <a:cxn ang="0">
                      <a:pos x="124" y="168"/>
                    </a:cxn>
                    <a:cxn ang="0">
                      <a:pos x="150" y="194"/>
                    </a:cxn>
                    <a:cxn ang="0">
                      <a:pos x="162" y="198"/>
                    </a:cxn>
                    <a:cxn ang="0">
                      <a:pos x="176" y="194"/>
                    </a:cxn>
                    <a:cxn ang="0">
                      <a:pos x="180" y="184"/>
                    </a:cxn>
                    <a:cxn ang="0">
                      <a:pos x="182" y="174"/>
                    </a:cxn>
                    <a:cxn ang="0">
                      <a:pos x="192" y="170"/>
                    </a:cxn>
                    <a:cxn ang="0">
                      <a:pos x="200" y="172"/>
                    </a:cxn>
                    <a:cxn ang="0">
                      <a:pos x="220" y="170"/>
                    </a:cxn>
                    <a:cxn ang="0">
                      <a:pos x="238" y="162"/>
                    </a:cxn>
                    <a:cxn ang="0">
                      <a:pos x="250" y="148"/>
                    </a:cxn>
                    <a:cxn ang="0">
                      <a:pos x="252" y="138"/>
                    </a:cxn>
                    <a:cxn ang="0">
                      <a:pos x="252" y="124"/>
                    </a:cxn>
                    <a:cxn ang="0">
                      <a:pos x="258" y="114"/>
                    </a:cxn>
                    <a:cxn ang="0">
                      <a:pos x="258" y="106"/>
                    </a:cxn>
                    <a:cxn ang="0">
                      <a:pos x="256" y="98"/>
                    </a:cxn>
                  </a:cxnLst>
                  <a:rect l="0" t="0" r="r" b="b"/>
                  <a:pathLst>
                    <a:path w="260" h="198">
                      <a:moveTo>
                        <a:pt x="256" y="98"/>
                      </a:moveTo>
                      <a:lnTo>
                        <a:pt x="256" y="98"/>
                      </a:lnTo>
                      <a:lnTo>
                        <a:pt x="254" y="92"/>
                      </a:lnTo>
                      <a:lnTo>
                        <a:pt x="250" y="90"/>
                      </a:lnTo>
                      <a:lnTo>
                        <a:pt x="246" y="90"/>
                      </a:lnTo>
                      <a:lnTo>
                        <a:pt x="242" y="92"/>
                      </a:lnTo>
                      <a:lnTo>
                        <a:pt x="238" y="94"/>
                      </a:lnTo>
                      <a:lnTo>
                        <a:pt x="234" y="94"/>
                      </a:lnTo>
                      <a:lnTo>
                        <a:pt x="228" y="90"/>
                      </a:lnTo>
                      <a:lnTo>
                        <a:pt x="222" y="84"/>
                      </a:lnTo>
                      <a:lnTo>
                        <a:pt x="222" y="84"/>
                      </a:lnTo>
                      <a:lnTo>
                        <a:pt x="216" y="74"/>
                      </a:lnTo>
                      <a:lnTo>
                        <a:pt x="208" y="68"/>
                      </a:lnTo>
                      <a:lnTo>
                        <a:pt x="192" y="60"/>
                      </a:lnTo>
                      <a:lnTo>
                        <a:pt x="190" y="58"/>
                      </a:lnTo>
                      <a:lnTo>
                        <a:pt x="188" y="56"/>
                      </a:lnTo>
                      <a:lnTo>
                        <a:pt x="190" y="54"/>
                      </a:lnTo>
                      <a:lnTo>
                        <a:pt x="196" y="52"/>
                      </a:lnTo>
                      <a:lnTo>
                        <a:pt x="208" y="48"/>
                      </a:lnTo>
                      <a:lnTo>
                        <a:pt x="208" y="48"/>
                      </a:lnTo>
                      <a:lnTo>
                        <a:pt x="220" y="46"/>
                      </a:lnTo>
                      <a:lnTo>
                        <a:pt x="226" y="42"/>
                      </a:lnTo>
                      <a:lnTo>
                        <a:pt x="226" y="40"/>
                      </a:lnTo>
                      <a:lnTo>
                        <a:pt x="222" y="38"/>
                      </a:lnTo>
                      <a:lnTo>
                        <a:pt x="218" y="34"/>
                      </a:lnTo>
                      <a:lnTo>
                        <a:pt x="216" y="32"/>
                      </a:lnTo>
                      <a:lnTo>
                        <a:pt x="216" y="28"/>
                      </a:lnTo>
                      <a:lnTo>
                        <a:pt x="222" y="24"/>
                      </a:lnTo>
                      <a:lnTo>
                        <a:pt x="222" y="24"/>
                      </a:lnTo>
                      <a:lnTo>
                        <a:pt x="230" y="20"/>
                      </a:lnTo>
                      <a:lnTo>
                        <a:pt x="232" y="16"/>
                      </a:lnTo>
                      <a:lnTo>
                        <a:pt x="230" y="10"/>
                      </a:lnTo>
                      <a:lnTo>
                        <a:pt x="226" y="6"/>
                      </a:lnTo>
                      <a:lnTo>
                        <a:pt x="218" y="4"/>
                      </a:lnTo>
                      <a:lnTo>
                        <a:pt x="208" y="4"/>
                      </a:lnTo>
                      <a:lnTo>
                        <a:pt x="194" y="4"/>
                      </a:lnTo>
                      <a:lnTo>
                        <a:pt x="180" y="8"/>
                      </a:lnTo>
                      <a:lnTo>
                        <a:pt x="180" y="8"/>
                      </a:lnTo>
                      <a:lnTo>
                        <a:pt x="164" y="12"/>
                      </a:lnTo>
                      <a:lnTo>
                        <a:pt x="152" y="12"/>
                      </a:lnTo>
                      <a:lnTo>
                        <a:pt x="140" y="10"/>
                      </a:lnTo>
                      <a:lnTo>
                        <a:pt x="130" y="6"/>
                      </a:lnTo>
                      <a:lnTo>
                        <a:pt x="120" y="4"/>
                      </a:lnTo>
                      <a:lnTo>
                        <a:pt x="110" y="0"/>
                      </a:lnTo>
                      <a:lnTo>
                        <a:pt x="98" y="0"/>
                      </a:lnTo>
                      <a:lnTo>
                        <a:pt x="86" y="4"/>
                      </a:lnTo>
                      <a:lnTo>
                        <a:pt x="86" y="4"/>
                      </a:lnTo>
                      <a:lnTo>
                        <a:pt x="64" y="14"/>
                      </a:lnTo>
                      <a:lnTo>
                        <a:pt x="56" y="20"/>
                      </a:lnTo>
                      <a:lnTo>
                        <a:pt x="50" y="24"/>
                      </a:lnTo>
                      <a:lnTo>
                        <a:pt x="46" y="28"/>
                      </a:lnTo>
                      <a:lnTo>
                        <a:pt x="48" y="34"/>
                      </a:lnTo>
                      <a:lnTo>
                        <a:pt x="52" y="38"/>
                      </a:lnTo>
                      <a:lnTo>
                        <a:pt x="62" y="44"/>
                      </a:lnTo>
                      <a:lnTo>
                        <a:pt x="70" y="48"/>
                      </a:lnTo>
                      <a:lnTo>
                        <a:pt x="70" y="48"/>
                      </a:lnTo>
                      <a:lnTo>
                        <a:pt x="82" y="52"/>
                      </a:lnTo>
                      <a:lnTo>
                        <a:pt x="88" y="58"/>
                      </a:lnTo>
                      <a:lnTo>
                        <a:pt x="94" y="62"/>
                      </a:lnTo>
                      <a:lnTo>
                        <a:pt x="96" y="68"/>
                      </a:lnTo>
                      <a:lnTo>
                        <a:pt x="94" y="74"/>
                      </a:lnTo>
                      <a:lnTo>
                        <a:pt x="92" y="78"/>
                      </a:lnTo>
                      <a:lnTo>
                        <a:pt x="86" y="84"/>
                      </a:lnTo>
                      <a:lnTo>
                        <a:pt x="78" y="88"/>
                      </a:lnTo>
                      <a:lnTo>
                        <a:pt x="78" y="88"/>
                      </a:lnTo>
                      <a:lnTo>
                        <a:pt x="74" y="88"/>
                      </a:lnTo>
                      <a:lnTo>
                        <a:pt x="68" y="90"/>
                      </a:lnTo>
                      <a:lnTo>
                        <a:pt x="58" y="86"/>
                      </a:lnTo>
                      <a:lnTo>
                        <a:pt x="48" y="80"/>
                      </a:lnTo>
                      <a:lnTo>
                        <a:pt x="38" y="74"/>
                      </a:lnTo>
                      <a:lnTo>
                        <a:pt x="28" y="68"/>
                      </a:lnTo>
                      <a:lnTo>
                        <a:pt x="20" y="64"/>
                      </a:lnTo>
                      <a:lnTo>
                        <a:pt x="16" y="64"/>
                      </a:lnTo>
                      <a:lnTo>
                        <a:pt x="10" y="64"/>
                      </a:lnTo>
                      <a:lnTo>
                        <a:pt x="6" y="66"/>
                      </a:lnTo>
                      <a:lnTo>
                        <a:pt x="2" y="72"/>
                      </a:lnTo>
                      <a:lnTo>
                        <a:pt x="2" y="72"/>
                      </a:lnTo>
                      <a:lnTo>
                        <a:pt x="0" y="78"/>
                      </a:lnTo>
                      <a:lnTo>
                        <a:pt x="0" y="86"/>
                      </a:lnTo>
                      <a:lnTo>
                        <a:pt x="6" y="94"/>
                      </a:lnTo>
                      <a:lnTo>
                        <a:pt x="14" y="102"/>
                      </a:lnTo>
                      <a:lnTo>
                        <a:pt x="26" y="110"/>
                      </a:lnTo>
                      <a:lnTo>
                        <a:pt x="40" y="118"/>
                      </a:lnTo>
                      <a:lnTo>
                        <a:pt x="56" y="124"/>
                      </a:lnTo>
                      <a:lnTo>
                        <a:pt x="74" y="132"/>
                      </a:lnTo>
                      <a:lnTo>
                        <a:pt x="74" y="132"/>
                      </a:lnTo>
                      <a:lnTo>
                        <a:pt x="90" y="138"/>
                      </a:lnTo>
                      <a:lnTo>
                        <a:pt x="104" y="148"/>
                      </a:lnTo>
                      <a:lnTo>
                        <a:pt x="116" y="158"/>
                      </a:lnTo>
                      <a:lnTo>
                        <a:pt x="124" y="168"/>
                      </a:lnTo>
                      <a:lnTo>
                        <a:pt x="142" y="188"/>
                      </a:lnTo>
                      <a:lnTo>
                        <a:pt x="150" y="194"/>
                      </a:lnTo>
                      <a:lnTo>
                        <a:pt x="162" y="198"/>
                      </a:lnTo>
                      <a:lnTo>
                        <a:pt x="162" y="198"/>
                      </a:lnTo>
                      <a:lnTo>
                        <a:pt x="170" y="198"/>
                      </a:lnTo>
                      <a:lnTo>
                        <a:pt x="176" y="194"/>
                      </a:lnTo>
                      <a:lnTo>
                        <a:pt x="178" y="190"/>
                      </a:lnTo>
                      <a:lnTo>
                        <a:pt x="180" y="184"/>
                      </a:lnTo>
                      <a:lnTo>
                        <a:pt x="182" y="178"/>
                      </a:lnTo>
                      <a:lnTo>
                        <a:pt x="182" y="174"/>
                      </a:lnTo>
                      <a:lnTo>
                        <a:pt x="186" y="170"/>
                      </a:lnTo>
                      <a:lnTo>
                        <a:pt x="192" y="170"/>
                      </a:lnTo>
                      <a:lnTo>
                        <a:pt x="192" y="170"/>
                      </a:lnTo>
                      <a:lnTo>
                        <a:pt x="200" y="172"/>
                      </a:lnTo>
                      <a:lnTo>
                        <a:pt x="210" y="172"/>
                      </a:lnTo>
                      <a:lnTo>
                        <a:pt x="220" y="170"/>
                      </a:lnTo>
                      <a:lnTo>
                        <a:pt x="230" y="166"/>
                      </a:lnTo>
                      <a:lnTo>
                        <a:pt x="238" y="162"/>
                      </a:lnTo>
                      <a:lnTo>
                        <a:pt x="246" y="156"/>
                      </a:lnTo>
                      <a:lnTo>
                        <a:pt x="250" y="148"/>
                      </a:lnTo>
                      <a:lnTo>
                        <a:pt x="252" y="138"/>
                      </a:lnTo>
                      <a:lnTo>
                        <a:pt x="252" y="138"/>
                      </a:lnTo>
                      <a:lnTo>
                        <a:pt x="252" y="130"/>
                      </a:lnTo>
                      <a:lnTo>
                        <a:pt x="252" y="124"/>
                      </a:lnTo>
                      <a:lnTo>
                        <a:pt x="256" y="118"/>
                      </a:lnTo>
                      <a:lnTo>
                        <a:pt x="258" y="114"/>
                      </a:lnTo>
                      <a:lnTo>
                        <a:pt x="260" y="112"/>
                      </a:lnTo>
                      <a:lnTo>
                        <a:pt x="258" y="106"/>
                      </a:lnTo>
                      <a:lnTo>
                        <a:pt x="256" y="98"/>
                      </a:lnTo>
                      <a:lnTo>
                        <a:pt x="256" y="98"/>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90" name="Freeform 6116">
                  <a:extLst>
                    <a:ext uri="{FF2B5EF4-FFF2-40B4-BE49-F238E27FC236}">
                      <a16:creationId xmlns:a16="http://schemas.microsoft.com/office/drawing/2014/main" id="{689CE682-8D83-AC53-B12D-27153F6D2DDE}"/>
                    </a:ext>
                  </a:extLst>
                </p:cNvPr>
                <p:cNvSpPr>
                  <a:spLocks/>
                </p:cNvSpPr>
                <p:nvPr/>
              </p:nvSpPr>
              <p:spPr bwMode="auto">
                <a:xfrm>
                  <a:off x="1750060" y="1098233"/>
                  <a:ext cx="34290" cy="8890"/>
                </a:xfrm>
                <a:custGeom>
                  <a:avLst/>
                  <a:gdLst/>
                  <a:ahLst/>
                  <a:cxnLst>
                    <a:cxn ang="0">
                      <a:pos x="2" y="14"/>
                    </a:cxn>
                    <a:cxn ang="0">
                      <a:pos x="2" y="14"/>
                    </a:cxn>
                    <a:cxn ang="0">
                      <a:pos x="8" y="14"/>
                    </a:cxn>
                    <a:cxn ang="0">
                      <a:pos x="16" y="14"/>
                    </a:cxn>
                    <a:cxn ang="0">
                      <a:pos x="36" y="10"/>
                    </a:cxn>
                    <a:cxn ang="0">
                      <a:pos x="50" y="4"/>
                    </a:cxn>
                    <a:cxn ang="0">
                      <a:pos x="54" y="2"/>
                    </a:cxn>
                    <a:cxn ang="0">
                      <a:pos x="54" y="2"/>
                    </a:cxn>
                    <a:cxn ang="0">
                      <a:pos x="54" y="0"/>
                    </a:cxn>
                    <a:cxn ang="0">
                      <a:pos x="54" y="0"/>
                    </a:cxn>
                    <a:cxn ang="0">
                      <a:pos x="48" y="0"/>
                    </a:cxn>
                    <a:cxn ang="0">
                      <a:pos x="38" y="0"/>
                    </a:cxn>
                    <a:cxn ang="0">
                      <a:pos x="18" y="4"/>
                    </a:cxn>
                    <a:cxn ang="0">
                      <a:pos x="2" y="10"/>
                    </a:cxn>
                    <a:cxn ang="0">
                      <a:pos x="0" y="12"/>
                    </a:cxn>
                    <a:cxn ang="0">
                      <a:pos x="2" y="14"/>
                    </a:cxn>
                    <a:cxn ang="0">
                      <a:pos x="2" y="14"/>
                    </a:cxn>
                  </a:cxnLst>
                  <a:rect l="0" t="0" r="r" b="b"/>
                  <a:pathLst>
                    <a:path w="54" h="14">
                      <a:moveTo>
                        <a:pt x="2" y="14"/>
                      </a:moveTo>
                      <a:lnTo>
                        <a:pt x="2" y="14"/>
                      </a:lnTo>
                      <a:lnTo>
                        <a:pt x="8" y="14"/>
                      </a:lnTo>
                      <a:lnTo>
                        <a:pt x="16" y="14"/>
                      </a:lnTo>
                      <a:lnTo>
                        <a:pt x="36" y="10"/>
                      </a:lnTo>
                      <a:lnTo>
                        <a:pt x="50" y="4"/>
                      </a:lnTo>
                      <a:lnTo>
                        <a:pt x="54" y="2"/>
                      </a:lnTo>
                      <a:lnTo>
                        <a:pt x="54" y="2"/>
                      </a:lnTo>
                      <a:lnTo>
                        <a:pt x="54" y="0"/>
                      </a:lnTo>
                      <a:lnTo>
                        <a:pt x="54" y="0"/>
                      </a:lnTo>
                      <a:lnTo>
                        <a:pt x="48" y="0"/>
                      </a:lnTo>
                      <a:lnTo>
                        <a:pt x="38" y="0"/>
                      </a:lnTo>
                      <a:lnTo>
                        <a:pt x="18" y="4"/>
                      </a:lnTo>
                      <a:lnTo>
                        <a:pt x="2" y="10"/>
                      </a:lnTo>
                      <a:lnTo>
                        <a:pt x="0" y="12"/>
                      </a:lnTo>
                      <a:lnTo>
                        <a:pt x="2" y="14"/>
                      </a:lnTo>
                      <a:lnTo>
                        <a:pt x="2" y="14"/>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91" name="Freeform 6117">
                  <a:extLst>
                    <a:ext uri="{FF2B5EF4-FFF2-40B4-BE49-F238E27FC236}">
                      <a16:creationId xmlns:a16="http://schemas.microsoft.com/office/drawing/2014/main" id="{95515D11-F69F-8461-374E-38A7D6DEB52D}"/>
                    </a:ext>
                  </a:extLst>
                </p:cNvPr>
                <p:cNvSpPr>
                  <a:spLocks/>
                </p:cNvSpPr>
                <p:nvPr/>
              </p:nvSpPr>
              <p:spPr bwMode="auto">
                <a:xfrm>
                  <a:off x="1854200" y="1394143"/>
                  <a:ext cx="114300" cy="66040"/>
                </a:xfrm>
                <a:custGeom>
                  <a:avLst/>
                  <a:gdLst/>
                  <a:ahLst/>
                  <a:cxnLst>
                    <a:cxn ang="0">
                      <a:pos x="42" y="32"/>
                    </a:cxn>
                    <a:cxn ang="0">
                      <a:pos x="42" y="32"/>
                    </a:cxn>
                    <a:cxn ang="0">
                      <a:pos x="32" y="42"/>
                    </a:cxn>
                    <a:cxn ang="0">
                      <a:pos x="24" y="50"/>
                    </a:cxn>
                    <a:cxn ang="0">
                      <a:pos x="14" y="52"/>
                    </a:cxn>
                    <a:cxn ang="0">
                      <a:pos x="8" y="54"/>
                    </a:cxn>
                    <a:cxn ang="0">
                      <a:pos x="2" y="56"/>
                    </a:cxn>
                    <a:cxn ang="0">
                      <a:pos x="0" y="58"/>
                    </a:cxn>
                    <a:cxn ang="0">
                      <a:pos x="2" y="62"/>
                    </a:cxn>
                    <a:cxn ang="0">
                      <a:pos x="10" y="68"/>
                    </a:cxn>
                    <a:cxn ang="0">
                      <a:pos x="10" y="68"/>
                    </a:cxn>
                    <a:cxn ang="0">
                      <a:pos x="20" y="74"/>
                    </a:cxn>
                    <a:cxn ang="0">
                      <a:pos x="34" y="78"/>
                    </a:cxn>
                    <a:cxn ang="0">
                      <a:pos x="72" y="86"/>
                    </a:cxn>
                    <a:cxn ang="0">
                      <a:pos x="72" y="86"/>
                    </a:cxn>
                    <a:cxn ang="0">
                      <a:pos x="84" y="88"/>
                    </a:cxn>
                    <a:cxn ang="0">
                      <a:pos x="94" y="92"/>
                    </a:cxn>
                    <a:cxn ang="0">
                      <a:pos x="112" y="100"/>
                    </a:cxn>
                    <a:cxn ang="0">
                      <a:pos x="120" y="102"/>
                    </a:cxn>
                    <a:cxn ang="0">
                      <a:pos x="128" y="104"/>
                    </a:cxn>
                    <a:cxn ang="0">
                      <a:pos x="136" y="102"/>
                    </a:cxn>
                    <a:cxn ang="0">
                      <a:pos x="142" y="96"/>
                    </a:cxn>
                    <a:cxn ang="0">
                      <a:pos x="142" y="96"/>
                    </a:cxn>
                    <a:cxn ang="0">
                      <a:pos x="150" y="90"/>
                    </a:cxn>
                    <a:cxn ang="0">
                      <a:pos x="156" y="88"/>
                    </a:cxn>
                    <a:cxn ang="0">
                      <a:pos x="164" y="86"/>
                    </a:cxn>
                    <a:cxn ang="0">
                      <a:pos x="170" y="86"/>
                    </a:cxn>
                    <a:cxn ang="0">
                      <a:pos x="174" y="84"/>
                    </a:cxn>
                    <a:cxn ang="0">
                      <a:pos x="178" y="78"/>
                    </a:cxn>
                    <a:cxn ang="0">
                      <a:pos x="178" y="78"/>
                    </a:cxn>
                    <a:cxn ang="0">
                      <a:pos x="180" y="74"/>
                    </a:cxn>
                    <a:cxn ang="0">
                      <a:pos x="180" y="72"/>
                    </a:cxn>
                    <a:cxn ang="0">
                      <a:pos x="174" y="72"/>
                    </a:cxn>
                    <a:cxn ang="0">
                      <a:pos x="170" y="72"/>
                    </a:cxn>
                    <a:cxn ang="0">
                      <a:pos x="164" y="70"/>
                    </a:cxn>
                    <a:cxn ang="0">
                      <a:pos x="158" y="66"/>
                    </a:cxn>
                    <a:cxn ang="0">
                      <a:pos x="152" y="58"/>
                    </a:cxn>
                    <a:cxn ang="0">
                      <a:pos x="152" y="58"/>
                    </a:cxn>
                    <a:cxn ang="0">
                      <a:pos x="148" y="50"/>
                    </a:cxn>
                    <a:cxn ang="0">
                      <a:pos x="144" y="44"/>
                    </a:cxn>
                    <a:cxn ang="0">
                      <a:pos x="140" y="42"/>
                    </a:cxn>
                    <a:cxn ang="0">
                      <a:pos x="136" y="42"/>
                    </a:cxn>
                    <a:cxn ang="0">
                      <a:pos x="124" y="36"/>
                    </a:cxn>
                    <a:cxn ang="0">
                      <a:pos x="116" y="30"/>
                    </a:cxn>
                    <a:cxn ang="0">
                      <a:pos x="106" y="20"/>
                    </a:cxn>
                    <a:cxn ang="0">
                      <a:pos x="106" y="20"/>
                    </a:cxn>
                    <a:cxn ang="0">
                      <a:pos x="94" y="10"/>
                    </a:cxn>
                    <a:cxn ang="0">
                      <a:pos x="86" y="2"/>
                    </a:cxn>
                    <a:cxn ang="0">
                      <a:pos x="78" y="0"/>
                    </a:cxn>
                    <a:cxn ang="0">
                      <a:pos x="70" y="0"/>
                    </a:cxn>
                    <a:cxn ang="0">
                      <a:pos x="64" y="4"/>
                    </a:cxn>
                    <a:cxn ang="0">
                      <a:pos x="56" y="10"/>
                    </a:cxn>
                    <a:cxn ang="0">
                      <a:pos x="42" y="32"/>
                    </a:cxn>
                    <a:cxn ang="0">
                      <a:pos x="42" y="32"/>
                    </a:cxn>
                  </a:cxnLst>
                  <a:rect l="0" t="0" r="r" b="b"/>
                  <a:pathLst>
                    <a:path w="180" h="104">
                      <a:moveTo>
                        <a:pt x="42" y="32"/>
                      </a:moveTo>
                      <a:lnTo>
                        <a:pt x="42" y="32"/>
                      </a:lnTo>
                      <a:lnTo>
                        <a:pt x="32" y="42"/>
                      </a:lnTo>
                      <a:lnTo>
                        <a:pt x="24" y="50"/>
                      </a:lnTo>
                      <a:lnTo>
                        <a:pt x="14" y="52"/>
                      </a:lnTo>
                      <a:lnTo>
                        <a:pt x="8" y="54"/>
                      </a:lnTo>
                      <a:lnTo>
                        <a:pt x="2" y="56"/>
                      </a:lnTo>
                      <a:lnTo>
                        <a:pt x="0" y="58"/>
                      </a:lnTo>
                      <a:lnTo>
                        <a:pt x="2" y="62"/>
                      </a:lnTo>
                      <a:lnTo>
                        <a:pt x="10" y="68"/>
                      </a:lnTo>
                      <a:lnTo>
                        <a:pt x="10" y="68"/>
                      </a:lnTo>
                      <a:lnTo>
                        <a:pt x="20" y="74"/>
                      </a:lnTo>
                      <a:lnTo>
                        <a:pt x="34" y="78"/>
                      </a:lnTo>
                      <a:lnTo>
                        <a:pt x="72" y="86"/>
                      </a:lnTo>
                      <a:lnTo>
                        <a:pt x="72" y="86"/>
                      </a:lnTo>
                      <a:lnTo>
                        <a:pt x="84" y="88"/>
                      </a:lnTo>
                      <a:lnTo>
                        <a:pt x="94" y="92"/>
                      </a:lnTo>
                      <a:lnTo>
                        <a:pt x="112" y="100"/>
                      </a:lnTo>
                      <a:lnTo>
                        <a:pt x="120" y="102"/>
                      </a:lnTo>
                      <a:lnTo>
                        <a:pt x="128" y="104"/>
                      </a:lnTo>
                      <a:lnTo>
                        <a:pt x="136" y="102"/>
                      </a:lnTo>
                      <a:lnTo>
                        <a:pt x="142" y="96"/>
                      </a:lnTo>
                      <a:lnTo>
                        <a:pt x="142" y="96"/>
                      </a:lnTo>
                      <a:lnTo>
                        <a:pt x="150" y="90"/>
                      </a:lnTo>
                      <a:lnTo>
                        <a:pt x="156" y="88"/>
                      </a:lnTo>
                      <a:lnTo>
                        <a:pt x="164" y="86"/>
                      </a:lnTo>
                      <a:lnTo>
                        <a:pt x="170" y="86"/>
                      </a:lnTo>
                      <a:lnTo>
                        <a:pt x="174" y="84"/>
                      </a:lnTo>
                      <a:lnTo>
                        <a:pt x="178" y="78"/>
                      </a:lnTo>
                      <a:lnTo>
                        <a:pt x="178" y="78"/>
                      </a:lnTo>
                      <a:lnTo>
                        <a:pt x="180" y="74"/>
                      </a:lnTo>
                      <a:lnTo>
                        <a:pt x="180" y="72"/>
                      </a:lnTo>
                      <a:lnTo>
                        <a:pt x="174" y="72"/>
                      </a:lnTo>
                      <a:lnTo>
                        <a:pt x="170" y="72"/>
                      </a:lnTo>
                      <a:lnTo>
                        <a:pt x="164" y="70"/>
                      </a:lnTo>
                      <a:lnTo>
                        <a:pt x="158" y="66"/>
                      </a:lnTo>
                      <a:lnTo>
                        <a:pt x="152" y="58"/>
                      </a:lnTo>
                      <a:lnTo>
                        <a:pt x="152" y="58"/>
                      </a:lnTo>
                      <a:lnTo>
                        <a:pt x="148" y="50"/>
                      </a:lnTo>
                      <a:lnTo>
                        <a:pt x="144" y="44"/>
                      </a:lnTo>
                      <a:lnTo>
                        <a:pt x="140" y="42"/>
                      </a:lnTo>
                      <a:lnTo>
                        <a:pt x="136" y="42"/>
                      </a:lnTo>
                      <a:lnTo>
                        <a:pt x="124" y="36"/>
                      </a:lnTo>
                      <a:lnTo>
                        <a:pt x="116" y="30"/>
                      </a:lnTo>
                      <a:lnTo>
                        <a:pt x="106" y="20"/>
                      </a:lnTo>
                      <a:lnTo>
                        <a:pt x="106" y="20"/>
                      </a:lnTo>
                      <a:lnTo>
                        <a:pt x="94" y="10"/>
                      </a:lnTo>
                      <a:lnTo>
                        <a:pt x="86" y="2"/>
                      </a:lnTo>
                      <a:lnTo>
                        <a:pt x="78" y="0"/>
                      </a:lnTo>
                      <a:lnTo>
                        <a:pt x="70" y="0"/>
                      </a:lnTo>
                      <a:lnTo>
                        <a:pt x="64" y="4"/>
                      </a:lnTo>
                      <a:lnTo>
                        <a:pt x="56" y="10"/>
                      </a:lnTo>
                      <a:lnTo>
                        <a:pt x="42" y="32"/>
                      </a:lnTo>
                      <a:lnTo>
                        <a:pt x="42" y="32"/>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92" name="Freeform 6118">
                  <a:extLst>
                    <a:ext uri="{FF2B5EF4-FFF2-40B4-BE49-F238E27FC236}">
                      <a16:creationId xmlns:a16="http://schemas.microsoft.com/office/drawing/2014/main" id="{7BD73A05-1FEB-BAA6-2C81-A76D93FBC4F9}"/>
                    </a:ext>
                  </a:extLst>
                </p:cNvPr>
                <p:cNvSpPr>
                  <a:spLocks/>
                </p:cNvSpPr>
                <p:nvPr/>
              </p:nvSpPr>
              <p:spPr bwMode="auto">
                <a:xfrm>
                  <a:off x="2529839" y="699453"/>
                  <a:ext cx="1550670" cy="1127760"/>
                </a:xfrm>
                <a:custGeom>
                  <a:avLst/>
                  <a:gdLst/>
                  <a:ahLst/>
                  <a:cxnLst>
                    <a:cxn ang="0">
                      <a:pos x="220" y="296"/>
                    </a:cxn>
                    <a:cxn ang="0">
                      <a:pos x="150" y="400"/>
                    </a:cxn>
                    <a:cxn ang="0">
                      <a:pos x="96" y="502"/>
                    </a:cxn>
                    <a:cxn ang="0">
                      <a:pos x="62" y="558"/>
                    </a:cxn>
                    <a:cxn ang="0">
                      <a:pos x="228" y="618"/>
                    </a:cxn>
                    <a:cxn ang="0">
                      <a:pos x="350" y="620"/>
                    </a:cxn>
                    <a:cxn ang="0">
                      <a:pos x="584" y="666"/>
                    </a:cxn>
                    <a:cxn ang="0">
                      <a:pos x="674" y="786"/>
                    </a:cxn>
                    <a:cxn ang="0">
                      <a:pos x="706" y="902"/>
                    </a:cxn>
                    <a:cxn ang="0">
                      <a:pos x="744" y="990"/>
                    </a:cxn>
                    <a:cxn ang="0">
                      <a:pos x="836" y="1010"/>
                    </a:cxn>
                    <a:cxn ang="0">
                      <a:pos x="750" y="1050"/>
                    </a:cxn>
                    <a:cxn ang="0">
                      <a:pos x="890" y="1110"/>
                    </a:cxn>
                    <a:cxn ang="0">
                      <a:pos x="788" y="1212"/>
                    </a:cxn>
                    <a:cxn ang="0">
                      <a:pos x="782" y="1328"/>
                    </a:cxn>
                    <a:cxn ang="0">
                      <a:pos x="834" y="1452"/>
                    </a:cxn>
                    <a:cxn ang="0">
                      <a:pos x="922" y="1474"/>
                    </a:cxn>
                    <a:cxn ang="0">
                      <a:pos x="860" y="1502"/>
                    </a:cxn>
                    <a:cxn ang="0">
                      <a:pos x="908" y="1598"/>
                    </a:cxn>
                    <a:cxn ang="0">
                      <a:pos x="966" y="1678"/>
                    </a:cxn>
                    <a:cxn ang="0">
                      <a:pos x="1032" y="1712"/>
                    </a:cxn>
                    <a:cxn ang="0">
                      <a:pos x="1090" y="1738"/>
                    </a:cxn>
                    <a:cxn ang="0">
                      <a:pos x="1196" y="1768"/>
                    </a:cxn>
                    <a:cxn ang="0">
                      <a:pos x="1232" y="1622"/>
                    </a:cxn>
                    <a:cxn ang="0">
                      <a:pos x="1262" y="1566"/>
                    </a:cxn>
                    <a:cxn ang="0">
                      <a:pos x="1262" y="1486"/>
                    </a:cxn>
                    <a:cxn ang="0">
                      <a:pos x="1332" y="1420"/>
                    </a:cxn>
                    <a:cxn ang="0">
                      <a:pos x="1402" y="1376"/>
                    </a:cxn>
                    <a:cxn ang="0">
                      <a:pos x="1412" y="1372"/>
                    </a:cxn>
                    <a:cxn ang="0">
                      <a:pos x="1468" y="1372"/>
                    </a:cxn>
                    <a:cxn ang="0">
                      <a:pos x="1628" y="1238"/>
                    </a:cxn>
                    <a:cxn ang="0">
                      <a:pos x="1748" y="1208"/>
                    </a:cxn>
                    <a:cxn ang="0">
                      <a:pos x="2012" y="1102"/>
                    </a:cxn>
                    <a:cxn ang="0">
                      <a:pos x="1846" y="1076"/>
                    </a:cxn>
                    <a:cxn ang="0">
                      <a:pos x="1800" y="1058"/>
                    </a:cxn>
                    <a:cxn ang="0">
                      <a:pos x="1842" y="970"/>
                    </a:cxn>
                    <a:cxn ang="0">
                      <a:pos x="2060" y="1056"/>
                    </a:cxn>
                    <a:cxn ang="0">
                      <a:pos x="2054" y="956"/>
                    </a:cxn>
                    <a:cxn ang="0">
                      <a:pos x="1916" y="858"/>
                    </a:cxn>
                    <a:cxn ang="0">
                      <a:pos x="2100" y="830"/>
                    </a:cxn>
                    <a:cxn ang="0">
                      <a:pos x="2142" y="768"/>
                    </a:cxn>
                    <a:cxn ang="0">
                      <a:pos x="2154" y="698"/>
                    </a:cxn>
                    <a:cxn ang="0">
                      <a:pos x="2066" y="608"/>
                    </a:cxn>
                    <a:cxn ang="0">
                      <a:pos x="2144" y="562"/>
                    </a:cxn>
                    <a:cxn ang="0">
                      <a:pos x="2144" y="504"/>
                    </a:cxn>
                    <a:cxn ang="0">
                      <a:pos x="2096" y="408"/>
                    </a:cxn>
                    <a:cxn ang="0">
                      <a:pos x="2228" y="310"/>
                    </a:cxn>
                    <a:cxn ang="0">
                      <a:pos x="2278" y="276"/>
                    </a:cxn>
                    <a:cxn ang="0">
                      <a:pos x="2298" y="244"/>
                    </a:cxn>
                    <a:cxn ang="0">
                      <a:pos x="2322" y="150"/>
                    </a:cxn>
                    <a:cxn ang="0">
                      <a:pos x="2050" y="210"/>
                    </a:cxn>
                    <a:cxn ang="0">
                      <a:pos x="1962" y="152"/>
                    </a:cxn>
                    <a:cxn ang="0">
                      <a:pos x="1616" y="174"/>
                    </a:cxn>
                    <a:cxn ang="0">
                      <a:pos x="2034" y="78"/>
                    </a:cxn>
                    <a:cxn ang="0">
                      <a:pos x="1724" y="52"/>
                    </a:cxn>
                    <a:cxn ang="0">
                      <a:pos x="1618" y="2"/>
                    </a:cxn>
                    <a:cxn ang="0">
                      <a:pos x="1402" y="44"/>
                    </a:cxn>
                    <a:cxn ang="0">
                      <a:pos x="1048" y="56"/>
                    </a:cxn>
                    <a:cxn ang="0">
                      <a:pos x="1110" y="74"/>
                    </a:cxn>
                    <a:cxn ang="0">
                      <a:pos x="1108" y="158"/>
                    </a:cxn>
                    <a:cxn ang="0">
                      <a:pos x="900" y="148"/>
                    </a:cxn>
                    <a:cxn ang="0">
                      <a:pos x="756" y="114"/>
                    </a:cxn>
                  </a:cxnLst>
                  <a:rect l="0" t="0" r="r" b="b"/>
                  <a:pathLst>
                    <a:path w="2442" h="1776">
                      <a:moveTo>
                        <a:pt x="470" y="176"/>
                      </a:moveTo>
                      <a:lnTo>
                        <a:pt x="470" y="176"/>
                      </a:lnTo>
                      <a:lnTo>
                        <a:pt x="476" y="186"/>
                      </a:lnTo>
                      <a:lnTo>
                        <a:pt x="478" y="194"/>
                      </a:lnTo>
                      <a:lnTo>
                        <a:pt x="480" y="202"/>
                      </a:lnTo>
                      <a:lnTo>
                        <a:pt x="478" y="210"/>
                      </a:lnTo>
                      <a:lnTo>
                        <a:pt x="474" y="216"/>
                      </a:lnTo>
                      <a:lnTo>
                        <a:pt x="466" y="218"/>
                      </a:lnTo>
                      <a:lnTo>
                        <a:pt x="458" y="220"/>
                      </a:lnTo>
                      <a:lnTo>
                        <a:pt x="446" y="218"/>
                      </a:lnTo>
                      <a:lnTo>
                        <a:pt x="446" y="218"/>
                      </a:lnTo>
                      <a:lnTo>
                        <a:pt x="426" y="212"/>
                      </a:lnTo>
                      <a:lnTo>
                        <a:pt x="406" y="210"/>
                      </a:lnTo>
                      <a:lnTo>
                        <a:pt x="386" y="210"/>
                      </a:lnTo>
                      <a:lnTo>
                        <a:pt x="368" y="212"/>
                      </a:lnTo>
                      <a:lnTo>
                        <a:pt x="350" y="216"/>
                      </a:lnTo>
                      <a:lnTo>
                        <a:pt x="334" y="222"/>
                      </a:lnTo>
                      <a:lnTo>
                        <a:pt x="318" y="230"/>
                      </a:lnTo>
                      <a:lnTo>
                        <a:pt x="304" y="238"/>
                      </a:lnTo>
                      <a:lnTo>
                        <a:pt x="304" y="238"/>
                      </a:lnTo>
                      <a:lnTo>
                        <a:pt x="272" y="256"/>
                      </a:lnTo>
                      <a:lnTo>
                        <a:pt x="244" y="270"/>
                      </a:lnTo>
                      <a:lnTo>
                        <a:pt x="232" y="276"/>
                      </a:lnTo>
                      <a:lnTo>
                        <a:pt x="222" y="284"/>
                      </a:lnTo>
                      <a:lnTo>
                        <a:pt x="218" y="290"/>
                      </a:lnTo>
                      <a:lnTo>
                        <a:pt x="218" y="292"/>
                      </a:lnTo>
                      <a:lnTo>
                        <a:pt x="220" y="296"/>
                      </a:lnTo>
                      <a:lnTo>
                        <a:pt x="220" y="296"/>
                      </a:lnTo>
                      <a:lnTo>
                        <a:pt x="226" y="300"/>
                      </a:lnTo>
                      <a:lnTo>
                        <a:pt x="234" y="304"/>
                      </a:lnTo>
                      <a:lnTo>
                        <a:pt x="244" y="308"/>
                      </a:lnTo>
                      <a:lnTo>
                        <a:pt x="256" y="308"/>
                      </a:lnTo>
                      <a:lnTo>
                        <a:pt x="280" y="308"/>
                      </a:lnTo>
                      <a:lnTo>
                        <a:pt x="302" y="306"/>
                      </a:lnTo>
                      <a:lnTo>
                        <a:pt x="302" y="306"/>
                      </a:lnTo>
                      <a:lnTo>
                        <a:pt x="310" y="306"/>
                      </a:lnTo>
                      <a:lnTo>
                        <a:pt x="316" y="310"/>
                      </a:lnTo>
                      <a:lnTo>
                        <a:pt x="318" y="318"/>
                      </a:lnTo>
                      <a:lnTo>
                        <a:pt x="320" y="326"/>
                      </a:lnTo>
                      <a:lnTo>
                        <a:pt x="318" y="338"/>
                      </a:lnTo>
                      <a:lnTo>
                        <a:pt x="314" y="348"/>
                      </a:lnTo>
                      <a:lnTo>
                        <a:pt x="308" y="360"/>
                      </a:lnTo>
                      <a:lnTo>
                        <a:pt x="300" y="370"/>
                      </a:lnTo>
                      <a:lnTo>
                        <a:pt x="300" y="370"/>
                      </a:lnTo>
                      <a:lnTo>
                        <a:pt x="290" y="380"/>
                      </a:lnTo>
                      <a:lnTo>
                        <a:pt x="280" y="384"/>
                      </a:lnTo>
                      <a:lnTo>
                        <a:pt x="268" y="386"/>
                      </a:lnTo>
                      <a:lnTo>
                        <a:pt x="254" y="386"/>
                      </a:lnTo>
                      <a:lnTo>
                        <a:pt x="224" y="382"/>
                      </a:lnTo>
                      <a:lnTo>
                        <a:pt x="206" y="382"/>
                      </a:lnTo>
                      <a:lnTo>
                        <a:pt x="188" y="384"/>
                      </a:lnTo>
                      <a:lnTo>
                        <a:pt x="188" y="384"/>
                      </a:lnTo>
                      <a:lnTo>
                        <a:pt x="172" y="388"/>
                      </a:lnTo>
                      <a:lnTo>
                        <a:pt x="162" y="392"/>
                      </a:lnTo>
                      <a:lnTo>
                        <a:pt x="154" y="396"/>
                      </a:lnTo>
                      <a:lnTo>
                        <a:pt x="150" y="400"/>
                      </a:lnTo>
                      <a:lnTo>
                        <a:pt x="142" y="404"/>
                      </a:lnTo>
                      <a:lnTo>
                        <a:pt x="130" y="408"/>
                      </a:lnTo>
                      <a:lnTo>
                        <a:pt x="112" y="412"/>
                      </a:lnTo>
                      <a:lnTo>
                        <a:pt x="84" y="418"/>
                      </a:lnTo>
                      <a:lnTo>
                        <a:pt x="84" y="418"/>
                      </a:lnTo>
                      <a:lnTo>
                        <a:pt x="54" y="422"/>
                      </a:lnTo>
                      <a:lnTo>
                        <a:pt x="32" y="428"/>
                      </a:lnTo>
                      <a:lnTo>
                        <a:pt x="16" y="434"/>
                      </a:lnTo>
                      <a:lnTo>
                        <a:pt x="4" y="440"/>
                      </a:lnTo>
                      <a:lnTo>
                        <a:pt x="0" y="448"/>
                      </a:lnTo>
                      <a:lnTo>
                        <a:pt x="0" y="456"/>
                      </a:lnTo>
                      <a:lnTo>
                        <a:pt x="4" y="464"/>
                      </a:lnTo>
                      <a:lnTo>
                        <a:pt x="12" y="472"/>
                      </a:lnTo>
                      <a:lnTo>
                        <a:pt x="12" y="472"/>
                      </a:lnTo>
                      <a:lnTo>
                        <a:pt x="20" y="478"/>
                      </a:lnTo>
                      <a:lnTo>
                        <a:pt x="28" y="482"/>
                      </a:lnTo>
                      <a:lnTo>
                        <a:pt x="38" y="484"/>
                      </a:lnTo>
                      <a:lnTo>
                        <a:pt x="48" y="484"/>
                      </a:lnTo>
                      <a:lnTo>
                        <a:pt x="52" y="486"/>
                      </a:lnTo>
                      <a:lnTo>
                        <a:pt x="56" y="490"/>
                      </a:lnTo>
                      <a:lnTo>
                        <a:pt x="56" y="490"/>
                      </a:lnTo>
                      <a:lnTo>
                        <a:pt x="62" y="494"/>
                      </a:lnTo>
                      <a:lnTo>
                        <a:pt x="68" y="496"/>
                      </a:lnTo>
                      <a:lnTo>
                        <a:pt x="78" y="496"/>
                      </a:lnTo>
                      <a:lnTo>
                        <a:pt x="88" y="496"/>
                      </a:lnTo>
                      <a:lnTo>
                        <a:pt x="92" y="498"/>
                      </a:lnTo>
                      <a:lnTo>
                        <a:pt x="96" y="502"/>
                      </a:lnTo>
                      <a:lnTo>
                        <a:pt x="96" y="502"/>
                      </a:lnTo>
                      <a:lnTo>
                        <a:pt x="102" y="506"/>
                      </a:lnTo>
                      <a:lnTo>
                        <a:pt x="108" y="510"/>
                      </a:lnTo>
                      <a:lnTo>
                        <a:pt x="116" y="514"/>
                      </a:lnTo>
                      <a:lnTo>
                        <a:pt x="124" y="514"/>
                      </a:lnTo>
                      <a:lnTo>
                        <a:pt x="144" y="516"/>
                      </a:lnTo>
                      <a:lnTo>
                        <a:pt x="174" y="516"/>
                      </a:lnTo>
                      <a:lnTo>
                        <a:pt x="174" y="516"/>
                      </a:lnTo>
                      <a:lnTo>
                        <a:pt x="192" y="516"/>
                      </a:lnTo>
                      <a:lnTo>
                        <a:pt x="208" y="514"/>
                      </a:lnTo>
                      <a:lnTo>
                        <a:pt x="238" y="508"/>
                      </a:lnTo>
                      <a:lnTo>
                        <a:pt x="250" y="506"/>
                      </a:lnTo>
                      <a:lnTo>
                        <a:pt x="260" y="506"/>
                      </a:lnTo>
                      <a:lnTo>
                        <a:pt x="268" y="506"/>
                      </a:lnTo>
                      <a:lnTo>
                        <a:pt x="272" y="512"/>
                      </a:lnTo>
                      <a:lnTo>
                        <a:pt x="272" y="512"/>
                      </a:lnTo>
                      <a:lnTo>
                        <a:pt x="272" y="516"/>
                      </a:lnTo>
                      <a:lnTo>
                        <a:pt x="268" y="520"/>
                      </a:lnTo>
                      <a:lnTo>
                        <a:pt x="260" y="524"/>
                      </a:lnTo>
                      <a:lnTo>
                        <a:pt x="248" y="524"/>
                      </a:lnTo>
                      <a:lnTo>
                        <a:pt x="174" y="528"/>
                      </a:lnTo>
                      <a:lnTo>
                        <a:pt x="174" y="528"/>
                      </a:lnTo>
                      <a:lnTo>
                        <a:pt x="128" y="534"/>
                      </a:lnTo>
                      <a:lnTo>
                        <a:pt x="106" y="538"/>
                      </a:lnTo>
                      <a:lnTo>
                        <a:pt x="86" y="542"/>
                      </a:lnTo>
                      <a:lnTo>
                        <a:pt x="72" y="546"/>
                      </a:lnTo>
                      <a:lnTo>
                        <a:pt x="62" y="552"/>
                      </a:lnTo>
                      <a:lnTo>
                        <a:pt x="60" y="554"/>
                      </a:lnTo>
                      <a:lnTo>
                        <a:pt x="62" y="558"/>
                      </a:lnTo>
                      <a:lnTo>
                        <a:pt x="64" y="562"/>
                      </a:lnTo>
                      <a:lnTo>
                        <a:pt x="68" y="564"/>
                      </a:lnTo>
                      <a:lnTo>
                        <a:pt x="68" y="564"/>
                      </a:lnTo>
                      <a:lnTo>
                        <a:pt x="84" y="570"/>
                      </a:lnTo>
                      <a:lnTo>
                        <a:pt x="102" y="574"/>
                      </a:lnTo>
                      <a:lnTo>
                        <a:pt x="140" y="580"/>
                      </a:lnTo>
                      <a:lnTo>
                        <a:pt x="154" y="584"/>
                      </a:lnTo>
                      <a:lnTo>
                        <a:pt x="162" y="586"/>
                      </a:lnTo>
                      <a:lnTo>
                        <a:pt x="162" y="588"/>
                      </a:lnTo>
                      <a:lnTo>
                        <a:pt x="160" y="590"/>
                      </a:lnTo>
                      <a:lnTo>
                        <a:pt x="148" y="594"/>
                      </a:lnTo>
                      <a:lnTo>
                        <a:pt x="148" y="594"/>
                      </a:lnTo>
                      <a:lnTo>
                        <a:pt x="136" y="598"/>
                      </a:lnTo>
                      <a:lnTo>
                        <a:pt x="132" y="602"/>
                      </a:lnTo>
                      <a:lnTo>
                        <a:pt x="132" y="604"/>
                      </a:lnTo>
                      <a:lnTo>
                        <a:pt x="132" y="606"/>
                      </a:lnTo>
                      <a:lnTo>
                        <a:pt x="136" y="608"/>
                      </a:lnTo>
                      <a:lnTo>
                        <a:pt x="146" y="614"/>
                      </a:lnTo>
                      <a:lnTo>
                        <a:pt x="182" y="624"/>
                      </a:lnTo>
                      <a:lnTo>
                        <a:pt x="224" y="636"/>
                      </a:lnTo>
                      <a:lnTo>
                        <a:pt x="224" y="636"/>
                      </a:lnTo>
                      <a:lnTo>
                        <a:pt x="242" y="642"/>
                      </a:lnTo>
                      <a:lnTo>
                        <a:pt x="248" y="642"/>
                      </a:lnTo>
                      <a:lnTo>
                        <a:pt x="248" y="642"/>
                      </a:lnTo>
                      <a:lnTo>
                        <a:pt x="248" y="640"/>
                      </a:lnTo>
                      <a:lnTo>
                        <a:pt x="242" y="634"/>
                      </a:lnTo>
                      <a:lnTo>
                        <a:pt x="230" y="622"/>
                      </a:lnTo>
                      <a:lnTo>
                        <a:pt x="228" y="618"/>
                      </a:lnTo>
                      <a:lnTo>
                        <a:pt x="228" y="616"/>
                      </a:lnTo>
                      <a:lnTo>
                        <a:pt x="232" y="614"/>
                      </a:lnTo>
                      <a:lnTo>
                        <a:pt x="232" y="614"/>
                      </a:lnTo>
                      <a:lnTo>
                        <a:pt x="238" y="612"/>
                      </a:lnTo>
                      <a:lnTo>
                        <a:pt x="242" y="614"/>
                      </a:lnTo>
                      <a:lnTo>
                        <a:pt x="246" y="620"/>
                      </a:lnTo>
                      <a:lnTo>
                        <a:pt x="250" y="622"/>
                      </a:lnTo>
                      <a:lnTo>
                        <a:pt x="254" y="622"/>
                      </a:lnTo>
                      <a:lnTo>
                        <a:pt x="262" y="622"/>
                      </a:lnTo>
                      <a:lnTo>
                        <a:pt x="272" y="618"/>
                      </a:lnTo>
                      <a:lnTo>
                        <a:pt x="272" y="618"/>
                      </a:lnTo>
                      <a:lnTo>
                        <a:pt x="282" y="614"/>
                      </a:lnTo>
                      <a:lnTo>
                        <a:pt x="286" y="614"/>
                      </a:lnTo>
                      <a:lnTo>
                        <a:pt x="286" y="616"/>
                      </a:lnTo>
                      <a:lnTo>
                        <a:pt x="286" y="618"/>
                      </a:lnTo>
                      <a:lnTo>
                        <a:pt x="284" y="622"/>
                      </a:lnTo>
                      <a:lnTo>
                        <a:pt x="286" y="626"/>
                      </a:lnTo>
                      <a:lnTo>
                        <a:pt x="290" y="630"/>
                      </a:lnTo>
                      <a:lnTo>
                        <a:pt x="300" y="630"/>
                      </a:lnTo>
                      <a:lnTo>
                        <a:pt x="300" y="630"/>
                      </a:lnTo>
                      <a:lnTo>
                        <a:pt x="312" y="630"/>
                      </a:lnTo>
                      <a:lnTo>
                        <a:pt x="320" y="626"/>
                      </a:lnTo>
                      <a:lnTo>
                        <a:pt x="326" y="622"/>
                      </a:lnTo>
                      <a:lnTo>
                        <a:pt x="330" y="618"/>
                      </a:lnTo>
                      <a:lnTo>
                        <a:pt x="334" y="616"/>
                      </a:lnTo>
                      <a:lnTo>
                        <a:pt x="338" y="614"/>
                      </a:lnTo>
                      <a:lnTo>
                        <a:pt x="344" y="614"/>
                      </a:lnTo>
                      <a:lnTo>
                        <a:pt x="350" y="620"/>
                      </a:lnTo>
                      <a:lnTo>
                        <a:pt x="350" y="620"/>
                      </a:lnTo>
                      <a:lnTo>
                        <a:pt x="358" y="624"/>
                      </a:lnTo>
                      <a:lnTo>
                        <a:pt x="364" y="624"/>
                      </a:lnTo>
                      <a:lnTo>
                        <a:pt x="368" y="622"/>
                      </a:lnTo>
                      <a:lnTo>
                        <a:pt x="370" y="618"/>
                      </a:lnTo>
                      <a:lnTo>
                        <a:pt x="374" y="614"/>
                      </a:lnTo>
                      <a:lnTo>
                        <a:pt x="380" y="610"/>
                      </a:lnTo>
                      <a:lnTo>
                        <a:pt x="386" y="610"/>
                      </a:lnTo>
                      <a:lnTo>
                        <a:pt x="396" y="612"/>
                      </a:lnTo>
                      <a:lnTo>
                        <a:pt x="396" y="612"/>
                      </a:lnTo>
                      <a:lnTo>
                        <a:pt x="408" y="616"/>
                      </a:lnTo>
                      <a:lnTo>
                        <a:pt x="420" y="618"/>
                      </a:lnTo>
                      <a:lnTo>
                        <a:pt x="446" y="618"/>
                      </a:lnTo>
                      <a:lnTo>
                        <a:pt x="468" y="620"/>
                      </a:lnTo>
                      <a:lnTo>
                        <a:pt x="476" y="622"/>
                      </a:lnTo>
                      <a:lnTo>
                        <a:pt x="484" y="628"/>
                      </a:lnTo>
                      <a:lnTo>
                        <a:pt x="484" y="628"/>
                      </a:lnTo>
                      <a:lnTo>
                        <a:pt x="488" y="632"/>
                      </a:lnTo>
                      <a:lnTo>
                        <a:pt x="492" y="634"/>
                      </a:lnTo>
                      <a:lnTo>
                        <a:pt x="500" y="634"/>
                      </a:lnTo>
                      <a:lnTo>
                        <a:pt x="506" y="634"/>
                      </a:lnTo>
                      <a:lnTo>
                        <a:pt x="512" y="634"/>
                      </a:lnTo>
                      <a:lnTo>
                        <a:pt x="522" y="638"/>
                      </a:lnTo>
                      <a:lnTo>
                        <a:pt x="534" y="642"/>
                      </a:lnTo>
                      <a:lnTo>
                        <a:pt x="534" y="642"/>
                      </a:lnTo>
                      <a:lnTo>
                        <a:pt x="560" y="654"/>
                      </a:lnTo>
                      <a:lnTo>
                        <a:pt x="578" y="664"/>
                      </a:lnTo>
                      <a:lnTo>
                        <a:pt x="584" y="666"/>
                      </a:lnTo>
                      <a:lnTo>
                        <a:pt x="584" y="670"/>
                      </a:lnTo>
                      <a:lnTo>
                        <a:pt x="584" y="674"/>
                      </a:lnTo>
                      <a:lnTo>
                        <a:pt x="578" y="680"/>
                      </a:lnTo>
                      <a:lnTo>
                        <a:pt x="578" y="680"/>
                      </a:lnTo>
                      <a:lnTo>
                        <a:pt x="576" y="684"/>
                      </a:lnTo>
                      <a:lnTo>
                        <a:pt x="576" y="688"/>
                      </a:lnTo>
                      <a:lnTo>
                        <a:pt x="578" y="692"/>
                      </a:lnTo>
                      <a:lnTo>
                        <a:pt x="582" y="696"/>
                      </a:lnTo>
                      <a:lnTo>
                        <a:pt x="596" y="704"/>
                      </a:lnTo>
                      <a:lnTo>
                        <a:pt x="612" y="714"/>
                      </a:lnTo>
                      <a:lnTo>
                        <a:pt x="642" y="734"/>
                      </a:lnTo>
                      <a:lnTo>
                        <a:pt x="652" y="742"/>
                      </a:lnTo>
                      <a:lnTo>
                        <a:pt x="654" y="746"/>
                      </a:lnTo>
                      <a:lnTo>
                        <a:pt x="654" y="750"/>
                      </a:lnTo>
                      <a:lnTo>
                        <a:pt x="654" y="750"/>
                      </a:lnTo>
                      <a:lnTo>
                        <a:pt x="650" y="756"/>
                      </a:lnTo>
                      <a:lnTo>
                        <a:pt x="644" y="764"/>
                      </a:lnTo>
                      <a:lnTo>
                        <a:pt x="632" y="776"/>
                      </a:lnTo>
                      <a:lnTo>
                        <a:pt x="628" y="780"/>
                      </a:lnTo>
                      <a:lnTo>
                        <a:pt x="628" y="782"/>
                      </a:lnTo>
                      <a:lnTo>
                        <a:pt x="632" y="784"/>
                      </a:lnTo>
                      <a:lnTo>
                        <a:pt x="642" y="780"/>
                      </a:lnTo>
                      <a:lnTo>
                        <a:pt x="642" y="780"/>
                      </a:lnTo>
                      <a:lnTo>
                        <a:pt x="660" y="776"/>
                      </a:lnTo>
                      <a:lnTo>
                        <a:pt x="666" y="776"/>
                      </a:lnTo>
                      <a:lnTo>
                        <a:pt x="668" y="776"/>
                      </a:lnTo>
                      <a:lnTo>
                        <a:pt x="670" y="782"/>
                      </a:lnTo>
                      <a:lnTo>
                        <a:pt x="674" y="786"/>
                      </a:lnTo>
                      <a:lnTo>
                        <a:pt x="678" y="790"/>
                      </a:lnTo>
                      <a:lnTo>
                        <a:pt x="678" y="790"/>
                      </a:lnTo>
                      <a:lnTo>
                        <a:pt x="684" y="794"/>
                      </a:lnTo>
                      <a:lnTo>
                        <a:pt x="686" y="798"/>
                      </a:lnTo>
                      <a:lnTo>
                        <a:pt x="684" y="802"/>
                      </a:lnTo>
                      <a:lnTo>
                        <a:pt x="682" y="806"/>
                      </a:lnTo>
                      <a:lnTo>
                        <a:pt x="680" y="810"/>
                      </a:lnTo>
                      <a:lnTo>
                        <a:pt x="680" y="814"/>
                      </a:lnTo>
                      <a:lnTo>
                        <a:pt x="686" y="818"/>
                      </a:lnTo>
                      <a:lnTo>
                        <a:pt x="696" y="824"/>
                      </a:lnTo>
                      <a:lnTo>
                        <a:pt x="696" y="824"/>
                      </a:lnTo>
                      <a:lnTo>
                        <a:pt x="704" y="828"/>
                      </a:lnTo>
                      <a:lnTo>
                        <a:pt x="708" y="834"/>
                      </a:lnTo>
                      <a:lnTo>
                        <a:pt x="706" y="838"/>
                      </a:lnTo>
                      <a:lnTo>
                        <a:pt x="702" y="844"/>
                      </a:lnTo>
                      <a:lnTo>
                        <a:pt x="700" y="850"/>
                      </a:lnTo>
                      <a:lnTo>
                        <a:pt x="698" y="854"/>
                      </a:lnTo>
                      <a:lnTo>
                        <a:pt x="702" y="858"/>
                      </a:lnTo>
                      <a:lnTo>
                        <a:pt x="710" y="862"/>
                      </a:lnTo>
                      <a:lnTo>
                        <a:pt x="710" y="862"/>
                      </a:lnTo>
                      <a:lnTo>
                        <a:pt x="720" y="864"/>
                      </a:lnTo>
                      <a:lnTo>
                        <a:pt x="726" y="870"/>
                      </a:lnTo>
                      <a:lnTo>
                        <a:pt x="730" y="876"/>
                      </a:lnTo>
                      <a:lnTo>
                        <a:pt x="730" y="882"/>
                      </a:lnTo>
                      <a:lnTo>
                        <a:pt x="728" y="888"/>
                      </a:lnTo>
                      <a:lnTo>
                        <a:pt x="722" y="894"/>
                      </a:lnTo>
                      <a:lnTo>
                        <a:pt x="716" y="898"/>
                      </a:lnTo>
                      <a:lnTo>
                        <a:pt x="706" y="902"/>
                      </a:lnTo>
                      <a:lnTo>
                        <a:pt x="706" y="902"/>
                      </a:lnTo>
                      <a:lnTo>
                        <a:pt x="698" y="904"/>
                      </a:lnTo>
                      <a:lnTo>
                        <a:pt x="694" y="906"/>
                      </a:lnTo>
                      <a:lnTo>
                        <a:pt x="690" y="910"/>
                      </a:lnTo>
                      <a:lnTo>
                        <a:pt x="690" y="916"/>
                      </a:lnTo>
                      <a:lnTo>
                        <a:pt x="690" y="922"/>
                      </a:lnTo>
                      <a:lnTo>
                        <a:pt x="694" y="928"/>
                      </a:lnTo>
                      <a:lnTo>
                        <a:pt x="704" y="942"/>
                      </a:lnTo>
                      <a:lnTo>
                        <a:pt x="704" y="942"/>
                      </a:lnTo>
                      <a:lnTo>
                        <a:pt x="708" y="948"/>
                      </a:lnTo>
                      <a:lnTo>
                        <a:pt x="708" y="952"/>
                      </a:lnTo>
                      <a:lnTo>
                        <a:pt x="704" y="956"/>
                      </a:lnTo>
                      <a:lnTo>
                        <a:pt x="698" y="956"/>
                      </a:lnTo>
                      <a:lnTo>
                        <a:pt x="686" y="960"/>
                      </a:lnTo>
                      <a:lnTo>
                        <a:pt x="682" y="960"/>
                      </a:lnTo>
                      <a:lnTo>
                        <a:pt x="684" y="964"/>
                      </a:lnTo>
                      <a:lnTo>
                        <a:pt x="684" y="964"/>
                      </a:lnTo>
                      <a:lnTo>
                        <a:pt x="690" y="972"/>
                      </a:lnTo>
                      <a:lnTo>
                        <a:pt x="696" y="980"/>
                      </a:lnTo>
                      <a:lnTo>
                        <a:pt x="698" y="984"/>
                      </a:lnTo>
                      <a:lnTo>
                        <a:pt x="702" y="986"/>
                      </a:lnTo>
                      <a:lnTo>
                        <a:pt x="706" y="986"/>
                      </a:lnTo>
                      <a:lnTo>
                        <a:pt x="710" y="984"/>
                      </a:lnTo>
                      <a:lnTo>
                        <a:pt x="710" y="984"/>
                      </a:lnTo>
                      <a:lnTo>
                        <a:pt x="716" y="984"/>
                      </a:lnTo>
                      <a:lnTo>
                        <a:pt x="722" y="984"/>
                      </a:lnTo>
                      <a:lnTo>
                        <a:pt x="738" y="988"/>
                      </a:lnTo>
                      <a:lnTo>
                        <a:pt x="744" y="990"/>
                      </a:lnTo>
                      <a:lnTo>
                        <a:pt x="752" y="988"/>
                      </a:lnTo>
                      <a:lnTo>
                        <a:pt x="758" y="984"/>
                      </a:lnTo>
                      <a:lnTo>
                        <a:pt x="764" y="974"/>
                      </a:lnTo>
                      <a:lnTo>
                        <a:pt x="764" y="974"/>
                      </a:lnTo>
                      <a:lnTo>
                        <a:pt x="768" y="970"/>
                      </a:lnTo>
                      <a:lnTo>
                        <a:pt x="770" y="966"/>
                      </a:lnTo>
                      <a:lnTo>
                        <a:pt x="780" y="960"/>
                      </a:lnTo>
                      <a:lnTo>
                        <a:pt x="790" y="960"/>
                      </a:lnTo>
                      <a:lnTo>
                        <a:pt x="800" y="960"/>
                      </a:lnTo>
                      <a:lnTo>
                        <a:pt x="808" y="962"/>
                      </a:lnTo>
                      <a:lnTo>
                        <a:pt x="816" y="966"/>
                      </a:lnTo>
                      <a:lnTo>
                        <a:pt x="818" y="970"/>
                      </a:lnTo>
                      <a:lnTo>
                        <a:pt x="818" y="972"/>
                      </a:lnTo>
                      <a:lnTo>
                        <a:pt x="818" y="972"/>
                      </a:lnTo>
                      <a:lnTo>
                        <a:pt x="818" y="972"/>
                      </a:lnTo>
                      <a:lnTo>
                        <a:pt x="812" y="978"/>
                      </a:lnTo>
                      <a:lnTo>
                        <a:pt x="810" y="980"/>
                      </a:lnTo>
                      <a:lnTo>
                        <a:pt x="812" y="982"/>
                      </a:lnTo>
                      <a:lnTo>
                        <a:pt x="818" y="982"/>
                      </a:lnTo>
                      <a:lnTo>
                        <a:pt x="822" y="984"/>
                      </a:lnTo>
                      <a:lnTo>
                        <a:pt x="828" y="986"/>
                      </a:lnTo>
                      <a:lnTo>
                        <a:pt x="828" y="990"/>
                      </a:lnTo>
                      <a:lnTo>
                        <a:pt x="826" y="994"/>
                      </a:lnTo>
                      <a:lnTo>
                        <a:pt x="826" y="994"/>
                      </a:lnTo>
                      <a:lnTo>
                        <a:pt x="824" y="998"/>
                      </a:lnTo>
                      <a:lnTo>
                        <a:pt x="824" y="1000"/>
                      </a:lnTo>
                      <a:lnTo>
                        <a:pt x="828" y="1006"/>
                      </a:lnTo>
                      <a:lnTo>
                        <a:pt x="836" y="1010"/>
                      </a:lnTo>
                      <a:lnTo>
                        <a:pt x="846" y="1014"/>
                      </a:lnTo>
                      <a:lnTo>
                        <a:pt x="866" y="1020"/>
                      </a:lnTo>
                      <a:lnTo>
                        <a:pt x="872" y="1022"/>
                      </a:lnTo>
                      <a:lnTo>
                        <a:pt x="874" y="1024"/>
                      </a:lnTo>
                      <a:lnTo>
                        <a:pt x="874" y="1024"/>
                      </a:lnTo>
                      <a:lnTo>
                        <a:pt x="874" y="1024"/>
                      </a:lnTo>
                      <a:lnTo>
                        <a:pt x="868" y="1034"/>
                      </a:lnTo>
                      <a:lnTo>
                        <a:pt x="866" y="1040"/>
                      </a:lnTo>
                      <a:lnTo>
                        <a:pt x="868" y="1044"/>
                      </a:lnTo>
                      <a:lnTo>
                        <a:pt x="874" y="1050"/>
                      </a:lnTo>
                      <a:lnTo>
                        <a:pt x="874" y="1050"/>
                      </a:lnTo>
                      <a:lnTo>
                        <a:pt x="874" y="1052"/>
                      </a:lnTo>
                      <a:lnTo>
                        <a:pt x="872" y="1054"/>
                      </a:lnTo>
                      <a:lnTo>
                        <a:pt x="862" y="1052"/>
                      </a:lnTo>
                      <a:lnTo>
                        <a:pt x="848" y="1048"/>
                      </a:lnTo>
                      <a:lnTo>
                        <a:pt x="832" y="1040"/>
                      </a:lnTo>
                      <a:lnTo>
                        <a:pt x="832" y="1040"/>
                      </a:lnTo>
                      <a:lnTo>
                        <a:pt x="822" y="1036"/>
                      </a:lnTo>
                      <a:lnTo>
                        <a:pt x="810" y="1032"/>
                      </a:lnTo>
                      <a:lnTo>
                        <a:pt x="784" y="1028"/>
                      </a:lnTo>
                      <a:lnTo>
                        <a:pt x="758" y="1028"/>
                      </a:lnTo>
                      <a:lnTo>
                        <a:pt x="748" y="1030"/>
                      </a:lnTo>
                      <a:lnTo>
                        <a:pt x="742" y="1032"/>
                      </a:lnTo>
                      <a:lnTo>
                        <a:pt x="742" y="1032"/>
                      </a:lnTo>
                      <a:lnTo>
                        <a:pt x="738" y="1036"/>
                      </a:lnTo>
                      <a:lnTo>
                        <a:pt x="740" y="1042"/>
                      </a:lnTo>
                      <a:lnTo>
                        <a:pt x="744" y="1046"/>
                      </a:lnTo>
                      <a:lnTo>
                        <a:pt x="750" y="1050"/>
                      </a:lnTo>
                      <a:lnTo>
                        <a:pt x="764" y="1056"/>
                      </a:lnTo>
                      <a:lnTo>
                        <a:pt x="782" y="1060"/>
                      </a:lnTo>
                      <a:lnTo>
                        <a:pt x="782" y="1060"/>
                      </a:lnTo>
                      <a:lnTo>
                        <a:pt x="796" y="1060"/>
                      </a:lnTo>
                      <a:lnTo>
                        <a:pt x="804" y="1064"/>
                      </a:lnTo>
                      <a:lnTo>
                        <a:pt x="810" y="1068"/>
                      </a:lnTo>
                      <a:lnTo>
                        <a:pt x="816" y="1072"/>
                      </a:lnTo>
                      <a:lnTo>
                        <a:pt x="820" y="1078"/>
                      </a:lnTo>
                      <a:lnTo>
                        <a:pt x="824" y="1082"/>
                      </a:lnTo>
                      <a:lnTo>
                        <a:pt x="832" y="1086"/>
                      </a:lnTo>
                      <a:lnTo>
                        <a:pt x="844" y="1088"/>
                      </a:lnTo>
                      <a:lnTo>
                        <a:pt x="844" y="1088"/>
                      </a:lnTo>
                      <a:lnTo>
                        <a:pt x="856" y="1090"/>
                      </a:lnTo>
                      <a:lnTo>
                        <a:pt x="864" y="1092"/>
                      </a:lnTo>
                      <a:lnTo>
                        <a:pt x="868" y="1096"/>
                      </a:lnTo>
                      <a:lnTo>
                        <a:pt x="870" y="1098"/>
                      </a:lnTo>
                      <a:lnTo>
                        <a:pt x="866" y="1108"/>
                      </a:lnTo>
                      <a:lnTo>
                        <a:pt x="866" y="1112"/>
                      </a:lnTo>
                      <a:lnTo>
                        <a:pt x="868" y="1118"/>
                      </a:lnTo>
                      <a:lnTo>
                        <a:pt x="868" y="1118"/>
                      </a:lnTo>
                      <a:lnTo>
                        <a:pt x="872" y="1122"/>
                      </a:lnTo>
                      <a:lnTo>
                        <a:pt x="876" y="1120"/>
                      </a:lnTo>
                      <a:lnTo>
                        <a:pt x="880" y="1118"/>
                      </a:lnTo>
                      <a:lnTo>
                        <a:pt x="882" y="1114"/>
                      </a:lnTo>
                      <a:lnTo>
                        <a:pt x="888" y="1106"/>
                      </a:lnTo>
                      <a:lnTo>
                        <a:pt x="888" y="1106"/>
                      </a:lnTo>
                      <a:lnTo>
                        <a:pt x="890" y="1110"/>
                      </a:lnTo>
                      <a:lnTo>
                        <a:pt x="890" y="1110"/>
                      </a:lnTo>
                      <a:lnTo>
                        <a:pt x="888" y="1116"/>
                      </a:lnTo>
                      <a:lnTo>
                        <a:pt x="888" y="1122"/>
                      </a:lnTo>
                      <a:lnTo>
                        <a:pt x="882" y="1134"/>
                      </a:lnTo>
                      <a:lnTo>
                        <a:pt x="876" y="1148"/>
                      </a:lnTo>
                      <a:lnTo>
                        <a:pt x="872" y="1164"/>
                      </a:lnTo>
                      <a:lnTo>
                        <a:pt x="872" y="1164"/>
                      </a:lnTo>
                      <a:lnTo>
                        <a:pt x="870" y="1170"/>
                      </a:lnTo>
                      <a:lnTo>
                        <a:pt x="872" y="1176"/>
                      </a:lnTo>
                      <a:lnTo>
                        <a:pt x="876" y="1182"/>
                      </a:lnTo>
                      <a:lnTo>
                        <a:pt x="876" y="1184"/>
                      </a:lnTo>
                      <a:lnTo>
                        <a:pt x="876" y="1186"/>
                      </a:lnTo>
                      <a:lnTo>
                        <a:pt x="866" y="1192"/>
                      </a:lnTo>
                      <a:lnTo>
                        <a:pt x="866" y="1192"/>
                      </a:lnTo>
                      <a:lnTo>
                        <a:pt x="858" y="1194"/>
                      </a:lnTo>
                      <a:lnTo>
                        <a:pt x="850" y="1196"/>
                      </a:lnTo>
                      <a:lnTo>
                        <a:pt x="838" y="1192"/>
                      </a:lnTo>
                      <a:lnTo>
                        <a:pt x="828" y="1190"/>
                      </a:lnTo>
                      <a:lnTo>
                        <a:pt x="822" y="1190"/>
                      </a:lnTo>
                      <a:lnTo>
                        <a:pt x="818" y="1194"/>
                      </a:lnTo>
                      <a:lnTo>
                        <a:pt x="818" y="1194"/>
                      </a:lnTo>
                      <a:lnTo>
                        <a:pt x="812" y="1196"/>
                      </a:lnTo>
                      <a:lnTo>
                        <a:pt x="806" y="1198"/>
                      </a:lnTo>
                      <a:lnTo>
                        <a:pt x="796" y="1202"/>
                      </a:lnTo>
                      <a:lnTo>
                        <a:pt x="788" y="1204"/>
                      </a:lnTo>
                      <a:lnTo>
                        <a:pt x="786" y="1206"/>
                      </a:lnTo>
                      <a:lnTo>
                        <a:pt x="788" y="1210"/>
                      </a:lnTo>
                      <a:lnTo>
                        <a:pt x="788" y="1210"/>
                      </a:lnTo>
                      <a:lnTo>
                        <a:pt x="788" y="1212"/>
                      </a:lnTo>
                      <a:lnTo>
                        <a:pt x="788" y="1214"/>
                      </a:lnTo>
                      <a:lnTo>
                        <a:pt x="784" y="1214"/>
                      </a:lnTo>
                      <a:lnTo>
                        <a:pt x="784" y="1216"/>
                      </a:lnTo>
                      <a:lnTo>
                        <a:pt x="784" y="1216"/>
                      </a:lnTo>
                      <a:lnTo>
                        <a:pt x="790" y="1222"/>
                      </a:lnTo>
                      <a:lnTo>
                        <a:pt x="790" y="1222"/>
                      </a:lnTo>
                      <a:lnTo>
                        <a:pt x="794" y="1226"/>
                      </a:lnTo>
                      <a:lnTo>
                        <a:pt x="794" y="1228"/>
                      </a:lnTo>
                      <a:lnTo>
                        <a:pt x="792" y="1232"/>
                      </a:lnTo>
                      <a:lnTo>
                        <a:pt x="788" y="1234"/>
                      </a:lnTo>
                      <a:lnTo>
                        <a:pt x="778" y="1240"/>
                      </a:lnTo>
                      <a:lnTo>
                        <a:pt x="774" y="1242"/>
                      </a:lnTo>
                      <a:lnTo>
                        <a:pt x="774" y="1246"/>
                      </a:lnTo>
                      <a:lnTo>
                        <a:pt x="774" y="1246"/>
                      </a:lnTo>
                      <a:lnTo>
                        <a:pt x="774" y="1252"/>
                      </a:lnTo>
                      <a:lnTo>
                        <a:pt x="772" y="1260"/>
                      </a:lnTo>
                      <a:lnTo>
                        <a:pt x="762" y="1284"/>
                      </a:lnTo>
                      <a:lnTo>
                        <a:pt x="762" y="1284"/>
                      </a:lnTo>
                      <a:lnTo>
                        <a:pt x="762" y="1292"/>
                      </a:lnTo>
                      <a:lnTo>
                        <a:pt x="762" y="1296"/>
                      </a:lnTo>
                      <a:lnTo>
                        <a:pt x="766" y="1300"/>
                      </a:lnTo>
                      <a:lnTo>
                        <a:pt x="772" y="1302"/>
                      </a:lnTo>
                      <a:lnTo>
                        <a:pt x="788" y="1306"/>
                      </a:lnTo>
                      <a:lnTo>
                        <a:pt x="810" y="1306"/>
                      </a:lnTo>
                      <a:lnTo>
                        <a:pt x="810" y="1306"/>
                      </a:lnTo>
                      <a:lnTo>
                        <a:pt x="800" y="1312"/>
                      </a:lnTo>
                      <a:lnTo>
                        <a:pt x="790" y="1320"/>
                      </a:lnTo>
                      <a:lnTo>
                        <a:pt x="782" y="1328"/>
                      </a:lnTo>
                      <a:lnTo>
                        <a:pt x="776" y="1338"/>
                      </a:lnTo>
                      <a:lnTo>
                        <a:pt x="772" y="1346"/>
                      </a:lnTo>
                      <a:lnTo>
                        <a:pt x="772" y="1354"/>
                      </a:lnTo>
                      <a:lnTo>
                        <a:pt x="774" y="1362"/>
                      </a:lnTo>
                      <a:lnTo>
                        <a:pt x="780" y="1368"/>
                      </a:lnTo>
                      <a:lnTo>
                        <a:pt x="780" y="1368"/>
                      </a:lnTo>
                      <a:lnTo>
                        <a:pt x="786" y="1374"/>
                      </a:lnTo>
                      <a:lnTo>
                        <a:pt x="790" y="1378"/>
                      </a:lnTo>
                      <a:lnTo>
                        <a:pt x="792" y="1384"/>
                      </a:lnTo>
                      <a:lnTo>
                        <a:pt x="792" y="1390"/>
                      </a:lnTo>
                      <a:lnTo>
                        <a:pt x="792" y="1392"/>
                      </a:lnTo>
                      <a:lnTo>
                        <a:pt x="796" y="1392"/>
                      </a:lnTo>
                      <a:lnTo>
                        <a:pt x="796" y="1392"/>
                      </a:lnTo>
                      <a:lnTo>
                        <a:pt x="806" y="1394"/>
                      </a:lnTo>
                      <a:lnTo>
                        <a:pt x="812" y="1400"/>
                      </a:lnTo>
                      <a:lnTo>
                        <a:pt x="818" y="1406"/>
                      </a:lnTo>
                      <a:lnTo>
                        <a:pt x="818" y="1410"/>
                      </a:lnTo>
                      <a:lnTo>
                        <a:pt x="818" y="1414"/>
                      </a:lnTo>
                      <a:lnTo>
                        <a:pt x="818" y="1414"/>
                      </a:lnTo>
                      <a:lnTo>
                        <a:pt x="818" y="1420"/>
                      </a:lnTo>
                      <a:lnTo>
                        <a:pt x="818" y="1422"/>
                      </a:lnTo>
                      <a:lnTo>
                        <a:pt x="824" y="1426"/>
                      </a:lnTo>
                      <a:lnTo>
                        <a:pt x="828" y="1430"/>
                      </a:lnTo>
                      <a:lnTo>
                        <a:pt x="830" y="1434"/>
                      </a:lnTo>
                      <a:lnTo>
                        <a:pt x="830" y="1440"/>
                      </a:lnTo>
                      <a:lnTo>
                        <a:pt x="830" y="1440"/>
                      </a:lnTo>
                      <a:lnTo>
                        <a:pt x="830" y="1450"/>
                      </a:lnTo>
                      <a:lnTo>
                        <a:pt x="834" y="1452"/>
                      </a:lnTo>
                      <a:lnTo>
                        <a:pt x="836" y="1454"/>
                      </a:lnTo>
                      <a:lnTo>
                        <a:pt x="836" y="1462"/>
                      </a:lnTo>
                      <a:lnTo>
                        <a:pt x="836" y="1462"/>
                      </a:lnTo>
                      <a:lnTo>
                        <a:pt x="836" y="1476"/>
                      </a:lnTo>
                      <a:lnTo>
                        <a:pt x="836" y="1482"/>
                      </a:lnTo>
                      <a:lnTo>
                        <a:pt x="840" y="1488"/>
                      </a:lnTo>
                      <a:lnTo>
                        <a:pt x="842" y="1490"/>
                      </a:lnTo>
                      <a:lnTo>
                        <a:pt x="848" y="1488"/>
                      </a:lnTo>
                      <a:lnTo>
                        <a:pt x="852" y="1482"/>
                      </a:lnTo>
                      <a:lnTo>
                        <a:pt x="860" y="1470"/>
                      </a:lnTo>
                      <a:lnTo>
                        <a:pt x="860" y="1470"/>
                      </a:lnTo>
                      <a:lnTo>
                        <a:pt x="870" y="1454"/>
                      </a:lnTo>
                      <a:lnTo>
                        <a:pt x="872" y="1454"/>
                      </a:lnTo>
                      <a:lnTo>
                        <a:pt x="874" y="1456"/>
                      </a:lnTo>
                      <a:lnTo>
                        <a:pt x="876" y="1462"/>
                      </a:lnTo>
                      <a:lnTo>
                        <a:pt x="878" y="1462"/>
                      </a:lnTo>
                      <a:lnTo>
                        <a:pt x="882" y="1460"/>
                      </a:lnTo>
                      <a:lnTo>
                        <a:pt x="882" y="1460"/>
                      </a:lnTo>
                      <a:lnTo>
                        <a:pt x="888" y="1456"/>
                      </a:lnTo>
                      <a:lnTo>
                        <a:pt x="894" y="1454"/>
                      </a:lnTo>
                      <a:lnTo>
                        <a:pt x="900" y="1452"/>
                      </a:lnTo>
                      <a:lnTo>
                        <a:pt x="906" y="1454"/>
                      </a:lnTo>
                      <a:lnTo>
                        <a:pt x="912" y="1456"/>
                      </a:lnTo>
                      <a:lnTo>
                        <a:pt x="916" y="1458"/>
                      </a:lnTo>
                      <a:lnTo>
                        <a:pt x="918" y="1464"/>
                      </a:lnTo>
                      <a:lnTo>
                        <a:pt x="920" y="1470"/>
                      </a:lnTo>
                      <a:lnTo>
                        <a:pt x="920" y="1470"/>
                      </a:lnTo>
                      <a:lnTo>
                        <a:pt x="922" y="1474"/>
                      </a:lnTo>
                      <a:lnTo>
                        <a:pt x="920" y="1474"/>
                      </a:lnTo>
                      <a:lnTo>
                        <a:pt x="912" y="1470"/>
                      </a:lnTo>
                      <a:lnTo>
                        <a:pt x="902" y="1464"/>
                      </a:lnTo>
                      <a:lnTo>
                        <a:pt x="896" y="1462"/>
                      </a:lnTo>
                      <a:lnTo>
                        <a:pt x="890" y="1464"/>
                      </a:lnTo>
                      <a:lnTo>
                        <a:pt x="890" y="1464"/>
                      </a:lnTo>
                      <a:lnTo>
                        <a:pt x="888" y="1466"/>
                      </a:lnTo>
                      <a:lnTo>
                        <a:pt x="888" y="1468"/>
                      </a:lnTo>
                      <a:lnTo>
                        <a:pt x="894" y="1474"/>
                      </a:lnTo>
                      <a:lnTo>
                        <a:pt x="898" y="1474"/>
                      </a:lnTo>
                      <a:lnTo>
                        <a:pt x="898" y="1476"/>
                      </a:lnTo>
                      <a:lnTo>
                        <a:pt x="896" y="1478"/>
                      </a:lnTo>
                      <a:lnTo>
                        <a:pt x="890" y="1478"/>
                      </a:lnTo>
                      <a:lnTo>
                        <a:pt x="890" y="1478"/>
                      </a:lnTo>
                      <a:lnTo>
                        <a:pt x="884" y="1480"/>
                      </a:lnTo>
                      <a:lnTo>
                        <a:pt x="880" y="1480"/>
                      </a:lnTo>
                      <a:lnTo>
                        <a:pt x="880" y="1484"/>
                      </a:lnTo>
                      <a:lnTo>
                        <a:pt x="880" y="1486"/>
                      </a:lnTo>
                      <a:lnTo>
                        <a:pt x="880" y="1488"/>
                      </a:lnTo>
                      <a:lnTo>
                        <a:pt x="880" y="1490"/>
                      </a:lnTo>
                      <a:lnTo>
                        <a:pt x="876" y="1492"/>
                      </a:lnTo>
                      <a:lnTo>
                        <a:pt x="868" y="1492"/>
                      </a:lnTo>
                      <a:lnTo>
                        <a:pt x="868" y="1492"/>
                      </a:lnTo>
                      <a:lnTo>
                        <a:pt x="856" y="1494"/>
                      </a:lnTo>
                      <a:lnTo>
                        <a:pt x="856" y="1496"/>
                      </a:lnTo>
                      <a:lnTo>
                        <a:pt x="856" y="1496"/>
                      </a:lnTo>
                      <a:lnTo>
                        <a:pt x="860" y="1500"/>
                      </a:lnTo>
                      <a:lnTo>
                        <a:pt x="860" y="1502"/>
                      </a:lnTo>
                      <a:lnTo>
                        <a:pt x="858" y="1504"/>
                      </a:lnTo>
                      <a:lnTo>
                        <a:pt x="858" y="1504"/>
                      </a:lnTo>
                      <a:lnTo>
                        <a:pt x="854" y="1506"/>
                      </a:lnTo>
                      <a:lnTo>
                        <a:pt x="854" y="1506"/>
                      </a:lnTo>
                      <a:lnTo>
                        <a:pt x="856" y="1510"/>
                      </a:lnTo>
                      <a:lnTo>
                        <a:pt x="860" y="1514"/>
                      </a:lnTo>
                      <a:lnTo>
                        <a:pt x="862" y="1516"/>
                      </a:lnTo>
                      <a:lnTo>
                        <a:pt x="860" y="1518"/>
                      </a:lnTo>
                      <a:lnTo>
                        <a:pt x="860" y="1518"/>
                      </a:lnTo>
                      <a:lnTo>
                        <a:pt x="860" y="1522"/>
                      </a:lnTo>
                      <a:lnTo>
                        <a:pt x="860" y="1526"/>
                      </a:lnTo>
                      <a:lnTo>
                        <a:pt x="862" y="1534"/>
                      </a:lnTo>
                      <a:lnTo>
                        <a:pt x="874" y="1554"/>
                      </a:lnTo>
                      <a:lnTo>
                        <a:pt x="874" y="1554"/>
                      </a:lnTo>
                      <a:lnTo>
                        <a:pt x="878" y="1558"/>
                      </a:lnTo>
                      <a:lnTo>
                        <a:pt x="882" y="1560"/>
                      </a:lnTo>
                      <a:lnTo>
                        <a:pt x="890" y="1562"/>
                      </a:lnTo>
                      <a:lnTo>
                        <a:pt x="898" y="1562"/>
                      </a:lnTo>
                      <a:lnTo>
                        <a:pt x="898" y="1564"/>
                      </a:lnTo>
                      <a:lnTo>
                        <a:pt x="898" y="1568"/>
                      </a:lnTo>
                      <a:lnTo>
                        <a:pt x="898" y="1568"/>
                      </a:lnTo>
                      <a:lnTo>
                        <a:pt x="896" y="1572"/>
                      </a:lnTo>
                      <a:lnTo>
                        <a:pt x="898" y="1576"/>
                      </a:lnTo>
                      <a:lnTo>
                        <a:pt x="902" y="1582"/>
                      </a:lnTo>
                      <a:lnTo>
                        <a:pt x="906" y="1590"/>
                      </a:lnTo>
                      <a:lnTo>
                        <a:pt x="908" y="1594"/>
                      </a:lnTo>
                      <a:lnTo>
                        <a:pt x="908" y="1598"/>
                      </a:lnTo>
                      <a:lnTo>
                        <a:pt x="908" y="1598"/>
                      </a:lnTo>
                      <a:lnTo>
                        <a:pt x="908" y="1606"/>
                      </a:lnTo>
                      <a:lnTo>
                        <a:pt x="910" y="1610"/>
                      </a:lnTo>
                      <a:lnTo>
                        <a:pt x="914" y="1614"/>
                      </a:lnTo>
                      <a:lnTo>
                        <a:pt x="926" y="1618"/>
                      </a:lnTo>
                      <a:lnTo>
                        <a:pt x="926" y="1618"/>
                      </a:lnTo>
                      <a:lnTo>
                        <a:pt x="932" y="1622"/>
                      </a:lnTo>
                      <a:lnTo>
                        <a:pt x="934" y="1626"/>
                      </a:lnTo>
                      <a:lnTo>
                        <a:pt x="936" y="1630"/>
                      </a:lnTo>
                      <a:lnTo>
                        <a:pt x="934" y="1634"/>
                      </a:lnTo>
                      <a:lnTo>
                        <a:pt x="934" y="1640"/>
                      </a:lnTo>
                      <a:lnTo>
                        <a:pt x="934" y="1640"/>
                      </a:lnTo>
                      <a:lnTo>
                        <a:pt x="938" y="1640"/>
                      </a:lnTo>
                      <a:lnTo>
                        <a:pt x="938" y="1640"/>
                      </a:lnTo>
                      <a:lnTo>
                        <a:pt x="942" y="1640"/>
                      </a:lnTo>
                      <a:lnTo>
                        <a:pt x="944" y="1640"/>
                      </a:lnTo>
                      <a:lnTo>
                        <a:pt x="946" y="1648"/>
                      </a:lnTo>
                      <a:lnTo>
                        <a:pt x="946" y="1654"/>
                      </a:lnTo>
                      <a:lnTo>
                        <a:pt x="948" y="1656"/>
                      </a:lnTo>
                      <a:lnTo>
                        <a:pt x="950" y="1656"/>
                      </a:lnTo>
                      <a:lnTo>
                        <a:pt x="950" y="1656"/>
                      </a:lnTo>
                      <a:lnTo>
                        <a:pt x="956" y="1656"/>
                      </a:lnTo>
                      <a:lnTo>
                        <a:pt x="958" y="1656"/>
                      </a:lnTo>
                      <a:lnTo>
                        <a:pt x="958" y="1662"/>
                      </a:lnTo>
                      <a:lnTo>
                        <a:pt x="954" y="1672"/>
                      </a:lnTo>
                      <a:lnTo>
                        <a:pt x="954" y="1672"/>
                      </a:lnTo>
                      <a:lnTo>
                        <a:pt x="952" y="1676"/>
                      </a:lnTo>
                      <a:lnTo>
                        <a:pt x="956" y="1678"/>
                      </a:lnTo>
                      <a:lnTo>
                        <a:pt x="966" y="1678"/>
                      </a:lnTo>
                      <a:lnTo>
                        <a:pt x="978" y="1678"/>
                      </a:lnTo>
                      <a:lnTo>
                        <a:pt x="980" y="1680"/>
                      </a:lnTo>
                      <a:lnTo>
                        <a:pt x="980" y="1684"/>
                      </a:lnTo>
                      <a:lnTo>
                        <a:pt x="980" y="1684"/>
                      </a:lnTo>
                      <a:lnTo>
                        <a:pt x="978" y="1690"/>
                      </a:lnTo>
                      <a:lnTo>
                        <a:pt x="978" y="1692"/>
                      </a:lnTo>
                      <a:lnTo>
                        <a:pt x="980" y="1694"/>
                      </a:lnTo>
                      <a:lnTo>
                        <a:pt x="982" y="1694"/>
                      </a:lnTo>
                      <a:lnTo>
                        <a:pt x="990" y="1694"/>
                      </a:lnTo>
                      <a:lnTo>
                        <a:pt x="994" y="1696"/>
                      </a:lnTo>
                      <a:lnTo>
                        <a:pt x="996" y="1698"/>
                      </a:lnTo>
                      <a:lnTo>
                        <a:pt x="996" y="1698"/>
                      </a:lnTo>
                      <a:lnTo>
                        <a:pt x="998" y="1700"/>
                      </a:lnTo>
                      <a:lnTo>
                        <a:pt x="996" y="1702"/>
                      </a:lnTo>
                      <a:lnTo>
                        <a:pt x="994" y="1704"/>
                      </a:lnTo>
                      <a:lnTo>
                        <a:pt x="990" y="1706"/>
                      </a:lnTo>
                      <a:lnTo>
                        <a:pt x="990" y="1708"/>
                      </a:lnTo>
                      <a:lnTo>
                        <a:pt x="990" y="1712"/>
                      </a:lnTo>
                      <a:lnTo>
                        <a:pt x="990" y="1712"/>
                      </a:lnTo>
                      <a:lnTo>
                        <a:pt x="992" y="1722"/>
                      </a:lnTo>
                      <a:lnTo>
                        <a:pt x="996" y="1724"/>
                      </a:lnTo>
                      <a:lnTo>
                        <a:pt x="1000" y="1726"/>
                      </a:lnTo>
                      <a:lnTo>
                        <a:pt x="1004" y="1726"/>
                      </a:lnTo>
                      <a:lnTo>
                        <a:pt x="1010" y="1726"/>
                      </a:lnTo>
                      <a:lnTo>
                        <a:pt x="1016" y="1722"/>
                      </a:lnTo>
                      <a:lnTo>
                        <a:pt x="1024" y="1718"/>
                      </a:lnTo>
                      <a:lnTo>
                        <a:pt x="1024" y="1718"/>
                      </a:lnTo>
                      <a:lnTo>
                        <a:pt x="1032" y="1712"/>
                      </a:lnTo>
                      <a:lnTo>
                        <a:pt x="1038" y="1712"/>
                      </a:lnTo>
                      <a:lnTo>
                        <a:pt x="1040" y="1712"/>
                      </a:lnTo>
                      <a:lnTo>
                        <a:pt x="1044" y="1714"/>
                      </a:lnTo>
                      <a:lnTo>
                        <a:pt x="1048" y="1716"/>
                      </a:lnTo>
                      <a:lnTo>
                        <a:pt x="1050" y="1716"/>
                      </a:lnTo>
                      <a:lnTo>
                        <a:pt x="1054" y="1714"/>
                      </a:lnTo>
                      <a:lnTo>
                        <a:pt x="1054" y="1714"/>
                      </a:lnTo>
                      <a:lnTo>
                        <a:pt x="1064" y="1708"/>
                      </a:lnTo>
                      <a:lnTo>
                        <a:pt x="1072" y="1704"/>
                      </a:lnTo>
                      <a:lnTo>
                        <a:pt x="1080" y="1700"/>
                      </a:lnTo>
                      <a:lnTo>
                        <a:pt x="1080" y="1696"/>
                      </a:lnTo>
                      <a:lnTo>
                        <a:pt x="1080" y="1692"/>
                      </a:lnTo>
                      <a:lnTo>
                        <a:pt x="1080" y="1692"/>
                      </a:lnTo>
                      <a:lnTo>
                        <a:pt x="1080" y="1688"/>
                      </a:lnTo>
                      <a:lnTo>
                        <a:pt x="1082" y="1686"/>
                      </a:lnTo>
                      <a:lnTo>
                        <a:pt x="1084" y="1688"/>
                      </a:lnTo>
                      <a:lnTo>
                        <a:pt x="1086" y="1690"/>
                      </a:lnTo>
                      <a:lnTo>
                        <a:pt x="1088" y="1694"/>
                      </a:lnTo>
                      <a:lnTo>
                        <a:pt x="1090" y="1698"/>
                      </a:lnTo>
                      <a:lnTo>
                        <a:pt x="1090" y="1704"/>
                      </a:lnTo>
                      <a:lnTo>
                        <a:pt x="1086" y="1710"/>
                      </a:lnTo>
                      <a:lnTo>
                        <a:pt x="1086" y="1710"/>
                      </a:lnTo>
                      <a:lnTo>
                        <a:pt x="1078" y="1718"/>
                      </a:lnTo>
                      <a:lnTo>
                        <a:pt x="1076" y="1726"/>
                      </a:lnTo>
                      <a:lnTo>
                        <a:pt x="1076" y="1728"/>
                      </a:lnTo>
                      <a:lnTo>
                        <a:pt x="1078" y="1732"/>
                      </a:lnTo>
                      <a:lnTo>
                        <a:pt x="1090" y="1738"/>
                      </a:lnTo>
                      <a:lnTo>
                        <a:pt x="1090" y="1738"/>
                      </a:lnTo>
                      <a:lnTo>
                        <a:pt x="1098" y="1740"/>
                      </a:lnTo>
                      <a:lnTo>
                        <a:pt x="1106" y="1740"/>
                      </a:lnTo>
                      <a:lnTo>
                        <a:pt x="1120" y="1738"/>
                      </a:lnTo>
                      <a:lnTo>
                        <a:pt x="1124" y="1738"/>
                      </a:lnTo>
                      <a:lnTo>
                        <a:pt x="1126" y="1740"/>
                      </a:lnTo>
                      <a:lnTo>
                        <a:pt x="1126" y="1744"/>
                      </a:lnTo>
                      <a:lnTo>
                        <a:pt x="1120" y="1752"/>
                      </a:lnTo>
                      <a:lnTo>
                        <a:pt x="1120" y="1752"/>
                      </a:lnTo>
                      <a:lnTo>
                        <a:pt x="1116" y="1758"/>
                      </a:lnTo>
                      <a:lnTo>
                        <a:pt x="1116" y="1762"/>
                      </a:lnTo>
                      <a:lnTo>
                        <a:pt x="1118" y="1766"/>
                      </a:lnTo>
                      <a:lnTo>
                        <a:pt x="1122" y="1768"/>
                      </a:lnTo>
                      <a:lnTo>
                        <a:pt x="1126" y="1770"/>
                      </a:lnTo>
                      <a:lnTo>
                        <a:pt x="1132" y="1770"/>
                      </a:lnTo>
                      <a:lnTo>
                        <a:pt x="1136" y="1768"/>
                      </a:lnTo>
                      <a:lnTo>
                        <a:pt x="1140" y="1766"/>
                      </a:lnTo>
                      <a:lnTo>
                        <a:pt x="1140" y="1766"/>
                      </a:lnTo>
                      <a:lnTo>
                        <a:pt x="1150" y="1760"/>
                      </a:lnTo>
                      <a:lnTo>
                        <a:pt x="1154" y="1758"/>
                      </a:lnTo>
                      <a:lnTo>
                        <a:pt x="1156" y="1758"/>
                      </a:lnTo>
                      <a:lnTo>
                        <a:pt x="1162" y="1762"/>
                      </a:lnTo>
                      <a:lnTo>
                        <a:pt x="1170" y="1770"/>
                      </a:lnTo>
                      <a:lnTo>
                        <a:pt x="1170" y="1770"/>
                      </a:lnTo>
                      <a:lnTo>
                        <a:pt x="1182" y="1776"/>
                      </a:lnTo>
                      <a:lnTo>
                        <a:pt x="1186" y="1776"/>
                      </a:lnTo>
                      <a:lnTo>
                        <a:pt x="1190" y="1776"/>
                      </a:lnTo>
                      <a:lnTo>
                        <a:pt x="1194" y="1774"/>
                      </a:lnTo>
                      <a:lnTo>
                        <a:pt x="1196" y="1768"/>
                      </a:lnTo>
                      <a:lnTo>
                        <a:pt x="1198" y="1764"/>
                      </a:lnTo>
                      <a:lnTo>
                        <a:pt x="1200" y="1756"/>
                      </a:lnTo>
                      <a:lnTo>
                        <a:pt x="1200" y="1756"/>
                      </a:lnTo>
                      <a:lnTo>
                        <a:pt x="1200" y="1750"/>
                      </a:lnTo>
                      <a:lnTo>
                        <a:pt x="1198" y="1746"/>
                      </a:lnTo>
                      <a:lnTo>
                        <a:pt x="1194" y="1746"/>
                      </a:lnTo>
                      <a:lnTo>
                        <a:pt x="1192" y="1746"/>
                      </a:lnTo>
                      <a:lnTo>
                        <a:pt x="1186" y="1746"/>
                      </a:lnTo>
                      <a:lnTo>
                        <a:pt x="1186" y="1746"/>
                      </a:lnTo>
                      <a:lnTo>
                        <a:pt x="1186" y="1744"/>
                      </a:lnTo>
                      <a:lnTo>
                        <a:pt x="1186" y="1744"/>
                      </a:lnTo>
                      <a:lnTo>
                        <a:pt x="1190" y="1740"/>
                      </a:lnTo>
                      <a:lnTo>
                        <a:pt x="1194" y="1738"/>
                      </a:lnTo>
                      <a:lnTo>
                        <a:pt x="1204" y="1734"/>
                      </a:lnTo>
                      <a:lnTo>
                        <a:pt x="1208" y="1732"/>
                      </a:lnTo>
                      <a:lnTo>
                        <a:pt x="1210" y="1728"/>
                      </a:lnTo>
                      <a:lnTo>
                        <a:pt x="1212" y="1724"/>
                      </a:lnTo>
                      <a:lnTo>
                        <a:pt x="1212" y="1718"/>
                      </a:lnTo>
                      <a:lnTo>
                        <a:pt x="1212" y="1718"/>
                      </a:lnTo>
                      <a:lnTo>
                        <a:pt x="1210" y="1712"/>
                      </a:lnTo>
                      <a:lnTo>
                        <a:pt x="1214" y="1702"/>
                      </a:lnTo>
                      <a:lnTo>
                        <a:pt x="1224" y="1676"/>
                      </a:lnTo>
                      <a:lnTo>
                        <a:pt x="1234" y="1652"/>
                      </a:lnTo>
                      <a:lnTo>
                        <a:pt x="1236" y="1640"/>
                      </a:lnTo>
                      <a:lnTo>
                        <a:pt x="1236" y="1630"/>
                      </a:lnTo>
                      <a:lnTo>
                        <a:pt x="1236" y="1630"/>
                      </a:lnTo>
                      <a:lnTo>
                        <a:pt x="1234" y="1624"/>
                      </a:lnTo>
                      <a:lnTo>
                        <a:pt x="1232" y="1622"/>
                      </a:lnTo>
                      <a:lnTo>
                        <a:pt x="1230" y="1622"/>
                      </a:lnTo>
                      <a:lnTo>
                        <a:pt x="1228" y="1622"/>
                      </a:lnTo>
                      <a:lnTo>
                        <a:pt x="1226" y="1622"/>
                      </a:lnTo>
                      <a:lnTo>
                        <a:pt x="1222" y="1622"/>
                      </a:lnTo>
                      <a:lnTo>
                        <a:pt x="1220" y="1620"/>
                      </a:lnTo>
                      <a:lnTo>
                        <a:pt x="1214" y="1616"/>
                      </a:lnTo>
                      <a:lnTo>
                        <a:pt x="1214" y="1616"/>
                      </a:lnTo>
                      <a:lnTo>
                        <a:pt x="1212" y="1610"/>
                      </a:lnTo>
                      <a:lnTo>
                        <a:pt x="1212" y="1610"/>
                      </a:lnTo>
                      <a:lnTo>
                        <a:pt x="1222" y="1612"/>
                      </a:lnTo>
                      <a:lnTo>
                        <a:pt x="1232" y="1614"/>
                      </a:lnTo>
                      <a:lnTo>
                        <a:pt x="1236" y="1614"/>
                      </a:lnTo>
                      <a:lnTo>
                        <a:pt x="1236" y="1610"/>
                      </a:lnTo>
                      <a:lnTo>
                        <a:pt x="1236" y="1610"/>
                      </a:lnTo>
                      <a:lnTo>
                        <a:pt x="1234" y="1604"/>
                      </a:lnTo>
                      <a:lnTo>
                        <a:pt x="1232" y="1602"/>
                      </a:lnTo>
                      <a:lnTo>
                        <a:pt x="1226" y="1600"/>
                      </a:lnTo>
                      <a:lnTo>
                        <a:pt x="1220" y="1598"/>
                      </a:lnTo>
                      <a:lnTo>
                        <a:pt x="1220" y="1596"/>
                      </a:lnTo>
                      <a:lnTo>
                        <a:pt x="1222" y="1592"/>
                      </a:lnTo>
                      <a:lnTo>
                        <a:pt x="1222" y="1592"/>
                      </a:lnTo>
                      <a:lnTo>
                        <a:pt x="1226" y="1590"/>
                      </a:lnTo>
                      <a:lnTo>
                        <a:pt x="1230" y="1588"/>
                      </a:lnTo>
                      <a:lnTo>
                        <a:pt x="1244" y="1584"/>
                      </a:lnTo>
                      <a:lnTo>
                        <a:pt x="1250" y="1582"/>
                      </a:lnTo>
                      <a:lnTo>
                        <a:pt x="1256" y="1580"/>
                      </a:lnTo>
                      <a:lnTo>
                        <a:pt x="1260" y="1574"/>
                      </a:lnTo>
                      <a:lnTo>
                        <a:pt x="1262" y="1566"/>
                      </a:lnTo>
                      <a:lnTo>
                        <a:pt x="1262" y="1566"/>
                      </a:lnTo>
                      <a:lnTo>
                        <a:pt x="1264" y="1560"/>
                      </a:lnTo>
                      <a:lnTo>
                        <a:pt x="1266" y="1558"/>
                      </a:lnTo>
                      <a:lnTo>
                        <a:pt x="1268" y="1558"/>
                      </a:lnTo>
                      <a:lnTo>
                        <a:pt x="1272" y="1560"/>
                      </a:lnTo>
                      <a:lnTo>
                        <a:pt x="1278" y="1562"/>
                      </a:lnTo>
                      <a:lnTo>
                        <a:pt x="1280" y="1560"/>
                      </a:lnTo>
                      <a:lnTo>
                        <a:pt x="1280" y="1556"/>
                      </a:lnTo>
                      <a:lnTo>
                        <a:pt x="1280" y="1556"/>
                      </a:lnTo>
                      <a:lnTo>
                        <a:pt x="1282" y="1550"/>
                      </a:lnTo>
                      <a:lnTo>
                        <a:pt x="1284" y="1546"/>
                      </a:lnTo>
                      <a:lnTo>
                        <a:pt x="1294" y="1538"/>
                      </a:lnTo>
                      <a:lnTo>
                        <a:pt x="1300" y="1530"/>
                      </a:lnTo>
                      <a:lnTo>
                        <a:pt x="1302" y="1526"/>
                      </a:lnTo>
                      <a:lnTo>
                        <a:pt x="1302" y="1520"/>
                      </a:lnTo>
                      <a:lnTo>
                        <a:pt x="1302" y="1520"/>
                      </a:lnTo>
                      <a:lnTo>
                        <a:pt x="1300" y="1510"/>
                      </a:lnTo>
                      <a:lnTo>
                        <a:pt x="1300" y="1502"/>
                      </a:lnTo>
                      <a:lnTo>
                        <a:pt x="1300" y="1500"/>
                      </a:lnTo>
                      <a:lnTo>
                        <a:pt x="1298" y="1500"/>
                      </a:lnTo>
                      <a:lnTo>
                        <a:pt x="1286" y="1498"/>
                      </a:lnTo>
                      <a:lnTo>
                        <a:pt x="1286" y="1498"/>
                      </a:lnTo>
                      <a:lnTo>
                        <a:pt x="1278" y="1498"/>
                      </a:lnTo>
                      <a:lnTo>
                        <a:pt x="1270" y="1496"/>
                      </a:lnTo>
                      <a:lnTo>
                        <a:pt x="1266" y="1492"/>
                      </a:lnTo>
                      <a:lnTo>
                        <a:pt x="1262" y="1490"/>
                      </a:lnTo>
                      <a:lnTo>
                        <a:pt x="1260" y="1486"/>
                      </a:lnTo>
                      <a:lnTo>
                        <a:pt x="1262" y="1486"/>
                      </a:lnTo>
                      <a:lnTo>
                        <a:pt x="1264" y="1484"/>
                      </a:lnTo>
                      <a:lnTo>
                        <a:pt x="1270" y="1486"/>
                      </a:lnTo>
                      <a:lnTo>
                        <a:pt x="1270" y="1486"/>
                      </a:lnTo>
                      <a:lnTo>
                        <a:pt x="1276" y="1486"/>
                      </a:lnTo>
                      <a:lnTo>
                        <a:pt x="1280" y="1486"/>
                      </a:lnTo>
                      <a:lnTo>
                        <a:pt x="1288" y="1484"/>
                      </a:lnTo>
                      <a:lnTo>
                        <a:pt x="1294" y="1482"/>
                      </a:lnTo>
                      <a:lnTo>
                        <a:pt x="1300" y="1482"/>
                      </a:lnTo>
                      <a:lnTo>
                        <a:pt x="1300" y="1482"/>
                      </a:lnTo>
                      <a:lnTo>
                        <a:pt x="1308" y="1482"/>
                      </a:lnTo>
                      <a:lnTo>
                        <a:pt x="1308" y="1482"/>
                      </a:lnTo>
                      <a:lnTo>
                        <a:pt x="1308" y="1478"/>
                      </a:lnTo>
                      <a:lnTo>
                        <a:pt x="1302" y="1470"/>
                      </a:lnTo>
                      <a:lnTo>
                        <a:pt x="1290" y="1454"/>
                      </a:lnTo>
                      <a:lnTo>
                        <a:pt x="1290" y="1454"/>
                      </a:lnTo>
                      <a:lnTo>
                        <a:pt x="1282" y="1448"/>
                      </a:lnTo>
                      <a:lnTo>
                        <a:pt x="1280" y="1442"/>
                      </a:lnTo>
                      <a:lnTo>
                        <a:pt x="1280" y="1438"/>
                      </a:lnTo>
                      <a:lnTo>
                        <a:pt x="1284" y="1434"/>
                      </a:lnTo>
                      <a:lnTo>
                        <a:pt x="1288" y="1434"/>
                      </a:lnTo>
                      <a:lnTo>
                        <a:pt x="1296" y="1434"/>
                      </a:lnTo>
                      <a:lnTo>
                        <a:pt x="1310" y="1438"/>
                      </a:lnTo>
                      <a:lnTo>
                        <a:pt x="1310" y="1438"/>
                      </a:lnTo>
                      <a:lnTo>
                        <a:pt x="1316" y="1438"/>
                      </a:lnTo>
                      <a:lnTo>
                        <a:pt x="1320" y="1436"/>
                      </a:lnTo>
                      <a:lnTo>
                        <a:pt x="1324" y="1434"/>
                      </a:lnTo>
                      <a:lnTo>
                        <a:pt x="1326" y="1430"/>
                      </a:lnTo>
                      <a:lnTo>
                        <a:pt x="1332" y="1420"/>
                      </a:lnTo>
                      <a:lnTo>
                        <a:pt x="1334" y="1418"/>
                      </a:lnTo>
                      <a:lnTo>
                        <a:pt x="1338" y="1418"/>
                      </a:lnTo>
                      <a:lnTo>
                        <a:pt x="1338" y="1418"/>
                      </a:lnTo>
                      <a:lnTo>
                        <a:pt x="1344" y="1420"/>
                      </a:lnTo>
                      <a:lnTo>
                        <a:pt x="1346" y="1418"/>
                      </a:lnTo>
                      <a:lnTo>
                        <a:pt x="1344" y="1414"/>
                      </a:lnTo>
                      <a:lnTo>
                        <a:pt x="1334" y="1408"/>
                      </a:lnTo>
                      <a:lnTo>
                        <a:pt x="1334" y="1408"/>
                      </a:lnTo>
                      <a:lnTo>
                        <a:pt x="1326" y="1404"/>
                      </a:lnTo>
                      <a:lnTo>
                        <a:pt x="1324" y="1404"/>
                      </a:lnTo>
                      <a:lnTo>
                        <a:pt x="1326" y="1402"/>
                      </a:lnTo>
                      <a:lnTo>
                        <a:pt x="1330" y="1402"/>
                      </a:lnTo>
                      <a:lnTo>
                        <a:pt x="1338" y="1400"/>
                      </a:lnTo>
                      <a:lnTo>
                        <a:pt x="1338" y="1400"/>
                      </a:lnTo>
                      <a:lnTo>
                        <a:pt x="1344" y="1398"/>
                      </a:lnTo>
                      <a:lnTo>
                        <a:pt x="1352" y="1398"/>
                      </a:lnTo>
                      <a:lnTo>
                        <a:pt x="1360" y="1400"/>
                      </a:lnTo>
                      <a:lnTo>
                        <a:pt x="1370" y="1398"/>
                      </a:lnTo>
                      <a:lnTo>
                        <a:pt x="1370" y="1398"/>
                      </a:lnTo>
                      <a:lnTo>
                        <a:pt x="1380" y="1396"/>
                      </a:lnTo>
                      <a:lnTo>
                        <a:pt x="1388" y="1396"/>
                      </a:lnTo>
                      <a:lnTo>
                        <a:pt x="1394" y="1396"/>
                      </a:lnTo>
                      <a:lnTo>
                        <a:pt x="1398" y="1390"/>
                      </a:lnTo>
                      <a:lnTo>
                        <a:pt x="1398" y="1390"/>
                      </a:lnTo>
                      <a:lnTo>
                        <a:pt x="1400" y="1386"/>
                      </a:lnTo>
                      <a:lnTo>
                        <a:pt x="1398" y="1384"/>
                      </a:lnTo>
                      <a:lnTo>
                        <a:pt x="1396" y="1380"/>
                      </a:lnTo>
                      <a:lnTo>
                        <a:pt x="1402" y="1376"/>
                      </a:lnTo>
                      <a:lnTo>
                        <a:pt x="1402" y="1376"/>
                      </a:lnTo>
                      <a:lnTo>
                        <a:pt x="1404" y="1372"/>
                      </a:lnTo>
                      <a:lnTo>
                        <a:pt x="1404" y="1368"/>
                      </a:lnTo>
                      <a:lnTo>
                        <a:pt x="1404" y="1364"/>
                      </a:lnTo>
                      <a:lnTo>
                        <a:pt x="1410" y="1360"/>
                      </a:lnTo>
                      <a:lnTo>
                        <a:pt x="1410" y="1360"/>
                      </a:lnTo>
                      <a:lnTo>
                        <a:pt x="1414" y="1356"/>
                      </a:lnTo>
                      <a:lnTo>
                        <a:pt x="1416" y="1354"/>
                      </a:lnTo>
                      <a:lnTo>
                        <a:pt x="1414" y="1352"/>
                      </a:lnTo>
                      <a:lnTo>
                        <a:pt x="1412" y="1350"/>
                      </a:lnTo>
                      <a:lnTo>
                        <a:pt x="1406" y="1346"/>
                      </a:lnTo>
                      <a:lnTo>
                        <a:pt x="1406" y="1344"/>
                      </a:lnTo>
                      <a:lnTo>
                        <a:pt x="1406" y="1344"/>
                      </a:lnTo>
                      <a:lnTo>
                        <a:pt x="1406" y="1344"/>
                      </a:lnTo>
                      <a:lnTo>
                        <a:pt x="1410" y="1342"/>
                      </a:lnTo>
                      <a:lnTo>
                        <a:pt x="1414" y="1344"/>
                      </a:lnTo>
                      <a:lnTo>
                        <a:pt x="1420" y="1344"/>
                      </a:lnTo>
                      <a:lnTo>
                        <a:pt x="1430" y="1344"/>
                      </a:lnTo>
                      <a:lnTo>
                        <a:pt x="1430" y="1344"/>
                      </a:lnTo>
                      <a:lnTo>
                        <a:pt x="1436" y="1344"/>
                      </a:lnTo>
                      <a:lnTo>
                        <a:pt x="1434" y="1348"/>
                      </a:lnTo>
                      <a:lnTo>
                        <a:pt x="1428" y="1352"/>
                      </a:lnTo>
                      <a:lnTo>
                        <a:pt x="1424" y="1358"/>
                      </a:lnTo>
                      <a:lnTo>
                        <a:pt x="1424" y="1358"/>
                      </a:lnTo>
                      <a:lnTo>
                        <a:pt x="1422" y="1362"/>
                      </a:lnTo>
                      <a:lnTo>
                        <a:pt x="1418" y="1364"/>
                      </a:lnTo>
                      <a:lnTo>
                        <a:pt x="1414" y="1368"/>
                      </a:lnTo>
                      <a:lnTo>
                        <a:pt x="1412" y="1372"/>
                      </a:lnTo>
                      <a:lnTo>
                        <a:pt x="1412" y="1372"/>
                      </a:lnTo>
                      <a:lnTo>
                        <a:pt x="1410" y="1378"/>
                      </a:lnTo>
                      <a:lnTo>
                        <a:pt x="1408" y="1386"/>
                      </a:lnTo>
                      <a:lnTo>
                        <a:pt x="1406" y="1392"/>
                      </a:lnTo>
                      <a:lnTo>
                        <a:pt x="1406" y="1394"/>
                      </a:lnTo>
                      <a:lnTo>
                        <a:pt x="1408" y="1396"/>
                      </a:lnTo>
                      <a:lnTo>
                        <a:pt x="1408" y="1396"/>
                      </a:lnTo>
                      <a:lnTo>
                        <a:pt x="1414" y="1398"/>
                      </a:lnTo>
                      <a:lnTo>
                        <a:pt x="1420" y="1398"/>
                      </a:lnTo>
                      <a:lnTo>
                        <a:pt x="1426" y="1396"/>
                      </a:lnTo>
                      <a:lnTo>
                        <a:pt x="1432" y="1390"/>
                      </a:lnTo>
                      <a:lnTo>
                        <a:pt x="1432" y="1390"/>
                      </a:lnTo>
                      <a:lnTo>
                        <a:pt x="1440" y="1380"/>
                      </a:lnTo>
                      <a:lnTo>
                        <a:pt x="1444" y="1380"/>
                      </a:lnTo>
                      <a:lnTo>
                        <a:pt x="1448" y="1384"/>
                      </a:lnTo>
                      <a:lnTo>
                        <a:pt x="1448" y="1384"/>
                      </a:lnTo>
                      <a:lnTo>
                        <a:pt x="1452" y="1386"/>
                      </a:lnTo>
                      <a:lnTo>
                        <a:pt x="1454" y="1384"/>
                      </a:lnTo>
                      <a:lnTo>
                        <a:pt x="1454" y="1382"/>
                      </a:lnTo>
                      <a:lnTo>
                        <a:pt x="1452" y="1378"/>
                      </a:lnTo>
                      <a:lnTo>
                        <a:pt x="1452" y="1378"/>
                      </a:lnTo>
                      <a:lnTo>
                        <a:pt x="1452" y="1376"/>
                      </a:lnTo>
                      <a:lnTo>
                        <a:pt x="1452" y="1374"/>
                      </a:lnTo>
                      <a:lnTo>
                        <a:pt x="1456" y="1372"/>
                      </a:lnTo>
                      <a:lnTo>
                        <a:pt x="1462" y="1370"/>
                      </a:lnTo>
                      <a:lnTo>
                        <a:pt x="1466" y="1370"/>
                      </a:lnTo>
                      <a:lnTo>
                        <a:pt x="1468" y="1372"/>
                      </a:lnTo>
                      <a:lnTo>
                        <a:pt x="1468" y="1372"/>
                      </a:lnTo>
                      <a:lnTo>
                        <a:pt x="1472" y="1372"/>
                      </a:lnTo>
                      <a:lnTo>
                        <a:pt x="1476" y="1372"/>
                      </a:lnTo>
                      <a:lnTo>
                        <a:pt x="1484" y="1370"/>
                      </a:lnTo>
                      <a:lnTo>
                        <a:pt x="1498" y="1362"/>
                      </a:lnTo>
                      <a:lnTo>
                        <a:pt x="1498" y="1362"/>
                      </a:lnTo>
                      <a:lnTo>
                        <a:pt x="1502" y="1360"/>
                      </a:lnTo>
                      <a:lnTo>
                        <a:pt x="1502" y="1354"/>
                      </a:lnTo>
                      <a:lnTo>
                        <a:pt x="1502" y="1350"/>
                      </a:lnTo>
                      <a:lnTo>
                        <a:pt x="1502" y="1350"/>
                      </a:lnTo>
                      <a:lnTo>
                        <a:pt x="1504" y="1350"/>
                      </a:lnTo>
                      <a:lnTo>
                        <a:pt x="1504" y="1350"/>
                      </a:lnTo>
                      <a:lnTo>
                        <a:pt x="1508" y="1350"/>
                      </a:lnTo>
                      <a:lnTo>
                        <a:pt x="1510" y="1352"/>
                      </a:lnTo>
                      <a:lnTo>
                        <a:pt x="1510" y="1354"/>
                      </a:lnTo>
                      <a:lnTo>
                        <a:pt x="1512" y="1354"/>
                      </a:lnTo>
                      <a:lnTo>
                        <a:pt x="1512" y="1354"/>
                      </a:lnTo>
                      <a:lnTo>
                        <a:pt x="1520" y="1350"/>
                      </a:lnTo>
                      <a:lnTo>
                        <a:pt x="1532" y="1344"/>
                      </a:lnTo>
                      <a:lnTo>
                        <a:pt x="1558" y="1324"/>
                      </a:lnTo>
                      <a:lnTo>
                        <a:pt x="1570" y="1314"/>
                      </a:lnTo>
                      <a:lnTo>
                        <a:pt x="1580" y="1302"/>
                      </a:lnTo>
                      <a:lnTo>
                        <a:pt x="1588" y="1290"/>
                      </a:lnTo>
                      <a:lnTo>
                        <a:pt x="1592" y="1280"/>
                      </a:lnTo>
                      <a:lnTo>
                        <a:pt x="1592" y="1280"/>
                      </a:lnTo>
                      <a:lnTo>
                        <a:pt x="1600" y="1264"/>
                      </a:lnTo>
                      <a:lnTo>
                        <a:pt x="1610" y="1250"/>
                      </a:lnTo>
                      <a:lnTo>
                        <a:pt x="1622" y="1242"/>
                      </a:lnTo>
                      <a:lnTo>
                        <a:pt x="1628" y="1238"/>
                      </a:lnTo>
                      <a:lnTo>
                        <a:pt x="1634" y="1238"/>
                      </a:lnTo>
                      <a:lnTo>
                        <a:pt x="1634" y="1238"/>
                      </a:lnTo>
                      <a:lnTo>
                        <a:pt x="1642" y="1236"/>
                      </a:lnTo>
                      <a:lnTo>
                        <a:pt x="1646" y="1234"/>
                      </a:lnTo>
                      <a:lnTo>
                        <a:pt x="1648" y="1232"/>
                      </a:lnTo>
                      <a:lnTo>
                        <a:pt x="1648" y="1228"/>
                      </a:lnTo>
                      <a:lnTo>
                        <a:pt x="1646" y="1222"/>
                      </a:lnTo>
                      <a:lnTo>
                        <a:pt x="1640" y="1214"/>
                      </a:lnTo>
                      <a:lnTo>
                        <a:pt x="1632" y="1204"/>
                      </a:lnTo>
                      <a:lnTo>
                        <a:pt x="1632" y="1204"/>
                      </a:lnTo>
                      <a:lnTo>
                        <a:pt x="1626" y="1198"/>
                      </a:lnTo>
                      <a:lnTo>
                        <a:pt x="1624" y="1194"/>
                      </a:lnTo>
                      <a:lnTo>
                        <a:pt x="1636" y="1200"/>
                      </a:lnTo>
                      <a:lnTo>
                        <a:pt x="1670" y="1222"/>
                      </a:lnTo>
                      <a:lnTo>
                        <a:pt x="1670" y="1222"/>
                      </a:lnTo>
                      <a:lnTo>
                        <a:pt x="1684" y="1226"/>
                      </a:lnTo>
                      <a:lnTo>
                        <a:pt x="1694" y="1228"/>
                      </a:lnTo>
                      <a:lnTo>
                        <a:pt x="1702" y="1228"/>
                      </a:lnTo>
                      <a:lnTo>
                        <a:pt x="1710" y="1226"/>
                      </a:lnTo>
                      <a:lnTo>
                        <a:pt x="1718" y="1224"/>
                      </a:lnTo>
                      <a:lnTo>
                        <a:pt x="1724" y="1218"/>
                      </a:lnTo>
                      <a:lnTo>
                        <a:pt x="1730" y="1212"/>
                      </a:lnTo>
                      <a:lnTo>
                        <a:pt x="1730" y="1212"/>
                      </a:lnTo>
                      <a:lnTo>
                        <a:pt x="1732" y="1206"/>
                      </a:lnTo>
                      <a:lnTo>
                        <a:pt x="1734" y="1204"/>
                      </a:lnTo>
                      <a:lnTo>
                        <a:pt x="1738" y="1204"/>
                      </a:lnTo>
                      <a:lnTo>
                        <a:pt x="1742" y="1206"/>
                      </a:lnTo>
                      <a:lnTo>
                        <a:pt x="1748" y="1208"/>
                      </a:lnTo>
                      <a:lnTo>
                        <a:pt x="1756" y="1208"/>
                      </a:lnTo>
                      <a:lnTo>
                        <a:pt x="1766" y="1208"/>
                      </a:lnTo>
                      <a:lnTo>
                        <a:pt x="1782" y="1202"/>
                      </a:lnTo>
                      <a:lnTo>
                        <a:pt x="1782" y="1202"/>
                      </a:lnTo>
                      <a:lnTo>
                        <a:pt x="1800" y="1196"/>
                      </a:lnTo>
                      <a:lnTo>
                        <a:pt x="1818" y="1190"/>
                      </a:lnTo>
                      <a:lnTo>
                        <a:pt x="1856" y="1184"/>
                      </a:lnTo>
                      <a:lnTo>
                        <a:pt x="1886" y="1178"/>
                      </a:lnTo>
                      <a:lnTo>
                        <a:pt x="1898" y="1172"/>
                      </a:lnTo>
                      <a:lnTo>
                        <a:pt x="1906" y="1166"/>
                      </a:lnTo>
                      <a:lnTo>
                        <a:pt x="1906" y="1166"/>
                      </a:lnTo>
                      <a:lnTo>
                        <a:pt x="1920" y="1154"/>
                      </a:lnTo>
                      <a:lnTo>
                        <a:pt x="1934" y="1142"/>
                      </a:lnTo>
                      <a:lnTo>
                        <a:pt x="1950" y="1132"/>
                      </a:lnTo>
                      <a:lnTo>
                        <a:pt x="1960" y="1128"/>
                      </a:lnTo>
                      <a:lnTo>
                        <a:pt x="1970" y="1128"/>
                      </a:lnTo>
                      <a:lnTo>
                        <a:pt x="1970" y="1128"/>
                      </a:lnTo>
                      <a:lnTo>
                        <a:pt x="1978" y="1126"/>
                      </a:lnTo>
                      <a:lnTo>
                        <a:pt x="1982" y="1122"/>
                      </a:lnTo>
                      <a:lnTo>
                        <a:pt x="1982" y="1120"/>
                      </a:lnTo>
                      <a:lnTo>
                        <a:pt x="1982" y="1116"/>
                      </a:lnTo>
                      <a:lnTo>
                        <a:pt x="1982" y="1112"/>
                      </a:lnTo>
                      <a:lnTo>
                        <a:pt x="1982" y="1108"/>
                      </a:lnTo>
                      <a:lnTo>
                        <a:pt x="1986" y="1106"/>
                      </a:lnTo>
                      <a:lnTo>
                        <a:pt x="1994" y="1106"/>
                      </a:lnTo>
                      <a:lnTo>
                        <a:pt x="1994" y="1106"/>
                      </a:lnTo>
                      <a:lnTo>
                        <a:pt x="2008" y="1104"/>
                      </a:lnTo>
                      <a:lnTo>
                        <a:pt x="2012" y="1102"/>
                      </a:lnTo>
                      <a:lnTo>
                        <a:pt x="2012" y="1102"/>
                      </a:lnTo>
                      <a:lnTo>
                        <a:pt x="2016" y="1096"/>
                      </a:lnTo>
                      <a:lnTo>
                        <a:pt x="2022" y="1092"/>
                      </a:lnTo>
                      <a:lnTo>
                        <a:pt x="2030" y="1088"/>
                      </a:lnTo>
                      <a:lnTo>
                        <a:pt x="2030" y="1088"/>
                      </a:lnTo>
                      <a:lnTo>
                        <a:pt x="2046" y="1080"/>
                      </a:lnTo>
                      <a:lnTo>
                        <a:pt x="2046" y="1078"/>
                      </a:lnTo>
                      <a:lnTo>
                        <a:pt x="2044" y="1076"/>
                      </a:lnTo>
                      <a:lnTo>
                        <a:pt x="2028" y="1076"/>
                      </a:lnTo>
                      <a:lnTo>
                        <a:pt x="2000" y="1080"/>
                      </a:lnTo>
                      <a:lnTo>
                        <a:pt x="2000" y="1080"/>
                      </a:lnTo>
                      <a:lnTo>
                        <a:pt x="1984" y="1080"/>
                      </a:lnTo>
                      <a:lnTo>
                        <a:pt x="1970" y="1076"/>
                      </a:lnTo>
                      <a:lnTo>
                        <a:pt x="1956" y="1070"/>
                      </a:lnTo>
                      <a:lnTo>
                        <a:pt x="1944" y="1064"/>
                      </a:lnTo>
                      <a:lnTo>
                        <a:pt x="1932" y="1058"/>
                      </a:lnTo>
                      <a:lnTo>
                        <a:pt x="1920" y="1056"/>
                      </a:lnTo>
                      <a:lnTo>
                        <a:pt x="1914" y="1056"/>
                      </a:lnTo>
                      <a:lnTo>
                        <a:pt x="1906" y="1058"/>
                      </a:lnTo>
                      <a:lnTo>
                        <a:pt x="1900" y="1060"/>
                      </a:lnTo>
                      <a:lnTo>
                        <a:pt x="1892" y="1064"/>
                      </a:lnTo>
                      <a:lnTo>
                        <a:pt x="1892" y="1064"/>
                      </a:lnTo>
                      <a:lnTo>
                        <a:pt x="1884" y="1068"/>
                      </a:lnTo>
                      <a:lnTo>
                        <a:pt x="1878" y="1070"/>
                      </a:lnTo>
                      <a:lnTo>
                        <a:pt x="1866" y="1070"/>
                      </a:lnTo>
                      <a:lnTo>
                        <a:pt x="1860" y="1070"/>
                      </a:lnTo>
                      <a:lnTo>
                        <a:pt x="1854" y="1072"/>
                      </a:lnTo>
                      <a:lnTo>
                        <a:pt x="1846" y="1076"/>
                      </a:lnTo>
                      <a:lnTo>
                        <a:pt x="1838" y="1082"/>
                      </a:lnTo>
                      <a:lnTo>
                        <a:pt x="1838" y="1082"/>
                      </a:lnTo>
                      <a:lnTo>
                        <a:pt x="1834" y="1086"/>
                      </a:lnTo>
                      <a:lnTo>
                        <a:pt x="1828" y="1090"/>
                      </a:lnTo>
                      <a:lnTo>
                        <a:pt x="1824" y="1090"/>
                      </a:lnTo>
                      <a:lnTo>
                        <a:pt x="1820" y="1090"/>
                      </a:lnTo>
                      <a:lnTo>
                        <a:pt x="1818" y="1088"/>
                      </a:lnTo>
                      <a:lnTo>
                        <a:pt x="1820" y="1084"/>
                      </a:lnTo>
                      <a:lnTo>
                        <a:pt x="1824" y="1078"/>
                      </a:lnTo>
                      <a:lnTo>
                        <a:pt x="1832" y="1070"/>
                      </a:lnTo>
                      <a:lnTo>
                        <a:pt x="1832" y="1070"/>
                      </a:lnTo>
                      <a:lnTo>
                        <a:pt x="1840" y="1064"/>
                      </a:lnTo>
                      <a:lnTo>
                        <a:pt x="1848" y="1062"/>
                      </a:lnTo>
                      <a:lnTo>
                        <a:pt x="1852" y="1062"/>
                      </a:lnTo>
                      <a:lnTo>
                        <a:pt x="1856" y="1062"/>
                      </a:lnTo>
                      <a:lnTo>
                        <a:pt x="1864" y="1064"/>
                      </a:lnTo>
                      <a:lnTo>
                        <a:pt x="1866" y="1064"/>
                      </a:lnTo>
                      <a:lnTo>
                        <a:pt x="1870" y="1062"/>
                      </a:lnTo>
                      <a:lnTo>
                        <a:pt x="1870" y="1062"/>
                      </a:lnTo>
                      <a:lnTo>
                        <a:pt x="1876" y="1058"/>
                      </a:lnTo>
                      <a:lnTo>
                        <a:pt x="1878" y="1056"/>
                      </a:lnTo>
                      <a:lnTo>
                        <a:pt x="1878" y="1054"/>
                      </a:lnTo>
                      <a:lnTo>
                        <a:pt x="1874" y="1052"/>
                      </a:lnTo>
                      <a:lnTo>
                        <a:pt x="1868" y="1052"/>
                      </a:lnTo>
                      <a:lnTo>
                        <a:pt x="1844" y="1054"/>
                      </a:lnTo>
                      <a:lnTo>
                        <a:pt x="1844" y="1054"/>
                      </a:lnTo>
                      <a:lnTo>
                        <a:pt x="1816" y="1058"/>
                      </a:lnTo>
                      <a:lnTo>
                        <a:pt x="1800" y="1058"/>
                      </a:lnTo>
                      <a:lnTo>
                        <a:pt x="1798" y="1056"/>
                      </a:lnTo>
                      <a:lnTo>
                        <a:pt x="1796" y="1052"/>
                      </a:lnTo>
                      <a:lnTo>
                        <a:pt x="1798" y="1046"/>
                      </a:lnTo>
                      <a:lnTo>
                        <a:pt x="1804" y="1038"/>
                      </a:lnTo>
                      <a:lnTo>
                        <a:pt x="1804" y="1038"/>
                      </a:lnTo>
                      <a:lnTo>
                        <a:pt x="1814" y="1022"/>
                      </a:lnTo>
                      <a:lnTo>
                        <a:pt x="1818" y="1014"/>
                      </a:lnTo>
                      <a:lnTo>
                        <a:pt x="1820" y="1012"/>
                      </a:lnTo>
                      <a:lnTo>
                        <a:pt x="1822" y="1010"/>
                      </a:lnTo>
                      <a:lnTo>
                        <a:pt x="1828" y="1016"/>
                      </a:lnTo>
                      <a:lnTo>
                        <a:pt x="1828" y="1016"/>
                      </a:lnTo>
                      <a:lnTo>
                        <a:pt x="1836" y="1022"/>
                      </a:lnTo>
                      <a:lnTo>
                        <a:pt x="1840" y="1022"/>
                      </a:lnTo>
                      <a:lnTo>
                        <a:pt x="1844" y="1022"/>
                      </a:lnTo>
                      <a:lnTo>
                        <a:pt x="1882" y="1010"/>
                      </a:lnTo>
                      <a:lnTo>
                        <a:pt x="1882" y="1010"/>
                      </a:lnTo>
                      <a:lnTo>
                        <a:pt x="1896" y="1006"/>
                      </a:lnTo>
                      <a:lnTo>
                        <a:pt x="1904" y="1000"/>
                      </a:lnTo>
                      <a:lnTo>
                        <a:pt x="1908" y="996"/>
                      </a:lnTo>
                      <a:lnTo>
                        <a:pt x="1910" y="992"/>
                      </a:lnTo>
                      <a:lnTo>
                        <a:pt x="1906" y="986"/>
                      </a:lnTo>
                      <a:lnTo>
                        <a:pt x="1898" y="984"/>
                      </a:lnTo>
                      <a:lnTo>
                        <a:pt x="1888" y="980"/>
                      </a:lnTo>
                      <a:lnTo>
                        <a:pt x="1874" y="978"/>
                      </a:lnTo>
                      <a:lnTo>
                        <a:pt x="1874" y="978"/>
                      </a:lnTo>
                      <a:lnTo>
                        <a:pt x="1850" y="974"/>
                      </a:lnTo>
                      <a:lnTo>
                        <a:pt x="1844" y="972"/>
                      </a:lnTo>
                      <a:lnTo>
                        <a:pt x="1842" y="970"/>
                      </a:lnTo>
                      <a:lnTo>
                        <a:pt x="1844" y="968"/>
                      </a:lnTo>
                      <a:lnTo>
                        <a:pt x="1850" y="966"/>
                      </a:lnTo>
                      <a:lnTo>
                        <a:pt x="1870" y="966"/>
                      </a:lnTo>
                      <a:lnTo>
                        <a:pt x="1870" y="966"/>
                      </a:lnTo>
                      <a:lnTo>
                        <a:pt x="1892" y="970"/>
                      </a:lnTo>
                      <a:lnTo>
                        <a:pt x="1906" y="976"/>
                      </a:lnTo>
                      <a:lnTo>
                        <a:pt x="1918" y="980"/>
                      </a:lnTo>
                      <a:lnTo>
                        <a:pt x="1932" y="986"/>
                      </a:lnTo>
                      <a:lnTo>
                        <a:pt x="1932" y="986"/>
                      </a:lnTo>
                      <a:lnTo>
                        <a:pt x="1946" y="992"/>
                      </a:lnTo>
                      <a:lnTo>
                        <a:pt x="1954" y="998"/>
                      </a:lnTo>
                      <a:lnTo>
                        <a:pt x="1958" y="1008"/>
                      </a:lnTo>
                      <a:lnTo>
                        <a:pt x="1960" y="1022"/>
                      </a:lnTo>
                      <a:lnTo>
                        <a:pt x="1960" y="1022"/>
                      </a:lnTo>
                      <a:lnTo>
                        <a:pt x="1964" y="1030"/>
                      </a:lnTo>
                      <a:lnTo>
                        <a:pt x="1970" y="1038"/>
                      </a:lnTo>
                      <a:lnTo>
                        <a:pt x="1978" y="1044"/>
                      </a:lnTo>
                      <a:lnTo>
                        <a:pt x="1988" y="1050"/>
                      </a:lnTo>
                      <a:lnTo>
                        <a:pt x="1998" y="1052"/>
                      </a:lnTo>
                      <a:lnTo>
                        <a:pt x="2008" y="1054"/>
                      </a:lnTo>
                      <a:lnTo>
                        <a:pt x="2016" y="1054"/>
                      </a:lnTo>
                      <a:lnTo>
                        <a:pt x="2022" y="1052"/>
                      </a:lnTo>
                      <a:lnTo>
                        <a:pt x="2022" y="1052"/>
                      </a:lnTo>
                      <a:lnTo>
                        <a:pt x="2030" y="1048"/>
                      </a:lnTo>
                      <a:lnTo>
                        <a:pt x="2036" y="1050"/>
                      </a:lnTo>
                      <a:lnTo>
                        <a:pt x="2046" y="1052"/>
                      </a:lnTo>
                      <a:lnTo>
                        <a:pt x="2060" y="1056"/>
                      </a:lnTo>
                      <a:lnTo>
                        <a:pt x="2060" y="1056"/>
                      </a:lnTo>
                      <a:lnTo>
                        <a:pt x="2068" y="1054"/>
                      </a:lnTo>
                      <a:lnTo>
                        <a:pt x="2070" y="1050"/>
                      </a:lnTo>
                      <a:lnTo>
                        <a:pt x="2072" y="1042"/>
                      </a:lnTo>
                      <a:lnTo>
                        <a:pt x="2070" y="1032"/>
                      </a:lnTo>
                      <a:lnTo>
                        <a:pt x="2066" y="1008"/>
                      </a:lnTo>
                      <a:lnTo>
                        <a:pt x="2064" y="996"/>
                      </a:lnTo>
                      <a:lnTo>
                        <a:pt x="2064" y="984"/>
                      </a:lnTo>
                      <a:lnTo>
                        <a:pt x="2064" y="984"/>
                      </a:lnTo>
                      <a:lnTo>
                        <a:pt x="2062" y="976"/>
                      </a:lnTo>
                      <a:lnTo>
                        <a:pt x="2062" y="974"/>
                      </a:lnTo>
                      <a:lnTo>
                        <a:pt x="2060" y="974"/>
                      </a:lnTo>
                      <a:lnTo>
                        <a:pt x="2056" y="976"/>
                      </a:lnTo>
                      <a:lnTo>
                        <a:pt x="2050" y="980"/>
                      </a:lnTo>
                      <a:lnTo>
                        <a:pt x="2044" y="986"/>
                      </a:lnTo>
                      <a:lnTo>
                        <a:pt x="2038" y="990"/>
                      </a:lnTo>
                      <a:lnTo>
                        <a:pt x="2032" y="990"/>
                      </a:lnTo>
                      <a:lnTo>
                        <a:pt x="2030" y="988"/>
                      </a:lnTo>
                      <a:lnTo>
                        <a:pt x="2030" y="986"/>
                      </a:lnTo>
                      <a:lnTo>
                        <a:pt x="2030" y="986"/>
                      </a:lnTo>
                      <a:lnTo>
                        <a:pt x="2028" y="976"/>
                      </a:lnTo>
                      <a:lnTo>
                        <a:pt x="2028" y="974"/>
                      </a:lnTo>
                      <a:lnTo>
                        <a:pt x="2032" y="974"/>
                      </a:lnTo>
                      <a:lnTo>
                        <a:pt x="2038" y="972"/>
                      </a:lnTo>
                      <a:lnTo>
                        <a:pt x="2044" y="968"/>
                      </a:lnTo>
                      <a:lnTo>
                        <a:pt x="2050" y="962"/>
                      </a:lnTo>
                      <a:lnTo>
                        <a:pt x="2050" y="962"/>
                      </a:lnTo>
                      <a:lnTo>
                        <a:pt x="2054" y="956"/>
                      </a:lnTo>
                      <a:lnTo>
                        <a:pt x="2054" y="956"/>
                      </a:lnTo>
                      <a:lnTo>
                        <a:pt x="2054" y="954"/>
                      </a:lnTo>
                      <a:lnTo>
                        <a:pt x="2044" y="958"/>
                      </a:lnTo>
                      <a:lnTo>
                        <a:pt x="2032" y="962"/>
                      </a:lnTo>
                      <a:lnTo>
                        <a:pt x="2030" y="960"/>
                      </a:lnTo>
                      <a:lnTo>
                        <a:pt x="2030" y="956"/>
                      </a:lnTo>
                      <a:lnTo>
                        <a:pt x="2030" y="956"/>
                      </a:lnTo>
                      <a:lnTo>
                        <a:pt x="2032" y="950"/>
                      </a:lnTo>
                      <a:lnTo>
                        <a:pt x="2030" y="944"/>
                      </a:lnTo>
                      <a:lnTo>
                        <a:pt x="2026" y="940"/>
                      </a:lnTo>
                      <a:lnTo>
                        <a:pt x="2020" y="938"/>
                      </a:lnTo>
                      <a:lnTo>
                        <a:pt x="2002" y="932"/>
                      </a:lnTo>
                      <a:lnTo>
                        <a:pt x="1980" y="926"/>
                      </a:lnTo>
                      <a:lnTo>
                        <a:pt x="1980" y="926"/>
                      </a:lnTo>
                      <a:lnTo>
                        <a:pt x="1960" y="918"/>
                      </a:lnTo>
                      <a:lnTo>
                        <a:pt x="1948" y="912"/>
                      </a:lnTo>
                      <a:lnTo>
                        <a:pt x="1944" y="908"/>
                      </a:lnTo>
                      <a:lnTo>
                        <a:pt x="1944" y="904"/>
                      </a:lnTo>
                      <a:lnTo>
                        <a:pt x="1944" y="900"/>
                      </a:lnTo>
                      <a:lnTo>
                        <a:pt x="1944" y="896"/>
                      </a:lnTo>
                      <a:lnTo>
                        <a:pt x="1942" y="892"/>
                      </a:lnTo>
                      <a:lnTo>
                        <a:pt x="1934" y="886"/>
                      </a:lnTo>
                      <a:lnTo>
                        <a:pt x="1934" y="886"/>
                      </a:lnTo>
                      <a:lnTo>
                        <a:pt x="1924" y="880"/>
                      </a:lnTo>
                      <a:lnTo>
                        <a:pt x="1922" y="874"/>
                      </a:lnTo>
                      <a:lnTo>
                        <a:pt x="1922" y="870"/>
                      </a:lnTo>
                      <a:lnTo>
                        <a:pt x="1924" y="866"/>
                      </a:lnTo>
                      <a:lnTo>
                        <a:pt x="1922" y="862"/>
                      </a:lnTo>
                      <a:lnTo>
                        <a:pt x="1916" y="858"/>
                      </a:lnTo>
                      <a:lnTo>
                        <a:pt x="1902" y="852"/>
                      </a:lnTo>
                      <a:lnTo>
                        <a:pt x="1878" y="846"/>
                      </a:lnTo>
                      <a:lnTo>
                        <a:pt x="1878" y="846"/>
                      </a:lnTo>
                      <a:lnTo>
                        <a:pt x="1888" y="846"/>
                      </a:lnTo>
                      <a:lnTo>
                        <a:pt x="1896" y="844"/>
                      </a:lnTo>
                      <a:lnTo>
                        <a:pt x="1904" y="842"/>
                      </a:lnTo>
                      <a:lnTo>
                        <a:pt x="1910" y="838"/>
                      </a:lnTo>
                      <a:lnTo>
                        <a:pt x="1926" y="828"/>
                      </a:lnTo>
                      <a:lnTo>
                        <a:pt x="1948" y="818"/>
                      </a:lnTo>
                      <a:lnTo>
                        <a:pt x="1948" y="818"/>
                      </a:lnTo>
                      <a:lnTo>
                        <a:pt x="1954" y="816"/>
                      </a:lnTo>
                      <a:lnTo>
                        <a:pt x="1960" y="816"/>
                      </a:lnTo>
                      <a:lnTo>
                        <a:pt x="1974" y="818"/>
                      </a:lnTo>
                      <a:lnTo>
                        <a:pt x="1988" y="824"/>
                      </a:lnTo>
                      <a:lnTo>
                        <a:pt x="2002" y="832"/>
                      </a:lnTo>
                      <a:lnTo>
                        <a:pt x="2016" y="838"/>
                      </a:lnTo>
                      <a:lnTo>
                        <a:pt x="2030" y="842"/>
                      </a:lnTo>
                      <a:lnTo>
                        <a:pt x="2038" y="844"/>
                      </a:lnTo>
                      <a:lnTo>
                        <a:pt x="2044" y="842"/>
                      </a:lnTo>
                      <a:lnTo>
                        <a:pt x="2052" y="840"/>
                      </a:lnTo>
                      <a:lnTo>
                        <a:pt x="2058" y="836"/>
                      </a:lnTo>
                      <a:lnTo>
                        <a:pt x="2058" y="836"/>
                      </a:lnTo>
                      <a:lnTo>
                        <a:pt x="2070" y="830"/>
                      </a:lnTo>
                      <a:lnTo>
                        <a:pt x="2078" y="826"/>
                      </a:lnTo>
                      <a:lnTo>
                        <a:pt x="2086" y="826"/>
                      </a:lnTo>
                      <a:lnTo>
                        <a:pt x="2092" y="828"/>
                      </a:lnTo>
                      <a:lnTo>
                        <a:pt x="2096" y="830"/>
                      </a:lnTo>
                      <a:lnTo>
                        <a:pt x="2100" y="830"/>
                      </a:lnTo>
                      <a:lnTo>
                        <a:pt x="2106" y="826"/>
                      </a:lnTo>
                      <a:lnTo>
                        <a:pt x="2112" y="818"/>
                      </a:lnTo>
                      <a:lnTo>
                        <a:pt x="2112" y="818"/>
                      </a:lnTo>
                      <a:lnTo>
                        <a:pt x="2118" y="810"/>
                      </a:lnTo>
                      <a:lnTo>
                        <a:pt x="2118" y="806"/>
                      </a:lnTo>
                      <a:lnTo>
                        <a:pt x="2116" y="802"/>
                      </a:lnTo>
                      <a:lnTo>
                        <a:pt x="2112" y="796"/>
                      </a:lnTo>
                      <a:lnTo>
                        <a:pt x="2104" y="792"/>
                      </a:lnTo>
                      <a:lnTo>
                        <a:pt x="2092" y="790"/>
                      </a:lnTo>
                      <a:lnTo>
                        <a:pt x="2080" y="788"/>
                      </a:lnTo>
                      <a:lnTo>
                        <a:pt x="2054" y="786"/>
                      </a:lnTo>
                      <a:lnTo>
                        <a:pt x="2054" y="786"/>
                      </a:lnTo>
                      <a:lnTo>
                        <a:pt x="2044" y="786"/>
                      </a:lnTo>
                      <a:lnTo>
                        <a:pt x="2040" y="784"/>
                      </a:lnTo>
                      <a:lnTo>
                        <a:pt x="2040" y="780"/>
                      </a:lnTo>
                      <a:lnTo>
                        <a:pt x="2040" y="776"/>
                      </a:lnTo>
                      <a:lnTo>
                        <a:pt x="2046" y="768"/>
                      </a:lnTo>
                      <a:lnTo>
                        <a:pt x="2054" y="762"/>
                      </a:lnTo>
                      <a:lnTo>
                        <a:pt x="2066" y="758"/>
                      </a:lnTo>
                      <a:lnTo>
                        <a:pt x="2078" y="754"/>
                      </a:lnTo>
                      <a:lnTo>
                        <a:pt x="2092" y="752"/>
                      </a:lnTo>
                      <a:lnTo>
                        <a:pt x="2092" y="752"/>
                      </a:lnTo>
                      <a:lnTo>
                        <a:pt x="2104" y="754"/>
                      </a:lnTo>
                      <a:lnTo>
                        <a:pt x="2112" y="758"/>
                      </a:lnTo>
                      <a:lnTo>
                        <a:pt x="2122" y="766"/>
                      </a:lnTo>
                      <a:lnTo>
                        <a:pt x="2128" y="768"/>
                      </a:lnTo>
                      <a:lnTo>
                        <a:pt x="2132" y="770"/>
                      </a:lnTo>
                      <a:lnTo>
                        <a:pt x="2142" y="768"/>
                      </a:lnTo>
                      <a:lnTo>
                        <a:pt x="2152" y="766"/>
                      </a:lnTo>
                      <a:lnTo>
                        <a:pt x="2152" y="766"/>
                      </a:lnTo>
                      <a:lnTo>
                        <a:pt x="2162" y="762"/>
                      </a:lnTo>
                      <a:lnTo>
                        <a:pt x="2164" y="758"/>
                      </a:lnTo>
                      <a:lnTo>
                        <a:pt x="2166" y="754"/>
                      </a:lnTo>
                      <a:lnTo>
                        <a:pt x="2162" y="750"/>
                      </a:lnTo>
                      <a:lnTo>
                        <a:pt x="2154" y="746"/>
                      </a:lnTo>
                      <a:lnTo>
                        <a:pt x="2146" y="742"/>
                      </a:lnTo>
                      <a:lnTo>
                        <a:pt x="2134" y="740"/>
                      </a:lnTo>
                      <a:lnTo>
                        <a:pt x="2120" y="738"/>
                      </a:lnTo>
                      <a:lnTo>
                        <a:pt x="2120" y="738"/>
                      </a:lnTo>
                      <a:lnTo>
                        <a:pt x="2112" y="738"/>
                      </a:lnTo>
                      <a:lnTo>
                        <a:pt x="2108" y="736"/>
                      </a:lnTo>
                      <a:lnTo>
                        <a:pt x="2104" y="732"/>
                      </a:lnTo>
                      <a:lnTo>
                        <a:pt x="2102" y="728"/>
                      </a:lnTo>
                      <a:lnTo>
                        <a:pt x="2100" y="718"/>
                      </a:lnTo>
                      <a:lnTo>
                        <a:pt x="2102" y="708"/>
                      </a:lnTo>
                      <a:lnTo>
                        <a:pt x="2108" y="700"/>
                      </a:lnTo>
                      <a:lnTo>
                        <a:pt x="2114" y="694"/>
                      </a:lnTo>
                      <a:lnTo>
                        <a:pt x="2118" y="692"/>
                      </a:lnTo>
                      <a:lnTo>
                        <a:pt x="2122" y="692"/>
                      </a:lnTo>
                      <a:lnTo>
                        <a:pt x="2124" y="692"/>
                      </a:lnTo>
                      <a:lnTo>
                        <a:pt x="2126" y="696"/>
                      </a:lnTo>
                      <a:lnTo>
                        <a:pt x="2126" y="696"/>
                      </a:lnTo>
                      <a:lnTo>
                        <a:pt x="2132" y="700"/>
                      </a:lnTo>
                      <a:lnTo>
                        <a:pt x="2140" y="702"/>
                      </a:lnTo>
                      <a:lnTo>
                        <a:pt x="2148" y="702"/>
                      </a:lnTo>
                      <a:lnTo>
                        <a:pt x="2154" y="698"/>
                      </a:lnTo>
                      <a:lnTo>
                        <a:pt x="2158" y="692"/>
                      </a:lnTo>
                      <a:lnTo>
                        <a:pt x="2162" y="686"/>
                      </a:lnTo>
                      <a:lnTo>
                        <a:pt x="2160" y="678"/>
                      </a:lnTo>
                      <a:lnTo>
                        <a:pt x="2156" y="670"/>
                      </a:lnTo>
                      <a:lnTo>
                        <a:pt x="2156" y="670"/>
                      </a:lnTo>
                      <a:lnTo>
                        <a:pt x="2150" y="662"/>
                      </a:lnTo>
                      <a:lnTo>
                        <a:pt x="2150" y="658"/>
                      </a:lnTo>
                      <a:lnTo>
                        <a:pt x="2154" y="656"/>
                      </a:lnTo>
                      <a:lnTo>
                        <a:pt x="2156" y="656"/>
                      </a:lnTo>
                      <a:lnTo>
                        <a:pt x="2160" y="656"/>
                      </a:lnTo>
                      <a:lnTo>
                        <a:pt x="2160" y="654"/>
                      </a:lnTo>
                      <a:lnTo>
                        <a:pt x="2144" y="646"/>
                      </a:lnTo>
                      <a:lnTo>
                        <a:pt x="2144" y="646"/>
                      </a:lnTo>
                      <a:lnTo>
                        <a:pt x="2132" y="640"/>
                      </a:lnTo>
                      <a:lnTo>
                        <a:pt x="2128" y="636"/>
                      </a:lnTo>
                      <a:lnTo>
                        <a:pt x="2128" y="634"/>
                      </a:lnTo>
                      <a:lnTo>
                        <a:pt x="2130" y="632"/>
                      </a:lnTo>
                      <a:lnTo>
                        <a:pt x="2140" y="628"/>
                      </a:lnTo>
                      <a:lnTo>
                        <a:pt x="2142" y="624"/>
                      </a:lnTo>
                      <a:lnTo>
                        <a:pt x="2142" y="620"/>
                      </a:lnTo>
                      <a:lnTo>
                        <a:pt x="2142" y="620"/>
                      </a:lnTo>
                      <a:lnTo>
                        <a:pt x="2140" y="616"/>
                      </a:lnTo>
                      <a:lnTo>
                        <a:pt x="2136" y="614"/>
                      </a:lnTo>
                      <a:lnTo>
                        <a:pt x="2126" y="612"/>
                      </a:lnTo>
                      <a:lnTo>
                        <a:pt x="2098" y="612"/>
                      </a:lnTo>
                      <a:lnTo>
                        <a:pt x="2084" y="612"/>
                      </a:lnTo>
                      <a:lnTo>
                        <a:pt x="2074" y="612"/>
                      </a:lnTo>
                      <a:lnTo>
                        <a:pt x="2066" y="608"/>
                      </a:lnTo>
                      <a:lnTo>
                        <a:pt x="2064" y="606"/>
                      </a:lnTo>
                      <a:lnTo>
                        <a:pt x="2062" y="602"/>
                      </a:lnTo>
                      <a:lnTo>
                        <a:pt x="2062" y="602"/>
                      </a:lnTo>
                      <a:lnTo>
                        <a:pt x="2062" y="598"/>
                      </a:lnTo>
                      <a:lnTo>
                        <a:pt x="2060" y="594"/>
                      </a:lnTo>
                      <a:lnTo>
                        <a:pt x="2056" y="590"/>
                      </a:lnTo>
                      <a:lnTo>
                        <a:pt x="2048" y="586"/>
                      </a:lnTo>
                      <a:lnTo>
                        <a:pt x="2040" y="582"/>
                      </a:lnTo>
                      <a:lnTo>
                        <a:pt x="2032" y="580"/>
                      </a:lnTo>
                      <a:lnTo>
                        <a:pt x="2028" y="578"/>
                      </a:lnTo>
                      <a:lnTo>
                        <a:pt x="2026" y="576"/>
                      </a:lnTo>
                      <a:lnTo>
                        <a:pt x="2028" y="574"/>
                      </a:lnTo>
                      <a:lnTo>
                        <a:pt x="2032" y="568"/>
                      </a:lnTo>
                      <a:lnTo>
                        <a:pt x="2032" y="568"/>
                      </a:lnTo>
                      <a:lnTo>
                        <a:pt x="2040" y="566"/>
                      </a:lnTo>
                      <a:lnTo>
                        <a:pt x="2046" y="566"/>
                      </a:lnTo>
                      <a:lnTo>
                        <a:pt x="2050" y="570"/>
                      </a:lnTo>
                      <a:lnTo>
                        <a:pt x="2054" y="574"/>
                      </a:lnTo>
                      <a:lnTo>
                        <a:pt x="2058" y="578"/>
                      </a:lnTo>
                      <a:lnTo>
                        <a:pt x="2064" y="580"/>
                      </a:lnTo>
                      <a:lnTo>
                        <a:pt x="2072" y="580"/>
                      </a:lnTo>
                      <a:lnTo>
                        <a:pt x="2082" y="574"/>
                      </a:lnTo>
                      <a:lnTo>
                        <a:pt x="2082" y="574"/>
                      </a:lnTo>
                      <a:lnTo>
                        <a:pt x="2094" y="566"/>
                      </a:lnTo>
                      <a:lnTo>
                        <a:pt x="2106" y="562"/>
                      </a:lnTo>
                      <a:lnTo>
                        <a:pt x="2120" y="560"/>
                      </a:lnTo>
                      <a:lnTo>
                        <a:pt x="2132" y="560"/>
                      </a:lnTo>
                      <a:lnTo>
                        <a:pt x="2144" y="562"/>
                      </a:lnTo>
                      <a:lnTo>
                        <a:pt x="2156" y="564"/>
                      </a:lnTo>
                      <a:lnTo>
                        <a:pt x="2178" y="574"/>
                      </a:lnTo>
                      <a:lnTo>
                        <a:pt x="2178" y="574"/>
                      </a:lnTo>
                      <a:lnTo>
                        <a:pt x="2188" y="576"/>
                      </a:lnTo>
                      <a:lnTo>
                        <a:pt x="2196" y="574"/>
                      </a:lnTo>
                      <a:lnTo>
                        <a:pt x="2202" y="570"/>
                      </a:lnTo>
                      <a:lnTo>
                        <a:pt x="2206" y="564"/>
                      </a:lnTo>
                      <a:lnTo>
                        <a:pt x="2208" y="556"/>
                      </a:lnTo>
                      <a:lnTo>
                        <a:pt x="2206" y="546"/>
                      </a:lnTo>
                      <a:lnTo>
                        <a:pt x="2202" y="536"/>
                      </a:lnTo>
                      <a:lnTo>
                        <a:pt x="2194" y="528"/>
                      </a:lnTo>
                      <a:lnTo>
                        <a:pt x="2194" y="528"/>
                      </a:lnTo>
                      <a:lnTo>
                        <a:pt x="2186" y="522"/>
                      </a:lnTo>
                      <a:lnTo>
                        <a:pt x="2180" y="522"/>
                      </a:lnTo>
                      <a:lnTo>
                        <a:pt x="2176" y="524"/>
                      </a:lnTo>
                      <a:lnTo>
                        <a:pt x="2172" y="528"/>
                      </a:lnTo>
                      <a:lnTo>
                        <a:pt x="2166" y="532"/>
                      </a:lnTo>
                      <a:lnTo>
                        <a:pt x="2158" y="534"/>
                      </a:lnTo>
                      <a:lnTo>
                        <a:pt x="2148" y="532"/>
                      </a:lnTo>
                      <a:lnTo>
                        <a:pt x="2132" y="524"/>
                      </a:lnTo>
                      <a:lnTo>
                        <a:pt x="2132" y="524"/>
                      </a:lnTo>
                      <a:lnTo>
                        <a:pt x="2106" y="506"/>
                      </a:lnTo>
                      <a:lnTo>
                        <a:pt x="2102" y="502"/>
                      </a:lnTo>
                      <a:lnTo>
                        <a:pt x="2102" y="500"/>
                      </a:lnTo>
                      <a:lnTo>
                        <a:pt x="2102" y="498"/>
                      </a:lnTo>
                      <a:lnTo>
                        <a:pt x="2106" y="498"/>
                      </a:lnTo>
                      <a:lnTo>
                        <a:pt x="2116" y="498"/>
                      </a:lnTo>
                      <a:lnTo>
                        <a:pt x="2144" y="504"/>
                      </a:lnTo>
                      <a:lnTo>
                        <a:pt x="2144" y="504"/>
                      </a:lnTo>
                      <a:lnTo>
                        <a:pt x="2170" y="508"/>
                      </a:lnTo>
                      <a:lnTo>
                        <a:pt x="2174" y="508"/>
                      </a:lnTo>
                      <a:lnTo>
                        <a:pt x="2174" y="506"/>
                      </a:lnTo>
                      <a:lnTo>
                        <a:pt x="2168" y="502"/>
                      </a:lnTo>
                      <a:lnTo>
                        <a:pt x="2156" y="496"/>
                      </a:lnTo>
                      <a:lnTo>
                        <a:pt x="2120" y="480"/>
                      </a:lnTo>
                      <a:lnTo>
                        <a:pt x="2120" y="480"/>
                      </a:lnTo>
                      <a:lnTo>
                        <a:pt x="2100" y="474"/>
                      </a:lnTo>
                      <a:lnTo>
                        <a:pt x="2086" y="474"/>
                      </a:lnTo>
                      <a:lnTo>
                        <a:pt x="2078" y="476"/>
                      </a:lnTo>
                      <a:lnTo>
                        <a:pt x="2074" y="482"/>
                      </a:lnTo>
                      <a:lnTo>
                        <a:pt x="2070" y="494"/>
                      </a:lnTo>
                      <a:lnTo>
                        <a:pt x="2066" y="500"/>
                      </a:lnTo>
                      <a:lnTo>
                        <a:pt x="2060" y="504"/>
                      </a:lnTo>
                      <a:lnTo>
                        <a:pt x="2060" y="504"/>
                      </a:lnTo>
                      <a:lnTo>
                        <a:pt x="2056" y="504"/>
                      </a:lnTo>
                      <a:lnTo>
                        <a:pt x="2054" y="502"/>
                      </a:lnTo>
                      <a:lnTo>
                        <a:pt x="2052" y="500"/>
                      </a:lnTo>
                      <a:lnTo>
                        <a:pt x="2052" y="498"/>
                      </a:lnTo>
                      <a:lnTo>
                        <a:pt x="2054" y="490"/>
                      </a:lnTo>
                      <a:lnTo>
                        <a:pt x="2060" y="478"/>
                      </a:lnTo>
                      <a:lnTo>
                        <a:pt x="2072" y="454"/>
                      </a:lnTo>
                      <a:lnTo>
                        <a:pt x="2080" y="440"/>
                      </a:lnTo>
                      <a:lnTo>
                        <a:pt x="2086" y="426"/>
                      </a:lnTo>
                      <a:lnTo>
                        <a:pt x="2086" y="426"/>
                      </a:lnTo>
                      <a:lnTo>
                        <a:pt x="2090" y="414"/>
                      </a:lnTo>
                      <a:lnTo>
                        <a:pt x="2096" y="408"/>
                      </a:lnTo>
                      <a:lnTo>
                        <a:pt x="2104" y="404"/>
                      </a:lnTo>
                      <a:lnTo>
                        <a:pt x="2110" y="404"/>
                      </a:lnTo>
                      <a:lnTo>
                        <a:pt x="2124" y="404"/>
                      </a:lnTo>
                      <a:lnTo>
                        <a:pt x="2130" y="404"/>
                      </a:lnTo>
                      <a:lnTo>
                        <a:pt x="2134" y="402"/>
                      </a:lnTo>
                      <a:lnTo>
                        <a:pt x="2134" y="402"/>
                      </a:lnTo>
                      <a:lnTo>
                        <a:pt x="2146" y="392"/>
                      </a:lnTo>
                      <a:lnTo>
                        <a:pt x="2160" y="382"/>
                      </a:lnTo>
                      <a:lnTo>
                        <a:pt x="2166" y="376"/>
                      </a:lnTo>
                      <a:lnTo>
                        <a:pt x="2168" y="372"/>
                      </a:lnTo>
                      <a:lnTo>
                        <a:pt x="2168" y="370"/>
                      </a:lnTo>
                      <a:lnTo>
                        <a:pt x="2166" y="368"/>
                      </a:lnTo>
                      <a:lnTo>
                        <a:pt x="2160" y="366"/>
                      </a:lnTo>
                      <a:lnTo>
                        <a:pt x="2160" y="366"/>
                      </a:lnTo>
                      <a:lnTo>
                        <a:pt x="2152" y="362"/>
                      </a:lnTo>
                      <a:lnTo>
                        <a:pt x="2146" y="358"/>
                      </a:lnTo>
                      <a:lnTo>
                        <a:pt x="2144" y="354"/>
                      </a:lnTo>
                      <a:lnTo>
                        <a:pt x="2144" y="348"/>
                      </a:lnTo>
                      <a:lnTo>
                        <a:pt x="2146" y="344"/>
                      </a:lnTo>
                      <a:lnTo>
                        <a:pt x="2150" y="338"/>
                      </a:lnTo>
                      <a:lnTo>
                        <a:pt x="2158" y="336"/>
                      </a:lnTo>
                      <a:lnTo>
                        <a:pt x="2168" y="334"/>
                      </a:lnTo>
                      <a:lnTo>
                        <a:pt x="2168" y="334"/>
                      </a:lnTo>
                      <a:lnTo>
                        <a:pt x="2190" y="334"/>
                      </a:lnTo>
                      <a:lnTo>
                        <a:pt x="2204" y="330"/>
                      </a:lnTo>
                      <a:lnTo>
                        <a:pt x="2216" y="322"/>
                      </a:lnTo>
                      <a:lnTo>
                        <a:pt x="2228" y="310"/>
                      </a:lnTo>
                      <a:lnTo>
                        <a:pt x="2228" y="310"/>
                      </a:lnTo>
                      <a:lnTo>
                        <a:pt x="2230" y="306"/>
                      </a:lnTo>
                      <a:lnTo>
                        <a:pt x="2230" y="304"/>
                      </a:lnTo>
                      <a:lnTo>
                        <a:pt x="2228" y="302"/>
                      </a:lnTo>
                      <a:lnTo>
                        <a:pt x="2226" y="300"/>
                      </a:lnTo>
                      <a:lnTo>
                        <a:pt x="2214" y="300"/>
                      </a:lnTo>
                      <a:lnTo>
                        <a:pt x="2200" y="300"/>
                      </a:lnTo>
                      <a:lnTo>
                        <a:pt x="2162" y="308"/>
                      </a:lnTo>
                      <a:lnTo>
                        <a:pt x="2142" y="312"/>
                      </a:lnTo>
                      <a:lnTo>
                        <a:pt x="2124" y="318"/>
                      </a:lnTo>
                      <a:lnTo>
                        <a:pt x="2124" y="318"/>
                      </a:lnTo>
                      <a:lnTo>
                        <a:pt x="2112" y="322"/>
                      </a:lnTo>
                      <a:lnTo>
                        <a:pt x="2108" y="320"/>
                      </a:lnTo>
                      <a:lnTo>
                        <a:pt x="2106" y="320"/>
                      </a:lnTo>
                      <a:lnTo>
                        <a:pt x="2106" y="316"/>
                      </a:lnTo>
                      <a:lnTo>
                        <a:pt x="2108" y="314"/>
                      </a:lnTo>
                      <a:lnTo>
                        <a:pt x="2114" y="306"/>
                      </a:lnTo>
                      <a:lnTo>
                        <a:pt x="2124" y="298"/>
                      </a:lnTo>
                      <a:lnTo>
                        <a:pt x="2138" y="292"/>
                      </a:lnTo>
                      <a:lnTo>
                        <a:pt x="2152" y="288"/>
                      </a:lnTo>
                      <a:lnTo>
                        <a:pt x="2160" y="288"/>
                      </a:lnTo>
                      <a:lnTo>
                        <a:pt x="2168" y="288"/>
                      </a:lnTo>
                      <a:lnTo>
                        <a:pt x="2168" y="288"/>
                      </a:lnTo>
                      <a:lnTo>
                        <a:pt x="2182" y="292"/>
                      </a:lnTo>
                      <a:lnTo>
                        <a:pt x="2198" y="292"/>
                      </a:lnTo>
                      <a:lnTo>
                        <a:pt x="2214" y="292"/>
                      </a:lnTo>
                      <a:lnTo>
                        <a:pt x="2228" y="290"/>
                      </a:lnTo>
                      <a:lnTo>
                        <a:pt x="2256" y="284"/>
                      </a:lnTo>
                      <a:lnTo>
                        <a:pt x="2278" y="276"/>
                      </a:lnTo>
                      <a:lnTo>
                        <a:pt x="2278" y="276"/>
                      </a:lnTo>
                      <a:lnTo>
                        <a:pt x="2284" y="270"/>
                      </a:lnTo>
                      <a:lnTo>
                        <a:pt x="2286" y="268"/>
                      </a:lnTo>
                      <a:lnTo>
                        <a:pt x="2284" y="268"/>
                      </a:lnTo>
                      <a:lnTo>
                        <a:pt x="2280" y="264"/>
                      </a:lnTo>
                      <a:lnTo>
                        <a:pt x="2270" y="262"/>
                      </a:lnTo>
                      <a:lnTo>
                        <a:pt x="2244" y="260"/>
                      </a:lnTo>
                      <a:lnTo>
                        <a:pt x="2232" y="260"/>
                      </a:lnTo>
                      <a:lnTo>
                        <a:pt x="2220" y="262"/>
                      </a:lnTo>
                      <a:lnTo>
                        <a:pt x="2220" y="262"/>
                      </a:lnTo>
                      <a:lnTo>
                        <a:pt x="2206" y="264"/>
                      </a:lnTo>
                      <a:lnTo>
                        <a:pt x="2188" y="264"/>
                      </a:lnTo>
                      <a:lnTo>
                        <a:pt x="2154" y="262"/>
                      </a:lnTo>
                      <a:lnTo>
                        <a:pt x="2134" y="258"/>
                      </a:lnTo>
                      <a:lnTo>
                        <a:pt x="2150" y="258"/>
                      </a:lnTo>
                      <a:lnTo>
                        <a:pt x="2150" y="258"/>
                      </a:lnTo>
                      <a:lnTo>
                        <a:pt x="2168" y="260"/>
                      </a:lnTo>
                      <a:lnTo>
                        <a:pt x="2182" y="258"/>
                      </a:lnTo>
                      <a:lnTo>
                        <a:pt x="2192" y="256"/>
                      </a:lnTo>
                      <a:lnTo>
                        <a:pt x="2200" y="252"/>
                      </a:lnTo>
                      <a:lnTo>
                        <a:pt x="2214" y="248"/>
                      </a:lnTo>
                      <a:lnTo>
                        <a:pt x="2222" y="246"/>
                      </a:lnTo>
                      <a:lnTo>
                        <a:pt x="2232" y="248"/>
                      </a:lnTo>
                      <a:lnTo>
                        <a:pt x="2232" y="248"/>
                      </a:lnTo>
                      <a:lnTo>
                        <a:pt x="2244" y="250"/>
                      </a:lnTo>
                      <a:lnTo>
                        <a:pt x="2254" y="250"/>
                      </a:lnTo>
                      <a:lnTo>
                        <a:pt x="2274" y="248"/>
                      </a:lnTo>
                      <a:lnTo>
                        <a:pt x="2298" y="244"/>
                      </a:lnTo>
                      <a:lnTo>
                        <a:pt x="2330" y="242"/>
                      </a:lnTo>
                      <a:lnTo>
                        <a:pt x="2330" y="242"/>
                      </a:lnTo>
                      <a:lnTo>
                        <a:pt x="2342" y="240"/>
                      </a:lnTo>
                      <a:lnTo>
                        <a:pt x="2344" y="238"/>
                      </a:lnTo>
                      <a:lnTo>
                        <a:pt x="2344" y="238"/>
                      </a:lnTo>
                      <a:lnTo>
                        <a:pt x="2342" y="232"/>
                      </a:lnTo>
                      <a:lnTo>
                        <a:pt x="2336" y="228"/>
                      </a:lnTo>
                      <a:lnTo>
                        <a:pt x="2330" y="224"/>
                      </a:lnTo>
                      <a:lnTo>
                        <a:pt x="2328" y="220"/>
                      </a:lnTo>
                      <a:lnTo>
                        <a:pt x="2330" y="220"/>
                      </a:lnTo>
                      <a:lnTo>
                        <a:pt x="2334" y="218"/>
                      </a:lnTo>
                      <a:lnTo>
                        <a:pt x="2348" y="218"/>
                      </a:lnTo>
                      <a:lnTo>
                        <a:pt x="2348" y="218"/>
                      </a:lnTo>
                      <a:lnTo>
                        <a:pt x="2360" y="216"/>
                      </a:lnTo>
                      <a:lnTo>
                        <a:pt x="2372" y="214"/>
                      </a:lnTo>
                      <a:lnTo>
                        <a:pt x="2382" y="212"/>
                      </a:lnTo>
                      <a:lnTo>
                        <a:pt x="2392" y="206"/>
                      </a:lnTo>
                      <a:lnTo>
                        <a:pt x="2412" y="196"/>
                      </a:lnTo>
                      <a:lnTo>
                        <a:pt x="2436" y="182"/>
                      </a:lnTo>
                      <a:lnTo>
                        <a:pt x="2436" y="182"/>
                      </a:lnTo>
                      <a:lnTo>
                        <a:pt x="2440" y="180"/>
                      </a:lnTo>
                      <a:lnTo>
                        <a:pt x="2442" y="176"/>
                      </a:lnTo>
                      <a:lnTo>
                        <a:pt x="2438" y="174"/>
                      </a:lnTo>
                      <a:lnTo>
                        <a:pt x="2434" y="170"/>
                      </a:lnTo>
                      <a:lnTo>
                        <a:pt x="2414" y="164"/>
                      </a:lnTo>
                      <a:lnTo>
                        <a:pt x="2388" y="158"/>
                      </a:lnTo>
                      <a:lnTo>
                        <a:pt x="2356" y="154"/>
                      </a:lnTo>
                      <a:lnTo>
                        <a:pt x="2322" y="150"/>
                      </a:lnTo>
                      <a:lnTo>
                        <a:pt x="2292" y="148"/>
                      </a:lnTo>
                      <a:lnTo>
                        <a:pt x="2264" y="150"/>
                      </a:lnTo>
                      <a:lnTo>
                        <a:pt x="2264" y="150"/>
                      </a:lnTo>
                      <a:lnTo>
                        <a:pt x="2244" y="152"/>
                      </a:lnTo>
                      <a:lnTo>
                        <a:pt x="2230" y="158"/>
                      </a:lnTo>
                      <a:lnTo>
                        <a:pt x="2220" y="164"/>
                      </a:lnTo>
                      <a:lnTo>
                        <a:pt x="2214" y="172"/>
                      </a:lnTo>
                      <a:lnTo>
                        <a:pt x="2210" y="180"/>
                      </a:lnTo>
                      <a:lnTo>
                        <a:pt x="2204" y="184"/>
                      </a:lnTo>
                      <a:lnTo>
                        <a:pt x="2198" y="186"/>
                      </a:lnTo>
                      <a:lnTo>
                        <a:pt x="2188" y="186"/>
                      </a:lnTo>
                      <a:lnTo>
                        <a:pt x="2188" y="186"/>
                      </a:lnTo>
                      <a:lnTo>
                        <a:pt x="2176" y="184"/>
                      </a:lnTo>
                      <a:lnTo>
                        <a:pt x="2162" y="182"/>
                      </a:lnTo>
                      <a:lnTo>
                        <a:pt x="2140" y="184"/>
                      </a:lnTo>
                      <a:lnTo>
                        <a:pt x="2126" y="184"/>
                      </a:lnTo>
                      <a:lnTo>
                        <a:pt x="2126" y="182"/>
                      </a:lnTo>
                      <a:lnTo>
                        <a:pt x="2126" y="182"/>
                      </a:lnTo>
                      <a:lnTo>
                        <a:pt x="2130" y="178"/>
                      </a:lnTo>
                      <a:lnTo>
                        <a:pt x="2130" y="178"/>
                      </a:lnTo>
                      <a:lnTo>
                        <a:pt x="2134" y="172"/>
                      </a:lnTo>
                      <a:lnTo>
                        <a:pt x="2134" y="170"/>
                      </a:lnTo>
                      <a:lnTo>
                        <a:pt x="2128" y="170"/>
                      </a:lnTo>
                      <a:lnTo>
                        <a:pt x="2120" y="172"/>
                      </a:lnTo>
                      <a:lnTo>
                        <a:pt x="2108" y="176"/>
                      </a:lnTo>
                      <a:lnTo>
                        <a:pt x="2092" y="184"/>
                      </a:lnTo>
                      <a:lnTo>
                        <a:pt x="2074" y="196"/>
                      </a:lnTo>
                      <a:lnTo>
                        <a:pt x="2050" y="210"/>
                      </a:lnTo>
                      <a:lnTo>
                        <a:pt x="2050" y="210"/>
                      </a:lnTo>
                      <a:lnTo>
                        <a:pt x="2028" y="224"/>
                      </a:lnTo>
                      <a:lnTo>
                        <a:pt x="2010" y="234"/>
                      </a:lnTo>
                      <a:lnTo>
                        <a:pt x="1996" y="242"/>
                      </a:lnTo>
                      <a:lnTo>
                        <a:pt x="1986" y="244"/>
                      </a:lnTo>
                      <a:lnTo>
                        <a:pt x="1984" y="244"/>
                      </a:lnTo>
                      <a:lnTo>
                        <a:pt x="1982" y="244"/>
                      </a:lnTo>
                      <a:lnTo>
                        <a:pt x="1984" y="238"/>
                      </a:lnTo>
                      <a:lnTo>
                        <a:pt x="1992" y="228"/>
                      </a:lnTo>
                      <a:lnTo>
                        <a:pt x="2008" y="216"/>
                      </a:lnTo>
                      <a:lnTo>
                        <a:pt x="2008" y="216"/>
                      </a:lnTo>
                      <a:lnTo>
                        <a:pt x="2026" y="200"/>
                      </a:lnTo>
                      <a:lnTo>
                        <a:pt x="2040" y="186"/>
                      </a:lnTo>
                      <a:lnTo>
                        <a:pt x="2050" y="172"/>
                      </a:lnTo>
                      <a:lnTo>
                        <a:pt x="2052" y="166"/>
                      </a:lnTo>
                      <a:lnTo>
                        <a:pt x="2052" y="160"/>
                      </a:lnTo>
                      <a:lnTo>
                        <a:pt x="2052" y="156"/>
                      </a:lnTo>
                      <a:lnTo>
                        <a:pt x="2050" y="150"/>
                      </a:lnTo>
                      <a:lnTo>
                        <a:pt x="2048" y="146"/>
                      </a:lnTo>
                      <a:lnTo>
                        <a:pt x="2042" y="144"/>
                      </a:lnTo>
                      <a:lnTo>
                        <a:pt x="2036" y="140"/>
                      </a:lnTo>
                      <a:lnTo>
                        <a:pt x="2028" y="138"/>
                      </a:lnTo>
                      <a:lnTo>
                        <a:pt x="2004" y="138"/>
                      </a:lnTo>
                      <a:lnTo>
                        <a:pt x="2004" y="138"/>
                      </a:lnTo>
                      <a:lnTo>
                        <a:pt x="1984" y="138"/>
                      </a:lnTo>
                      <a:lnTo>
                        <a:pt x="1972" y="142"/>
                      </a:lnTo>
                      <a:lnTo>
                        <a:pt x="1964" y="146"/>
                      </a:lnTo>
                      <a:lnTo>
                        <a:pt x="1962" y="152"/>
                      </a:lnTo>
                      <a:lnTo>
                        <a:pt x="1960" y="156"/>
                      </a:lnTo>
                      <a:lnTo>
                        <a:pt x="1958" y="162"/>
                      </a:lnTo>
                      <a:lnTo>
                        <a:pt x="1952" y="168"/>
                      </a:lnTo>
                      <a:lnTo>
                        <a:pt x="1940" y="172"/>
                      </a:lnTo>
                      <a:lnTo>
                        <a:pt x="1940" y="172"/>
                      </a:lnTo>
                      <a:lnTo>
                        <a:pt x="1910" y="178"/>
                      </a:lnTo>
                      <a:lnTo>
                        <a:pt x="1886" y="182"/>
                      </a:lnTo>
                      <a:lnTo>
                        <a:pt x="1878" y="182"/>
                      </a:lnTo>
                      <a:lnTo>
                        <a:pt x="1876" y="180"/>
                      </a:lnTo>
                      <a:lnTo>
                        <a:pt x="1880" y="176"/>
                      </a:lnTo>
                      <a:lnTo>
                        <a:pt x="1890" y="172"/>
                      </a:lnTo>
                      <a:lnTo>
                        <a:pt x="1890" y="172"/>
                      </a:lnTo>
                      <a:lnTo>
                        <a:pt x="1916" y="160"/>
                      </a:lnTo>
                      <a:lnTo>
                        <a:pt x="1922" y="154"/>
                      </a:lnTo>
                      <a:lnTo>
                        <a:pt x="1924" y="152"/>
                      </a:lnTo>
                      <a:lnTo>
                        <a:pt x="1924" y="150"/>
                      </a:lnTo>
                      <a:lnTo>
                        <a:pt x="1924" y="148"/>
                      </a:lnTo>
                      <a:lnTo>
                        <a:pt x="1920" y="148"/>
                      </a:lnTo>
                      <a:lnTo>
                        <a:pt x="1906" y="144"/>
                      </a:lnTo>
                      <a:lnTo>
                        <a:pt x="1884" y="142"/>
                      </a:lnTo>
                      <a:lnTo>
                        <a:pt x="1852" y="140"/>
                      </a:lnTo>
                      <a:lnTo>
                        <a:pt x="1852" y="140"/>
                      </a:lnTo>
                      <a:lnTo>
                        <a:pt x="1812" y="142"/>
                      </a:lnTo>
                      <a:lnTo>
                        <a:pt x="1770" y="146"/>
                      </a:lnTo>
                      <a:lnTo>
                        <a:pt x="1730" y="152"/>
                      </a:lnTo>
                      <a:lnTo>
                        <a:pt x="1694" y="160"/>
                      </a:lnTo>
                      <a:lnTo>
                        <a:pt x="1636" y="172"/>
                      </a:lnTo>
                      <a:lnTo>
                        <a:pt x="1616" y="174"/>
                      </a:lnTo>
                      <a:lnTo>
                        <a:pt x="1610" y="174"/>
                      </a:lnTo>
                      <a:lnTo>
                        <a:pt x="1608" y="174"/>
                      </a:lnTo>
                      <a:lnTo>
                        <a:pt x="1608" y="174"/>
                      </a:lnTo>
                      <a:lnTo>
                        <a:pt x="1604" y="170"/>
                      </a:lnTo>
                      <a:lnTo>
                        <a:pt x="1602" y="168"/>
                      </a:lnTo>
                      <a:lnTo>
                        <a:pt x="1604" y="164"/>
                      </a:lnTo>
                      <a:lnTo>
                        <a:pt x="1606" y="162"/>
                      </a:lnTo>
                      <a:lnTo>
                        <a:pt x="1618" y="156"/>
                      </a:lnTo>
                      <a:lnTo>
                        <a:pt x="1636" y="152"/>
                      </a:lnTo>
                      <a:lnTo>
                        <a:pt x="1686" y="142"/>
                      </a:lnTo>
                      <a:lnTo>
                        <a:pt x="1744" y="134"/>
                      </a:lnTo>
                      <a:lnTo>
                        <a:pt x="1744" y="134"/>
                      </a:lnTo>
                      <a:lnTo>
                        <a:pt x="1772" y="130"/>
                      </a:lnTo>
                      <a:lnTo>
                        <a:pt x="1802" y="130"/>
                      </a:lnTo>
                      <a:lnTo>
                        <a:pt x="1864" y="130"/>
                      </a:lnTo>
                      <a:lnTo>
                        <a:pt x="1926" y="130"/>
                      </a:lnTo>
                      <a:lnTo>
                        <a:pt x="1956" y="128"/>
                      </a:lnTo>
                      <a:lnTo>
                        <a:pt x="1984" y="124"/>
                      </a:lnTo>
                      <a:lnTo>
                        <a:pt x="1984" y="124"/>
                      </a:lnTo>
                      <a:lnTo>
                        <a:pt x="2020" y="114"/>
                      </a:lnTo>
                      <a:lnTo>
                        <a:pt x="2054" y="104"/>
                      </a:lnTo>
                      <a:lnTo>
                        <a:pt x="2066" y="98"/>
                      </a:lnTo>
                      <a:lnTo>
                        <a:pt x="2072" y="92"/>
                      </a:lnTo>
                      <a:lnTo>
                        <a:pt x="2072" y="90"/>
                      </a:lnTo>
                      <a:lnTo>
                        <a:pt x="2070" y="88"/>
                      </a:lnTo>
                      <a:lnTo>
                        <a:pt x="2062" y="84"/>
                      </a:lnTo>
                      <a:lnTo>
                        <a:pt x="2062" y="84"/>
                      </a:lnTo>
                      <a:lnTo>
                        <a:pt x="2034" y="78"/>
                      </a:lnTo>
                      <a:lnTo>
                        <a:pt x="2004" y="72"/>
                      </a:lnTo>
                      <a:lnTo>
                        <a:pt x="1988" y="70"/>
                      </a:lnTo>
                      <a:lnTo>
                        <a:pt x="1970" y="68"/>
                      </a:lnTo>
                      <a:lnTo>
                        <a:pt x="1952" y="70"/>
                      </a:lnTo>
                      <a:lnTo>
                        <a:pt x="1932" y="72"/>
                      </a:lnTo>
                      <a:lnTo>
                        <a:pt x="1932" y="72"/>
                      </a:lnTo>
                      <a:lnTo>
                        <a:pt x="1914" y="76"/>
                      </a:lnTo>
                      <a:lnTo>
                        <a:pt x="1916" y="74"/>
                      </a:lnTo>
                      <a:lnTo>
                        <a:pt x="1922" y="70"/>
                      </a:lnTo>
                      <a:lnTo>
                        <a:pt x="1930" y="64"/>
                      </a:lnTo>
                      <a:lnTo>
                        <a:pt x="1936" y="58"/>
                      </a:lnTo>
                      <a:lnTo>
                        <a:pt x="1938" y="56"/>
                      </a:lnTo>
                      <a:lnTo>
                        <a:pt x="1938" y="52"/>
                      </a:lnTo>
                      <a:lnTo>
                        <a:pt x="1936" y="50"/>
                      </a:lnTo>
                      <a:lnTo>
                        <a:pt x="1932" y="46"/>
                      </a:lnTo>
                      <a:lnTo>
                        <a:pt x="1932" y="46"/>
                      </a:lnTo>
                      <a:lnTo>
                        <a:pt x="1922" y="42"/>
                      </a:lnTo>
                      <a:lnTo>
                        <a:pt x="1912" y="42"/>
                      </a:lnTo>
                      <a:lnTo>
                        <a:pt x="1898" y="42"/>
                      </a:lnTo>
                      <a:lnTo>
                        <a:pt x="1884" y="46"/>
                      </a:lnTo>
                      <a:lnTo>
                        <a:pt x="1866" y="48"/>
                      </a:lnTo>
                      <a:lnTo>
                        <a:pt x="1846" y="50"/>
                      </a:lnTo>
                      <a:lnTo>
                        <a:pt x="1822" y="52"/>
                      </a:lnTo>
                      <a:lnTo>
                        <a:pt x="1794" y="50"/>
                      </a:lnTo>
                      <a:lnTo>
                        <a:pt x="1794" y="50"/>
                      </a:lnTo>
                      <a:lnTo>
                        <a:pt x="1766" y="48"/>
                      </a:lnTo>
                      <a:lnTo>
                        <a:pt x="1744" y="48"/>
                      </a:lnTo>
                      <a:lnTo>
                        <a:pt x="1724" y="52"/>
                      </a:lnTo>
                      <a:lnTo>
                        <a:pt x="1708" y="54"/>
                      </a:lnTo>
                      <a:lnTo>
                        <a:pt x="1678" y="60"/>
                      </a:lnTo>
                      <a:lnTo>
                        <a:pt x="1660" y="60"/>
                      </a:lnTo>
                      <a:lnTo>
                        <a:pt x="1638" y="60"/>
                      </a:lnTo>
                      <a:lnTo>
                        <a:pt x="1638" y="60"/>
                      </a:lnTo>
                      <a:lnTo>
                        <a:pt x="1622" y="58"/>
                      </a:lnTo>
                      <a:lnTo>
                        <a:pt x="1616" y="56"/>
                      </a:lnTo>
                      <a:lnTo>
                        <a:pt x="1618" y="54"/>
                      </a:lnTo>
                      <a:lnTo>
                        <a:pt x="1628" y="52"/>
                      </a:lnTo>
                      <a:lnTo>
                        <a:pt x="1692" y="46"/>
                      </a:lnTo>
                      <a:lnTo>
                        <a:pt x="1692" y="46"/>
                      </a:lnTo>
                      <a:lnTo>
                        <a:pt x="1734" y="44"/>
                      </a:lnTo>
                      <a:lnTo>
                        <a:pt x="1794" y="42"/>
                      </a:lnTo>
                      <a:lnTo>
                        <a:pt x="1852" y="38"/>
                      </a:lnTo>
                      <a:lnTo>
                        <a:pt x="1894" y="34"/>
                      </a:lnTo>
                      <a:lnTo>
                        <a:pt x="1894" y="34"/>
                      </a:lnTo>
                      <a:lnTo>
                        <a:pt x="1900" y="32"/>
                      </a:lnTo>
                      <a:lnTo>
                        <a:pt x="1902" y="32"/>
                      </a:lnTo>
                      <a:lnTo>
                        <a:pt x="1902" y="30"/>
                      </a:lnTo>
                      <a:lnTo>
                        <a:pt x="1898" y="28"/>
                      </a:lnTo>
                      <a:lnTo>
                        <a:pt x="1882" y="24"/>
                      </a:lnTo>
                      <a:lnTo>
                        <a:pt x="1858" y="20"/>
                      </a:lnTo>
                      <a:lnTo>
                        <a:pt x="1798" y="12"/>
                      </a:lnTo>
                      <a:lnTo>
                        <a:pt x="1732" y="6"/>
                      </a:lnTo>
                      <a:lnTo>
                        <a:pt x="1732" y="6"/>
                      </a:lnTo>
                      <a:lnTo>
                        <a:pt x="1686" y="2"/>
                      </a:lnTo>
                      <a:lnTo>
                        <a:pt x="1648" y="0"/>
                      </a:lnTo>
                      <a:lnTo>
                        <a:pt x="1618" y="2"/>
                      </a:lnTo>
                      <a:lnTo>
                        <a:pt x="1594" y="2"/>
                      </a:lnTo>
                      <a:lnTo>
                        <a:pt x="1552" y="6"/>
                      </a:lnTo>
                      <a:lnTo>
                        <a:pt x="1528" y="8"/>
                      </a:lnTo>
                      <a:lnTo>
                        <a:pt x="1504" y="6"/>
                      </a:lnTo>
                      <a:lnTo>
                        <a:pt x="1504" y="6"/>
                      </a:lnTo>
                      <a:lnTo>
                        <a:pt x="1480" y="6"/>
                      </a:lnTo>
                      <a:lnTo>
                        <a:pt x="1466" y="8"/>
                      </a:lnTo>
                      <a:lnTo>
                        <a:pt x="1460" y="10"/>
                      </a:lnTo>
                      <a:lnTo>
                        <a:pt x="1458" y="14"/>
                      </a:lnTo>
                      <a:lnTo>
                        <a:pt x="1458" y="16"/>
                      </a:lnTo>
                      <a:lnTo>
                        <a:pt x="1458" y="18"/>
                      </a:lnTo>
                      <a:lnTo>
                        <a:pt x="1452" y="18"/>
                      </a:lnTo>
                      <a:lnTo>
                        <a:pt x="1442" y="16"/>
                      </a:lnTo>
                      <a:lnTo>
                        <a:pt x="1442" y="16"/>
                      </a:lnTo>
                      <a:lnTo>
                        <a:pt x="1420" y="12"/>
                      </a:lnTo>
                      <a:lnTo>
                        <a:pt x="1410" y="14"/>
                      </a:lnTo>
                      <a:lnTo>
                        <a:pt x="1400" y="16"/>
                      </a:lnTo>
                      <a:lnTo>
                        <a:pt x="1384" y="18"/>
                      </a:lnTo>
                      <a:lnTo>
                        <a:pt x="1384" y="18"/>
                      </a:lnTo>
                      <a:lnTo>
                        <a:pt x="1374" y="18"/>
                      </a:lnTo>
                      <a:lnTo>
                        <a:pt x="1368" y="20"/>
                      </a:lnTo>
                      <a:lnTo>
                        <a:pt x="1366" y="24"/>
                      </a:lnTo>
                      <a:lnTo>
                        <a:pt x="1366" y="28"/>
                      </a:lnTo>
                      <a:lnTo>
                        <a:pt x="1370" y="32"/>
                      </a:lnTo>
                      <a:lnTo>
                        <a:pt x="1378" y="36"/>
                      </a:lnTo>
                      <a:lnTo>
                        <a:pt x="1388" y="40"/>
                      </a:lnTo>
                      <a:lnTo>
                        <a:pt x="1402" y="44"/>
                      </a:lnTo>
                      <a:lnTo>
                        <a:pt x="1402" y="44"/>
                      </a:lnTo>
                      <a:lnTo>
                        <a:pt x="1412" y="46"/>
                      </a:lnTo>
                      <a:lnTo>
                        <a:pt x="1416" y="46"/>
                      </a:lnTo>
                      <a:lnTo>
                        <a:pt x="1412" y="48"/>
                      </a:lnTo>
                      <a:lnTo>
                        <a:pt x="1406" y="50"/>
                      </a:lnTo>
                      <a:lnTo>
                        <a:pt x="1386" y="52"/>
                      </a:lnTo>
                      <a:lnTo>
                        <a:pt x="1378" y="54"/>
                      </a:lnTo>
                      <a:lnTo>
                        <a:pt x="1372" y="56"/>
                      </a:lnTo>
                      <a:lnTo>
                        <a:pt x="1372" y="56"/>
                      </a:lnTo>
                      <a:lnTo>
                        <a:pt x="1356" y="62"/>
                      </a:lnTo>
                      <a:lnTo>
                        <a:pt x="1332" y="64"/>
                      </a:lnTo>
                      <a:lnTo>
                        <a:pt x="1318" y="66"/>
                      </a:lnTo>
                      <a:lnTo>
                        <a:pt x="1304" y="64"/>
                      </a:lnTo>
                      <a:lnTo>
                        <a:pt x="1290" y="62"/>
                      </a:lnTo>
                      <a:lnTo>
                        <a:pt x="1278" y="56"/>
                      </a:lnTo>
                      <a:lnTo>
                        <a:pt x="1278" y="56"/>
                      </a:lnTo>
                      <a:lnTo>
                        <a:pt x="1254" y="46"/>
                      </a:lnTo>
                      <a:lnTo>
                        <a:pt x="1242" y="42"/>
                      </a:lnTo>
                      <a:lnTo>
                        <a:pt x="1228" y="38"/>
                      </a:lnTo>
                      <a:lnTo>
                        <a:pt x="1212" y="36"/>
                      </a:lnTo>
                      <a:lnTo>
                        <a:pt x="1194" y="34"/>
                      </a:lnTo>
                      <a:lnTo>
                        <a:pt x="1176" y="36"/>
                      </a:lnTo>
                      <a:lnTo>
                        <a:pt x="1154" y="38"/>
                      </a:lnTo>
                      <a:lnTo>
                        <a:pt x="1154" y="38"/>
                      </a:lnTo>
                      <a:lnTo>
                        <a:pt x="1114" y="44"/>
                      </a:lnTo>
                      <a:lnTo>
                        <a:pt x="1078" y="48"/>
                      </a:lnTo>
                      <a:lnTo>
                        <a:pt x="1064" y="50"/>
                      </a:lnTo>
                      <a:lnTo>
                        <a:pt x="1054" y="54"/>
                      </a:lnTo>
                      <a:lnTo>
                        <a:pt x="1048" y="56"/>
                      </a:lnTo>
                      <a:lnTo>
                        <a:pt x="1048" y="58"/>
                      </a:lnTo>
                      <a:lnTo>
                        <a:pt x="1048" y="60"/>
                      </a:lnTo>
                      <a:lnTo>
                        <a:pt x="1048" y="60"/>
                      </a:lnTo>
                      <a:lnTo>
                        <a:pt x="1054" y="64"/>
                      </a:lnTo>
                      <a:lnTo>
                        <a:pt x="1062" y="66"/>
                      </a:lnTo>
                      <a:lnTo>
                        <a:pt x="1092" y="68"/>
                      </a:lnTo>
                      <a:lnTo>
                        <a:pt x="1128" y="66"/>
                      </a:lnTo>
                      <a:lnTo>
                        <a:pt x="1170" y="66"/>
                      </a:lnTo>
                      <a:lnTo>
                        <a:pt x="1170" y="66"/>
                      </a:lnTo>
                      <a:lnTo>
                        <a:pt x="1208" y="68"/>
                      </a:lnTo>
                      <a:lnTo>
                        <a:pt x="1246" y="72"/>
                      </a:lnTo>
                      <a:lnTo>
                        <a:pt x="1280" y="76"/>
                      </a:lnTo>
                      <a:lnTo>
                        <a:pt x="1314" y="82"/>
                      </a:lnTo>
                      <a:lnTo>
                        <a:pt x="1314" y="82"/>
                      </a:lnTo>
                      <a:lnTo>
                        <a:pt x="1326" y="86"/>
                      </a:lnTo>
                      <a:lnTo>
                        <a:pt x="1332" y="88"/>
                      </a:lnTo>
                      <a:lnTo>
                        <a:pt x="1332" y="90"/>
                      </a:lnTo>
                      <a:lnTo>
                        <a:pt x="1332" y="90"/>
                      </a:lnTo>
                      <a:lnTo>
                        <a:pt x="1326" y="92"/>
                      </a:lnTo>
                      <a:lnTo>
                        <a:pt x="1308" y="92"/>
                      </a:lnTo>
                      <a:lnTo>
                        <a:pt x="1294" y="90"/>
                      </a:lnTo>
                      <a:lnTo>
                        <a:pt x="1282" y="88"/>
                      </a:lnTo>
                      <a:lnTo>
                        <a:pt x="1282" y="88"/>
                      </a:lnTo>
                      <a:lnTo>
                        <a:pt x="1268" y="84"/>
                      </a:lnTo>
                      <a:lnTo>
                        <a:pt x="1252" y="82"/>
                      </a:lnTo>
                      <a:lnTo>
                        <a:pt x="1214" y="78"/>
                      </a:lnTo>
                      <a:lnTo>
                        <a:pt x="1110" y="74"/>
                      </a:lnTo>
                      <a:lnTo>
                        <a:pt x="1110" y="74"/>
                      </a:lnTo>
                      <a:lnTo>
                        <a:pt x="1092" y="76"/>
                      </a:lnTo>
                      <a:lnTo>
                        <a:pt x="1090" y="76"/>
                      </a:lnTo>
                      <a:lnTo>
                        <a:pt x="1092" y="78"/>
                      </a:lnTo>
                      <a:lnTo>
                        <a:pt x="1106" y="84"/>
                      </a:lnTo>
                      <a:lnTo>
                        <a:pt x="1126" y="92"/>
                      </a:lnTo>
                      <a:lnTo>
                        <a:pt x="1148" y="100"/>
                      </a:lnTo>
                      <a:lnTo>
                        <a:pt x="1164" y="108"/>
                      </a:lnTo>
                      <a:lnTo>
                        <a:pt x="1168" y="110"/>
                      </a:lnTo>
                      <a:lnTo>
                        <a:pt x="1168" y="114"/>
                      </a:lnTo>
                      <a:lnTo>
                        <a:pt x="1164" y="116"/>
                      </a:lnTo>
                      <a:lnTo>
                        <a:pt x="1154" y="116"/>
                      </a:lnTo>
                      <a:lnTo>
                        <a:pt x="1154" y="116"/>
                      </a:lnTo>
                      <a:lnTo>
                        <a:pt x="1146" y="118"/>
                      </a:lnTo>
                      <a:lnTo>
                        <a:pt x="1142" y="120"/>
                      </a:lnTo>
                      <a:lnTo>
                        <a:pt x="1138" y="122"/>
                      </a:lnTo>
                      <a:lnTo>
                        <a:pt x="1138" y="126"/>
                      </a:lnTo>
                      <a:lnTo>
                        <a:pt x="1136" y="132"/>
                      </a:lnTo>
                      <a:lnTo>
                        <a:pt x="1138" y="140"/>
                      </a:lnTo>
                      <a:lnTo>
                        <a:pt x="1142" y="148"/>
                      </a:lnTo>
                      <a:lnTo>
                        <a:pt x="1142" y="156"/>
                      </a:lnTo>
                      <a:lnTo>
                        <a:pt x="1142" y="158"/>
                      </a:lnTo>
                      <a:lnTo>
                        <a:pt x="1140" y="160"/>
                      </a:lnTo>
                      <a:lnTo>
                        <a:pt x="1136" y="162"/>
                      </a:lnTo>
                      <a:lnTo>
                        <a:pt x="1132" y="164"/>
                      </a:lnTo>
                      <a:lnTo>
                        <a:pt x="1132" y="164"/>
                      </a:lnTo>
                      <a:lnTo>
                        <a:pt x="1122" y="164"/>
                      </a:lnTo>
                      <a:lnTo>
                        <a:pt x="1114" y="162"/>
                      </a:lnTo>
                      <a:lnTo>
                        <a:pt x="1108" y="158"/>
                      </a:lnTo>
                      <a:lnTo>
                        <a:pt x="1102" y="152"/>
                      </a:lnTo>
                      <a:lnTo>
                        <a:pt x="1094" y="146"/>
                      </a:lnTo>
                      <a:lnTo>
                        <a:pt x="1084" y="142"/>
                      </a:lnTo>
                      <a:lnTo>
                        <a:pt x="1070" y="136"/>
                      </a:lnTo>
                      <a:lnTo>
                        <a:pt x="1052" y="132"/>
                      </a:lnTo>
                      <a:lnTo>
                        <a:pt x="1052" y="132"/>
                      </a:lnTo>
                      <a:lnTo>
                        <a:pt x="1034" y="128"/>
                      </a:lnTo>
                      <a:lnTo>
                        <a:pt x="1016" y="124"/>
                      </a:lnTo>
                      <a:lnTo>
                        <a:pt x="986" y="114"/>
                      </a:lnTo>
                      <a:lnTo>
                        <a:pt x="954" y="104"/>
                      </a:lnTo>
                      <a:lnTo>
                        <a:pt x="936" y="100"/>
                      </a:lnTo>
                      <a:lnTo>
                        <a:pt x="916" y="98"/>
                      </a:lnTo>
                      <a:lnTo>
                        <a:pt x="916" y="98"/>
                      </a:lnTo>
                      <a:lnTo>
                        <a:pt x="896" y="98"/>
                      </a:lnTo>
                      <a:lnTo>
                        <a:pt x="884" y="100"/>
                      </a:lnTo>
                      <a:lnTo>
                        <a:pt x="876" y="102"/>
                      </a:lnTo>
                      <a:lnTo>
                        <a:pt x="874" y="104"/>
                      </a:lnTo>
                      <a:lnTo>
                        <a:pt x="874" y="106"/>
                      </a:lnTo>
                      <a:lnTo>
                        <a:pt x="876" y="112"/>
                      </a:lnTo>
                      <a:lnTo>
                        <a:pt x="884" y="118"/>
                      </a:lnTo>
                      <a:lnTo>
                        <a:pt x="914" y="138"/>
                      </a:lnTo>
                      <a:lnTo>
                        <a:pt x="914" y="138"/>
                      </a:lnTo>
                      <a:lnTo>
                        <a:pt x="926" y="146"/>
                      </a:lnTo>
                      <a:lnTo>
                        <a:pt x="928" y="148"/>
                      </a:lnTo>
                      <a:lnTo>
                        <a:pt x="928" y="150"/>
                      </a:lnTo>
                      <a:lnTo>
                        <a:pt x="922" y="150"/>
                      </a:lnTo>
                      <a:lnTo>
                        <a:pt x="912" y="148"/>
                      </a:lnTo>
                      <a:lnTo>
                        <a:pt x="900" y="148"/>
                      </a:lnTo>
                      <a:lnTo>
                        <a:pt x="888" y="148"/>
                      </a:lnTo>
                      <a:lnTo>
                        <a:pt x="884" y="148"/>
                      </a:lnTo>
                      <a:lnTo>
                        <a:pt x="882" y="150"/>
                      </a:lnTo>
                      <a:lnTo>
                        <a:pt x="882" y="154"/>
                      </a:lnTo>
                      <a:lnTo>
                        <a:pt x="884" y="158"/>
                      </a:lnTo>
                      <a:lnTo>
                        <a:pt x="884" y="158"/>
                      </a:lnTo>
                      <a:lnTo>
                        <a:pt x="886" y="160"/>
                      </a:lnTo>
                      <a:lnTo>
                        <a:pt x="886" y="162"/>
                      </a:lnTo>
                      <a:lnTo>
                        <a:pt x="878" y="160"/>
                      </a:lnTo>
                      <a:lnTo>
                        <a:pt x="866" y="156"/>
                      </a:lnTo>
                      <a:lnTo>
                        <a:pt x="850" y="150"/>
                      </a:lnTo>
                      <a:lnTo>
                        <a:pt x="834" y="148"/>
                      </a:lnTo>
                      <a:lnTo>
                        <a:pt x="824" y="148"/>
                      </a:lnTo>
                      <a:lnTo>
                        <a:pt x="814" y="148"/>
                      </a:lnTo>
                      <a:lnTo>
                        <a:pt x="806" y="152"/>
                      </a:lnTo>
                      <a:lnTo>
                        <a:pt x="796" y="156"/>
                      </a:lnTo>
                      <a:lnTo>
                        <a:pt x="788" y="164"/>
                      </a:lnTo>
                      <a:lnTo>
                        <a:pt x="782" y="172"/>
                      </a:lnTo>
                      <a:lnTo>
                        <a:pt x="782" y="172"/>
                      </a:lnTo>
                      <a:lnTo>
                        <a:pt x="770" y="190"/>
                      </a:lnTo>
                      <a:lnTo>
                        <a:pt x="772" y="180"/>
                      </a:lnTo>
                      <a:lnTo>
                        <a:pt x="776" y="168"/>
                      </a:lnTo>
                      <a:lnTo>
                        <a:pt x="776" y="154"/>
                      </a:lnTo>
                      <a:lnTo>
                        <a:pt x="774" y="138"/>
                      </a:lnTo>
                      <a:lnTo>
                        <a:pt x="772" y="132"/>
                      </a:lnTo>
                      <a:lnTo>
                        <a:pt x="766" y="124"/>
                      </a:lnTo>
                      <a:lnTo>
                        <a:pt x="766" y="124"/>
                      </a:lnTo>
                      <a:lnTo>
                        <a:pt x="756" y="114"/>
                      </a:lnTo>
                      <a:lnTo>
                        <a:pt x="746" y="108"/>
                      </a:lnTo>
                      <a:lnTo>
                        <a:pt x="732" y="108"/>
                      </a:lnTo>
                      <a:lnTo>
                        <a:pt x="716" y="110"/>
                      </a:lnTo>
                      <a:lnTo>
                        <a:pt x="672" y="120"/>
                      </a:lnTo>
                      <a:lnTo>
                        <a:pt x="640" y="126"/>
                      </a:lnTo>
                      <a:lnTo>
                        <a:pt x="598" y="130"/>
                      </a:lnTo>
                      <a:lnTo>
                        <a:pt x="598" y="130"/>
                      </a:lnTo>
                      <a:lnTo>
                        <a:pt x="558" y="136"/>
                      </a:lnTo>
                      <a:lnTo>
                        <a:pt x="526" y="140"/>
                      </a:lnTo>
                      <a:lnTo>
                        <a:pt x="502" y="146"/>
                      </a:lnTo>
                      <a:lnTo>
                        <a:pt x="484" y="152"/>
                      </a:lnTo>
                      <a:lnTo>
                        <a:pt x="472" y="156"/>
                      </a:lnTo>
                      <a:lnTo>
                        <a:pt x="466" y="164"/>
                      </a:lnTo>
                      <a:lnTo>
                        <a:pt x="466" y="166"/>
                      </a:lnTo>
                      <a:lnTo>
                        <a:pt x="466" y="170"/>
                      </a:lnTo>
                      <a:lnTo>
                        <a:pt x="470" y="176"/>
                      </a:lnTo>
                      <a:lnTo>
                        <a:pt x="470" y="176"/>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grpSp>
          <p:sp>
            <p:nvSpPr>
              <p:cNvPr id="242" name="Freeform 6134">
                <a:extLst>
                  <a:ext uri="{FF2B5EF4-FFF2-40B4-BE49-F238E27FC236}">
                    <a16:creationId xmlns:a16="http://schemas.microsoft.com/office/drawing/2014/main" id="{C74ADB82-13D1-D6D5-2817-21B6BEBA4CB9}"/>
                  </a:ext>
                </a:extLst>
              </p:cNvPr>
              <p:cNvSpPr>
                <a:spLocks/>
              </p:cNvSpPr>
              <p:nvPr/>
            </p:nvSpPr>
            <p:spPr bwMode="auto">
              <a:xfrm>
                <a:off x="3549194" y="3600446"/>
                <a:ext cx="3809" cy="5078"/>
              </a:xfrm>
              <a:custGeom>
                <a:avLst/>
                <a:gdLst/>
                <a:ahLst/>
                <a:cxnLst>
                  <a:cxn ang="0">
                    <a:pos x="2" y="8"/>
                  </a:cxn>
                  <a:cxn ang="0">
                    <a:pos x="2" y="8"/>
                  </a:cxn>
                  <a:cxn ang="0">
                    <a:pos x="4" y="8"/>
                  </a:cxn>
                  <a:cxn ang="0">
                    <a:pos x="6" y="4"/>
                  </a:cxn>
                  <a:cxn ang="0">
                    <a:pos x="6" y="2"/>
                  </a:cxn>
                  <a:cxn ang="0">
                    <a:pos x="6" y="0"/>
                  </a:cxn>
                  <a:cxn ang="0">
                    <a:pos x="6" y="0"/>
                  </a:cxn>
                  <a:cxn ang="0">
                    <a:pos x="4" y="2"/>
                  </a:cxn>
                  <a:cxn ang="0">
                    <a:pos x="2" y="4"/>
                  </a:cxn>
                  <a:cxn ang="0">
                    <a:pos x="0" y="6"/>
                  </a:cxn>
                  <a:cxn ang="0">
                    <a:pos x="2" y="8"/>
                  </a:cxn>
                  <a:cxn ang="0">
                    <a:pos x="2" y="8"/>
                  </a:cxn>
                </a:cxnLst>
                <a:rect l="0" t="0" r="r" b="b"/>
                <a:pathLst>
                  <a:path w="6" h="8">
                    <a:moveTo>
                      <a:pt x="2" y="8"/>
                    </a:moveTo>
                    <a:lnTo>
                      <a:pt x="2" y="8"/>
                    </a:lnTo>
                    <a:lnTo>
                      <a:pt x="4" y="8"/>
                    </a:lnTo>
                    <a:lnTo>
                      <a:pt x="6" y="4"/>
                    </a:lnTo>
                    <a:lnTo>
                      <a:pt x="6" y="2"/>
                    </a:lnTo>
                    <a:lnTo>
                      <a:pt x="6" y="0"/>
                    </a:lnTo>
                    <a:lnTo>
                      <a:pt x="6" y="0"/>
                    </a:lnTo>
                    <a:lnTo>
                      <a:pt x="4" y="2"/>
                    </a:lnTo>
                    <a:lnTo>
                      <a:pt x="2" y="4"/>
                    </a:lnTo>
                    <a:lnTo>
                      <a:pt x="0" y="6"/>
                    </a:lnTo>
                    <a:lnTo>
                      <a:pt x="2" y="8"/>
                    </a:lnTo>
                    <a:lnTo>
                      <a:pt x="2" y="8"/>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43" name="Freeform 6135">
                <a:extLst>
                  <a:ext uri="{FF2B5EF4-FFF2-40B4-BE49-F238E27FC236}">
                    <a16:creationId xmlns:a16="http://schemas.microsoft.com/office/drawing/2014/main" id="{B55C7CFB-FA21-C17A-9659-11893B6AE7E8}"/>
                  </a:ext>
                </a:extLst>
              </p:cNvPr>
              <p:cNvSpPr>
                <a:spLocks/>
              </p:cNvSpPr>
              <p:nvPr/>
            </p:nvSpPr>
            <p:spPr bwMode="auto">
              <a:xfrm>
                <a:off x="3554423" y="3592171"/>
                <a:ext cx="1587" cy="1586"/>
              </a:xfrm>
              <a:custGeom>
                <a:avLst/>
                <a:gdLst/>
                <a:ahLst/>
                <a:cxnLst>
                  <a:cxn ang="0">
                    <a:pos x="0" y="4"/>
                  </a:cxn>
                  <a:cxn ang="0">
                    <a:pos x="0" y="4"/>
                  </a:cxn>
                  <a:cxn ang="0">
                    <a:pos x="2" y="4"/>
                  </a:cxn>
                  <a:cxn ang="0">
                    <a:pos x="4" y="2"/>
                  </a:cxn>
                  <a:cxn ang="0">
                    <a:pos x="4" y="0"/>
                  </a:cxn>
                  <a:cxn ang="0">
                    <a:pos x="4" y="0"/>
                  </a:cxn>
                  <a:cxn ang="0">
                    <a:pos x="2" y="0"/>
                  </a:cxn>
                  <a:cxn ang="0">
                    <a:pos x="0" y="0"/>
                  </a:cxn>
                  <a:cxn ang="0">
                    <a:pos x="0" y="2"/>
                  </a:cxn>
                  <a:cxn ang="0">
                    <a:pos x="0" y="4"/>
                  </a:cxn>
                  <a:cxn ang="0">
                    <a:pos x="0" y="4"/>
                  </a:cxn>
                </a:cxnLst>
                <a:rect l="0" t="0" r="r" b="b"/>
                <a:pathLst>
                  <a:path w="4" h="4">
                    <a:moveTo>
                      <a:pt x="0" y="4"/>
                    </a:moveTo>
                    <a:lnTo>
                      <a:pt x="0" y="4"/>
                    </a:lnTo>
                    <a:lnTo>
                      <a:pt x="2" y="4"/>
                    </a:lnTo>
                    <a:lnTo>
                      <a:pt x="4" y="2"/>
                    </a:lnTo>
                    <a:lnTo>
                      <a:pt x="4" y="0"/>
                    </a:lnTo>
                    <a:lnTo>
                      <a:pt x="4" y="0"/>
                    </a:lnTo>
                    <a:lnTo>
                      <a:pt x="2" y="0"/>
                    </a:lnTo>
                    <a:lnTo>
                      <a:pt x="0" y="0"/>
                    </a:lnTo>
                    <a:lnTo>
                      <a:pt x="0" y="2"/>
                    </a:lnTo>
                    <a:lnTo>
                      <a:pt x="0" y="4"/>
                    </a:lnTo>
                    <a:lnTo>
                      <a:pt x="0" y="4"/>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44" name="Freeform 6136">
                <a:extLst>
                  <a:ext uri="{FF2B5EF4-FFF2-40B4-BE49-F238E27FC236}">
                    <a16:creationId xmlns:a16="http://schemas.microsoft.com/office/drawing/2014/main" id="{F9E8B9FC-EEBC-EA5B-D2B2-990EF9F2DA14}"/>
                  </a:ext>
                </a:extLst>
              </p:cNvPr>
              <p:cNvSpPr>
                <a:spLocks/>
              </p:cNvSpPr>
              <p:nvPr/>
            </p:nvSpPr>
            <p:spPr bwMode="auto">
              <a:xfrm>
                <a:off x="3542704" y="3591559"/>
                <a:ext cx="3809" cy="5078"/>
              </a:xfrm>
              <a:custGeom>
                <a:avLst/>
                <a:gdLst/>
                <a:ahLst/>
                <a:cxnLst>
                  <a:cxn ang="0">
                    <a:pos x="6" y="2"/>
                  </a:cxn>
                  <a:cxn ang="0">
                    <a:pos x="6" y="2"/>
                  </a:cxn>
                  <a:cxn ang="0">
                    <a:pos x="4" y="0"/>
                  </a:cxn>
                  <a:cxn ang="0">
                    <a:pos x="0" y="2"/>
                  </a:cxn>
                  <a:cxn ang="0">
                    <a:pos x="0" y="6"/>
                  </a:cxn>
                  <a:cxn ang="0">
                    <a:pos x="0" y="8"/>
                  </a:cxn>
                  <a:cxn ang="0">
                    <a:pos x="0" y="8"/>
                  </a:cxn>
                  <a:cxn ang="0">
                    <a:pos x="4" y="6"/>
                  </a:cxn>
                  <a:cxn ang="0">
                    <a:pos x="6" y="4"/>
                  </a:cxn>
                  <a:cxn ang="0">
                    <a:pos x="6" y="2"/>
                  </a:cxn>
                  <a:cxn ang="0">
                    <a:pos x="6" y="2"/>
                  </a:cxn>
                </a:cxnLst>
                <a:rect l="0" t="0" r="r" b="b"/>
                <a:pathLst>
                  <a:path w="6" h="8">
                    <a:moveTo>
                      <a:pt x="6" y="2"/>
                    </a:moveTo>
                    <a:lnTo>
                      <a:pt x="6" y="2"/>
                    </a:lnTo>
                    <a:lnTo>
                      <a:pt x="4" y="0"/>
                    </a:lnTo>
                    <a:lnTo>
                      <a:pt x="0" y="2"/>
                    </a:lnTo>
                    <a:lnTo>
                      <a:pt x="0" y="6"/>
                    </a:lnTo>
                    <a:lnTo>
                      <a:pt x="0" y="8"/>
                    </a:lnTo>
                    <a:lnTo>
                      <a:pt x="0" y="8"/>
                    </a:lnTo>
                    <a:lnTo>
                      <a:pt x="4" y="6"/>
                    </a:lnTo>
                    <a:lnTo>
                      <a:pt x="6" y="4"/>
                    </a:lnTo>
                    <a:lnTo>
                      <a:pt x="6" y="2"/>
                    </a:lnTo>
                    <a:lnTo>
                      <a:pt x="6" y="2"/>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45" name="Freeform 6138">
                <a:extLst>
                  <a:ext uri="{FF2B5EF4-FFF2-40B4-BE49-F238E27FC236}">
                    <a16:creationId xmlns:a16="http://schemas.microsoft.com/office/drawing/2014/main" id="{A1C3EE17-08A4-9902-0A52-36B71580146F}"/>
                  </a:ext>
                </a:extLst>
              </p:cNvPr>
              <p:cNvSpPr>
                <a:spLocks/>
              </p:cNvSpPr>
              <p:nvPr/>
            </p:nvSpPr>
            <p:spPr bwMode="auto">
              <a:xfrm>
                <a:off x="3544121" y="3604181"/>
                <a:ext cx="2539" cy="3809"/>
              </a:xfrm>
              <a:custGeom>
                <a:avLst/>
                <a:gdLst/>
                <a:ahLst/>
                <a:cxnLst>
                  <a:cxn ang="0">
                    <a:pos x="2" y="0"/>
                  </a:cxn>
                  <a:cxn ang="0">
                    <a:pos x="2" y="0"/>
                  </a:cxn>
                  <a:cxn ang="0">
                    <a:pos x="0" y="0"/>
                  </a:cxn>
                  <a:cxn ang="0">
                    <a:pos x="0" y="2"/>
                  </a:cxn>
                  <a:cxn ang="0">
                    <a:pos x="0" y="4"/>
                  </a:cxn>
                  <a:cxn ang="0">
                    <a:pos x="2" y="6"/>
                  </a:cxn>
                  <a:cxn ang="0">
                    <a:pos x="2" y="6"/>
                  </a:cxn>
                  <a:cxn ang="0">
                    <a:pos x="4" y="6"/>
                  </a:cxn>
                  <a:cxn ang="0">
                    <a:pos x="4" y="4"/>
                  </a:cxn>
                  <a:cxn ang="0">
                    <a:pos x="4" y="2"/>
                  </a:cxn>
                  <a:cxn ang="0">
                    <a:pos x="2" y="0"/>
                  </a:cxn>
                  <a:cxn ang="0">
                    <a:pos x="2" y="0"/>
                  </a:cxn>
                </a:cxnLst>
                <a:rect l="0" t="0" r="r" b="b"/>
                <a:pathLst>
                  <a:path w="4" h="6">
                    <a:moveTo>
                      <a:pt x="2" y="0"/>
                    </a:moveTo>
                    <a:lnTo>
                      <a:pt x="2" y="0"/>
                    </a:lnTo>
                    <a:lnTo>
                      <a:pt x="0" y="0"/>
                    </a:lnTo>
                    <a:lnTo>
                      <a:pt x="0" y="2"/>
                    </a:lnTo>
                    <a:lnTo>
                      <a:pt x="0" y="4"/>
                    </a:lnTo>
                    <a:lnTo>
                      <a:pt x="2" y="6"/>
                    </a:lnTo>
                    <a:lnTo>
                      <a:pt x="2" y="6"/>
                    </a:lnTo>
                    <a:lnTo>
                      <a:pt x="4" y="6"/>
                    </a:lnTo>
                    <a:lnTo>
                      <a:pt x="4" y="4"/>
                    </a:lnTo>
                    <a:lnTo>
                      <a:pt x="4" y="2"/>
                    </a:lnTo>
                    <a:lnTo>
                      <a:pt x="2" y="0"/>
                    </a:lnTo>
                    <a:lnTo>
                      <a:pt x="2" y="0"/>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46" name="Freeform 6144">
                <a:extLst>
                  <a:ext uri="{FF2B5EF4-FFF2-40B4-BE49-F238E27FC236}">
                    <a16:creationId xmlns:a16="http://schemas.microsoft.com/office/drawing/2014/main" id="{0E183444-CE30-13F1-339F-9BDD0C58F230}"/>
                  </a:ext>
                </a:extLst>
              </p:cNvPr>
              <p:cNvSpPr>
                <a:spLocks/>
              </p:cNvSpPr>
              <p:nvPr/>
            </p:nvSpPr>
            <p:spPr bwMode="auto">
              <a:xfrm>
                <a:off x="3540105" y="3582584"/>
                <a:ext cx="5081" cy="3809"/>
              </a:xfrm>
              <a:custGeom>
                <a:avLst/>
                <a:gdLst/>
                <a:ahLst/>
                <a:cxnLst>
                  <a:cxn ang="0">
                    <a:pos x="8" y="2"/>
                  </a:cxn>
                  <a:cxn ang="0">
                    <a:pos x="8" y="2"/>
                  </a:cxn>
                  <a:cxn ang="0">
                    <a:pos x="8" y="0"/>
                  </a:cxn>
                  <a:cxn ang="0">
                    <a:pos x="6" y="0"/>
                  </a:cxn>
                  <a:cxn ang="0">
                    <a:pos x="4" y="0"/>
                  </a:cxn>
                  <a:cxn ang="0">
                    <a:pos x="0" y="2"/>
                  </a:cxn>
                  <a:cxn ang="0">
                    <a:pos x="0" y="4"/>
                  </a:cxn>
                  <a:cxn ang="0">
                    <a:pos x="0" y="6"/>
                  </a:cxn>
                  <a:cxn ang="0">
                    <a:pos x="0" y="6"/>
                  </a:cxn>
                  <a:cxn ang="0">
                    <a:pos x="4" y="6"/>
                  </a:cxn>
                  <a:cxn ang="0">
                    <a:pos x="8" y="2"/>
                  </a:cxn>
                  <a:cxn ang="0">
                    <a:pos x="8" y="2"/>
                  </a:cxn>
                </a:cxnLst>
                <a:rect l="0" t="0" r="r" b="b"/>
                <a:pathLst>
                  <a:path w="8" h="6">
                    <a:moveTo>
                      <a:pt x="8" y="2"/>
                    </a:moveTo>
                    <a:lnTo>
                      <a:pt x="8" y="2"/>
                    </a:lnTo>
                    <a:lnTo>
                      <a:pt x="8" y="0"/>
                    </a:lnTo>
                    <a:lnTo>
                      <a:pt x="6" y="0"/>
                    </a:lnTo>
                    <a:lnTo>
                      <a:pt x="4" y="0"/>
                    </a:lnTo>
                    <a:lnTo>
                      <a:pt x="0" y="2"/>
                    </a:lnTo>
                    <a:lnTo>
                      <a:pt x="0" y="4"/>
                    </a:lnTo>
                    <a:lnTo>
                      <a:pt x="0" y="6"/>
                    </a:lnTo>
                    <a:lnTo>
                      <a:pt x="0" y="6"/>
                    </a:lnTo>
                    <a:lnTo>
                      <a:pt x="4" y="6"/>
                    </a:lnTo>
                    <a:lnTo>
                      <a:pt x="8" y="2"/>
                    </a:lnTo>
                    <a:lnTo>
                      <a:pt x="8" y="2"/>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47" name="Freeform 6149">
                <a:extLst>
                  <a:ext uri="{FF2B5EF4-FFF2-40B4-BE49-F238E27FC236}">
                    <a16:creationId xmlns:a16="http://schemas.microsoft.com/office/drawing/2014/main" id="{F1C1CC29-AF88-551E-20BA-5ABE5023C2D6}"/>
                  </a:ext>
                </a:extLst>
              </p:cNvPr>
              <p:cNvSpPr>
                <a:spLocks/>
              </p:cNvSpPr>
              <p:nvPr/>
            </p:nvSpPr>
            <p:spPr bwMode="auto">
              <a:xfrm>
                <a:off x="3533726" y="3592044"/>
                <a:ext cx="3175" cy="1586"/>
              </a:xfrm>
              <a:custGeom>
                <a:avLst/>
                <a:gdLst/>
                <a:ahLst/>
                <a:cxnLst>
                  <a:cxn ang="0">
                    <a:pos x="0" y="4"/>
                  </a:cxn>
                  <a:cxn ang="0">
                    <a:pos x="0" y="4"/>
                  </a:cxn>
                  <a:cxn ang="0">
                    <a:pos x="2" y="4"/>
                  </a:cxn>
                  <a:cxn ang="0">
                    <a:pos x="6" y="2"/>
                  </a:cxn>
                  <a:cxn ang="0">
                    <a:pos x="6" y="2"/>
                  </a:cxn>
                  <a:cxn ang="0">
                    <a:pos x="6" y="0"/>
                  </a:cxn>
                  <a:cxn ang="0">
                    <a:pos x="2" y="2"/>
                  </a:cxn>
                  <a:cxn ang="0">
                    <a:pos x="0" y="2"/>
                  </a:cxn>
                  <a:cxn ang="0">
                    <a:pos x="0" y="4"/>
                  </a:cxn>
                  <a:cxn ang="0">
                    <a:pos x="0" y="4"/>
                  </a:cxn>
                </a:cxnLst>
                <a:rect l="0" t="0" r="r" b="b"/>
                <a:pathLst>
                  <a:path w="6" h="4">
                    <a:moveTo>
                      <a:pt x="0" y="4"/>
                    </a:moveTo>
                    <a:lnTo>
                      <a:pt x="0" y="4"/>
                    </a:lnTo>
                    <a:lnTo>
                      <a:pt x="2" y="4"/>
                    </a:lnTo>
                    <a:lnTo>
                      <a:pt x="6" y="2"/>
                    </a:lnTo>
                    <a:lnTo>
                      <a:pt x="6" y="2"/>
                    </a:lnTo>
                    <a:lnTo>
                      <a:pt x="6" y="0"/>
                    </a:lnTo>
                    <a:lnTo>
                      <a:pt x="2" y="2"/>
                    </a:lnTo>
                    <a:lnTo>
                      <a:pt x="0" y="2"/>
                    </a:lnTo>
                    <a:lnTo>
                      <a:pt x="0" y="4"/>
                    </a:lnTo>
                    <a:lnTo>
                      <a:pt x="0" y="4"/>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sp>
            <p:nvSpPr>
              <p:cNvPr id="248" name="Freeform 6150">
                <a:extLst>
                  <a:ext uri="{FF2B5EF4-FFF2-40B4-BE49-F238E27FC236}">
                    <a16:creationId xmlns:a16="http://schemas.microsoft.com/office/drawing/2014/main" id="{5152EE2F-FF8A-9292-C170-266C0B00921D}"/>
                  </a:ext>
                </a:extLst>
              </p:cNvPr>
              <p:cNvSpPr>
                <a:spLocks/>
              </p:cNvSpPr>
              <p:nvPr/>
            </p:nvSpPr>
            <p:spPr bwMode="auto">
              <a:xfrm>
                <a:off x="3536330" y="3600797"/>
                <a:ext cx="3809" cy="2539"/>
              </a:xfrm>
              <a:custGeom>
                <a:avLst/>
                <a:gdLst/>
                <a:ahLst/>
                <a:cxnLst>
                  <a:cxn ang="0">
                    <a:pos x="4" y="0"/>
                  </a:cxn>
                  <a:cxn ang="0">
                    <a:pos x="4" y="0"/>
                  </a:cxn>
                  <a:cxn ang="0">
                    <a:pos x="2" y="2"/>
                  </a:cxn>
                  <a:cxn ang="0">
                    <a:pos x="0" y="2"/>
                  </a:cxn>
                  <a:cxn ang="0">
                    <a:pos x="2" y="4"/>
                  </a:cxn>
                  <a:cxn ang="0">
                    <a:pos x="4" y="4"/>
                  </a:cxn>
                  <a:cxn ang="0">
                    <a:pos x="4" y="4"/>
                  </a:cxn>
                  <a:cxn ang="0">
                    <a:pos x="6" y="2"/>
                  </a:cxn>
                  <a:cxn ang="0">
                    <a:pos x="6" y="2"/>
                  </a:cxn>
                  <a:cxn ang="0">
                    <a:pos x="4" y="0"/>
                  </a:cxn>
                  <a:cxn ang="0">
                    <a:pos x="4" y="0"/>
                  </a:cxn>
                </a:cxnLst>
                <a:rect l="0" t="0" r="r" b="b"/>
                <a:pathLst>
                  <a:path w="6" h="4">
                    <a:moveTo>
                      <a:pt x="4" y="0"/>
                    </a:moveTo>
                    <a:lnTo>
                      <a:pt x="4" y="0"/>
                    </a:lnTo>
                    <a:lnTo>
                      <a:pt x="2" y="2"/>
                    </a:lnTo>
                    <a:lnTo>
                      <a:pt x="0" y="2"/>
                    </a:lnTo>
                    <a:lnTo>
                      <a:pt x="2" y="4"/>
                    </a:lnTo>
                    <a:lnTo>
                      <a:pt x="4" y="4"/>
                    </a:lnTo>
                    <a:lnTo>
                      <a:pt x="4" y="4"/>
                    </a:lnTo>
                    <a:lnTo>
                      <a:pt x="6" y="2"/>
                    </a:lnTo>
                    <a:lnTo>
                      <a:pt x="6" y="2"/>
                    </a:lnTo>
                    <a:lnTo>
                      <a:pt x="4" y="0"/>
                    </a:lnTo>
                    <a:lnTo>
                      <a:pt x="4" y="0"/>
                    </a:lnTo>
                    <a:close/>
                  </a:path>
                </a:pathLst>
              </a:custGeom>
              <a:grpFill/>
              <a:ln w="6350">
                <a:noFill/>
                <a:round/>
                <a:headEnd/>
                <a:tailEnd/>
              </a:ln>
            </p:spPr>
            <p:txBody>
              <a:bodyPr/>
              <a:lstStyle/>
              <a:p>
                <a:endParaRPr lang="en-US" sz="1600" b="1">
                  <a:latin typeface="Segoe UI" panose="020B0502040204020203" pitchFamily="34" charset="0"/>
                  <a:cs typeface="Segoe UI" panose="020B0502040204020203" pitchFamily="34" charset="0"/>
                </a:endParaRPr>
              </a:p>
            </p:txBody>
          </p:sp>
        </p:grpSp>
        <p:graphicFrame>
          <p:nvGraphicFramePr>
            <p:cNvPr id="293" name="Chart 292" descr="This is a chart.">
              <a:extLst>
                <a:ext uri="{FF2B5EF4-FFF2-40B4-BE49-F238E27FC236}">
                  <a16:creationId xmlns:a16="http://schemas.microsoft.com/office/drawing/2014/main" id="{711068C6-AA15-104F-7AF0-69E5B87BA5A3}"/>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1984521431"/>
                </p:ext>
              </p:extLst>
            </p:nvPr>
          </p:nvGraphicFramePr>
          <p:xfrm>
            <a:off x="5869213" y="4580201"/>
            <a:ext cx="1825175" cy="1595013"/>
          </p:xfrm>
          <a:graphic>
            <a:graphicData uri="http://schemas.openxmlformats.org/drawingml/2006/chart">
              <c:chart xmlns:c="http://schemas.openxmlformats.org/drawingml/2006/chart" xmlns:r="http://schemas.openxmlformats.org/officeDocument/2006/relationships" r:id="rId2"/>
            </a:graphicData>
          </a:graphic>
        </p:graphicFrame>
        <p:sp>
          <p:nvSpPr>
            <p:cNvPr id="294" name="Rectangle 293">
              <a:extLst>
                <a:ext uri="{FF2B5EF4-FFF2-40B4-BE49-F238E27FC236}">
                  <a16:creationId xmlns:a16="http://schemas.microsoft.com/office/drawing/2014/main" id="{87276EB9-E996-198A-17B9-4B087DC2B67C}"/>
                </a:ext>
              </a:extLst>
            </p:cNvPr>
            <p:cNvSpPr/>
            <p:nvPr/>
          </p:nvSpPr>
          <p:spPr>
            <a:xfrm>
              <a:off x="4625346" y="5043425"/>
              <a:ext cx="1331136" cy="276999"/>
            </a:xfrm>
            <a:prstGeom prst="rect">
              <a:avLst/>
            </a:prstGeom>
            <a:solidFill>
              <a:srgbClr val="D6222B"/>
            </a:solidFill>
          </p:spPr>
          <p:txBody>
            <a:bodyPr wrap="none">
              <a:noAutofit/>
            </a:bodyPr>
            <a:lstStyle/>
            <a:p>
              <a:pPr algn="ctr">
                <a:spcBef>
                  <a:spcPts val="600"/>
                </a:spcBef>
              </a:pPr>
              <a:r>
                <a:rPr lang="en-US" sz="1100">
                  <a:solidFill>
                    <a:schemeClr val="bg1"/>
                  </a:solidFill>
                  <a:latin typeface="Segoe UI" panose="020B0502040204020203" pitchFamily="34" charset="0"/>
                  <a:cs typeface="Segoe UI" panose="020B0502040204020203" pitchFamily="34" charset="0"/>
                </a:rPr>
                <a:t>Lorem Ipsum</a:t>
              </a:r>
            </a:p>
          </p:txBody>
        </p:sp>
        <p:sp>
          <p:nvSpPr>
            <p:cNvPr id="295" name="Rectangle 294">
              <a:extLst>
                <a:ext uri="{FF2B5EF4-FFF2-40B4-BE49-F238E27FC236}">
                  <a16:creationId xmlns:a16="http://schemas.microsoft.com/office/drawing/2014/main" id="{C4AB91CF-5C50-35C5-1E67-79E7ED05060E}"/>
                </a:ext>
              </a:extLst>
            </p:cNvPr>
            <p:cNvSpPr/>
            <p:nvPr/>
          </p:nvSpPr>
          <p:spPr>
            <a:xfrm>
              <a:off x="4625346" y="5794370"/>
              <a:ext cx="1331136" cy="276999"/>
            </a:xfrm>
            <a:prstGeom prst="rect">
              <a:avLst/>
            </a:prstGeom>
            <a:solidFill>
              <a:srgbClr val="404040"/>
            </a:solidFill>
          </p:spPr>
          <p:txBody>
            <a:bodyPr wrap="none">
              <a:noAutofit/>
            </a:bodyPr>
            <a:lstStyle/>
            <a:p>
              <a:pPr algn="ctr">
                <a:spcBef>
                  <a:spcPts val="600"/>
                </a:spcBef>
              </a:pPr>
              <a:r>
                <a:rPr lang="en-US" sz="1100">
                  <a:solidFill>
                    <a:schemeClr val="bg1"/>
                  </a:solidFill>
                  <a:latin typeface="Segoe UI" panose="020B0502040204020203" pitchFamily="34" charset="0"/>
                  <a:cs typeface="Segoe UI" panose="020B0502040204020203" pitchFamily="34" charset="0"/>
                </a:rPr>
                <a:t>Lorem Ipsum</a:t>
              </a:r>
            </a:p>
          </p:txBody>
        </p:sp>
        <p:sp>
          <p:nvSpPr>
            <p:cNvPr id="296" name="Rectangle 295">
              <a:extLst>
                <a:ext uri="{FF2B5EF4-FFF2-40B4-BE49-F238E27FC236}">
                  <a16:creationId xmlns:a16="http://schemas.microsoft.com/office/drawing/2014/main" id="{46585066-AFFD-3D27-7B9F-FB1041306BBA}"/>
                </a:ext>
              </a:extLst>
            </p:cNvPr>
            <p:cNvSpPr/>
            <p:nvPr/>
          </p:nvSpPr>
          <p:spPr>
            <a:xfrm>
              <a:off x="4807597" y="4564487"/>
              <a:ext cx="959790" cy="406265"/>
            </a:xfrm>
            <a:prstGeom prst="rect">
              <a:avLst/>
            </a:prstGeom>
          </p:spPr>
          <p:txBody>
            <a:bodyPr wrap="square" lIns="0" tIns="0" rIns="0" bIns="0">
              <a:spAutoFit/>
            </a:bodyPr>
            <a:lstStyle/>
            <a:p>
              <a:pPr algn="ctr">
                <a:spcBef>
                  <a:spcPts val="600"/>
                </a:spcBef>
              </a:pPr>
              <a:r>
                <a:rPr lang="en-US" sz="2400" b="1">
                  <a:solidFill>
                    <a:srgbClr val="D6222B"/>
                  </a:solidFill>
                  <a:latin typeface="Segoe UI" panose="020B0502040204020203" pitchFamily="34" charset="0"/>
                  <a:cs typeface="Segoe UI" panose="020B0502040204020203" pitchFamily="34" charset="0"/>
                </a:rPr>
                <a:t>87%</a:t>
              </a:r>
            </a:p>
          </p:txBody>
        </p:sp>
        <p:sp>
          <p:nvSpPr>
            <p:cNvPr id="297" name="Rectangle 296">
              <a:extLst>
                <a:ext uri="{FF2B5EF4-FFF2-40B4-BE49-F238E27FC236}">
                  <a16:creationId xmlns:a16="http://schemas.microsoft.com/office/drawing/2014/main" id="{94A4CCDB-79CE-8F08-70BF-F4E6E1007708}"/>
                </a:ext>
              </a:extLst>
            </p:cNvPr>
            <p:cNvSpPr/>
            <p:nvPr/>
          </p:nvSpPr>
          <p:spPr>
            <a:xfrm>
              <a:off x="4807597" y="5335127"/>
              <a:ext cx="959790" cy="406265"/>
            </a:xfrm>
            <a:prstGeom prst="rect">
              <a:avLst/>
            </a:prstGeom>
          </p:spPr>
          <p:txBody>
            <a:bodyPr wrap="square" lIns="0" tIns="0" rIns="0" bIns="0">
              <a:spAutoFit/>
            </a:bodyPr>
            <a:lstStyle/>
            <a:p>
              <a:pPr algn="ctr">
                <a:spcBef>
                  <a:spcPts val="600"/>
                </a:spcBef>
              </a:pPr>
              <a:r>
                <a:rPr lang="en-US" sz="2400" b="1">
                  <a:solidFill>
                    <a:srgbClr val="404040"/>
                  </a:solidFill>
                  <a:latin typeface="Segoe UI" panose="020B0502040204020203" pitchFamily="34" charset="0"/>
                  <a:cs typeface="Segoe UI" panose="020B0502040204020203" pitchFamily="34" charset="0"/>
                </a:rPr>
                <a:t>42%</a:t>
              </a:r>
            </a:p>
          </p:txBody>
        </p:sp>
        <p:sp>
          <p:nvSpPr>
            <p:cNvPr id="298" name="Oval 297">
              <a:extLst>
                <a:ext uri="{FF2B5EF4-FFF2-40B4-BE49-F238E27FC236}">
                  <a16:creationId xmlns:a16="http://schemas.microsoft.com/office/drawing/2014/main" id="{275AE70D-2E15-11A9-955B-08BAD6710071}"/>
                </a:ext>
                <a:ext uri="{C183D7F6-B498-43B3-948B-1728B52AA6E4}">
                  <adec:decorative xmlns:adec="http://schemas.microsoft.com/office/drawing/2017/decorative" val="1"/>
                </a:ext>
              </a:extLst>
            </p:cNvPr>
            <p:cNvSpPr/>
            <p:nvPr/>
          </p:nvSpPr>
          <p:spPr>
            <a:xfrm>
              <a:off x="8467385" y="4060864"/>
              <a:ext cx="581993" cy="581993"/>
            </a:xfrm>
            <a:prstGeom prst="ellipse">
              <a:avLst/>
            </a:prstGeom>
            <a:solidFill>
              <a:srgbClr val="D6222B"/>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Segoe UI" panose="020B0502040204020203" pitchFamily="34" charset="0"/>
                <a:cs typeface="Segoe UI" panose="020B0502040204020203" pitchFamily="34" charset="0"/>
              </a:endParaRPr>
            </a:p>
          </p:txBody>
        </p:sp>
        <p:sp>
          <p:nvSpPr>
            <p:cNvPr id="299" name="Oval 298">
              <a:extLst>
                <a:ext uri="{FF2B5EF4-FFF2-40B4-BE49-F238E27FC236}">
                  <a16:creationId xmlns:a16="http://schemas.microsoft.com/office/drawing/2014/main" id="{5AB2ABF7-25BC-8BD8-4E8A-A25F2E3D7B06}"/>
                </a:ext>
                <a:ext uri="{C183D7F6-B498-43B3-948B-1728B52AA6E4}">
                  <adec:decorative xmlns:adec="http://schemas.microsoft.com/office/drawing/2017/decorative" val="1"/>
                </a:ext>
              </a:extLst>
            </p:cNvPr>
            <p:cNvSpPr/>
            <p:nvPr/>
          </p:nvSpPr>
          <p:spPr>
            <a:xfrm>
              <a:off x="8467385" y="4877162"/>
              <a:ext cx="581993" cy="581993"/>
            </a:xfrm>
            <a:prstGeom prst="ellipse">
              <a:avLst/>
            </a:prstGeom>
            <a:solidFill>
              <a:srgbClr val="404040"/>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Segoe UI" panose="020B0502040204020203" pitchFamily="34" charset="0"/>
                <a:cs typeface="Segoe UI" panose="020B0502040204020203" pitchFamily="34" charset="0"/>
              </a:endParaRPr>
            </a:p>
          </p:txBody>
        </p:sp>
        <p:sp>
          <p:nvSpPr>
            <p:cNvPr id="300" name="Oval 299">
              <a:extLst>
                <a:ext uri="{FF2B5EF4-FFF2-40B4-BE49-F238E27FC236}">
                  <a16:creationId xmlns:a16="http://schemas.microsoft.com/office/drawing/2014/main" id="{DDBBF549-5541-B3D8-266E-11ED4A7FDC17}"/>
                </a:ext>
                <a:ext uri="{C183D7F6-B498-43B3-948B-1728B52AA6E4}">
                  <adec:decorative xmlns:adec="http://schemas.microsoft.com/office/drawing/2017/decorative" val="1"/>
                </a:ext>
              </a:extLst>
            </p:cNvPr>
            <p:cNvSpPr/>
            <p:nvPr/>
          </p:nvSpPr>
          <p:spPr>
            <a:xfrm>
              <a:off x="8467385" y="5693459"/>
              <a:ext cx="581993" cy="581993"/>
            </a:xfrm>
            <a:prstGeom prst="ellipse">
              <a:avLst/>
            </a:prstGeom>
            <a:solidFill>
              <a:srgbClr val="7F7F7F"/>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Segoe UI" panose="020B0502040204020203" pitchFamily="34" charset="0"/>
                <a:cs typeface="Segoe UI" panose="020B0502040204020203" pitchFamily="34" charset="0"/>
              </a:endParaRPr>
            </a:p>
          </p:txBody>
        </p:sp>
        <p:sp>
          <p:nvSpPr>
            <p:cNvPr id="301" name="Freeform 154" descr="This is the logo for Facebook.">
              <a:extLst>
                <a:ext uri="{FF2B5EF4-FFF2-40B4-BE49-F238E27FC236}">
                  <a16:creationId xmlns:a16="http://schemas.microsoft.com/office/drawing/2014/main" id="{235C4E67-F08C-E33C-8877-7EACD01C6993}"/>
                </a:ext>
              </a:extLst>
            </p:cNvPr>
            <p:cNvSpPr>
              <a:spLocks/>
            </p:cNvSpPr>
            <p:nvPr/>
          </p:nvSpPr>
          <p:spPr bwMode="auto">
            <a:xfrm>
              <a:off x="8689204" y="4222451"/>
              <a:ext cx="138355" cy="258819"/>
            </a:xfrm>
            <a:custGeom>
              <a:avLst/>
              <a:gdLst>
                <a:gd name="T0" fmla="*/ 49 w 49"/>
                <a:gd name="T1" fmla="*/ 28 h 92"/>
                <a:gd name="T2" fmla="*/ 32 w 49"/>
                <a:gd name="T3" fmla="*/ 28 h 92"/>
                <a:gd name="T4" fmla="*/ 32 w 49"/>
                <a:gd name="T5" fmla="*/ 20 h 92"/>
                <a:gd name="T6" fmla="*/ 36 w 49"/>
                <a:gd name="T7" fmla="*/ 16 h 92"/>
                <a:gd name="T8" fmla="*/ 48 w 49"/>
                <a:gd name="T9" fmla="*/ 16 h 92"/>
                <a:gd name="T10" fmla="*/ 48 w 49"/>
                <a:gd name="T11" fmla="*/ 0 h 92"/>
                <a:gd name="T12" fmla="*/ 31 w 49"/>
                <a:gd name="T13" fmla="*/ 0 h 92"/>
                <a:gd name="T14" fmla="*/ 12 w 49"/>
                <a:gd name="T15" fmla="*/ 19 h 92"/>
                <a:gd name="T16" fmla="*/ 12 w 49"/>
                <a:gd name="T17" fmla="*/ 28 h 92"/>
                <a:gd name="T18" fmla="*/ 0 w 49"/>
                <a:gd name="T19" fmla="*/ 28 h 92"/>
                <a:gd name="T20" fmla="*/ 0 w 49"/>
                <a:gd name="T21" fmla="*/ 44 h 92"/>
                <a:gd name="T22" fmla="*/ 12 w 49"/>
                <a:gd name="T23" fmla="*/ 44 h 92"/>
                <a:gd name="T24" fmla="*/ 12 w 49"/>
                <a:gd name="T25" fmla="*/ 92 h 92"/>
                <a:gd name="T26" fmla="*/ 32 w 49"/>
                <a:gd name="T27" fmla="*/ 92 h 92"/>
                <a:gd name="T28" fmla="*/ 32 w 49"/>
                <a:gd name="T29" fmla="*/ 44 h 92"/>
                <a:gd name="T30" fmla="*/ 47 w 49"/>
                <a:gd name="T31" fmla="*/ 44 h 92"/>
                <a:gd name="T32" fmla="*/ 49 w 49"/>
                <a:gd name="T33" fmla="*/ 2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2">
                  <a:moveTo>
                    <a:pt x="49" y="28"/>
                  </a:moveTo>
                  <a:cubicBezTo>
                    <a:pt x="32" y="28"/>
                    <a:pt x="32" y="28"/>
                    <a:pt x="32" y="28"/>
                  </a:cubicBezTo>
                  <a:cubicBezTo>
                    <a:pt x="32" y="20"/>
                    <a:pt x="32" y="20"/>
                    <a:pt x="32" y="20"/>
                  </a:cubicBezTo>
                  <a:cubicBezTo>
                    <a:pt x="32" y="17"/>
                    <a:pt x="34" y="16"/>
                    <a:pt x="36" y="16"/>
                  </a:cubicBezTo>
                  <a:cubicBezTo>
                    <a:pt x="38" y="16"/>
                    <a:pt x="48" y="16"/>
                    <a:pt x="48" y="16"/>
                  </a:cubicBezTo>
                  <a:cubicBezTo>
                    <a:pt x="48" y="0"/>
                    <a:pt x="48" y="0"/>
                    <a:pt x="48" y="0"/>
                  </a:cubicBezTo>
                  <a:cubicBezTo>
                    <a:pt x="31" y="0"/>
                    <a:pt x="31" y="0"/>
                    <a:pt x="31" y="0"/>
                  </a:cubicBezTo>
                  <a:cubicBezTo>
                    <a:pt x="15" y="0"/>
                    <a:pt x="12" y="12"/>
                    <a:pt x="12" y="19"/>
                  </a:cubicBezTo>
                  <a:cubicBezTo>
                    <a:pt x="12" y="28"/>
                    <a:pt x="12" y="28"/>
                    <a:pt x="12" y="28"/>
                  </a:cubicBezTo>
                  <a:cubicBezTo>
                    <a:pt x="0" y="28"/>
                    <a:pt x="0" y="28"/>
                    <a:pt x="0" y="28"/>
                  </a:cubicBezTo>
                  <a:cubicBezTo>
                    <a:pt x="0" y="44"/>
                    <a:pt x="0" y="44"/>
                    <a:pt x="0" y="44"/>
                  </a:cubicBezTo>
                  <a:cubicBezTo>
                    <a:pt x="12" y="44"/>
                    <a:pt x="12" y="44"/>
                    <a:pt x="12" y="44"/>
                  </a:cubicBezTo>
                  <a:cubicBezTo>
                    <a:pt x="12" y="65"/>
                    <a:pt x="12" y="92"/>
                    <a:pt x="12" y="92"/>
                  </a:cubicBezTo>
                  <a:cubicBezTo>
                    <a:pt x="32" y="92"/>
                    <a:pt x="32" y="92"/>
                    <a:pt x="32" y="92"/>
                  </a:cubicBezTo>
                  <a:cubicBezTo>
                    <a:pt x="32" y="92"/>
                    <a:pt x="32" y="64"/>
                    <a:pt x="32" y="44"/>
                  </a:cubicBezTo>
                  <a:cubicBezTo>
                    <a:pt x="47" y="44"/>
                    <a:pt x="47" y="44"/>
                    <a:pt x="47" y="44"/>
                  </a:cubicBezTo>
                  <a:lnTo>
                    <a:pt x="49" y="2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302" name="Freeform 162" descr="This is the logo for Twitter.">
              <a:extLst>
                <a:ext uri="{FF2B5EF4-FFF2-40B4-BE49-F238E27FC236}">
                  <a16:creationId xmlns:a16="http://schemas.microsoft.com/office/drawing/2014/main" id="{2B158112-BB75-181C-CA1F-75F8CC61ED0D}"/>
                </a:ext>
              </a:extLst>
            </p:cNvPr>
            <p:cNvSpPr>
              <a:spLocks/>
            </p:cNvSpPr>
            <p:nvPr/>
          </p:nvSpPr>
          <p:spPr bwMode="auto">
            <a:xfrm>
              <a:off x="8631357" y="5066778"/>
              <a:ext cx="254048" cy="202761"/>
            </a:xfrm>
            <a:custGeom>
              <a:avLst/>
              <a:gdLst>
                <a:gd name="T0" fmla="*/ 90 w 90"/>
                <a:gd name="T1" fmla="*/ 9 h 72"/>
                <a:gd name="T2" fmla="*/ 81 w 90"/>
                <a:gd name="T3" fmla="*/ 9 h 72"/>
                <a:gd name="T4" fmla="*/ 86 w 90"/>
                <a:gd name="T5" fmla="*/ 1 h 72"/>
                <a:gd name="T6" fmla="*/ 75 w 90"/>
                <a:gd name="T7" fmla="*/ 6 h 72"/>
                <a:gd name="T8" fmla="*/ 61 w 90"/>
                <a:gd name="T9" fmla="*/ 0 h 72"/>
                <a:gd name="T10" fmla="*/ 43 w 90"/>
                <a:gd name="T11" fmla="*/ 18 h 72"/>
                <a:gd name="T12" fmla="*/ 44 w 90"/>
                <a:gd name="T13" fmla="*/ 22 h 72"/>
                <a:gd name="T14" fmla="*/ 6 w 90"/>
                <a:gd name="T15" fmla="*/ 3 h 72"/>
                <a:gd name="T16" fmla="*/ 4 w 90"/>
                <a:gd name="T17" fmla="*/ 12 h 72"/>
                <a:gd name="T18" fmla="*/ 12 w 90"/>
                <a:gd name="T19" fmla="*/ 28 h 72"/>
                <a:gd name="T20" fmla="*/ 4 w 90"/>
                <a:gd name="T21" fmla="*/ 25 h 72"/>
                <a:gd name="T22" fmla="*/ 4 w 90"/>
                <a:gd name="T23" fmla="*/ 26 h 72"/>
                <a:gd name="T24" fmla="*/ 18 w 90"/>
                <a:gd name="T25" fmla="*/ 43 h 72"/>
                <a:gd name="T26" fmla="*/ 10 w 90"/>
                <a:gd name="T27" fmla="*/ 44 h 72"/>
                <a:gd name="T28" fmla="*/ 27 w 90"/>
                <a:gd name="T29" fmla="*/ 56 h 72"/>
                <a:gd name="T30" fmla="*/ 0 w 90"/>
                <a:gd name="T31" fmla="*/ 64 h 72"/>
                <a:gd name="T32" fmla="*/ 28 w 90"/>
                <a:gd name="T33" fmla="*/ 72 h 72"/>
                <a:gd name="T34" fmla="*/ 80 w 90"/>
                <a:gd name="T35" fmla="*/ 20 h 72"/>
                <a:gd name="T36" fmla="*/ 80 w 90"/>
                <a:gd name="T37" fmla="*/ 18 h 72"/>
                <a:gd name="T38" fmla="*/ 90 w 90"/>
                <a:gd name="T39" fmla="*/ 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72">
                  <a:moveTo>
                    <a:pt x="90" y="9"/>
                  </a:moveTo>
                  <a:cubicBezTo>
                    <a:pt x="87" y="11"/>
                    <a:pt x="84" y="11"/>
                    <a:pt x="81" y="9"/>
                  </a:cubicBezTo>
                  <a:cubicBezTo>
                    <a:pt x="85" y="7"/>
                    <a:pt x="85" y="6"/>
                    <a:pt x="86" y="1"/>
                  </a:cubicBezTo>
                  <a:cubicBezTo>
                    <a:pt x="83" y="3"/>
                    <a:pt x="79" y="5"/>
                    <a:pt x="75" y="6"/>
                  </a:cubicBezTo>
                  <a:cubicBezTo>
                    <a:pt x="71" y="2"/>
                    <a:pt x="67" y="0"/>
                    <a:pt x="61" y="0"/>
                  </a:cubicBezTo>
                  <a:cubicBezTo>
                    <a:pt x="51" y="0"/>
                    <a:pt x="43" y="8"/>
                    <a:pt x="43" y="18"/>
                  </a:cubicBezTo>
                  <a:cubicBezTo>
                    <a:pt x="43" y="20"/>
                    <a:pt x="43" y="21"/>
                    <a:pt x="44" y="22"/>
                  </a:cubicBezTo>
                  <a:cubicBezTo>
                    <a:pt x="29" y="22"/>
                    <a:pt x="15" y="14"/>
                    <a:pt x="6" y="3"/>
                  </a:cubicBezTo>
                  <a:cubicBezTo>
                    <a:pt x="5" y="6"/>
                    <a:pt x="4" y="9"/>
                    <a:pt x="4" y="12"/>
                  </a:cubicBezTo>
                  <a:cubicBezTo>
                    <a:pt x="4" y="19"/>
                    <a:pt x="7" y="24"/>
                    <a:pt x="12" y="28"/>
                  </a:cubicBezTo>
                  <a:cubicBezTo>
                    <a:pt x="9" y="27"/>
                    <a:pt x="6" y="27"/>
                    <a:pt x="4" y="25"/>
                  </a:cubicBezTo>
                  <a:cubicBezTo>
                    <a:pt x="4" y="25"/>
                    <a:pt x="4" y="25"/>
                    <a:pt x="4" y="26"/>
                  </a:cubicBezTo>
                  <a:cubicBezTo>
                    <a:pt x="4" y="34"/>
                    <a:pt x="10" y="42"/>
                    <a:pt x="18" y="43"/>
                  </a:cubicBezTo>
                  <a:cubicBezTo>
                    <a:pt x="15" y="44"/>
                    <a:pt x="13" y="44"/>
                    <a:pt x="10" y="44"/>
                  </a:cubicBezTo>
                  <a:cubicBezTo>
                    <a:pt x="12" y="51"/>
                    <a:pt x="19" y="56"/>
                    <a:pt x="27" y="56"/>
                  </a:cubicBezTo>
                  <a:cubicBezTo>
                    <a:pt x="19" y="62"/>
                    <a:pt x="9" y="65"/>
                    <a:pt x="0" y="64"/>
                  </a:cubicBezTo>
                  <a:cubicBezTo>
                    <a:pt x="8" y="69"/>
                    <a:pt x="18" y="72"/>
                    <a:pt x="28" y="72"/>
                  </a:cubicBezTo>
                  <a:cubicBezTo>
                    <a:pt x="61" y="72"/>
                    <a:pt x="80" y="44"/>
                    <a:pt x="80" y="20"/>
                  </a:cubicBezTo>
                  <a:cubicBezTo>
                    <a:pt x="80" y="19"/>
                    <a:pt x="80" y="19"/>
                    <a:pt x="80" y="18"/>
                  </a:cubicBezTo>
                  <a:cubicBezTo>
                    <a:pt x="83" y="15"/>
                    <a:pt x="87" y="13"/>
                    <a:pt x="90"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grpSp>
          <p:nvGrpSpPr>
            <p:cNvPr id="303" name="Group 302" descr="This is the logo for Instagram.">
              <a:extLst>
                <a:ext uri="{FF2B5EF4-FFF2-40B4-BE49-F238E27FC236}">
                  <a16:creationId xmlns:a16="http://schemas.microsoft.com/office/drawing/2014/main" id="{AD1665F4-7599-216D-4DC4-E2A3969651CF}"/>
                </a:ext>
              </a:extLst>
            </p:cNvPr>
            <p:cNvGrpSpPr/>
            <p:nvPr/>
          </p:nvGrpSpPr>
          <p:grpSpPr>
            <a:xfrm>
              <a:off x="8634339" y="5859817"/>
              <a:ext cx="248085" cy="249277"/>
              <a:chOff x="3406775" y="2181225"/>
              <a:chExt cx="330200" cy="331788"/>
            </a:xfrm>
            <a:solidFill>
              <a:schemeClr val="bg1"/>
            </a:solidFill>
          </p:grpSpPr>
          <p:sp>
            <p:nvSpPr>
              <p:cNvPr id="304" name="Oval 190">
                <a:extLst>
                  <a:ext uri="{FF2B5EF4-FFF2-40B4-BE49-F238E27FC236}">
                    <a16:creationId xmlns:a16="http://schemas.microsoft.com/office/drawing/2014/main" id="{76BC821A-1040-7800-C4EB-6353FDB4ECFA}"/>
                  </a:ext>
                </a:extLst>
              </p:cNvPr>
              <p:cNvSpPr>
                <a:spLocks noChangeArrowheads="1"/>
              </p:cNvSpPr>
              <p:nvPr/>
            </p:nvSpPr>
            <p:spPr bwMode="auto">
              <a:xfrm>
                <a:off x="3481388" y="2257425"/>
                <a:ext cx="180975" cy="179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305" name="Freeform 191">
                <a:extLst>
                  <a:ext uri="{FF2B5EF4-FFF2-40B4-BE49-F238E27FC236}">
                    <a16:creationId xmlns:a16="http://schemas.microsoft.com/office/drawing/2014/main" id="{A77DCD28-2F87-FC30-BA7F-0B9F598E315B}"/>
                  </a:ext>
                </a:extLst>
              </p:cNvPr>
              <p:cNvSpPr>
                <a:spLocks/>
              </p:cNvSpPr>
              <p:nvPr/>
            </p:nvSpPr>
            <p:spPr bwMode="auto">
              <a:xfrm>
                <a:off x="3436938" y="2181225"/>
                <a:ext cx="14288" cy="112713"/>
              </a:xfrm>
              <a:custGeom>
                <a:avLst/>
                <a:gdLst>
                  <a:gd name="T0" fmla="*/ 4 w 4"/>
                  <a:gd name="T1" fmla="*/ 0 h 30"/>
                  <a:gd name="T2" fmla="*/ 0 w 4"/>
                  <a:gd name="T3" fmla="*/ 1 h 30"/>
                  <a:gd name="T4" fmla="*/ 0 w 4"/>
                  <a:gd name="T5" fmla="*/ 30 h 30"/>
                  <a:gd name="T6" fmla="*/ 4 w 4"/>
                  <a:gd name="T7" fmla="*/ 30 h 30"/>
                  <a:gd name="T8" fmla="*/ 4 w 4"/>
                  <a:gd name="T9" fmla="*/ 0 h 30"/>
                </a:gdLst>
                <a:ahLst/>
                <a:cxnLst>
                  <a:cxn ang="0">
                    <a:pos x="T0" y="T1"/>
                  </a:cxn>
                  <a:cxn ang="0">
                    <a:pos x="T2" y="T3"/>
                  </a:cxn>
                  <a:cxn ang="0">
                    <a:pos x="T4" y="T5"/>
                  </a:cxn>
                  <a:cxn ang="0">
                    <a:pos x="T6" y="T7"/>
                  </a:cxn>
                  <a:cxn ang="0">
                    <a:pos x="T8" y="T9"/>
                  </a:cxn>
                </a:cxnLst>
                <a:rect l="0" t="0" r="r" b="b"/>
                <a:pathLst>
                  <a:path w="4" h="30">
                    <a:moveTo>
                      <a:pt x="4" y="0"/>
                    </a:moveTo>
                    <a:cubicBezTo>
                      <a:pt x="3" y="0"/>
                      <a:pt x="1" y="1"/>
                      <a:pt x="0" y="1"/>
                    </a:cubicBezTo>
                    <a:cubicBezTo>
                      <a:pt x="0" y="30"/>
                      <a:pt x="0" y="30"/>
                      <a:pt x="0" y="30"/>
                    </a:cubicBezTo>
                    <a:cubicBezTo>
                      <a:pt x="4" y="30"/>
                      <a:pt x="4" y="30"/>
                      <a:pt x="4" y="30"/>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306" name="Freeform 192">
                <a:extLst>
                  <a:ext uri="{FF2B5EF4-FFF2-40B4-BE49-F238E27FC236}">
                    <a16:creationId xmlns:a16="http://schemas.microsoft.com/office/drawing/2014/main" id="{CF44FF5E-453F-648E-58BC-C734399884FD}"/>
                  </a:ext>
                </a:extLst>
              </p:cNvPr>
              <p:cNvSpPr>
                <a:spLocks/>
              </p:cNvSpPr>
              <p:nvPr/>
            </p:nvSpPr>
            <p:spPr bwMode="auto">
              <a:xfrm>
                <a:off x="3467100" y="2181225"/>
                <a:ext cx="14288" cy="112713"/>
              </a:xfrm>
              <a:custGeom>
                <a:avLst/>
                <a:gdLst>
                  <a:gd name="T0" fmla="*/ 4 w 4"/>
                  <a:gd name="T1" fmla="*/ 30 h 30"/>
                  <a:gd name="T2" fmla="*/ 4 w 4"/>
                  <a:gd name="T3" fmla="*/ 0 h 30"/>
                  <a:gd name="T4" fmla="*/ 0 w 4"/>
                  <a:gd name="T5" fmla="*/ 0 h 30"/>
                  <a:gd name="T6" fmla="*/ 0 w 4"/>
                  <a:gd name="T7" fmla="*/ 30 h 30"/>
                  <a:gd name="T8" fmla="*/ 4 w 4"/>
                  <a:gd name="T9" fmla="*/ 30 h 30"/>
                  <a:gd name="T10" fmla="*/ 4 w 4"/>
                  <a:gd name="T11" fmla="*/ 30 h 30"/>
                </a:gdLst>
                <a:ahLst/>
                <a:cxnLst>
                  <a:cxn ang="0">
                    <a:pos x="T0" y="T1"/>
                  </a:cxn>
                  <a:cxn ang="0">
                    <a:pos x="T2" y="T3"/>
                  </a:cxn>
                  <a:cxn ang="0">
                    <a:pos x="T4" y="T5"/>
                  </a:cxn>
                  <a:cxn ang="0">
                    <a:pos x="T6" y="T7"/>
                  </a:cxn>
                  <a:cxn ang="0">
                    <a:pos x="T8" y="T9"/>
                  </a:cxn>
                  <a:cxn ang="0">
                    <a:pos x="T10" y="T11"/>
                  </a:cxn>
                </a:cxnLst>
                <a:rect l="0" t="0" r="r" b="b"/>
                <a:pathLst>
                  <a:path w="4" h="30">
                    <a:moveTo>
                      <a:pt x="4" y="30"/>
                    </a:moveTo>
                    <a:cubicBezTo>
                      <a:pt x="4" y="0"/>
                      <a:pt x="4" y="0"/>
                      <a:pt x="4" y="0"/>
                    </a:cubicBezTo>
                    <a:cubicBezTo>
                      <a:pt x="0" y="0"/>
                      <a:pt x="0" y="0"/>
                      <a:pt x="0" y="0"/>
                    </a:cubicBezTo>
                    <a:cubicBezTo>
                      <a:pt x="0" y="30"/>
                      <a:pt x="0" y="30"/>
                      <a:pt x="0" y="30"/>
                    </a:cubicBezTo>
                    <a:cubicBezTo>
                      <a:pt x="4" y="30"/>
                      <a:pt x="4" y="30"/>
                      <a:pt x="4" y="30"/>
                    </a:cubicBezTo>
                    <a:cubicBezTo>
                      <a:pt x="4" y="30"/>
                      <a:pt x="4" y="30"/>
                      <a:pt x="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sp>
            <p:nvSpPr>
              <p:cNvPr id="307" name="Freeform 193">
                <a:extLst>
                  <a:ext uri="{FF2B5EF4-FFF2-40B4-BE49-F238E27FC236}">
                    <a16:creationId xmlns:a16="http://schemas.microsoft.com/office/drawing/2014/main" id="{1A51C4A2-1981-5EE8-B6C6-A726EC25A4DF}"/>
                  </a:ext>
                </a:extLst>
              </p:cNvPr>
              <p:cNvSpPr>
                <a:spLocks noEditPoints="1"/>
              </p:cNvSpPr>
              <p:nvPr/>
            </p:nvSpPr>
            <p:spPr bwMode="auto">
              <a:xfrm>
                <a:off x="3406775" y="2181225"/>
                <a:ext cx="330200" cy="331788"/>
              </a:xfrm>
              <a:custGeom>
                <a:avLst/>
                <a:gdLst>
                  <a:gd name="T0" fmla="*/ 88 w 88"/>
                  <a:gd name="T1" fmla="*/ 71 h 88"/>
                  <a:gd name="T2" fmla="*/ 88 w 88"/>
                  <a:gd name="T3" fmla="*/ 30 h 88"/>
                  <a:gd name="T4" fmla="*/ 88 w 88"/>
                  <a:gd name="T5" fmla="*/ 17 h 88"/>
                  <a:gd name="T6" fmla="*/ 88 w 88"/>
                  <a:gd name="T7" fmla="*/ 14 h 88"/>
                  <a:gd name="T8" fmla="*/ 74 w 88"/>
                  <a:gd name="T9" fmla="*/ 0 h 88"/>
                  <a:gd name="T10" fmla="*/ 24 w 88"/>
                  <a:gd name="T11" fmla="*/ 0 h 88"/>
                  <a:gd name="T12" fmla="*/ 24 w 88"/>
                  <a:gd name="T13" fmla="*/ 24 h 88"/>
                  <a:gd name="T14" fmla="*/ 44 w 88"/>
                  <a:gd name="T15" fmla="*/ 16 h 88"/>
                  <a:gd name="T16" fmla="*/ 68 w 88"/>
                  <a:gd name="T17" fmla="*/ 30 h 88"/>
                  <a:gd name="T18" fmla="*/ 84 w 88"/>
                  <a:gd name="T19" fmla="*/ 30 h 88"/>
                  <a:gd name="T20" fmla="*/ 84 w 88"/>
                  <a:gd name="T21" fmla="*/ 71 h 88"/>
                  <a:gd name="T22" fmla="*/ 71 w 88"/>
                  <a:gd name="T23" fmla="*/ 84 h 88"/>
                  <a:gd name="T24" fmla="*/ 17 w 88"/>
                  <a:gd name="T25" fmla="*/ 84 h 88"/>
                  <a:gd name="T26" fmla="*/ 4 w 88"/>
                  <a:gd name="T27" fmla="*/ 71 h 88"/>
                  <a:gd name="T28" fmla="*/ 4 w 88"/>
                  <a:gd name="T29" fmla="*/ 30 h 88"/>
                  <a:gd name="T30" fmla="*/ 4 w 88"/>
                  <a:gd name="T31" fmla="*/ 17 h 88"/>
                  <a:gd name="T32" fmla="*/ 4 w 88"/>
                  <a:gd name="T33" fmla="*/ 4 h 88"/>
                  <a:gd name="T34" fmla="*/ 0 w 88"/>
                  <a:gd name="T35" fmla="*/ 14 h 88"/>
                  <a:gd name="T36" fmla="*/ 0 w 88"/>
                  <a:gd name="T37" fmla="*/ 17 h 88"/>
                  <a:gd name="T38" fmla="*/ 0 w 88"/>
                  <a:gd name="T39" fmla="*/ 30 h 88"/>
                  <a:gd name="T40" fmla="*/ 0 w 88"/>
                  <a:gd name="T41" fmla="*/ 71 h 88"/>
                  <a:gd name="T42" fmla="*/ 17 w 88"/>
                  <a:gd name="T43" fmla="*/ 88 h 88"/>
                  <a:gd name="T44" fmla="*/ 71 w 88"/>
                  <a:gd name="T45" fmla="*/ 88 h 88"/>
                  <a:gd name="T46" fmla="*/ 88 w 88"/>
                  <a:gd name="T47" fmla="*/ 71 h 88"/>
                  <a:gd name="T48" fmla="*/ 82 w 88"/>
                  <a:gd name="T49" fmla="*/ 24 h 88"/>
                  <a:gd name="T50" fmla="*/ 70 w 88"/>
                  <a:gd name="T51" fmla="*/ 24 h 88"/>
                  <a:gd name="T52" fmla="*/ 68 w 88"/>
                  <a:gd name="T53" fmla="*/ 22 h 88"/>
                  <a:gd name="T54" fmla="*/ 68 w 88"/>
                  <a:gd name="T55" fmla="*/ 10 h 88"/>
                  <a:gd name="T56" fmla="*/ 70 w 88"/>
                  <a:gd name="T57" fmla="*/ 8 h 88"/>
                  <a:gd name="T58" fmla="*/ 82 w 88"/>
                  <a:gd name="T59" fmla="*/ 8 h 88"/>
                  <a:gd name="T60" fmla="*/ 84 w 88"/>
                  <a:gd name="T61" fmla="*/ 10 h 88"/>
                  <a:gd name="T62" fmla="*/ 84 w 88"/>
                  <a:gd name="T63" fmla="*/ 17 h 88"/>
                  <a:gd name="T64" fmla="*/ 84 w 88"/>
                  <a:gd name="T65" fmla="*/ 22 h 88"/>
                  <a:gd name="T66" fmla="*/ 82 w 88"/>
                  <a:gd name="T67" fmla="*/ 2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8">
                    <a:moveTo>
                      <a:pt x="88" y="71"/>
                    </a:moveTo>
                    <a:cubicBezTo>
                      <a:pt x="88" y="30"/>
                      <a:pt x="88" y="30"/>
                      <a:pt x="88" y="30"/>
                    </a:cubicBezTo>
                    <a:cubicBezTo>
                      <a:pt x="88" y="17"/>
                      <a:pt x="88" y="17"/>
                      <a:pt x="88" y="17"/>
                    </a:cubicBezTo>
                    <a:cubicBezTo>
                      <a:pt x="88" y="14"/>
                      <a:pt x="88" y="14"/>
                      <a:pt x="88" y="14"/>
                    </a:cubicBezTo>
                    <a:cubicBezTo>
                      <a:pt x="88" y="6"/>
                      <a:pt x="82" y="0"/>
                      <a:pt x="74" y="0"/>
                    </a:cubicBezTo>
                    <a:cubicBezTo>
                      <a:pt x="24" y="0"/>
                      <a:pt x="24" y="0"/>
                      <a:pt x="24" y="0"/>
                    </a:cubicBezTo>
                    <a:cubicBezTo>
                      <a:pt x="24" y="24"/>
                      <a:pt x="24" y="24"/>
                      <a:pt x="24" y="24"/>
                    </a:cubicBezTo>
                    <a:cubicBezTo>
                      <a:pt x="29" y="19"/>
                      <a:pt x="36" y="16"/>
                      <a:pt x="44" y="16"/>
                    </a:cubicBezTo>
                    <a:cubicBezTo>
                      <a:pt x="54" y="16"/>
                      <a:pt x="63" y="22"/>
                      <a:pt x="68" y="30"/>
                    </a:cubicBezTo>
                    <a:cubicBezTo>
                      <a:pt x="84" y="30"/>
                      <a:pt x="84" y="30"/>
                      <a:pt x="84" y="30"/>
                    </a:cubicBezTo>
                    <a:cubicBezTo>
                      <a:pt x="84" y="71"/>
                      <a:pt x="84" y="71"/>
                      <a:pt x="84" y="71"/>
                    </a:cubicBezTo>
                    <a:cubicBezTo>
                      <a:pt x="84" y="78"/>
                      <a:pt x="78" y="84"/>
                      <a:pt x="71" y="84"/>
                    </a:cubicBezTo>
                    <a:cubicBezTo>
                      <a:pt x="17" y="84"/>
                      <a:pt x="17" y="84"/>
                      <a:pt x="17" y="84"/>
                    </a:cubicBezTo>
                    <a:cubicBezTo>
                      <a:pt x="10" y="84"/>
                      <a:pt x="4" y="78"/>
                      <a:pt x="4" y="71"/>
                    </a:cubicBezTo>
                    <a:cubicBezTo>
                      <a:pt x="4" y="30"/>
                      <a:pt x="4" y="30"/>
                      <a:pt x="4" y="30"/>
                    </a:cubicBezTo>
                    <a:cubicBezTo>
                      <a:pt x="4" y="17"/>
                      <a:pt x="4" y="17"/>
                      <a:pt x="4" y="17"/>
                    </a:cubicBezTo>
                    <a:cubicBezTo>
                      <a:pt x="4" y="4"/>
                      <a:pt x="4" y="4"/>
                      <a:pt x="4" y="4"/>
                    </a:cubicBezTo>
                    <a:cubicBezTo>
                      <a:pt x="2" y="7"/>
                      <a:pt x="0" y="10"/>
                      <a:pt x="0" y="14"/>
                    </a:cubicBezTo>
                    <a:cubicBezTo>
                      <a:pt x="0" y="17"/>
                      <a:pt x="0" y="17"/>
                      <a:pt x="0" y="17"/>
                    </a:cubicBezTo>
                    <a:cubicBezTo>
                      <a:pt x="0" y="30"/>
                      <a:pt x="0" y="30"/>
                      <a:pt x="0" y="30"/>
                    </a:cubicBezTo>
                    <a:cubicBezTo>
                      <a:pt x="0" y="71"/>
                      <a:pt x="0" y="71"/>
                      <a:pt x="0" y="71"/>
                    </a:cubicBezTo>
                    <a:cubicBezTo>
                      <a:pt x="0" y="81"/>
                      <a:pt x="7" y="88"/>
                      <a:pt x="17" y="88"/>
                    </a:cubicBezTo>
                    <a:cubicBezTo>
                      <a:pt x="71" y="88"/>
                      <a:pt x="71" y="88"/>
                      <a:pt x="71" y="88"/>
                    </a:cubicBezTo>
                    <a:cubicBezTo>
                      <a:pt x="81" y="88"/>
                      <a:pt x="88" y="81"/>
                      <a:pt x="88" y="71"/>
                    </a:cubicBezTo>
                    <a:close/>
                    <a:moveTo>
                      <a:pt x="82" y="24"/>
                    </a:moveTo>
                    <a:cubicBezTo>
                      <a:pt x="70" y="24"/>
                      <a:pt x="70" y="24"/>
                      <a:pt x="70" y="24"/>
                    </a:cubicBezTo>
                    <a:cubicBezTo>
                      <a:pt x="69" y="24"/>
                      <a:pt x="68" y="23"/>
                      <a:pt x="68" y="22"/>
                    </a:cubicBezTo>
                    <a:cubicBezTo>
                      <a:pt x="68" y="10"/>
                      <a:pt x="68" y="10"/>
                      <a:pt x="68" y="10"/>
                    </a:cubicBezTo>
                    <a:cubicBezTo>
                      <a:pt x="68" y="9"/>
                      <a:pt x="69" y="8"/>
                      <a:pt x="70" y="8"/>
                    </a:cubicBezTo>
                    <a:cubicBezTo>
                      <a:pt x="82" y="8"/>
                      <a:pt x="82" y="8"/>
                      <a:pt x="82" y="8"/>
                    </a:cubicBezTo>
                    <a:cubicBezTo>
                      <a:pt x="83" y="8"/>
                      <a:pt x="84" y="9"/>
                      <a:pt x="84" y="10"/>
                    </a:cubicBezTo>
                    <a:cubicBezTo>
                      <a:pt x="84" y="17"/>
                      <a:pt x="84" y="17"/>
                      <a:pt x="84" y="17"/>
                    </a:cubicBezTo>
                    <a:cubicBezTo>
                      <a:pt x="84" y="22"/>
                      <a:pt x="84" y="22"/>
                      <a:pt x="84" y="22"/>
                    </a:cubicBezTo>
                    <a:cubicBezTo>
                      <a:pt x="84" y="23"/>
                      <a:pt x="83" y="24"/>
                      <a:pt x="8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Segoe UI" panose="020B0502040204020203" pitchFamily="34" charset="0"/>
                  <a:cs typeface="Segoe UI" panose="020B0502040204020203" pitchFamily="34" charset="0"/>
                </a:endParaRPr>
              </a:p>
            </p:txBody>
          </p:sp>
        </p:grpSp>
        <p:sp>
          <p:nvSpPr>
            <p:cNvPr id="308" name="Rectangle 307">
              <a:extLst>
                <a:ext uri="{FF2B5EF4-FFF2-40B4-BE49-F238E27FC236}">
                  <a16:creationId xmlns:a16="http://schemas.microsoft.com/office/drawing/2014/main" id="{2D573644-4C37-E3CE-6780-954650062156}"/>
                </a:ext>
              </a:extLst>
            </p:cNvPr>
            <p:cNvSpPr/>
            <p:nvPr/>
          </p:nvSpPr>
          <p:spPr>
            <a:xfrm>
              <a:off x="9168342" y="4148726"/>
              <a:ext cx="2718064" cy="406265"/>
            </a:xfrm>
            <a:prstGeom prst="rect">
              <a:avLst/>
            </a:prstGeom>
          </p:spPr>
          <p:txBody>
            <a:bodyPr wrap="square" lIns="0" tIns="0" rIns="0" bIns="0" anchor="ctr">
              <a:spAutoFit/>
            </a:bodyPr>
            <a:lstStyle/>
            <a:p>
              <a:pPr>
                <a:spcBef>
                  <a:spcPts val="600"/>
                </a:spcBef>
              </a:pPr>
              <a:r>
                <a:rPr lang="en-US" sz="1200">
                  <a:solidFill>
                    <a:schemeClr val="tx1">
                      <a:lumMod val="75000"/>
                      <a:lumOff val="25000"/>
                    </a:schemeClr>
                  </a:solidFill>
                  <a:latin typeface="Segoe UI" panose="020B0502040204020203" pitchFamily="34" charset="0"/>
                  <a:cs typeface="Segoe UI" panose="020B0502040204020203" pitchFamily="34" charset="0"/>
                </a:rPr>
                <a:t>Lorem ipsum dolor sit amet, consectetur adipiscing elit. </a:t>
              </a:r>
            </a:p>
          </p:txBody>
        </p:sp>
        <p:sp>
          <p:nvSpPr>
            <p:cNvPr id="309" name="Rectangle 308">
              <a:extLst>
                <a:ext uri="{FF2B5EF4-FFF2-40B4-BE49-F238E27FC236}">
                  <a16:creationId xmlns:a16="http://schemas.microsoft.com/office/drawing/2014/main" id="{C526BFE1-2386-B11B-FC37-E96F2E3A1AD0}"/>
                </a:ext>
              </a:extLst>
            </p:cNvPr>
            <p:cNvSpPr/>
            <p:nvPr/>
          </p:nvSpPr>
          <p:spPr>
            <a:xfrm>
              <a:off x="9168342" y="4953933"/>
              <a:ext cx="2718064" cy="406265"/>
            </a:xfrm>
            <a:prstGeom prst="rect">
              <a:avLst/>
            </a:prstGeom>
          </p:spPr>
          <p:txBody>
            <a:bodyPr wrap="square" lIns="0" tIns="0" rIns="0" bIns="0" anchor="ctr">
              <a:spAutoFit/>
            </a:bodyPr>
            <a:lstStyle/>
            <a:p>
              <a:pPr>
                <a:spcBef>
                  <a:spcPts val="600"/>
                </a:spcBef>
              </a:pPr>
              <a:r>
                <a:rPr lang="en-US" sz="1200">
                  <a:solidFill>
                    <a:schemeClr val="tx1">
                      <a:lumMod val="75000"/>
                      <a:lumOff val="25000"/>
                    </a:schemeClr>
                  </a:solidFill>
                  <a:latin typeface="Segoe UI" panose="020B0502040204020203" pitchFamily="34" charset="0"/>
                  <a:cs typeface="Segoe UI" panose="020B0502040204020203" pitchFamily="34" charset="0"/>
                </a:rPr>
                <a:t>Lorem ipsum dolor sit amet, consectetur adipiscing elit. </a:t>
              </a:r>
            </a:p>
          </p:txBody>
        </p:sp>
        <p:sp>
          <p:nvSpPr>
            <p:cNvPr id="310" name="Rectangle 309">
              <a:extLst>
                <a:ext uri="{FF2B5EF4-FFF2-40B4-BE49-F238E27FC236}">
                  <a16:creationId xmlns:a16="http://schemas.microsoft.com/office/drawing/2014/main" id="{A1336BDD-648E-9FCC-51D5-C38F5CEBC5B5}"/>
                </a:ext>
              </a:extLst>
            </p:cNvPr>
            <p:cNvSpPr/>
            <p:nvPr/>
          </p:nvSpPr>
          <p:spPr>
            <a:xfrm>
              <a:off x="9168342" y="5781321"/>
              <a:ext cx="2718064" cy="406265"/>
            </a:xfrm>
            <a:prstGeom prst="rect">
              <a:avLst/>
            </a:prstGeom>
          </p:spPr>
          <p:txBody>
            <a:bodyPr wrap="square" lIns="0" tIns="0" rIns="0" bIns="0" anchor="ctr">
              <a:spAutoFit/>
            </a:bodyPr>
            <a:lstStyle/>
            <a:p>
              <a:pPr>
                <a:spcBef>
                  <a:spcPts val="600"/>
                </a:spcBef>
              </a:pPr>
              <a:r>
                <a:rPr lang="en-US" sz="1200">
                  <a:solidFill>
                    <a:schemeClr val="tx1">
                      <a:lumMod val="75000"/>
                      <a:lumOff val="25000"/>
                    </a:schemeClr>
                  </a:solidFill>
                  <a:latin typeface="Segoe UI" panose="020B0502040204020203" pitchFamily="34" charset="0"/>
                  <a:cs typeface="Segoe UI" panose="020B0502040204020203" pitchFamily="34" charset="0"/>
                </a:rPr>
                <a:t>Lorem ipsum dolor sit amet, consectetur adipiscing elit. </a:t>
              </a:r>
            </a:p>
          </p:txBody>
        </p:sp>
      </p:grpSp>
      <p:sp>
        <p:nvSpPr>
          <p:cNvPr id="312" name="Footer Placeholder 311">
            <a:extLst>
              <a:ext uri="{FF2B5EF4-FFF2-40B4-BE49-F238E27FC236}">
                <a16:creationId xmlns:a16="http://schemas.microsoft.com/office/drawing/2014/main" id="{7D6BA9A4-8A92-1AF9-6918-25EE6383BEF0}"/>
              </a:ext>
            </a:extLst>
          </p:cNvPr>
          <p:cNvSpPr>
            <a:spLocks noGrp="1"/>
          </p:cNvSpPr>
          <p:nvPr>
            <p:ph type="ftr" sz="quarter" idx="11"/>
          </p:nvPr>
        </p:nvSpPr>
        <p:spPr/>
        <p:txBody>
          <a:bodyPr/>
          <a:lstStyle/>
          <a:p>
            <a:r>
              <a:rPr lang="en-US"/>
              <a:t>© 2024 Mobiz. All rights reserved</a:t>
            </a:r>
            <a:endParaRPr lang="en-BR"/>
          </a:p>
        </p:txBody>
      </p:sp>
      <p:sp>
        <p:nvSpPr>
          <p:cNvPr id="313" name="Slide Number Placeholder 312">
            <a:extLst>
              <a:ext uri="{FF2B5EF4-FFF2-40B4-BE49-F238E27FC236}">
                <a16:creationId xmlns:a16="http://schemas.microsoft.com/office/drawing/2014/main" id="{D674AF1A-1E08-623A-D28B-25F7414E997C}"/>
              </a:ext>
            </a:extLst>
          </p:cNvPr>
          <p:cNvSpPr>
            <a:spLocks noGrp="1"/>
          </p:cNvSpPr>
          <p:nvPr>
            <p:ph type="sldNum" sz="quarter" idx="12"/>
          </p:nvPr>
        </p:nvSpPr>
        <p:spPr/>
        <p:txBody>
          <a:bodyPr/>
          <a:lstStyle/>
          <a:p>
            <a:fld id="{A8DDC45B-7265-3747-B738-ED29642119D9}" type="slidenum">
              <a:rPr lang="en-BR" smtClean="0"/>
              <a:pPr/>
              <a:t>59</a:t>
            </a:fld>
            <a:endParaRPr lang="en-BR"/>
          </a:p>
        </p:txBody>
      </p:sp>
    </p:spTree>
    <p:extLst>
      <p:ext uri="{BB962C8B-B14F-4D97-AF65-F5344CB8AC3E}">
        <p14:creationId xmlns:p14="http://schemas.microsoft.com/office/powerpoint/2010/main" val="40680007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8A7D3-2265-FCBE-96E8-B87A00806A1F}"/>
              </a:ext>
            </a:extLst>
          </p:cNvPr>
          <p:cNvSpPr>
            <a:spLocks noGrp="1"/>
          </p:cNvSpPr>
          <p:nvPr>
            <p:ph type="title"/>
          </p:nvPr>
        </p:nvSpPr>
        <p:spPr/>
        <p:txBody>
          <a:bodyPr/>
          <a:lstStyle/>
          <a:p>
            <a:r>
              <a:rPr lang="en-BR"/>
              <a:t>Text Displays</a:t>
            </a:r>
          </a:p>
        </p:txBody>
      </p:sp>
      <p:sp>
        <p:nvSpPr>
          <p:cNvPr id="3" name="Footer Placeholder 2">
            <a:extLst>
              <a:ext uri="{FF2B5EF4-FFF2-40B4-BE49-F238E27FC236}">
                <a16:creationId xmlns:a16="http://schemas.microsoft.com/office/drawing/2014/main" id="{BD2926C0-DB74-EF95-7BA8-C979ACF73086}"/>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96033976-40AE-B9B6-065F-31F74445E276}"/>
              </a:ext>
            </a:extLst>
          </p:cNvPr>
          <p:cNvSpPr>
            <a:spLocks noGrp="1"/>
          </p:cNvSpPr>
          <p:nvPr>
            <p:ph type="sldNum" sz="quarter" idx="12"/>
          </p:nvPr>
        </p:nvSpPr>
        <p:spPr/>
        <p:txBody>
          <a:bodyPr/>
          <a:lstStyle/>
          <a:p>
            <a:fld id="{A8DDC45B-7265-3747-B738-ED29642119D9}" type="slidenum">
              <a:rPr lang="en-BR" smtClean="0"/>
              <a:pPr/>
              <a:t>6</a:t>
            </a:fld>
            <a:endParaRPr lang="en-BR"/>
          </a:p>
        </p:txBody>
      </p:sp>
      <p:sp>
        <p:nvSpPr>
          <p:cNvPr id="5" name="Text Placeholder 4">
            <a:extLst>
              <a:ext uri="{FF2B5EF4-FFF2-40B4-BE49-F238E27FC236}">
                <a16:creationId xmlns:a16="http://schemas.microsoft.com/office/drawing/2014/main" id="{FCA2AA38-EBA7-6DBC-ED15-CDA000E1AA6F}"/>
              </a:ext>
            </a:extLst>
          </p:cNvPr>
          <p:cNvSpPr>
            <a:spLocks noGrp="1"/>
          </p:cNvSpPr>
          <p:nvPr>
            <p:ph type="body" sz="quarter" idx="13"/>
          </p:nvPr>
        </p:nvSpPr>
        <p:spPr/>
        <p:txBody>
          <a:bodyPr/>
          <a:lstStyle/>
          <a:p>
            <a:r>
              <a:rPr lang="en-BR"/>
              <a:t>Matrix</a:t>
            </a:r>
          </a:p>
        </p:txBody>
      </p:sp>
      <p:sp>
        <p:nvSpPr>
          <p:cNvPr id="6" name="TextBox 5">
            <a:extLst>
              <a:ext uri="{FF2B5EF4-FFF2-40B4-BE49-F238E27FC236}">
                <a16:creationId xmlns:a16="http://schemas.microsoft.com/office/drawing/2014/main" id="{379F5A84-CCAF-42F2-9959-E00B7F46E9C9}"/>
              </a:ext>
            </a:extLst>
          </p:cNvPr>
          <p:cNvSpPr txBox="1"/>
          <p:nvPr/>
        </p:nvSpPr>
        <p:spPr>
          <a:xfrm>
            <a:off x="334961" y="1418824"/>
            <a:ext cx="11518371" cy="830997"/>
          </a:xfrm>
          <a:prstGeom prst="rect">
            <a:avLst/>
          </a:prstGeom>
          <a:noFill/>
        </p:spPr>
        <p:txBody>
          <a:bodyPr wrap="square">
            <a:spAutoFit/>
          </a:bodyPr>
          <a:lstStyle/>
          <a:p>
            <a:r>
              <a:rPr lang="en-US" sz="16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600" err="1">
                <a:solidFill>
                  <a:schemeClr val="tx1">
                    <a:lumMod val="75000"/>
                    <a:lumOff val="25000"/>
                  </a:schemeClr>
                </a:solidFill>
                <a:latin typeface="Segoe UI" panose="020B0502040204020203" pitchFamily="34" charset="0"/>
                <a:cs typeface="Segoe UI" panose="020B0502040204020203" pitchFamily="34" charset="0"/>
              </a:rPr>
              <a:t>amet</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elit</a:t>
            </a:r>
            <a:r>
              <a:rPr lang="en-US" sz="1600">
                <a:solidFill>
                  <a:schemeClr val="tx1">
                    <a:lumMod val="75000"/>
                    <a:lumOff val="25000"/>
                  </a:schemeClr>
                </a:solidFill>
                <a:latin typeface="Segoe UI" panose="020B0502040204020203" pitchFamily="34" charset="0"/>
                <a:cs typeface="Segoe UI" panose="020B0502040204020203" pitchFamily="34" charset="0"/>
              </a:rPr>
              <a:t>, sed do </a:t>
            </a:r>
            <a:r>
              <a:rPr lang="en-US" sz="1600" err="1">
                <a:solidFill>
                  <a:schemeClr val="tx1">
                    <a:lumMod val="75000"/>
                    <a:lumOff val="25000"/>
                  </a:schemeClr>
                </a:solidFill>
                <a:latin typeface="Segoe UI" panose="020B0502040204020203" pitchFamily="34" charset="0"/>
                <a:cs typeface="Segoe UI" panose="020B0502040204020203" pitchFamily="34" charset="0"/>
              </a:rPr>
              <a:t>eiusmod</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tempor</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ut</a:t>
            </a:r>
            <a:r>
              <a:rPr lang="en-US" sz="1600">
                <a:solidFill>
                  <a:schemeClr val="tx1">
                    <a:lumMod val="75000"/>
                    <a:lumOff val="25000"/>
                  </a:schemeClr>
                </a:solidFill>
                <a:latin typeface="Segoe UI" panose="020B0502040204020203" pitchFamily="34" charset="0"/>
                <a:cs typeface="Segoe UI" panose="020B0502040204020203" pitchFamily="34" charset="0"/>
              </a:rPr>
              <a:t> labore et dolore magna </a:t>
            </a:r>
            <a:r>
              <a:rPr lang="en-US" sz="1600" err="1">
                <a:solidFill>
                  <a:schemeClr val="tx1">
                    <a:lumMod val="75000"/>
                    <a:lumOff val="25000"/>
                  </a:schemeClr>
                </a:solidFill>
                <a:latin typeface="Segoe UI" panose="020B0502040204020203" pitchFamily="34" charset="0"/>
                <a:cs typeface="Segoe UI" panose="020B0502040204020203" pitchFamily="34" charset="0"/>
              </a:rPr>
              <a:t>aliqua</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Quis</a:t>
            </a:r>
            <a:r>
              <a:rPr lang="en-US" sz="1600">
                <a:solidFill>
                  <a:schemeClr val="tx1">
                    <a:lumMod val="75000"/>
                    <a:lumOff val="25000"/>
                  </a:schemeClr>
                </a:solidFill>
                <a:latin typeface="Segoe UI" panose="020B0502040204020203" pitchFamily="34" charset="0"/>
                <a:cs typeface="Segoe UI" panose="020B0502040204020203" pitchFamily="34" charset="0"/>
              </a:rPr>
              <a:t> ipsum </a:t>
            </a:r>
            <a:r>
              <a:rPr lang="en-US" sz="1600" err="1">
                <a:solidFill>
                  <a:schemeClr val="tx1">
                    <a:lumMod val="75000"/>
                    <a:lumOff val="25000"/>
                  </a:schemeClr>
                </a:solidFill>
                <a:latin typeface="Segoe UI" panose="020B0502040204020203" pitchFamily="34" charset="0"/>
                <a:cs typeface="Segoe UI" panose="020B0502040204020203" pitchFamily="34" charset="0"/>
              </a:rPr>
              <a:t>suspendisse</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ultrices</a:t>
            </a:r>
            <a:r>
              <a:rPr lang="en-US" sz="1600">
                <a:solidFill>
                  <a:schemeClr val="tx1">
                    <a:lumMod val="75000"/>
                    <a:lumOff val="25000"/>
                  </a:schemeClr>
                </a:solidFill>
                <a:latin typeface="Segoe UI" panose="020B0502040204020203" pitchFamily="34" charset="0"/>
                <a:cs typeface="Segoe UI" panose="020B0502040204020203" pitchFamily="34" charset="0"/>
              </a:rPr>
              <a:t> gravida. </a:t>
            </a:r>
            <a:r>
              <a:rPr lang="en-US" sz="1600" err="1">
                <a:solidFill>
                  <a:schemeClr val="tx1">
                    <a:lumMod val="75000"/>
                    <a:lumOff val="25000"/>
                  </a:schemeClr>
                </a:solidFill>
                <a:latin typeface="Segoe UI" panose="020B0502040204020203" pitchFamily="34" charset="0"/>
                <a:cs typeface="Segoe UI" panose="020B0502040204020203" pitchFamily="34" charset="0"/>
              </a:rPr>
              <a:t>Risus</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commodo</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viverra</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maecenas</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accumsan</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lacus</a:t>
            </a:r>
            <a:r>
              <a:rPr lang="en-US" sz="1600">
                <a:solidFill>
                  <a:schemeClr val="tx1">
                    <a:lumMod val="75000"/>
                    <a:lumOff val="25000"/>
                  </a:schemeClr>
                </a:solidFill>
                <a:latin typeface="Segoe UI" panose="020B0502040204020203" pitchFamily="34" charset="0"/>
                <a:cs typeface="Segoe UI" panose="020B0502040204020203" pitchFamily="34" charset="0"/>
              </a:rPr>
              <a:t> vel </a:t>
            </a:r>
            <a:r>
              <a:rPr lang="en-US" sz="1600" err="1">
                <a:solidFill>
                  <a:schemeClr val="tx1">
                    <a:lumMod val="75000"/>
                    <a:lumOff val="25000"/>
                  </a:schemeClr>
                </a:solidFill>
                <a:latin typeface="Segoe UI" panose="020B0502040204020203" pitchFamily="34" charset="0"/>
                <a:cs typeface="Segoe UI" panose="020B0502040204020203" pitchFamily="34" charset="0"/>
              </a:rPr>
              <a:t>facilisis</a:t>
            </a:r>
            <a:r>
              <a:rPr lang="en-US" sz="1600">
                <a:solidFill>
                  <a:schemeClr val="tx1">
                    <a:lumMod val="75000"/>
                    <a:lumOff val="25000"/>
                  </a:schemeClr>
                </a:solidFill>
                <a:latin typeface="Segoe UI" panose="020B0502040204020203" pitchFamily="34" charset="0"/>
                <a:cs typeface="Segoe UI" panose="020B0502040204020203" pitchFamily="34" charset="0"/>
              </a:rPr>
              <a:t>. Lorem ipsum dolor sit </a:t>
            </a:r>
            <a:r>
              <a:rPr lang="en-US" sz="1600" err="1">
                <a:solidFill>
                  <a:schemeClr val="tx1">
                    <a:lumMod val="75000"/>
                    <a:lumOff val="25000"/>
                  </a:schemeClr>
                </a:solidFill>
                <a:latin typeface="Segoe UI" panose="020B0502040204020203" pitchFamily="34" charset="0"/>
                <a:cs typeface="Segoe UI" panose="020B0502040204020203" pitchFamily="34" charset="0"/>
              </a:rPr>
              <a:t>amet</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elit</a:t>
            </a:r>
            <a:r>
              <a:rPr lang="en-US" sz="1600">
                <a:solidFill>
                  <a:schemeClr val="tx1">
                    <a:lumMod val="75000"/>
                    <a:lumOff val="25000"/>
                  </a:schemeClr>
                </a:solidFill>
                <a:latin typeface="Segoe UI" panose="020B0502040204020203" pitchFamily="34" charset="0"/>
                <a:cs typeface="Segoe UI" panose="020B0502040204020203" pitchFamily="34" charset="0"/>
              </a:rPr>
              <a:t>, sed do </a:t>
            </a:r>
            <a:r>
              <a:rPr lang="en-US" sz="1600" err="1">
                <a:solidFill>
                  <a:schemeClr val="tx1">
                    <a:lumMod val="75000"/>
                    <a:lumOff val="25000"/>
                  </a:schemeClr>
                </a:solidFill>
                <a:latin typeface="Segoe UI" panose="020B0502040204020203" pitchFamily="34" charset="0"/>
                <a:cs typeface="Segoe UI" panose="020B0502040204020203" pitchFamily="34" charset="0"/>
              </a:rPr>
              <a:t>eiusmod</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tempor</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600">
                <a:solidFill>
                  <a:schemeClr val="tx1">
                    <a:lumMod val="75000"/>
                    <a:lumOff val="25000"/>
                  </a:schemeClr>
                </a:solidFill>
                <a:latin typeface="Segoe UI" panose="020B0502040204020203" pitchFamily="34" charset="0"/>
                <a:cs typeface="Segoe UI" panose="020B0502040204020203" pitchFamily="34" charset="0"/>
              </a:rPr>
              <a:t> </a:t>
            </a:r>
            <a:r>
              <a:rPr lang="en-US" sz="1600" err="1">
                <a:solidFill>
                  <a:schemeClr val="tx1">
                    <a:lumMod val="75000"/>
                    <a:lumOff val="25000"/>
                  </a:schemeClr>
                </a:solidFill>
                <a:latin typeface="Segoe UI" panose="020B0502040204020203" pitchFamily="34" charset="0"/>
                <a:cs typeface="Segoe UI" panose="020B0502040204020203" pitchFamily="34" charset="0"/>
              </a:rPr>
              <a:t>ut</a:t>
            </a:r>
            <a:r>
              <a:rPr lang="en-US" sz="1600">
                <a:solidFill>
                  <a:schemeClr val="tx1">
                    <a:lumMod val="75000"/>
                    <a:lumOff val="25000"/>
                  </a:schemeClr>
                </a:solidFill>
                <a:latin typeface="Segoe UI" panose="020B0502040204020203" pitchFamily="34" charset="0"/>
                <a:cs typeface="Segoe UI" panose="020B0502040204020203" pitchFamily="34" charset="0"/>
              </a:rPr>
              <a:t> labore et dolore magna </a:t>
            </a:r>
            <a:r>
              <a:rPr lang="en-US" sz="1600" err="1">
                <a:solidFill>
                  <a:schemeClr val="tx1">
                    <a:lumMod val="75000"/>
                    <a:lumOff val="25000"/>
                  </a:schemeClr>
                </a:solidFill>
                <a:latin typeface="Segoe UI" panose="020B0502040204020203" pitchFamily="34" charset="0"/>
                <a:cs typeface="Segoe UI" panose="020B0502040204020203" pitchFamily="34" charset="0"/>
              </a:rPr>
              <a:t>aliqua</a:t>
            </a:r>
            <a:r>
              <a:rPr lang="en-US" sz="1600">
                <a:solidFill>
                  <a:schemeClr val="tx1">
                    <a:lumMod val="75000"/>
                    <a:lumOff val="25000"/>
                  </a:schemeClr>
                </a:solidFill>
                <a:latin typeface="Segoe UI" panose="020B0502040204020203" pitchFamily="34" charset="0"/>
                <a:cs typeface="Segoe UI" panose="020B0502040204020203" pitchFamily="34" charset="0"/>
              </a:rPr>
              <a:t>.</a:t>
            </a:r>
          </a:p>
        </p:txBody>
      </p:sp>
      <p:sp>
        <p:nvSpPr>
          <p:cNvPr id="16" name="Rectangle 5">
            <a:extLst>
              <a:ext uri="{FF2B5EF4-FFF2-40B4-BE49-F238E27FC236}">
                <a16:creationId xmlns:a16="http://schemas.microsoft.com/office/drawing/2014/main" id="{B8F434A3-0E24-F908-68FD-64D577C7071C}"/>
              </a:ext>
            </a:extLst>
          </p:cNvPr>
          <p:cNvSpPr>
            <a:spLocks noChangeArrowheads="1"/>
          </p:cNvSpPr>
          <p:nvPr/>
        </p:nvSpPr>
        <p:spPr bwMode="auto">
          <a:xfrm>
            <a:off x="7745875" y="2537843"/>
            <a:ext cx="1535656" cy="3876911"/>
          </a:xfrm>
          <a:prstGeom prst="rect">
            <a:avLst/>
          </a:prstGeom>
          <a:solidFill>
            <a:schemeClr val="bg1">
              <a:lumMod val="85000"/>
            </a:schemeClr>
          </a:solidFill>
          <a:ln w="9525" algn="ctr">
            <a:noFill/>
            <a:miter lim="800000"/>
            <a:headEnd type="none" w="sm" len="sm"/>
            <a:tailEnd type="none" w="sm" len="sm"/>
          </a:ln>
        </p:spPr>
        <p:txBody>
          <a:bodyPr wrap="none" tIns="82800"/>
          <a:lstStyle/>
          <a:p>
            <a:pPr algn="ctr">
              <a:spcBef>
                <a:spcPct val="0"/>
              </a:spcBef>
              <a:buClrTx/>
              <a:buFontTx/>
              <a:buNone/>
            </a:pPr>
            <a:r>
              <a:rPr lang="de-DE" sz="1400" b="1">
                <a:solidFill>
                  <a:schemeClr val="tx1">
                    <a:lumMod val="75000"/>
                    <a:lumOff val="25000"/>
                  </a:schemeClr>
                </a:solidFill>
                <a:latin typeface="Segoe UI" panose="020B0502040204020203" pitchFamily="34" charset="0"/>
                <a:cs typeface="Segoe UI" panose="020B0502040204020203" pitchFamily="34" charset="0"/>
              </a:rPr>
              <a:t>Text</a:t>
            </a:r>
            <a:endParaRPr lang="en-US" sz="1400" b="1">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7" name="Rectangle 3">
            <a:extLst>
              <a:ext uri="{FF2B5EF4-FFF2-40B4-BE49-F238E27FC236}">
                <a16:creationId xmlns:a16="http://schemas.microsoft.com/office/drawing/2014/main" id="{C53D3ABB-CB21-2404-B7E3-8CDEE0DED8DD}"/>
              </a:ext>
            </a:extLst>
          </p:cNvPr>
          <p:cNvSpPr>
            <a:spLocks noChangeArrowheads="1"/>
          </p:cNvSpPr>
          <p:nvPr/>
        </p:nvSpPr>
        <p:spPr bwMode="auto">
          <a:xfrm>
            <a:off x="4453467" y="2537843"/>
            <a:ext cx="1535656" cy="3876911"/>
          </a:xfrm>
          <a:prstGeom prst="rect">
            <a:avLst/>
          </a:prstGeom>
          <a:solidFill>
            <a:schemeClr val="bg1">
              <a:lumMod val="85000"/>
            </a:schemeClr>
          </a:solidFill>
          <a:ln w="9525">
            <a:noFill/>
            <a:miter lim="800000"/>
            <a:headEnd type="none" w="sm" len="sm"/>
            <a:tailEnd type="none" w="sm" len="sm"/>
          </a:ln>
        </p:spPr>
        <p:txBody>
          <a:bodyPr wrap="none" tIns="82800"/>
          <a:lstStyle/>
          <a:p>
            <a:pPr algn="ctr">
              <a:spcBef>
                <a:spcPct val="0"/>
              </a:spcBef>
              <a:buClrTx/>
              <a:buFontTx/>
              <a:buNone/>
            </a:pPr>
            <a:r>
              <a:rPr lang="de-DE" sz="1400" b="1">
                <a:solidFill>
                  <a:schemeClr val="tx1">
                    <a:lumMod val="75000"/>
                    <a:lumOff val="25000"/>
                  </a:schemeClr>
                </a:solidFill>
                <a:latin typeface="Segoe UI" panose="020B0502040204020203" pitchFamily="34" charset="0"/>
                <a:cs typeface="Segoe UI" panose="020B0502040204020203" pitchFamily="34" charset="0"/>
              </a:rPr>
              <a:t>Text</a:t>
            </a:r>
          </a:p>
          <a:p>
            <a:pPr algn="ctr">
              <a:spcBef>
                <a:spcPct val="0"/>
              </a:spcBef>
              <a:buClrTx/>
              <a:buFontTx/>
              <a:buNone/>
            </a:pPr>
            <a:endParaRPr lang="de-DE" sz="1400" b="1">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8" name="Rectangle 4">
            <a:extLst>
              <a:ext uri="{FF2B5EF4-FFF2-40B4-BE49-F238E27FC236}">
                <a16:creationId xmlns:a16="http://schemas.microsoft.com/office/drawing/2014/main" id="{8D0AE36B-9DFF-FCBD-F413-67FECE834B42}"/>
              </a:ext>
            </a:extLst>
          </p:cNvPr>
          <p:cNvSpPr>
            <a:spLocks noChangeArrowheads="1"/>
          </p:cNvSpPr>
          <p:nvPr/>
        </p:nvSpPr>
        <p:spPr bwMode="auto">
          <a:xfrm>
            <a:off x="6099671" y="2537843"/>
            <a:ext cx="1535656" cy="3876911"/>
          </a:xfrm>
          <a:prstGeom prst="rect">
            <a:avLst/>
          </a:prstGeom>
          <a:solidFill>
            <a:schemeClr val="bg1">
              <a:lumMod val="85000"/>
            </a:schemeClr>
          </a:solidFill>
          <a:ln w="9525" algn="ctr">
            <a:noFill/>
            <a:miter lim="800000"/>
            <a:headEnd type="none" w="sm" len="sm"/>
            <a:tailEnd type="none" w="sm" len="sm"/>
          </a:ln>
        </p:spPr>
        <p:txBody>
          <a:bodyPr wrap="none" tIns="82800"/>
          <a:lstStyle/>
          <a:p>
            <a:pPr algn="ctr">
              <a:spcBef>
                <a:spcPct val="0"/>
              </a:spcBef>
              <a:buClrTx/>
              <a:buFontTx/>
              <a:buNone/>
            </a:pPr>
            <a:r>
              <a:rPr lang="de-DE" sz="1400" b="1">
                <a:solidFill>
                  <a:schemeClr val="tx1">
                    <a:lumMod val="75000"/>
                    <a:lumOff val="25000"/>
                  </a:schemeClr>
                </a:solidFill>
                <a:latin typeface="Segoe UI" panose="020B0502040204020203" pitchFamily="34" charset="0"/>
                <a:cs typeface="Segoe UI" panose="020B0502040204020203" pitchFamily="34" charset="0"/>
              </a:rPr>
              <a:t>Text</a:t>
            </a:r>
          </a:p>
          <a:p>
            <a:pPr algn="ctr">
              <a:spcBef>
                <a:spcPct val="0"/>
              </a:spcBef>
              <a:buClrTx/>
              <a:buFontTx/>
              <a:buNone/>
            </a:pPr>
            <a:endParaRPr lang="de-DE" sz="1400" b="1">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9" name="Rectangle 5">
            <a:extLst>
              <a:ext uri="{FF2B5EF4-FFF2-40B4-BE49-F238E27FC236}">
                <a16:creationId xmlns:a16="http://schemas.microsoft.com/office/drawing/2014/main" id="{422EB381-C97C-91EE-C6DF-F312A93B6349}"/>
              </a:ext>
            </a:extLst>
          </p:cNvPr>
          <p:cNvSpPr>
            <a:spLocks noChangeArrowheads="1"/>
          </p:cNvSpPr>
          <p:nvPr/>
        </p:nvSpPr>
        <p:spPr bwMode="auto">
          <a:xfrm>
            <a:off x="9392080" y="2537843"/>
            <a:ext cx="1535656" cy="3876911"/>
          </a:xfrm>
          <a:prstGeom prst="rect">
            <a:avLst/>
          </a:prstGeom>
          <a:solidFill>
            <a:schemeClr val="bg1">
              <a:lumMod val="85000"/>
            </a:schemeClr>
          </a:solidFill>
          <a:ln w="9525" algn="ctr">
            <a:noFill/>
            <a:miter lim="800000"/>
            <a:headEnd type="none" w="sm" len="sm"/>
            <a:tailEnd type="none" w="sm" len="sm"/>
          </a:ln>
        </p:spPr>
        <p:txBody>
          <a:bodyPr wrap="none" tIns="82800"/>
          <a:lstStyle/>
          <a:p>
            <a:pPr algn="ctr">
              <a:spcBef>
                <a:spcPct val="0"/>
              </a:spcBef>
              <a:buClrTx/>
              <a:buFontTx/>
              <a:buNone/>
            </a:pPr>
            <a:r>
              <a:rPr lang="de-DE" sz="1400" b="1">
                <a:solidFill>
                  <a:schemeClr val="tx1">
                    <a:lumMod val="75000"/>
                    <a:lumOff val="25000"/>
                  </a:schemeClr>
                </a:solidFill>
                <a:latin typeface="Segoe UI" panose="020B0502040204020203" pitchFamily="34" charset="0"/>
                <a:cs typeface="Segoe UI" panose="020B0502040204020203" pitchFamily="34" charset="0"/>
              </a:rPr>
              <a:t>Text</a:t>
            </a:r>
            <a:endParaRPr lang="en-US" sz="1400" b="1">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0" name="AutoShape 6">
            <a:extLst>
              <a:ext uri="{FF2B5EF4-FFF2-40B4-BE49-F238E27FC236}">
                <a16:creationId xmlns:a16="http://schemas.microsoft.com/office/drawing/2014/main" id="{0F448F60-4038-06F2-977F-326EA7E76AE1}"/>
              </a:ext>
            </a:extLst>
          </p:cNvPr>
          <p:cNvSpPr>
            <a:spLocks noChangeArrowheads="1"/>
          </p:cNvSpPr>
          <p:nvPr/>
        </p:nvSpPr>
        <p:spPr bwMode="auto">
          <a:xfrm>
            <a:off x="334963" y="3020755"/>
            <a:ext cx="11436490" cy="655877"/>
          </a:xfrm>
          <a:prstGeom prst="homePlate">
            <a:avLst>
              <a:gd name="adj" fmla="val 9946"/>
            </a:avLst>
          </a:prstGeom>
          <a:solidFill>
            <a:srgbClr val="B11E27">
              <a:alpha val="9804"/>
            </a:srgbClr>
          </a:solidFill>
          <a:ln w="19050">
            <a:solidFill>
              <a:srgbClr val="C00000"/>
            </a:solidFill>
            <a:miter lim="800000"/>
            <a:headEnd type="none" w="sm" len="sm"/>
            <a:tailEnd type="none" w="sm" len="sm"/>
          </a:ln>
        </p:spPr>
        <p:txBody>
          <a:bodyPr lIns="180000" tIns="46800" rIns="90000" bIns="46800" anchor="ctr"/>
          <a:lstStyle/>
          <a:p>
            <a:pPr defTabSz="703263">
              <a:spcBef>
                <a:spcPct val="0"/>
              </a:spcBef>
            </a:pPr>
            <a:r>
              <a:rPr lang="de-DE" sz="1400" b="1" cap="all">
                <a:solidFill>
                  <a:schemeClr val="tx1">
                    <a:lumMod val="75000"/>
                    <a:lumOff val="25000"/>
                  </a:schemeClr>
                </a:solidFill>
                <a:latin typeface="Segoe UI" panose="020B0502040204020203" pitchFamily="34" charset="0"/>
                <a:cs typeface="Segoe UI" panose="020B0502040204020203" pitchFamily="34" charset="0"/>
              </a:rPr>
              <a:t>Text</a:t>
            </a:r>
          </a:p>
        </p:txBody>
      </p:sp>
      <p:sp>
        <p:nvSpPr>
          <p:cNvPr id="21" name="AutoShape 8">
            <a:extLst>
              <a:ext uri="{FF2B5EF4-FFF2-40B4-BE49-F238E27FC236}">
                <a16:creationId xmlns:a16="http://schemas.microsoft.com/office/drawing/2014/main" id="{ADE76BCF-5096-2A08-9F17-CC613257EA58}"/>
              </a:ext>
            </a:extLst>
          </p:cNvPr>
          <p:cNvSpPr>
            <a:spLocks noChangeArrowheads="1"/>
          </p:cNvSpPr>
          <p:nvPr/>
        </p:nvSpPr>
        <p:spPr bwMode="auto">
          <a:xfrm>
            <a:off x="334963" y="3838760"/>
            <a:ext cx="11436490" cy="655877"/>
          </a:xfrm>
          <a:prstGeom prst="homePlate">
            <a:avLst>
              <a:gd name="adj" fmla="val 9946"/>
            </a:avLst>
          </a:prstGeom>
          <a:solidFill>
            <a:srgbClr val="B11E27">
              <a:alpha val="9804"/>
            </a:srgbClr>
          </a:solidFill>
          <a:ln w="19050">
            <a:solidFill>
              <a:srgbClr val="C00000"/>
            </a:solidFill>
            <a:miter lim="800000"/>
            <a:headEnd type="none" w="sm" len="sm"/>
            <a:tailEnd type="none" w="sm" len="sm"/>
          </a:ln>
        </p:spPr>
        <p:txBody>
          <a:bodyPr lIns="180000" tIns="46800" rIns="90000" bIns="46800" anchor="ctr"/>
          <a:lstStyle/>
          <a:p>
            <a:pPr defTabSz="703263">
              <a:spcBef>
                <a:spcPct val="0"/>
              </a:spcBef>
            </a:pPr>
            <a:r>
              <a:rPr lang="de-DE" sz="1400" b="1" cap="all">
                <a:solidFill>
                  <a:schemeClr val="tx1">
                    <a:lumMod val="75000"/>
                    <a:lumOff val="25000"/>
                  </a:schemeClr>
                </a:solidFill>
                <a:latin typeface="Segoe UI" panose="020B0502040204020203" pitchFamily="34" charset="0"/>
                <a:cs typeface="Segoe UI" panose="020B0502040204020203" pitchFamily="34" charset="0"/>
              </a:rPr>
              <a:t>Text</a:t>
            </a:r>
          </a:p>
        </p:txBody>
      </p:sp>
      <p:sp>
        <p:nvSpPr>
          <p:cNvPr id="22" name="AutoShape 9">
            <a:extLst>
              <a:ext uri="{FF2B5EF4-FFF2-40B4-BE49-F238E27FC236}">
                <a16:creationId xmlns:a16="http://schemas.microsoft.com/office/drawing/2014/main" id="{76B487CD-8FAD-0156-CBCA-C17F1116AD71}"/>
              </a:ext>
            </a:extLst>
          </p:cNvPr>
          <p:cNvSpPr>
            <a:spLocks noChangeArrowheads="1"/>
          </p:cNvSpPr>
          <p:nvPr/>
        </p:nvSpPr>
        <p:spPr bwMode="auto">
          <a:xfrm>
            <a:off x="334963" y="5474772"/>
            <a:ext cx="11436490" cy="655877"/>
          </a:xfrm>
          <a:prstGeom prst="homePlate">
            <a:avLst>
              <a:gd name="adj" fmla="val 9946"/>
            </a:avLst>
          </a:prstGeom>
          <a:solidFill>
            <a:srgbClr val="B11E27">
              <a:alpha val="9804"/>
            </a:srgbClr>
          </a:solidFill>
          <a:ln w="19050">
            <a:solidFill>
              <a:srgbClr val="C00000"/>
            </a:solidFill>
            <a:miter lim="800000"/>
            <a:headEnd type="none" w="sm" len="sm"/>
            <a:tailEnd type="none" w="sm" len="sm"/>
          </a:ln>
        </p:spPr>
        <p:txBody>
          <a:bodyPr lIns="180000" tIns="46800" rIns="90000" bIns="46800" anchor="ctr"/>
          <a:lstStyle/>
          <a:p>
            <a:pPr defTabSz="703263">
              <a:spcBef>
                <a:spcPct val="0"/>
              </a:spcBef>
            </a:pPr>
            <a:r>
              <a:rPr lang="de-DE" sz="1400" b="1" cap="all">
                <a:solidFill>
                  <a:schemeClr val="tx1">
                    <a:lumMod val="75000"/>
                    <a:lumOff val="25000"/>
                  </a:schemeClr>
                </a:solidFill>
                <a:latin typeface="Segoe UI" panose="020B0502040204020203" pitchFamily="34" charset="0"/>
                <a:cs typeface="Segoe UI" panose="020B0502040204020203" pitchFamily="34" charset="0"/>
              </a:rPr>
              <a:t>Text</a:t>
            </a:r>
          </a:p>
        </p:txBody>
      </p:sp>
      <p:sp>
        <p:nvSpPr>
          <p:cNvPr id="23" name="AutoShape 9">
            <a:extLst>
              <a:ext uri="{FF2B5EF4-FFF2-40B4-BE49-F238E27FC236}">
                <a16:creationId xmlns:a16="http://schemas.microsoft.com/office/drawing/2014/main" id="{D5F1F80B-29A9-CD45-0324-D4979405A222}"/>
              </a:ext>
            </a:extLst>
          </p:cNvPr>
          <p:cNvSpPr>
            <a:spLocks noChangeArrowheads="1"/>
          </p:cNvSpPr>
          <p:nvPr/>
        </p:nvSpPr>
        <p:spPr bwMode="auto">
          <a:xfrm>
            <a:off x="334963" y="4656766"/>
            <a:ext cx="11436490" cy="655877"/>
          </a:xfrm>
          <a:prstGeom prst="homePlate">
            <a:avLst>
              <a:gd name="adj" fmla="val 9946"/>
            </a:avLst>
          </a:prstGeom>
          <a:solidFill>
            <a:srgbClr val="B11E27">
              <a:alpha val="9804"/>
            </a:srgbClr>
          </a:solidFill>
          <a:ln w="19050">
            <a:solidFill>
              <a:srgbClr val="C00000"/>
            </a:solidFill>
            <a:miter lim="800000"/>
            <a:headEnd type="none" w="sm" len="sm"/>
            <a:tailEnd type="none" w="sm" len="sm"/>
          </a:ln>
        </p:spPr>
        <p:txBody>
          <a:bodyPr lIns="180000" tIns="46800" rIns="90000" bIns="46800" anchor="ctr"/>
          <a:lstStyle/>
          <a:p>
            <a:pPr defTabSz="703263">
              <a:spcBef>
                <a:spcPct val="0"/>
              </a:spcBef>
            </a:pPr>
            <a:r>
              <a:rPr lang="de-DE" sz="1400" b="1" cap="all">
                <a:solidFill>
                  <a:schemeClr val="tx1">
                    <a:lumMod val="75000"/>
                    <a:lumOff val="25000"/>
                  </a:schemeClr>
                </a:solidFill>
                <a:latin typeface="Segoe UI" panose="020B0502040204020203" pitchFamily="34" charset="0"/>
                <a:cs typeface="Segoe UI" panose="020B0502040204020203" pitchFamily="34" charset="0"/>
              </a:rPr>
              <a:t>Text</a:t>
            </a:r>
          </a:p>
        </p:txBody>
      </p:sp>
      <p:sp>
        <p:nvSpPr>
          <p:cNvPr id="26" name="TextBox 25">
            <a:extLst>
              <a:ext uri="{FF2B5EF4-FFF2-40B4-BE49-F238E27FC236}">
                <a16:creationId xmlns:a16="http://schemas.microsoft.com/office/drawing/2014/main" id="{A8E8C533-F5F5-1A29-7924-B8A1C8A03E28}"/>
              </a:ext>
            </a:extLst>
          </p:cNvPr>
          <p:cNvSpPr txBox="1"/>
          <p:nvPr/>
        </p:nvSpPr>
        <p:spPr>
          <a:xfrm>
            <a:off x="1264264" y="3030300"/>
            <a:ext cx="2926066" cy="600164"/>
          </a:xfrm>
          <a:prstGeom prst="rect">
            <a:avLst/>
          </a:prstGeom>
          <a:noFill/>
        </p:spPr>
        <p:txBody>
          <a:bodyPr wrap="square">
            <a:spAutoFit/>
          </a:bodyPr>
          <a:lstStyle/>
          <a:p>
            <a:r>
              <a:rPr lang="en-US" sz="11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100" err="1">
                <a:solidFill>
                  <a:schemeClr val="tx1">
                    <a:lumMod val="75000"/>
                    <a:lumOff val="25000"/>
                  </a:schemeClr>
                </a:solidFill>
                <a:latin typeface="Segoe UI" panose="020B0502040204020203" pitchFamily="34" charset="0"/>
                <a:cs typeface="Segoe UI" panose="020B0502040204020203" pitchFamily="34" charset="0"/>
              </a:rPr>
              <a:t>amet</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elit</a:t>
            </a:r>
            <a:r>
              <a:rPr lang="en-US" sz="1100">
                <a:solidFill>
                  <a:schemeClr val="tx1">
                    <a:lumMod val="75000"/>
                    <a:lumOff val="25000"/>
                  </a:schemeClr>
                </a:solidFill>
                <a:latin typeface="Segoe UI" panose="020B0502040204020203" pitchFamily="34" charset="0"/>
                <a:cs typeface="Segoe UI" panose="020B0502040204020203" pitchFamily="34" charset="0"/>
              </a:rPr>
              <a:t>, sed do </a:t>
            </a:r>
            <a:r>
              <a:rPr lang="en-US" sz="1100" err="1">
                <a:solidFill>
                  <a:schemeClr val="tx1">
                    <a:lumMod val="75000"/>
                    <a:lumOff val="25000"/>
                  </a:schemeClr>
                </a:solidFill>
                <a:latin typeface="Segoe UI" panose="020B0502040204020203" pitchFamily="34" charset="0"/>
                <a:cs typeface="Segoe UI" panose="020B0502040204020203" pitchFamily="34" charset="0"/>
              </a:rPr>
              <a:t>eiusmod</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tempor</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ut</a:t>
            </a:r>
            <a:r>
              <a:rPr lang="en-US" sz="1100">
                <a:solidFill>
                  <a:schemeClr val="tx1">
                    <a:lumMod val="75000"/>
                    <a:lumOff val="25000"/>
                  </a:schemeClr>
                </a:solidFill>
                <a:latin typeface="Segoe UI" panose="020B0502040204020203" pitchFamily="34" charset="0"/>
                <a:cs typeface="Segoe UI" panose="020B0502040204020203" pitchFamily="34" charset="0"/>
              </a:rPr>
              <a:t> labore et dolore magna </a:t>
            </a:r>
            <a:r>
              <a:rPr lang="en-US" sz="1100" err="1">
                <a:solidFill>
                  <a:schemeClr val="tx1">
                    <a:lumMod val="75000"/>
                    <a:lumOff val="25000"/>
                  </a:schemeClr>
                </a:solidFill>
                <a:latin typeface="Segoe UI" panose="020B0502040204020203" pitchFamily="34" charset="0"/>
                <a:cs typeface="Segoe UI" panose="020B0502040204020203" pitchFamily="34" charset="0"/>
              </a:rPr>
              <a:t>aliqua</a:t>
            </a:r>
            <a:r>
              <a:rPr lang="en-US" sz="1100">
                <a:solidFill>
                  <a:schemeClr val="tx1">
                    <a:lumMod val="75000"/>
                    <a:lumOff val="25000"/>
                  </a:schemeClr>
                </a:solidFill>
                <a:latin typeface="Segoe UI" panose="020B0502040204020203" pitchFamily="34" charset="0"/>
                <a:cs typeface="Segoe UI" panose="020B0502040204020203" pitchFamily="34" charset="0"/>
              </a:rPr>
              <a:t>. </a:t>
            </a:r>
            <a:endParaRPr lang="en-BR" sz="1100">
              <a:solidFill>
                <a:schemeClr val="tx1">
                  <a:lumMod val="75000"/>
                  <a:lumOff val="25000"/>
                </a:schemeClr>
              </a:solidFill>
            </a:endParaRPr>
          </a:p>
        </p:txBody>
      </p:sp>
      <p:sp>
        <p:nvSpPr>
          <p:cNvPr id="27" name="TextBox 26">
            <a:extLst>
              <a:ext uri="{FF2B5EF4-FFF2-40B4-BE49-F238E27FC236}">
                <a16:creationId xmlns:a16="http://schemas.microsoft.com/office/drawing/2014/main" id="{2A937C02-C410-715B-FDB1-2315B34D3CE2}"/>
              </a:ext>
            </a:extLst>
          </p:cNvPr>
          <p:cNvSpPr txBox="1"/>
          <p:nvPr/>
        </p:nvSpPr>
        <p:spPr>
          <a:xfrm>
            <a:off x="1264264" y="3848306"/>
            <a:ext cx="2926066" cy="600164"/>
          </a:xfrm>
          <a:prstGeom prst="rect">
            <a:avLst/>
          </a:prstGeom>
          <a:noFill/>
        </p:spPr>
        <p:txBody>
          <a:bodyPr wrap="square">
            <a:spAutoFit/>
          </a:bodyPr>
          <a:lstStyle/>
          <a:p>
            <a:r>
              <a:rPr lang="en-US" sz="11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100" err="1">
                <a:solidFill>
                  <a:schemeClr val="tx1">
                    <a:lumMod val="75000"/>
                    <a:lumOff val="25000"/>
                  </a:schemeClr>
                </a:solidFill>
                <a:latin typeface="Segoe UI" panose="020B0502040204020203" pitchFamily="34" charset="0"/>
                <a:cs typeface="Segoe UI" panose="020B0502040204020203" pitchFamily="34" charset="0"/>
              </a:rPr>
              <a:t>amet</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elit</a:t>
            </a:r>
            <a:r>
              <a:rPr lang="en-US" sz="1100">
                <a:solidFill>
                  <a:schemeClr val="tx1">
                    <a:lumMod val="75000"/>
                    <a:lumOff val="25000"/>
                  </a:schemeClr>
                </a:solidFill>
                <a:latin typeface="Segoe UI" panose="020B0502040204020203" pitchFamily="34" charset="0"/>
                <a:cs typeface="Segoe UI" panose="020B0502040204020203" pitchFamily="34" charset="0"/>
              </a:rPr>
              <a:t>, sed do </a:t>
            </a:r>
            <a:r>
              <a:rPr lang="en-US" sz="1100" err="1">
                <a:solidFill>
                  <a:schemeClr val="tx1">
                    <a:lumMod val="75000"/>
                    <a:lumOff val="25000"/>
                  </a:schemeClr>
                </a:solidFill>
                <a:latin typeface="Segoe UI" panose="020B0502040204020203" pitchFamily="34" charset="0"/>
                <a:cs typeface="Segoe UI" panose="020B0502040204020203" pitchFamily="34" charset="0"/>
              </a:rPr>
              <a:t>eiusmod</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tempor</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ut</a:t>
            </a:r>
            <a:r>
              <a:rPr lang="en-US" sz="1100">
                <a:solidFill>
                  <a:schemeClr val="tx1">
                    <a:lumMod val="75000"/>
                    <a:lumOff val="25000"/>
                  </a:schemeClr>
                </a:solidFill>
                <a:latin typeface="Segoe UI" panose="020B0502040204020203" pitchFamily="34" charset="0"/>
                <a:cs typeface="Segoe UI" panose="020B0502040204020203" pitchFamily="34" charset="0"/>
              </a:rPr>
              <a:t> labore et dolore magna </a:t>
            </a:r>
            <a:r>
              <a:rPr lang="en-US" sz="1100" err="1">
                <a:solidFill>
                  <a:schemeClr val="tx1">
                    <a:lumMod val="75000"/>
                    <a:lumOff val="25000"/>
                  </a:schemeClr>
                </a:solidFill>
                <a:latin typeface="Segoe UI" panose="020B0502040204020203" pitchFamily="34" charset="0"/>
                <a:cs typeface="Segoe UI" panose="020B0502040204020203" pitchFamily="34" charset="0"/>
              </a:rPr>
              <a:t>aliqua</a:t>
            </a:r>
            <a:r>
              <a:rPr lang="en-US" sz="1100">
                <a:solidFill>
                  <a:schemeClr val="tx1">
                    <a:lumMod val="75000"/>
                    <a:lumOff val="25000"/>
                  </a:schemeClr>
                </a:solidFill>
                <a:latin typeface="Segoe UI" panose="020B0502040204020203" pitchFamily="34" charset="0"/>
                <a:cs typeface="Segoe UI" panose="020B0502040204020203" pitchFamily="34" charset="0"/>
              </a:rPr>
              <a:t>. </a:t>
            </a:r>
            <a:endParaRPr lang="en-BR" sz="1100">
              <a:solidFill>
                <a:schemeClr val="tx1">
                  <a:lumMod val="75000"/>
                  <a:lumOff val="25000"/>
                </a:schemeClr>
              </a:solidFill>
            </a:endParaRPr>
          </a:p>
        </p:txBody>
      </p:sp>
      <p:sp>
        <p:nvSpPr>
          <p:cNvPr id="28" name="TextBox 27">
            <a:extLst>
              <a:ext uri="{FF2B5EF4-FFF2-40B4-BE49-F238E27FC236}">
                <a16:creationId xmlns:a16="http://schemas.microsoft.com/office/drawing/2014/main" id="{E7D39930-7187-A867-8A3A-E25AD412AF43}"/>
              </a:ext>
            </a:extLst>
          </p:cNvPr>
          <p:cNvSpPr txBox="1"/>
          <p:nvPr/>
        </p:nvSpPr>
        <p:spPr>
          <a:xfrm>
            <a:off x="1264264" y="4684430"/>
            <a:ext cx="2926066" cy="600164"/>
          </a:xfrm>
          <a:prstGeom prst="rect">
            <a:avLst/>
          </a:prstGeom>
          <a:noFill/>
        </p:spPr>
        <p:txBody>
          <a:bodyPr wrap="square">
            <a:spAutoFit/>
          </a:bodyPr>
          <a:lstStyle/>
          <a:p>
            <a:r>
              <a:rPr lang="en-US" sz="11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100" err="1">
                <a:solidFill>
                  <a:schemeClr val="tx1">
                    <a:lumMod val="75000"/>
                    <a:lumOff val="25000"/>
                  </a:schemeClr>
                </a:solidFill>
                <a:latin typeface="Segoe UI" panose="020B0502040204020203" pitchFamily="34" charset="0"/>
                <a:cs typeface="Segoe UI" panose="020B0502040204020203" pitchFamily="34" charset="0"/>
              </a:rPr>
              <a:t>amet</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elit</a:t>
            </a:r>
            <a:r>
              <a:rPr lang="en-US" sz="1100">
                <a:solidFill>
                  <a:schemeClr val="tx1">
                    <a:lumMod val="75000"/>
                    <a:lumOff val="25000"/>
                  </a:schemeClr>
                </a:solidFill>
                <a:latin typeface="Segoe UI" panose="020B0502040204020203" pitchFamily="34" charset="0"/>
                <a:cs typeface="Segoe UI" panose="020B0502040204020203" pitchFamily="34" charset="0"/>
              </a:rPr>
              <a:t>, sed do </a:t>
            </a:r>
            <a:r>
              <a:rPr lang="en-US" sz="1100" err="1">
                <a:solidFill>
                  <a:schemeClr val="tx1">
                    <a:lumMod val="75000"/>
                    <a:lumOff val="25000"/>
                  </a:schemeClr>
                </a:solidFill>
                <a:latin typeface="Segoe UI" panose="020B0502040204020203" pitchFamily="34" charset="0"/>
                <a:cs typeface="Segoe UI" panose="020B0502040204020203" pitchFamily="34" charset="0"/>
              </a:rPr>
              <a:t>eiusmod</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tempor</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ut</a:t>
            </a:r>
            <a:r>
              <a:rPr lang="en-US" sz="1100">
                <a:solidFill>
                  <a:schemeClr val="tx1">
                    <a:lumMod val="75000"/>
                    <a:lumOff val="25000"/>
                  </a:schemeClr>
                </a:solidFill>
                <a:latin typeface="Segoe UI" panose="020B0502040204020203" pitchFamily="34" charset="0"/>
                <a:cs typeface="Segoe UI" panose="020B0502040204020203" pitchFamily="34" charset="0"/>
              </a:rPr>
              <a:t> labore et dolore magna </a:t>
            </a:r>
            <a:r>
              <a:rPr lang="en-US" sz="1100" err="1">
                <a:solidFill>
                  <a:schemeClr val="tx1">
                    <a:lumMod val="75000"/>
                    <a:lumOff val="25000"/>
                  </a:schemeClr>
                </a:solidFill>
                <a:latin typeface="Segoe UI" panose="020B0502040204020203" pitchFamily="34" charset="0"/>
                <a:cs typeface="Segoe UI" panose="020B0502040204020203" pitchFamily="34" charset="0"/>
              </a:rPr>
              <a:t>aliqua</a:t>
            </a:r>
            <a:r>
              <a:rPr lang="en-US" sz="1100">
                <a:solidFill>
                  <a:schemeClr val="tx1">
                    <a:lumMod val="75000"/>
                    <a:lumOff val="25000"/>
                  </a:schemeClr>
                </a:solidFill>
                <a:latin typeface="Segoe UI" panose="020B0502040204020203" pitchFamily="34" charset="0"/>
                <a:cs typeface="Segoe UI" panose="020B0502040204020203" pitchFamily="34" charset="0"/>
              </a:rPr>
              <a:t>. </a:t>
            </a:r>
            <a:endParaRPr lang="en-BR" sz="1100">
              <a:solidFill>
                <a:schemeClr val="tx1">
                  <a:lumMod val="75000"/>
                  <a:lumOff val="25000"/>
                </a:schemeClr>
              </a:solidFill>
            </a:endParaRPr>
          </a:p>
        </p:txBody>
      </p:sp>
      <p:sp>
        <p:nvSpPr>
          <p:cNvPr id="29" name="TextBox 28">
            <a:extLst>
              <a:ext uri="{FF2B5EF4-FFF2-40B4-BE49-F238E27FC236}">
                <a16:creationId xmlns:a16="http://schemas.microsoft.com/office/drawing/2014/main" id="{7AA20CFA-72B8-1AEE-C005-AFB89E6C5D10}"/>
              </a:ext>
            </a:extLst>
          </p:cNvPr>
          <p:cNvSpPr txBox="1"/>
          <p:nvPr/>
        </p:nvSpPr>
        <p:spPr>
          <a:xfrm>
            <a:off x="1264264" y="5474772"/>
            <a:ext cx="2926066" cy="600164"/>
          </a:xfrm>
          <a:prstGeom prst="rect">
            <a:avLst/>
          </a:prstGeom>
          <a:noFill/>
        </p:spPr>
        <p:txBody>
          <a:bodyPr wrap="square">
            <a:spAutoFit/>
          </a:bodyPr>
          <a:lstStyle/>
          <a:p>
            <a:r>
              <a:rPr lang="en-US" sz="11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100" err="1">
                <a:solidFill>
                  <a:schemeClr val="tx1">
                    <a:lumMod val="75000"/>
                    <a:lumOff val="25000"/>
                  </a:schemeClr>
                </a:solidFill>
                <a:latin typeface="Segoe UI" panose="020B0502040204020203" pitchFamily="34" charset="0"/>
                <a:cs typeface="Segoe UI" panose="020B0502040204020203" pitchFamily="34" charset="0"/>
              </a:rPr>
              <a:t>amet</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elit</a:t>
            </a:r>
            <a:r>
              <a:rPr lang="en-US" sz="1100">
                <a:solidFill>
                  <a:schemeClr val="tx1">
                    <a:lumMod val="75000"/>
                    <a:lumOff val="25000"/>
                  </a:schemeClr>
                </a:solidFill>
                <a:latin typeface="Segoe UI" panose="020B0502040204020203" pitchFamily="34" charset="0"/>
                <a:cs typeface="Segoe UI" panose="020B0502040204020203" pitchFamily="34" charset="0"/>
              </a:rPr>
              <a:t>, sed do </a:t>
            </a:r>
            <a:r>
              <a:rPr lang="en-US" sz="1100" err="1">
                <a:solidFill>
                  <a:schemeClr val="tx1">
                    <a:lumMod val="75000"/>
                    <a:lumOff val="25000"/>
                  </a:schemeClr>
                </a:solidFill>
                <a:latin typeface="Segoe UI" panose="020B0502040204020203" pitchFamily="34" charset="0"/>
                <a:cs typeface="Segoe UI" panose="020B0502040204020203" pitchFamily="34" charset="0"/>
              </a:rPr>
              <a:t>eiusmod</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tempor</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100">
                <a:solidFill>
                  <a:schemeClr val="tx1">
                    <a:lumMod val="75000"/>
                    <a:lumOff val="25000"/>
                  </a:schemeClr>
                </a:solidFill>
                <a:latin typeface="Segoe UI" panose="020B0502040204020203" pitchFamily="34" charset="0"/>
                <a:cs typeface="Segoe UI" panose="020B0502040204020203" pitchFamily="34" charset="0"/>
              </a:rPr>
              <a:t> </a:t>
            </a:r>
            <a:r>
              <a:rPr lang="en-US" sz="1100" err="1">
                <a:solidFill>
                  <a:schemeClr val="tx1">
                    <a:lumMod val="75000"/>
                    <a:lumOff val="25000"/>
                  </a:schemeClr>
                </a:solidFill>
                <a:latin typeface="Segoe UI" panose="020B0502040204020203" pitchFamily="34" charset="0"/>
                <a:cs typeface="Segoe UI" panose="020B0502040204020203" pitchFamily="34" charset="0"/>
              </a:rPr>
              <a:t>ut</a:t>
            </a:r>
            <a:r>
              <a:rPr lang="en-US" sz="1100">
                <a:solidFill>
                  <a:schemeClr val="tx1">
                    <a:lumMod val="75000"/>
                    <a:lumOff val="25000"/>
                  </a:schemeClr>
                </a:solidFill>
                <a:latin typeface="Segoe UI" panose="020B0502040204020203" pitchFamily="34" charset="0"/>
                <a:cs typeface="Segoe UI" panose="020B0502040204020203" pitchFamily="34" charset="0"/>
              </a:rPr>
              <a:t> labore et dolore magna </a:t>
            </a:r>
            <a:r>
              <a:rPr lang="en-US" sz="1100" err="1">
                <a:solidFill>
                  <a:schemeClr val="tx1">
                    <a:lumMod val="75000"/>
                    <a:lumOff val="25000"/>
                  </a:schemeClr>
                </a:solidFill>
                <a:latin typeface="Segoe UI" panose="020B0502040204020203" pitchFamily="34" charset="0"/>
                <a:cs typeface="Segoe UI" panose="020B0502040204020203" pitchFamily="34" charset="0"/>
              </a:rPr>
              <a:t>aliqua</a:t>
            </a:r>
            <a:r>
              <a:rPr lang="en-US" sz="1100">
                <a:solidFill>
                  <a:schemeClr val="tx1">
                    <a:lumMod val="75000"/>
                    <a:lumOff val="25000"/>
                  </a:schemeClr>
                </a:solidFill>
                <a:latin typeface="Segoe UI" panose="020B0502040204020203" pitchFamily="34" charset="0"/>
                <a:cs typeface="Segoe UI" panose="020B0502040204020203" pitchFamily="34" charset="0"/>
              </a:rPr>
              <a:t>. </a:t>
            </a:r>
            <a:endParaRPr lang="en-BR" sz="1100">
              <a:solidFill>
                <a:schemeClr val="tx1">
                  <a:lumMod val="75000"/>
                  <a:lumOff val="25000"/>
                </a:schemeClr>
              </a:solidFill>
            </a:endParaRPr>
          </a:p>
        </p:txBody>
      </p:sp>
      <p:sp>
        <p:nvSpPr>
          <p:cNvPr id="31" name="TextBox 30">
            <a:extLst>
              <a:ext uri="{FF2B5EF4-FFF2-40B4-BE49-F238E27FC236}">
                <a16:creationId xmlns:a16="http://schemas.microsoft.com/office/drawing/2014/main" id="{C01D5CBB-6C4A-682C-B776-51C8EC889713}"/>
              </a:ext>
            </a:extLst>
          </p:cNvPr>
          <p:cNvSpPr txBox="1"/>
          <p:nvPr/>
        </p:nvSpPr>
        <p:spPr>
          <a:xfrm>
            <a:off x="4460890" y="3041875"/>
            <a:ext cx="1516658" cy="600164"/>
          </a:xfrm>
          <a:prstGeom prst="rect">
            <a:avLst/>
          </a:prstGeom>
          <a:noFill/>
        </p:spPr>
        <p:txBody>
          <a:bodyPr wrap="square">
            <a:spAutoFit/>
          </a:bodyPr>
          <a:lstStyle>
            <a:defPPr>
              <a:defRPr lang="en-BR"/>
            </a:defPPr>
            <a:lvl1pPr>
              <a:defRPr sz="1200">
                <a:solidFill>
                  <a:schemeClr val="tx1">
                    <a:lumMod val="65000"/>
                    <a:lumOff val="35000"/>
                  </a:schemeClr>
                </a:solidFill>
                <a:latin typeface="Segoe UI" panose="020B0502040204020203" pitchFamily="34" charset="0"/>
                <a:cs typeface="Segoe UI" panose="020B0502040204020203" pitchFamily="34" charset="0"/>
              </a:defRPr>
            </a:lvl1pPr>
          </a:lstStyle>
          <a:p>
            <a:r>
              <a:rPr lang="en-US" sz="1100">
                <a:solidFill>
                  <a:schemeClr val="tx1">
                    <a:lumMod val="75000"/>
                    <a:lumOff val="25000"/>
                  </a:schemeClr>
                </a:solidFill>
              </a:rPr>
              <a:t>Lorem ipsum dolor sit </a:t>
            </a:r>
            <a:r>
              <a:rPr lang="en-US" sz="1100" err="1">
                <a:solidFill>
                  <a:schemeClr val="tx1">
                    <a:lumMod val="75000"/>
                    <a:lumOff val="25000"/>
                  </a:schemeClr>
                </a:solidFill>
              </a:rPr>
              <a:t>amet</a:t>
            </a:r>
            <a:r>
              <a:rPr lang="en-US" sz="1100">
                <a:solidFill>
                  <a:schemeClr val="tx1">
                    <a:lumMod val="75000"/>
                    <a:lumOff val="25000"/>
                  </a:schemeClr>
                </a:solidFill>
              </a:rPr>
              <a:t>, </a:t>
            </a:r>
            <a:r>
              <a:rPr lang="en-US" sz="1100" err="1">
                <a:solidFill>
                  <a:schemeClr val="tx1">
                    <a:lumMod val="75000"/>
                    <a:lumOff val="25000"/>
                  </a:schemeClr>
                </a:solidFill>
              </a:rPr>
              <a:t>consectetur</a:t>
            </a:r>
            <a:r>
              <a:rPr lang="en-US" sz="1100">
                <a:solidFill>
                  <a:schemeClr val="tx1">
                    <a:lumMod val="75000"/>
                    <a:lumOff val="25000"/>
                  </a:schemeClr>
                </a:solidFill>
              </a:rPr>
              <a:t> </a:t>
            </a:r>
            <a:r>
              <a:rPr lang="en-US" sz="1100" err="1">
                <a:solidFill>
                  <a:schemeClr val="tx1">
                    <a:lumMod val="75000"/>
                    <a:lumOff val="25000"/>
                  </a:schemeClr>
                </a:solidFill>
              </a:rPr>
              <a:t>adipiscing</a:t>
            </a:r>
            <a:r>
              <a:rPr lang="en-US" sz="1100">
                <a:solidFill>
                  <a:schemeClr val="tx1">
                    <a:lumMod val="75000"/>
                    <a:lumOff val="25000"/>
                  </a:schemeClr>
                </a:solidFill>
              </a:rPr>
              <a:t> </a:t>
            </a:r>
            <a:r>
              <a:rPr lang="en-US" sz="1100" err="1">
                <a:solidFill>
                  <a:schemeClr val="tx1">
                    <a:lumMod val="75000"/>
                    <a:lumOff val="25000"/>
                  </a:schemeClr>
                </a:solidFill>
              </a:rPr>
              <a:t>elit</a:t>
            </a:r>
            <a:endParaRPr lang="en-BR" sz="1100">
              <a:solidFill>
                <a:schemeClr val="tx1">
                  <a:lumMod val="75000"/>
                  <a:lumOff val="25000"/>
                </a:schemeClr>
              </a:solidFill>
            </a:endParaRPr>
          </a:p>
        </p:txBody>
      </p:sp>
      <p:sp>
        <p:nvSpPr>
          <p:cNvPr id="32" name="TextBox 31">
            <a:extLst>
              <a:ext uri="{FF2B5EF4-FFF2-40B4-BE49-F238E27FC236}">
                <a16:creationId xmlns:a16="http://schemas.microsoft.com/office/drawing/2014/main" id="{AEDCD09A-D11C-6E5E-CB34-523CA057ED61}"/>
              </a:ext>
            </a:extLst>
          </p:cNvPr>
          <p:cNvSpPr txBox="1"/>
          <p:nvPr/>
        </p:nvSpPr>
        <p:spPr>
          <a:xfrm>
            <a:off x="4460890" y="3866616"/>
            <a:ext cx="1516658" cy="600164"/>
          </a:xfrm>
          <a:prstGeom prst="rect">
            <a:avLst/>
          </a:prstGeom>
          <a:noFill/>
        </p:spPr>
        <p:txBody>
          <a:bodyPr wrap="square">
            <a:spAutoFit/>
          </a:bodyPr>
          <a:lstStyle>
            <a:defPPr>
              <a:defRPr lang="en-BR"/>
            </a:defPPr>
            <a:lvl1pPr>
              <a:defRPr sz="1200">
                <a:solidFill>
                  <a:schemeClr val="tx1">
                    <a:lumMod val="65000"/>
                    <a:lumOff val="35000"/>
                  </a:schemeClr>
                </a:solidFill>
                <a:latin typeface="Segoe UI" panose="020B0502040204020203" pitchFamily="34" charset="0"/>
                <a:cs typeface="Segoe UI" panose="020B0502040204020203" pitchFamily="34" charset="0"/>
              </a:defRPr>
            </a:lvl1pPr>
          </a:lstStyle>
          <a:p>
            <a:r>
              <a:rPr lang="en-US" sz="1100">
                <a:solidFill>
                  <a:schemeClr val="tx1">
                    <a:lumMod val="75000"/>
                    <a:lumOff val="25000"/>
                  </a:schemeClr>
                </a:solidFill>
              </a:rPr>
              <a:t>Lorem ipsum dolor sit </a:t>
            </a:r>
            <a:r>
              <a:rPr lang="en-US" sz="1100" err="1">
                <a:solidFill>
                  <a:schemeClr val="tx1">
                    <a:lumMod val="75000"/>
                    <a:lumOff val="25000"/>
                  </a:schemeClr>
                </a:solidFill>
              </a:rPr>
              <a:t>amet</a:t>
            </a:r>
            <a:r>
              <a:rPr lang="en-US" sz="1100">
                <a:solidFill>
                  <a:schemeClr val="tx1">
                    <a:lumMod val="75000"/>
                    <a:lumOff val="25000"/>
                  </a:schemeClr>
                </a:solidFill>
              </a:rPr>
              <a:t>, </a:t>
            </a:r>
            <a:r>
              <a:rPr lang="en-US" sz="1100" err="1">
                <a:solidFill>
                  <a:schemeClr val="tx1">
                    <a:lumMod val="75000"/>
                    <a:lumOff val="25000"/>
                  </a:schemeClr>
                </a:solidFill>
              </a:rPr>
              <a:t>consectetur</a:t>
            </a:r>
            <a:r>
              <a:rPr lang="en-US" sz="1100">
                <a:solidFill>
                  <a:schemeClr val="tx1">
                    <a:lumMod val="75000"/>
                    <a:lumOff val="25000"/>
                  </a:schemeClr>
                </a:solidFill>
              </a:rPr>
              <a:t> </a:t>
            </a:r>
            <a:r>
              <a:rPr lang="en-US" sz="1100" err="1">
                <a:solidFill>
                  <a:schemeClr val="tx1">
                    <a:lumMod val="75000"/>
                    <a:lumOff val="25000"/>
                  </a:schemeClr>
                </a:solidFill>
              </a:rPr>
              <a:t>adipiscing</a:t>
            </a:r>
            <a:r>
              <a:rPr lang="en-US" sz="1100">
                <a:solidFill>
                  <a:schemeClr val="tx1">
                    <a:lumMod val="75000"/>
                    <a:lumOff val="25000"/>
                  </a:schemeClr>
                </a:solidFill>
              </a:rPr>
              <a:t> </a:t>
            </a:r>
            <a:r>
              <a:rPr lang="en-US" sz="1100" err="1">
                <a:solidFill>
                  <a:schemeClr val="tx1">
                    <a:lumMod val="75000"/>
                    <a:lumOff val="25000"/>
                  </a:schemeClr>
                </a:solidFill>
              </a:rPr>
              <a:t>elit</a:t>
            </a:r>
            <a:endParaRPr lang="en-BR" sz="1100">
              <a:solidFill>
                <a:schemeClr val="tx1">
                  <a:lumMod val="75000"/>
                  <a:lumOff val="25000"/>
                </a:schemeClr>
              </a:solidFill>
            </a:endParaRPr>
          </a:p>
        </p:txBody>
      </p:sp>
      <p:sp>
        <p:nvSpPr>
          <p:cNvPr id="33" name="TextBox 32">
            <a:extLst>
              <a:ext uri="{FF2B5EF4-FFF2-40B4-BE49-F238E27FC236}">
                <a16:creationId xmlns:a16="http://schemas.microsoft.com/office/drawing/2014/main" id="{F8BC06FB-A717-56A8-1B50-392C7A9E1F77}"/>
              </a:ext>
            </a:extLst>
          </p:cNvPr>
          <p:cNvSpPr txBox="1"/>
          <p:nvPr/>
        </p:nvSpPr>
        <p:spPr>
          <a:xfrm>
            <a:off x="4460890" y="4684622"/>
            <a:ext cx="1516658" cy="600164"/>
          </a:xfrm>
          <a:prstGeom prst="rect">
            <a:avLst/>
          </a:prstGeom>
          <a:noFill/>
        </p:spPr>
        <p:txBody>
          <a:bodyPr wrap="square">
            <a:spAutoFit/>
          </a:bodyPr>
          <a:lstStyle>
            <a:defPPr>
              <a:defRPr lang="en-BR"/>
            </a:defPPr>
            <a:lvl1pPr>
              <a:defRPr sz="1200">
                <a:solidFill>
                  <a:schemeClr val="tx1">
                    <a:lumMod val="65000"/>
                    <a:lumOff val="35000"/>
                  </a:schemeClr>
                </a:solidFill>
                <a:latin typeface="Segoe UI" panose="020B0502040204020203" pitchFamily="34" charset="0"/>
                <a:cs typeface="Segoe UI" panose="020B0502040204020203" pitchFamily="34" charset="0"/>
              </a:defRPr>
            </a:lvl1pPr>
          </a:lstStyle>
          <a:p>
            <a:r>
              <a:rPr lang="en-US" sz="1100">
                <a:solidFill>
                  <a:schemeClr val="tx1">
                    <a:lumMod val="75000"/>
                    <a:lumOff val="25000"/>
                  </a:schemeClr>
                </a:solidFill>
              </a:rPr>
              <a:t>Lorem ipsum dolor sit </a:t>
            </a:r>
            <a:r>
              <a:rPr lang="en-US" sz="1100" err="1">
                <a:solidFill>
                  <a:schemeClr val="tx1">
                    <a:lumMod val="75000"/>
                    <a:lumOff val="25000"/>
                  </a:schemeClr>
                </a:solidFill>
              </a:rPr>
              <a:t>amet</a:t>
            </a:r>
            <a:r>
              <a:rPr lang="en-US" sz="1100">
                <a:solidFill>
                  <a:schemeClr val="tx1">
                    <a:lumMod val="75000"/>
                    <a:lumOff val="25000"/>
                  </a:schemeClr>
                </a:solidFill>
              </a:rPr>
              <a:t>, </a:t>
            </a:r>
            <a:r>
              <a:rPr lang="en-US" sz="1100" err="1">
                <a:solidFill>
                  <a:schemeClr val="tx1">
                    <a:lumMod val="75000"/>
                    <a:lumOff val="25000"/>
                  </a:schemeClr>
                </a:solidFill>
              </a:rPr>
              <a:t>consectetur</a:t>
            </a:r>
            <a:r>
              <a:rPr lang="en-US" sz="1100">
                <a:solidFill>
                  <a:schemeClr val="tx1">
                    <a:lumMod val="75000"/>
                    <a:lumOff val="25000"/>
                  </a:schemeClr>
                </a:solidFill>
              </a:rPr>
              <a:t> </a:t>
            </a:r>
            <a:r>
              <a:rPr lang="en-US" sz="1100" err="1">
                <a:solidFill>
                  <a:schemeClr val="tx1">
                    <a:lumMod val="75000"/>
                    <a:lumOff val="25000"/>
                  </a:schemeClr>
                </a:solidFill>
              </a:rPr>
              <a:t>adipiscing</a:t>
            </a:r>
            <a:r>
              <a:rPr lang="en-US" sz="1100">
                <a:solidFill>
                  <a:schemeClr val="tx1">
                    <a:lumMod val="75000"/>
                    <a:lumOff val="25000"/>
                  </a:schemeClr>
                </a:solidFill>
              </a:rPr>
              <a:t> </a:t>
            </a:r>
            <a:r>
              <a:rPr lang="en-US" sz="1100" err="1">
                <a:solidFill>
                  <a:schemeClr val="tx1">
                    <a:lumMod val="75000"/>
                    <a:lumOff val="25000"/>
                  </a:schemeClr>
                </a:solidFill>
              </a:rPr>
              <a:t>elit</a:t>
            </a:r>
            <a:endParaRPr lang="en-BR" sz="1100">
              <a:solidFill>
                <a:schemeClr val="tx1">
                  <a:lumMod val="75000"/>
                  <a:lumOff val="25000"/>
                </a:schemeClr>
              </a:solidFill>
            </a:endParaRPr>
          </a:p>
        </p:txBody>
      </p:sp>
      <p:sp>
        <p:nvSpPr>
          <p:cNvPr id="34" name="TextBox 33">
            <a:extLst>
              <a:ext uri="{FF2B5EF4-FFF2-40B4-BE49-F238E27FC236}">
                <a16:creationId xmlns:a16="http://schemas.microsoft.com/office/drawing/2014/main" id="{227673EE-6B4F-6398-99EE-11FE01C0F863}"/>
              </a:ext>
            </a:extLst>
          </p:cNvPr>
          <p:cNvSpPr txBox="1"/>
          <p:nvPr/>
        </p:nvSpPr>
        <p:spPr>
          <a:xfrm>
            <a:off x="4460890" y="5477998"/>
            <a:ext cx="1516658" cy="600164"/>
          </a:xfrm>
          <a:prstGeom prst="rect">
            <a:avLst/>
          </a:prstGeom>
          <a:noFill/>
        </p:spPr>
        <p:txBody>
          <a:bodyPr wrap="square">
            <a:spAutoFit/>
          </a:bodyPr>
          <a:lstStyle>
            <a:defPPr>
              <a:defRPr lang="en-BR"/>
            </a:defPPr>
            <a:lvl1pPr>
              <a:defRPr sz="1200">
                <a:solidFill>
                  <a:schemeClr val="tx1">
                    <a:lumMod val="65000"/>
                    <a:lumOff val="35000"/>
                  </a:schemeClr>
                </a:solidFill>
                <a:latin typeface="Segoe UI" panose="020B0502040204020203" pitchFamily="34" charset="0"/>
                <a:cs typeface="Segoe UI" panose="020B0502040204020203" pitchFamily="34" charset="0"/>
              </a:defRPr>
            </a:lvl1pPr>
          </a:lstStyle>
          <a:p>
            <a:r>
              <a:rPr lang="en-US" sz="1100">
                <a:solidFill>
                  <a:schemeClr val="tx1">
                    <a:lumMod val="75000"/>
                    <a:lumOff val="25000"/>
                  </a:schemeClr>
                </a:solidFill>
              </a:rPr>
              <a:t>Lorem ipsum dolor sit </a:t>
            </a:r>
            <a:r>
              <a:rPr lang="en-US" sz="1100" err="1">
                <a:solidFill>
                  <a:schemeClr val="tx1">
                    <a:lumMod val="75000"/>
                    <a:lumOff val="25000"/>
                  </a:schemeClr>
                </a:solidFill>
              </a:rPr>
              <a:t>amet</a:t>
            </a:r>
            <a:r>
              <a:rPr lang="en-US" sz="1100">
                <a:solidFill>
                  <a:schemeClr val="tx1">
                    <a:lumMod val="75000"/>
                    <a:lumOff val="25000"/>
                  </a:schemeClr>
                </a:solidFill>
              </a:rPr>
              <a:t>, </a:t>
            </a:r>
            <a:r>
              <a:rPr lang="en-US" sz="1100" err="1">
                <a:solidFill>
                  <a:schemeClr val="tx1">
                    <a:lumMod val="75000"/>
                    <a:lumOff val="25000"/>
                  </a:schemeClr>
                </a:solidFill>
              </a:rPr>
              <a:t>consectetur</a:t>
            </a:r>
            <a:r>
              <a:rPr lang="en-US" sz="1100">
                <a:solidFill>
                  <a:schemeClr val="tx1">
                    <a:lumMod val="75000"/>
                    <a:lumOff val="25000"/>
                  </a:schemeClr>
                </a:solidFill>
              </a:rPr>
              <a:t> </a:t>
            </a:r>
            <a:r>
              <a:rPr lang="en-US" sz="1100" err="1">
                <a:solidFill>
                  <a:schemeClr val="tx1">
                    <a:lumMod val="75000"/>
                    <a:lumOff val="25000"/>
                  </a:schemeClr>
                </a:solidFill>
              </a:rPr>
              <a:t>adipiscing</a:t>
            </a:r>
            <a:r>
              <a:rPr lang="en-US" sz="1100">
                <a:solidFill>
                  <a:schemeClr val="tx1">
                    <a:lumMod val="75000"/>
                    <a:lumOff val="25000"/>
                  </a:schemeClr>
                </a:solidFill>
              </a:rPr>
              <a:t> </a:t>
            </a:r>
            <a:r>
              <a:rPr lang="en-US" sz="1100" err="1">
                <a:solidFill>
                  <a:schemeClr val="tx1">
                    <a:lumMod val="75000"/>
                    <a:lumOff val="25000"/>
                  </a:schemeClr>
                </a:solidFill>
              </a:rPr>
              <a:t>elit</a:t>
            </a:r>
            <a:endParaRPr lang="en-BR" sz="1100">
              <a:solidFill>
                <a:schemeClr val="tx1">
                  <a:lumMod val="75000"/>
                  <a:lumOff val="25000"/>
                </a:schemeClr>
              </a:solidFill>
            </a:endParaRPr>
          </a:p>
        </p:txBody>
      </p:sp>
      <p:sp>
        <p:nvSpPr>
          <p:cNvPr id="35" name="TextBox 34">
            <a:extLst>
              <a:ext uri="{FF2B5EF4-FFF2-40B4-BE49-F238E27FC236}">
                <a16:creationId xmlns:a16="http://schemas.microsoft.com/office/drawing/2014/main" id="{0D63A434-AB74-C2FE-225E-ECBA1A42783D}"/>
              </a:ext>
            </a:extLst>
          </p:cNvPr>
          <p:cNvSpPr txBox="1"/>
          <p:nvPr/>
        </p:nvSpPr>
        <p:spPr>
          <a:xfrm>
            <a:off x="6118668" y="3041875"/>
            <a:ext cx="1516658" cy="600164"/>
          </a:xfrm>
          <a:prstGeom prst="rect">
            <a:avLst/>
          </a:prstGeom>
          <a:noFill/>
        </p:spPr>
        <p:txBody>
          <a:bodyPr wrap="square">
            <a:spAutoFit/>
          </a:bodyPr>
          <a:lstStyle>
            <a:defPPr>
              <a:defRPr lang="en-BR"/>
            </a:defPPr>
            <a:lvl1pPr>
              <a:defRPr sz="1200">
                <a:solidFill>
                  <a:schemeClr val="tx1">
                    <a:lumMod val="65000"/>
                    <a:lumOff val="35000"/>
                  </a:schemeClr>
                </a:solidFill>
                <a:latin typeface="Segoe UI" panose="020B0502040204020203" pitchFamily="34" charset="0"/>
                <a:cs typeface="Segoe UI" panose="020B0502040204020203" pitchFamily="34" charset="0"/>
              </a:defRPr>
            </a:lvl1pPr>
          </a:lstStyle>
          <a:p>
            <a:r>
              <a:rPr lang="en-US" sz="1100">
                <a:solidFill>
                  <a:schemeClr val="tx1">
                    <a:lumMod val="75000"/>
                    <a:lumOff val="25000"/>
                  </a:schemeClr>
                </a:solidFill>
              </a:rPr>
              <a:t>Lorem ipsum dolor sit </a:t>
            </a:r>
            <a:r>
              <a:rPr lang="en-US" sz="1100" err="1">
                <a:solidFill>
                  <a:schemeClr val="tx1">
                    <a:lumMod val="75000"/>
                    <a:lumOff val="25000"/>
                  </a:schemeClr>
                </a:solidFill>
              </a:rPr>
              <a:t>amet</a:t>
            </a:r>
            <a:r>
              <a:rPr lang="en-US" sz="1100">
                <a:solidFill>
                  <a:schemeClr val="tx1">
                    <a:lumMod val="75000"/>
                    <a:lumOff val="25000"/>
                  </a:schemeClr>
                </a:solidFill>
              </a:rPr>
              <a:t>, </a:t>
            </a:r>
            <a:r>
              <a:rPr lang="en-US" sz="1100" err="1">
                <a:solidFill>
                  <a:schemeClr val="tx1">
                    <a:lumMod val="75000"/>
                    <a:lumOff val="25000"/>
                  </a:schemeClr>
                </a:solidFill>
              </a:rPr>
              <a:t>consectetur</a:t>
            </a:r>
            <a:r>
              <a:rPr lang="en-US" sz="1100">
                <a:solidFill>
                  <a:schemeClr val="tx1">
                    <a:lumMod val="75000"/>
                    <a:lumOff val="25000"/>
                  </a:schemeClr>
                </a:solidFill>
              </a:rPr>
              <a:t> </a:t>
            </a:r>
            <a:r>
              <a:rPr lang="en-US" sz="1100" err="1">
                <a:solidFill>
                  <a:schemeClr val="tx1">
                    <a:lumMod val="75000"/>
                    <a:lumOff val="25000"/>
                  </a:schemeClr>
                </a:solidFill>
              </a:rPr>
              <a:t>adipiscing</a:t>
            </a:r>
            <a:r>
              <a:rPr lang="en-US" sz="1100">
                <a:solidFill>
                  <a:schemeClr val="tx1">
                    <a:lumMod val="75000"/>
                    <a:lumOff val="25000"/>
                  </a:schemeClr>
                </a:solidFill>
              </a:rPr>
              <a:t> </a:t>
            </a:r>
            <a:r>
              <a:rPr lang="en-US" sz="1100" err="1">
                <a:solidFill>
                  <a:schemeClr val="tx1">
                    <a:lumMod val="75000"/>
                    <a:lumOff val="25000"/>
                  </a:schemeClr>
                </a:solidFill>
              </a:rPr>
              <a:t>elit</a:t>
            </a:r>
            <a:endParaRPr lang="en-BR" sz="1100">
              <a:solidFill>
                <a:schemeClr val="tx1">
                  <a:lumMod val="75000"/>
                  <a:lumOff val="25000"/>
                </a:schemeClr>
              </a:solidFill>
            </a:endParaRPr>
          </a:p>
        </p:txBody>
      </p:sp>
      <p:sp>
        <p:nvSpPr>
          <p:cNvPr id="36" name="TextBox 35">
            <a:extLst>
              <a:ext uri="{FF2B5EF4-FFF2-40B4-BE49-F238E27FC236}">
                <a16:creationId xmlns:a16="http://schemas.microsoft.com/office/drawing/2014/main" id="{C8BEAEA1-E346-66C6-C4A0-ECAC621B4A45}"/>
              </a:ext>
            </a:extLst>
          </p:cNvPr>
          <p:cNvSpPr txBox="1"/>
          <p:nvPr/>
        </p:nvSpPr>
        <p:spPr>
          <a:xfrm>
            <a:off x="6118668" y="3866616"/>
            <a:ext cx="1516658" cy="600164"/>
          </a:xfrm>
          <a:prstGeom prst="rect">
            <a:avLst/>
          </a:prstGeom>
          <a:noFill/>
        </p:spPr>
        <p:txBody>
          <a:bodyPr wrap="square">
            <a:spAutoFit/>
          </a:bodyPr>
          <a:lstStyle>
            <a:defPPr>
              <a:defRPr lang="en-BR"/>
            </a:defPPr>
            <a:lvl1pPr>
              <a:defRPr sz="1200">
                <a:solidFill>
                  <a:schemeClr val="tx1">
                    <a:lumMod val="65000"/>
                    <a:lumOff val="35000"/>
                  </a:schemeClr>
                </a:solidFill>
                <a:latin typeface="Segoe UI" panose="020B0502040204020203" pitchFamily="34" charset="0"/>
                <a:cs typeface="Segoe UI" panose="020B0502040204020203" pitchFamily="34" charset="0"/>
              </a:defRPr>
            </a:lvl1pPr>
          </a:lstStyle>
          <a:p>
            <a:r>
              <a:rPr lang="en-US" sz="1100">
                <a:solidFill>
                  <a:schemeClr val="tx1">
                    <a:lumMod val="75000"/>
                    <a:lumOff val="25000"/>
                  </a:schemeClr>
                </a:solidFill>
              </a:rPr>
              <a:t>Lorem ipsum dolor sit </a:t>
            </a:r>
            <a:r>
              <a:rPr lang="en-US" sz="1100" err="1">
                <a:solidFill>
                  <a:schemeClr val="tx1">
                    <a:lumMod val="75000"/>
                    <a:lumOff val="25000"/>
                  </a:schemeClr>
                </a:solidFill>
              </a:rPr>
              <a:t>amet</a:t>
            </a:r>
            <a:r>
              <a:rPr lang="en-US" sz="1100">
                <a:solidFill>
                  <a:schemeClr val="tx1">
                    <a:lumMod val="75000"/>
                    <a:lumOff val="25000"/>
                  </a:schemeClr>
                </a:solidFill>
              </a:rPr>
              <a:t>, </a:t>
            </a:r>
            <a:r>
              <a:rPr lang="en-US" sz="1100" err="1">
                <a:solidFill>
                  <a:schemeClr val="tx1">
                    <a:lumMod val="75000"/>
                    <a:lumOff val="25000"/>
                  </a:schemeClr>
                </a:solidFill>
              </a:rPr>
              <a:t>consectetur</a:t>
            </a:r>
            <a:r>
              <a:rPr lang="en-US" sz="1100">
                <a:solidFill>
                  <a:schemeClr val="tx1">
                    <a:lumMod val="75000"/>
                    <a:lumOff val="25000"/>
                  </a:schemeClr>
                </a:solidFill>
              </a:rPr>
              <a:t> </a:t>
            </a:r>
            <a:r>
              <a:rPr lang="en-US" sz="1100" err="1">
                <a:solidFill>
                  <a:schemeClr val="tx1">
                    <a:lumMod val="75000"/>
                    <a:lumOff val="25000"/>
                  </a:schemeClr>
                </a:solidFill>
              </a:rPr>
              <a:t>adipiscing</a:t>
            </a:r>
            <a:r>
              <a:rPr lang="en-US" sz="1100">
                <a:solidFill>
                  <a:schemeClr val="tx1">
                    <a:lumMod val="75000"/>
                    <a:lumOff val="25000"/>
                  </a:schemeClr>
                </a:solidFill>
              </a:rPr>
              <a:t> </a:t>
            </a:r>
            <a:r>
              <a:rPr lang="en-US" sz="1100" err="1">
                <a:solidFill>
                  <a:schemeClr val="tx1">
                    <a:lumMod val="75000"/>
                    <a:lumOff val="25000"/>
                  </a:schemeClr>
                </a:solidFill>
              </a:rPr>
              <a:t>elit</a:t>
            </a:r>
            <a:endParaRPr lang="en-BR" sz="1100">
              <a:solidFill>
                <a:schemeClr val="tx1">
                  <a:lumMod val="75000"/>
                  <a:lumOff val="25000"/>
                </a:schemeClr>
              </a:solidFill>
            </a:endParaRPr>
          </a:p>
        </p:txBody>
      </p:sp>
      <p:sp>
        <p:nvSpPr>
          <p:cNvPr id="37" name="TextBox 36">
            <a:extLst>
              <a:ext uri="{FF2B5EF4-FFF2-40B4-BE49-F238E27FC236}">
                <a16:creationId xmlns:a16="http://schemas.microsoft.com/office/drawing/2014/main" id="{A15DF030-0A4A-2693-3172-DA91F0800800}"/>
              </a:ext>
            </a:extLst>
          </p:cNvPr>
          <p:cNvSpPr txBox="1"/>
          <p:nvPr/>
        </p:nvSpPr>
        <p:spPr>
          <a:xfrm>
            <a:off x="6118668" y="4684622"/>
            <a:ext cx="1516658" cy="600164"/>
          </a:xfrm>
          <a:prstGeom prst="rect">
            <a:avLst/>
          </a:prstGeom>
          <a:noFill/>
        </p:spPr>
        <p:txBody>
          <a:bodyPr wrap="square">
            <a:spAutoFit/>
          </a:bodyPr>
          <a:lstStyle>
            <a:defPPr>
              <a:defRPr lang="en-BR"/>
            </a:defPPr>
            <a:lvl1pPr>
              <a:defRPr sz="1200">
                <a:solidFill>
                  <a:schemeClr val="tx1">
                    <a:lumMod val="65000"/>
                    <a:lumOff val="35000"/>
                  </a:schemeClr>
                </a:solidFill>
                <a:latin typeface="Segoe UI" panose="020B0502040204020203" pitchFamily="34" charset="0"/>
                <a:cs typeface="Segoe UI" panose="020B0502040204020203" pitchFamily="34" charset="0"/>
              </a:defRPr>
            </a:lvl1pPr>
          </a:lstStyle>
          <a:p>
            <a:r>
              <a:rPr lang="en-US" sz="1100">
                <a:solidFill>
                  <a:schemeClr val="tx1">
                    <a:lumMod val="75000"/>
                    <a:lumOff val="25000"/>
                  </a:schemeClr>
                </a:solidFill>
              </a:rPr>
              <a:t>Lorem ipsum dolor sit </a:t>
            </a:r>
            <a:r>
              <a:rPr lang="en-US" sz="1100" err="1">
                <a:solidFill>
                  <a:schemeClr val="tx1">
                    <a:lumMod val="75000"/>
                    <a:lumOff val="25000"/>
                  </a:schemeClr>
                </a:solidFill>
              </a:rPr>
              <a:t>amet</a:t>
            </a:r>
            <a:r>
              <a:rPr lang="en-US" sz="1100">
                <a:solidFill>
                  <a:schemeClr val="tx1">
                    <a:lumMod val="75000"/>
                    <a:lumOff val="25000"/>
                  </a:schemeClr>
                </a:solidFill>
              </a:rPr>
              <a:t>, </a:t>
            </a:r>
            <a:r>
              <a:rPr lang="en-US" sz="1100" err="1">
                <a:solidFill>
                  <a:schemeClr val="tx1">
                    <a:lumMod val="75000"/>
                    <a:lumOff val="25000"/>
                  </a:schemeClr>
                </a:solidFill>
              </a:rPr>
              <a:t>consectetur</a:t>
            </a:r>
            <a:r>
              <a:rPr lang="en-US" sz="1100">
                <a:solidFill>
                  <a:schemeClr val="tx1">
                    <a:lumMod val="75000"/>
                    <a:lumOff val="25000"/>
                  </a:schemeClr>
                </a:solidFill>
              </a:rPr>
              <a:t> </a:t>
            </a:r>
            <a:r>
              <a:rPr lang="en-US" sz="1100" err="1">
                <a:solidFill>
                  <a:schemeClr val="tx1">
                    <a:lumMod val="75000"/>
                    <a:lumOff val="25000"/>
                  </a:schemeClr>
                </a:solidFill>
              </a:rPr>
              <a:t>adipiscing</a:t>
            </a:r>
            <a:r>
              <a:rPr lang="en-US" sz="1100">
                <a:solidFill>
                  <a:schemeClr val="tx1">
                    <a:lumMod val="75000"/>
                    <a:lumOff val="25000"/>
                  </a:schemeClr>
                </a:solidFill>
              </a:rPr>
              <a:t> </a:t>
            </a:r>
            <a:r>
              <a:rPr lang="en-US" sz="1100" err="1">
                <a:solidFill>
                  <a:schemeClr val="tx1">
                    <a:lumMod val="75000"/>
                    <a:lumOff val="25000"/>
                  </a:schemeClr>
                </a:solidFill>
              </a:rPr>
              <a:t>elit</a:t>
            </a:r>
            <a:endParaRPr lang="en-BR" sz="1100">
              <a:solidFill>
                <a:schemeClr val="tx1">
                  <a:lumMod val="75000"/>
                  <a:lumOff val="25000"/>
                </a:schemeClr>
              </a:solidFill>
            </a:endParaRPr>
          </a:p>
        </p:txBody>
      </p:sp>
      <p:sp>
        <p:nvSpPr>
          <p:cNvPr id="38" name="TextBox 37">
            <a:extLst>
              <a:ext uri="{FF2B5EF4-FFF2-40B4-BE49-F238E27FC236}">
                <a16:creationId xmlns:a16="http://schemas.microsoft.com/office/drawing/2014/main" id="{7D1CD3BB-CFC7-C199-20DE-529FE3056A1E}"/>
              </a:ext>
            </a:extLst>
          </p:cNvPr>
          <p:cNvSpPr txBox="1"/>
          <p:nvPr/>
        </p:nvSpPr>
        <p:spPr>
          <a:xfrm>
            <a:off x="6118668" y="5477998"/>
            <a:ext cx="1516658" cy="600164"/>
          </a:xfrm>
          <a:prstGeom prst="rect">
            <a:avLst/>
          </a:prstGeom>
          <a:noFill/>
        </p:spPr>
        <p:txBody>
          <a:bodyPr wrap="square">
            <a:spAutoFit/>
          </a:bodyPr>
          <a:lstStyle>
            <a:defPPr>
              <a:defRPr lang="en-BR"/>
            </a:defPPr>
            <a:lvl1pPr>
              <a:defRPr sz="1200">
                <a:solidFill>
                  <a:schemeClr val="tx1">
                    <a:lumMod val="65000"/>
                    <a:lumOff val="35000"/>
                  </a:schemeClr>
                </a:solidFill>
                <a:latin typeface="Segoe UI" panose="020B0502040204020203" pitchFamily="34" charset="0"/>
                <a:cs typeface="Segoe UI" panose="020B0502040204020203" pitchFamily="34" charset="0"/>
              </a:defRPr>
            </a:lvl1pPr>
          </a:lstStyle>
          <a:p>
            <a:r>
              <a:rPr lang="en-US" sz="1100">
                <a:solidFill>
                  <a:schemeClr val="tx1">
                    <a:lumMod val="75000"/>
                    <a:lumOff val="25000"/>
                  </a:schemeClr>
                </a:solidFill>
              </a:rPr>
              <a:t>Lorem ipsum dolor sit </a:t>
            </a:r>
            <a:r>
              <a:rPr lang="en-US" sz="1100" err="1">
                <a:solidFill>
                  <a:schemeClr val="tx1">
                    <a:lumMod val="75000"/>
                    <a:lumOff val="25000"/>
                  </a:schemeClr>
                </a:solidFill>
              </a:rPr>
              <a:t>amet</a:t>
            </a:r>
            <a:r>
              <a:rPr lang="en-US" sz="1100">
                <a:solidFill>
                  <a:schemeClr val="tx1">
                    <a:lumMod val="75000"/>
                    <a:lumOff val="25000"/>
                  </a:schemeClr>
                </a:solidFill>
              </a:rPr>
              <a:t>, </a:t>
            </a:r>
            <a:r>
              <a:rPr lang="en-US" sz="1100" err="1">
                <a:solidFill>
                  <a:schemeClr val="tx1">
                    <a:lumMod val="75000"/>
                    <a:lumOff val="25000"/>
                  </a:schemeClr>
                </a:solidFill>
              </a:rPr>
              <a:t>consectetur</a:t>
            </a:r>
            <a:r>
              <a:rPr lang="en-US" sz="1100">
                <a:solidFill>
                  <a:schemeClr val="tx1">
                    <a:lumMod val="75000"/>
                    <a:lumOff val="25000"/>
                  </a:schemeClr>
                </a:solidFill>
              </a:rPr>
              <a:t> </a:t>
            </a:r>
            <a:r>
              <a:rPr lang="en-US" sz="1100" err="1">
                <a:solidFill>
                  <a:schemeClr val="tx1">
                    <a:lumMod val="75000"/>
                    <a:lumOff val="25000"/>
                  </a:schemeClr>
                </a:solidFill>
              </a:rPr>
              <a:t>adipiscing</a:t>
            </a:r>
            <a:r>
              <a:rPr lang="en-US" sz="1100">
                <a:solidFill>
                  <a:schemeClr val="tx1">
                    <a:lumMod val="75000"/>
                    <a:lumOff val="25000"/>
                  </a:schemeClr>
                </a:solidFill>
              </a:rPr>
              <a:t> </a:t>
            </a:r>
            <a:r>
              <a:rPr lang="en-US" sz="1100" err="1">
                <a:solidFill>
                  <a:schemeClr val="tx1">
                    <a:lumMod val="75000"/>
                    <a:lumOff val="25000"/>
                  </a:schemeClr>
                </a:solidFill>
              </a:rPr>
              <a:t>elit</a:t>
            </a:r>
            <a:endParaRPr lang="en-BR" sz="1100">
              <a:solidFill>
                <a:schemeClr val="tx1">
                  <a:lumMod val="75000"/>
                  <a:lumOff val="25000"/>
                </a:schemeClr>
              </a:solidFill>
            </a:endParaRPr>
          </a:p>
        </p:txBody>
      </p:sp>
      <p:sp>
        <p:nvSpPr>
          <p:cNvPr id="39" name="TextBox 38">
            <a:extLst>
              <a:ext uri="{FF2B5EF4-FFF2-40B4-BE49-F238E27FC236}">
                <a16:creationId xmlns:a16="http://schemas.microsoft.com/office/drawing/2014/main" id="{DA442517-3181-41CD-0AA9-EABDE620F6BD}"/>
              </a:ext>
            </a:extLst>
          </p:cNvPr>
          <p:cNvSpPr txBox="1"/>
          <p:nvPr/>
        </p:nvSpPr>
        <p:spPr>
          <a:xfrm>
            <a:off x="7745875" y="3041875"/>
            <a:ext cx="1516658" cy="600164"/>
          </a:xfrm>
          <a:prstGeom prst="rect">
            <a:avLst/>
          </a:prstGeom>
          <a:noFill/>
        </p:spPr>
        <p:txBody>
          <a:bodyPr wrap="square">
            <a:spAutoFit/>
          </a:bodyPr>
          <a:lstStyle>
            <a:defPPr>
              <a:defRPr lang="en-BR"/>
            </a:defPPr>
            <a:lvl1pPr>
              <a:defRPr sz="1200">
                <a:solidFill>
                  <a:schemeClr val="tx1">
                    <a:lumMod val="65000"/>
                    <a:lumOff val="35000"/>
                  </a:schemeClr>
                </a:solidFill>
                <a:latin typeface="Segoe UI" panose="020B0502040204020203" pitchFamily="34" charset="0"/>
                <a:cs typeface="Segoe UI" panose="020B0502040204020203" pitchFamily="34" charset="0"/>
              </a:defRPr>
            </a:lvl1pPr>
          </a:lstStyle>
          <a:p>
            <a:r>
              <a:rPr lang="en-US" sz="1100">
                <a:solidFill>
                  <a:schemeClr val="tx1">
                    <a:lumMod val="75000"/>
                    <a:lumOff val="25000"/>
                  </a:schemeClr>
                </a:solidFill>
              </a:rPr>
              <a:t>Lorem ipsum dolor sit </a:t>
            </a:r>
            <a:r>
              <a:rPr lang="en-US" sz="1100" err="1">
                <a:solidFill>
                  <a:schemeClr val="tx1">
                    <a:lumMod val="75000"/>
                    <a:lumOff val="25000"/>
                  </a:schemeClr>
                </a:solidFill>
              </a:rPr>
              <a:t>amet</a:t>
            </a:r>
            <a:r>
              <a:rPr lang="en-US" sz="1100">
                <a:solidFill>
                  <a:schemeClr val="tx1">
                    <a:lumMod val="75000"/>
                    <a:lumOff val="25000"/>
                  </a:schemeClr>
                </a:solidFill>
              </a:rPr>
              <a:t>, </a:t>
            </a:r>
            <a:r>
              <a:rPr lang="en-US" sz="1100" err="1">
                <a:solidFill>
                  <a:schemeClr val="tx1">
                    <a:lumMod val="75000"/>
                    <a:lumOff val="25000"/>
                  </a:schemeClr>
                </a:solidFill>
              </a:rPr>
              <a:t>consectetur</a:t>
            </a:r>
            <a:r>
              <a:rPr lang="en-US" sz="1100">
                <a:solidFill>
                  <a:schemeClr val="tx1">
                    <a:lumMod val="75000"/>
                    <a:lumOff val="25000"/>
                  </a:schemeClr>
                </a:solidFill>
              </a:rPr>
              <a:t> </a:t>
            </a:r>
            <a:r>
              <a:rPr lang="en-US" sz="1100" err="1">
                <a:solidFill>
                  <a:schemeClr val="tx1">
                    <a:lumMod val="75000"/>
                    <a:lumOff val="25000"/>
                  </a:schemeClr>
                </a:solidFill>
              </a:rPr>
              <a:t>adipiscing</a:t>
            </a:r>
            <a:r>
              <a:rPr lang="en-US" sz="1100">
                <a:solidFill>
                  <a:schemeClr val="tx1">
                    <a:lumMod val="75000"/>
                    <a:lumOff val="25000"/>
                  </a:schemeClr>
                </a:solidFill>
              </a:rPr>
              <a:t> </a:t>
            </a:r>
            <a:r>
              <a:rPr lang="en-US" sz="1100" err="1">
                <a:solidFill>
                  <a:schemeClr val="tx1">
                    <a:lumMod val="75000"/>
                    <a:lumOff val="25000"/>
                  </a:schemeClr>
                </a:solidFill>
              </a:rPr>
              <a:t>elit</a:t>
            </a:r>
            <a:endParaRPr lang="en-BR" sz="1100">
              <a:solidFill>
                <a:schemeClr val="tx1">
                  <a:lumMod val="75000"/>
                  <a:lumOff val="25000"/>
                </a:schemeClr>
              </a:solidFill>
            </a:endParaRPr>
          </a:p>
        </p:txBody>
      </p:sp>
      <p:sp>
        <p:nvSpPr>
          <p:cNvPr id="40" name="TextBox 39">
            <a:extLst>
              <a:ext uri="{FF2B5EF4-FFF2-40B4-BE49-F238E27FC236}">
                <a16:creationId xmlns:a16="http://schemas.microsoft.com/office/drawing/2014/main" id="{DCAF3104-D705-20E7-16B5-D33D9EA51CB8}"/>
              </a:ext>
            </a:extLst>
          </p:cNvPr>
          <p:cNvSpPr txBox="1"/>
          <p:nvPr/>
        </p:nvSpPr>
        <p:spPr>
          <a:xfrm>
            <a:off x="7745875" y="3866616"/>
            <a:ext cx="1516658" cy="600164"/>
          </a:xfrm>
          <a:prstGeom prst="rect">
            <a:avLst/>
          </a:prstGeom>
          <a:noFill/>
        </p:spPr>
        <p:txBody>
          <a:bodyPr wrap="square">
            <a:spAutoFit/>
          </a:bodyPr>
          <a:lstStyle>
            <a:defPPr>
              <a:defRPr lang="en-BR"/>
            </a:defPPr>
            <a:lvl1pPr>
              <a:defRPr sz="1200">
                <a:solidFill>
                  <a:schemeClr val="tx1">
                    <a:lumMod val="65000"/>
                    <a:lumOff val="35000"/>
                  </a:schemeClr>
                </a:solidFill>
                <a:latin typeface="Segoe UI" panose="020B0502040204020203" pitchFamily="34" charset="0"/>
                <a:cs typeface="Segoe UI" panose="020B0502040204020203" pitchFamily="34" charset="0"/>
              </a:defRPr>
            </a:lvl1pPr>
          </a:lstStyle>
          <a:p>
            <a:r>
              <a:rPr lang="en-US" sz="1100">
                <a:solidFill>
                  <a:schemeClr val="tx1">
                    <a:lumMod val="75000"/>
                    <a:lumOff val="25000"/>
                  </a:schemeClr>
                </a:solidFill>
              </a:rPr>
              <a:t>Lorem ipsum dolor sit </a:t>
            </a:r>
            <a:r>
              <a:rPr lang="en-US" sz="1100" err="1">
                <a:solidFill>
                  <a:schemeClr val="tx1">
                    <a:lumMod val="75000"/>
                    <a:lumOff val="25000"/>
                  </a:schemeClr>
                </a:solidFill>
              </a:rPr>
              <a:t>amet</a:t>
            </a:r>
            <a:r>
              <a:rPr lang="en-US" sz="1100">
                <a:solidFill>
                  <a:schemeClr val="tx1">
                    <a:lumMod val="75000"/>
                    <a:lumOff val="25000"/>
                  </a:schemeClr>
                </a:solidFill>
              </a:rPr>
              <a:t>, </a:t>
            </a:r>
            <a:r>
              <a:rPr lang="en-US" sz="1100" err="1">
                <a:solidFill>
                  <a:schemeClr val="tx1">
                    <a:lumMod val="75000"/>
                    <a:lumOff val="25000"/>
                  </a:schemeClr>
                </a:solidFill>
              </a:rPr>
              <a:t>consectetur</a:t>
            </a:r>
            <a:r>
              <a:rPr lang="en-US" sz="1100">
                <a:solidFill>
                  <a:schemeClr val="tx1">
                    <a:lumMod val="75000"/>
                    <a:lumOff val="25000"/>
                  </a:schemeClr>
                </a:solidFill>
              </a:rPr>
              <a:t> </a:t>
            </a:r>
            <a:r>
              <a:rPr lang="en-US" sz="1100" err="1">
                <a:solidFill>
                  <a:schemeClr val="tx1">
                    <a:lumMod val="75000"/>
                    <a:lumOff val="25000"/>
                  </a:schemeClr>
                </a:solidFill>
              </a:rPr>
              <a:t>adipiscing</a:t>
            </a:r>
            <a:r>
              <a:rPr lang="en-US" sz="1100">
                <a:solidFill>
                  <a:schemeClr val="tx1">
                    <a:lumMod val="75000"/>
                    <a:lumOff val="25000"/>
                  </a:schemeClr>
                </a:solidFill>
              </a:rPr>
              <a:t> </a:t>
            </a:r>
            <a:r>
              <a:rPr lang="en-US" sz="1100" err="1">
                <a:solidFill>
                  <a:schemeClr val="tx1">
                    <a:lumMod val="75000"/>
                    <a:lumOff val="25000"/>
                  </a:schemeClr>
                </a:solidFill>
              </a:rPr>
              <a:t>elit</a:t>
            </a:r>
            <a:endParaRPr lang="en-BR" sz="1100">
              <a:solidFill>
                <a:schemeClr val="tx1">
                  <a:lumMod val="75000"/>
                  <a:lumOff val="25000"/>
                </a:schemeClr>
              </a:solidFill>
            </a:endParaRPr>
          </a:p>
        </p:txBody>
      </p:sp>
      <p:sp>
        <p:nvSpPr>
          <p:cNvPr id="41" name="TextBox 40">
            <a:extLst>
              <a:ext uri="{FF2B5EF4-FFF2-40B4-BE49-F238E27FC236}">
                <a16:creationId xmlns:a16="http://schemas.microsoft.com/office/drawing/2014/main" id="{032957D6-47B4-C6D3-0353-69AE12B9E32D}"/>
              </a:ext>
            </a:extLst>
          </p:cNvPr>
          <p:cNvSpPr txBox="1"/>
          <p:nvPr/>
        </p:nvSpPr>
        <p:spPr>
          <a:xfrm>
            <a:off x="7745875" y="4684622"/>
            <a:ext cx="1516658" cy="600164"/>
          </a:xfrm>
          <a:prstGeom prst="rect">
            <a:avLst/>
          </a:prstGeom>
          <a:noFill/>
        </p:spPr>
        <p:txBody>
          <a:bodyPr wrap="square">
            <a:spAutoFit/>
          </a:bodyPr>
          <a:lstStyle>
            <a:defPPr>
              <a:defRPr lang="en-BR"/>
            </a:defPPr>
            <a:lvl1pPr>
              <a:defRPr sz="1200">
                <a:solidFill>
                  <a:schemeClr val="tx1">
                    <a:lumMod val="65000"/>
                    <a:lumOff val="35000"/>
                  </a:schemeClr>
                </a:solidFill>
                <a:latin typeface="Segoe UI" panose="020B0502040204020203" pitchFamily="34" charset="0"/>
                <a:cs typeface="Segoe UI" panose="020B0502040204020203" pitchFamily="34" charset="0"/>
              </a:defRPr>
            </a:lvl1pPr>
          </a:lstStyle>
          <a:p>
            <a:r>
              <a:rPr lang="en-US" sz="1100">
                <a:solidFill>
                  <a:schemeClr val="tx1">
                    <a:lumMod val="75000"/>
                    <a:lumOff val="25000"/>
                  </a:schemeClr>
                </a:solidFill>
              </a:rPr>
              <a:t>Lorem ipsum dolor sit </a:t>
            </a:r>
            <a:r>
              <a:rPr lang="en-US" sz="1100" err="1">
                <a:solidFill>
                  <a:schemeClr val="tx1">
                    <a:lumMod val="75000"/>
                    <a:lumOff val="25000"/>
                  </a:schemeClr>
                </a:solidFill>
              </a:rPr>
              <a:t>amet</a:t>
            </a:r>
            <a:r>
              <a:rPr lang="en-US" sz="1100">
                <a:solidFill>
                  <a:schemeClr val="tx1">
                    <a:lumMod val="75000"/>
                    <a:lumOff val="25000"/>
                  </a:schemeClr>
                </a:solidFill>
              </a:rPr>
              <a:t>, </a:t>
            </a:r>
            <a:r>
              <a:rPr lang="en-US" sz="1100" err="1">
                <a:solidFill>
                  <a:schemeClr val="tx1">
                    <a:lumMod val="75000"/>
                    <a:lumOff val="25000"/>
                  </a:schemeClr>
                </a:solidFill>
              </a:rPr>
              <a:t>consectetur</a:t>
            </a:r>
            <a:r>
              <a:rPr lang="en-US" sz="1100">
                <a:solidFill>
                  <a:schemeClr val="tx1">
                    <a:lumMod val="75000"/>
                    <a:lumOff val="25000"/>
                  </a:schemeClr>
                </a:solidFill>
              </a:rPr>
              <a:t> </a:t>
            </a:r>
            <a:r>
              <a:rPr lang="en-US" sz="1100" err="1">
                <a:solidFill>
                  <a:schemeClr val="tx1">
                    <a:lumMod val="75000"/>
                    <a:lumOff val="25000"/>
                  </a:schemeClr>
                </a:solidFill>
              </a:rPr>
              <a:t>adipiscing</a:t>
            </a:r>
            <a:r>
              <a:rPr lang="en-US" sz="1100">
                <a:solidFill>
                  <a:schemeClr val="tx1">
                    <a:lumMod val="75000"/>
                    <a:lumOff val="25000"/>
                  </a:schemeClr>
                </a:solidFill>
              </a:rPr>
              <a:t> </a:t>
            </a:r>
            <a:r>
              <a:rPr lang="en-US" sz="1100" err="1">
                <a:solidFill>
                  <a:schemeClr val="tx1">
                    <a:lumMod val="75000"/>
                    <a:lumOff val="25000"/>
                  </a:schemeClr>
                </a:solidFill>
              </a:rPr>
              <a:t>elit</a:t>
            </a:r>
            <a:endParaRPr lang="en-BR" sz="1100">
              <a:solidFill>
                <a:schemeClr val="tx1">
                  <a:lumMod val="75000"/>
                  <a:lumOff val="25000"/>
                </a:schemeClr>
              </a:solidFill>
            </a:endParaRPr>
          </a:p>
        </p:txBody>
      </p:sp>
      <p:sp>
        <p:nvSpPr>
          <p:cNvPr id="42" name="TextBox 41">
            <a:extLst>
              <a:ext uri="{FF2B5EF4-FFF2-40B4-BE49-F238E27FC236}">
                <a16:creationId xmlns:a16="http://schemas.microsoft.com/office/drawing/2014/main" id="{925ABB30-7D99-AF5A-D271-85A24B53F1AB}"/>
              </a:ext>
            </a:extLst>
          </p:cNvPr>
          <p:cNvSpPr txBox="1"/>
          <p:nvPr/>
        </p:nvSpPr>
        <p:spPr>
          <a:xfrm>
            <a:off x="7745875" y="5477998"/>
            <a:ext cx="1516658" cy="600164"/>
          </a:xfrm>
          <a:prstGeom prst="rect">
            <a:avLst/>
          </a:prstGeom>
          <a:noFill/>
        </p:spPr>
        <p:txBody>
          <a:bodyPr wrap="square">
            <a:spAutoFit/>
          </a:bodyPr>
          <a:lstStyle>
            <a:defPPr>
              <a:defRPr lang="en-BR"/>
            </a:defPPr>
            <a:lvl1pPr>
              <a:defRPr sz="1200">
                <a:solidFill>
                  <a:schemeClr val="tx1">
                    <a:lumMod val="65000"/>
                    <a:lumOff val="35000"/>
                  </a:schemeClr>
                </a:solidFill>
                <a:latin typeface="Segoe UI" panose="020B0502040204020203" pitchFamily="34" charset="0"/>
                <a:cs typeface="Segoe UI" panose="020B0502040204020203" pitchFamily="34" charset="0"/>
              </a:defRPr>
            </a:lvl1pPr>
          </a:lstStyle>
          <a:p>
            <a:r>
              <a:rPr lang="en-US" sz="1100">
                <a:solidFill>
                  <a:schemeClr val="tx1">
                    <a:lumMod val="75000"/>
                    <a:lumOff val="25000"/>
                  </a:schemeClr>
                </a:solidFill>
              </a:rPr>
              <a:t>Lorem ipsum dolor sit </a:t>
            </a:r>
            <a:r>
              <a:rPr lang="en-US" sz="1100" err="1">
                <a:solidFill>
                  <a:schemeClr val="tx1">
                    <a:lumMod val="75000"/>
                    <a:lumOff val="25000"/>
                  </a:schemeClr>
                </a:solidFill>
              </a:rPr>
              <a:t>amet</a:t>
            </a:r>
            <a:r>
              <a:rPr lang="en-US" sz="1100">
                <a:solidFill>
                  <a:schemeClr val="tx1">
                    <a:lumMod val="75000"/>
                    <a:lumOff val="25000"/>
                  </a:schemeClr>
                </a:solidFill>
              </a:rPr>
              <a:t>, </a:t>
            </a:r>
            <a:r>
              <a:rPr lang="en-US" sz="1100" err="1">
                <a:solidFill>
                  <a:schemeClr val="tx1">
                    <a:lumMod val="75000"/>
                    <a:lumOff val="25000"/>
                  </a:schemeClr>
                </a:solidFill>
              </a:rPr>
              <a:t>consectetur</a:t>
            </a:r>
            <a:r>
              <a:rPr lang="en-US" sz="1100">
                <a:solidFill>
                  <a:schemeClr val="tx1">
                    <a:lumMod val="75000"/>
                    <a:lumOff val="25000"/>
                  </a:schemeClr>
                </a:solidFill>
              </a:rPr>
              <a:t> </a:t>
            </a:r>
            <a:r>
              <a:rPr lang="en-US" sz="1100" err="1">
                <a:solidFill>
                  <a:schemeClr val="tx1">
                    <a:lumMod val="75000"/>
                    <a:lumOff val="25000"/>
                  </a:schemeClr>
                </a:solidFill>
              </a:rPr>
              <a:t>adipiscing</a:t>
            </a:r>
            <a:r>
              <a:rPr lang="en-US" sz="1100">
                <a:solidFill>
                  <a:schemeClr val="tx1">
                    <a:lumMod val="75000"/>
                    <a:lumOff val="25000"/>
                  </a:schemeClr>
                </a:solidFill>
              </a:rPr>
              <a:t> </a:t>
            </a:r>
            <a:r>
              <a:rPr lang="en-US" sz="1100" err="1">
                <a:solidFill>
                  <a:schemeClr val="tx1">
                    <a:lumMod val="75000"/>
                    <a:lumOff val="25000"/>
                  </a:schemeClr>
                </a:solidFill>
              </a:rPr>
              <a:t>elit</a:t>
            </a:r>
            <a:endParaRPr lang="en-BR" sz="1100">
              <a:solidFill>
                <a:schemeClr val="tx1">
                  <a:lumMod val="75000"/>
                  <a:lumOff val="25000"/>
                </a:schemeClr>
              </a:solidFill>
            </a:endParaRPr>
          </a:p>
        </p:txBody>
      </p:sp>
      <p:sp>
        <p:nvSpPr>
          <p:cNvPr id="43" name="TextBox 42">
            <a:extLst>
              <a:ext uri="{FF2B5EF4-FFF2-40B4-BE49-F238E27FC236}">
                <a16:creationId xmlns:a16="http://schemas.microsoft.com/office/drawing/2014/main" id="{B4988BA9-AA8C-DAB8-51C4-0A5D800EA72E}"/>
              </a:ext>
            </a:extLst>
          </p:cNvPr>
          <p:cNvSpPr txBox="1"/>
          <p:nvPr/>
        </p:nvSpPr>
        <p:spPr>
          <a:xfrm>
            <a:off x="9411078" y="3041875"/>
            <a:ext cx="1516658" cy="600164"/>
          </a:xfrm>
          <a:prstGeom prst="rect">
            <a:avLst/>
          </a:prstGeom>
          <a:noFill/>
        </p:spPr>
        <p:txBody>
          <a:bodyPr wrap="square">
            <a:spAutoFit/>
          </a:bodyPr>
          <a:lstStyle>
            <a:defPPr>
              <a:defRPr lang="en-BR"/>
            </a:defPPr>
            <a:lvl1pPr>
              <a:defRPr sz="1200">
                <a:solidFill>
                  <a:schemeClr val="tx1">
                    <a:lumMod val="65000"/>
                    <a:lumOff val="35000"/>
                  </a:schemeClr>
                </a:solidFill>
                <a:latin typeface="Segoe UI" panose="020B0502040204020203" pitchFamily="34" charset="0"/>
                <a:cs typeface="Segoe UI" panose="020B0502040204020203" pitchFamily="34" charset="0"/>
              </a:defRPr>
            </a:lvl1pPr>
          </a:lstStyle>
          <a:p>
            <a:r>
              <a:rPr lang="en-US" sz="1100">
                <a:solidFill>
                  <a:schemeClr val="tx1">
                    <a:lumMod val="75000"/>
                    <a:lumOff val="25000"/>
                  </a:schemeClr>
                </a:solidFill>
              </a:rPr>
              <a:t>Lorem ipsum dolor sit </a:t>
            </a:r>
            <a:r>
              <a:rPr lang="en-US" sz="1100" err="1">
                <a:solidFill>
                  <a:schemeClr val="tx1">
                    <a:lumMod val="75000"/>
                    <a:lumOff val="25000"/>
                  </a:schemeClr>
                </a:solidFill>
              </a:rPr>
              <a:t>amet</a:t>
            </a:r>
            <a:r>
              <a:rPr lang="en-US" sz="1100">
                <a:solidFill>
                  <a:schemeClr val="tx1">
                    <a:lumMod val="75000"/>
                    <a:lumOff val="25000"/>
                  </a:schemeClr>
                </a:solidFill>
              </a:rPr>
              <a:t>, </a:t>
            </a:r>
            <a:r>
              <a:rPr lang="en-US" sz="1100" err="1">
                <a:solidFill>
                  <a:schemeClr val="tx1">
                    <a:lumMod val="75000"/>
                    <a:lumOff val="25000"/>
                  </a:schemeClr>
                </a:solidFill>
              </a:rPr>
              <a:t>consectetur</a:t>
            </a:r>
            <a:r>
              <a:rPr lang="en-US" sz="1100">
                <a:solidFill>
                  <a:schemeClr val="tx1">
                    <a:lumMod val="75000"/>
                    <a:lumOff val="25000"/>
                  </a:schemeClr>
                </a:solidFill>
              </a:rPr>
              <a:t> </a:t>
            </a:r>
            <a:r>
              <a:rPr lang="en-US" sz="1100" err="1">
                <a:solidFill>
                  <a:schemeClr val="tx1">
                    <a:lumMod val="75000"/>
                    <a:lumOff val="25000"/>
                  </a:schemeClr>
                </a:solidFill>
              </a:rPr>
              <a:t>adipiscing</a:t>
            </a:r>
            <a:r>
              <a:rPr lang="en-US" sz="1100">
                <a:solidFill>
                  <a:schemeClr val="tx1">
                    <a:lumMod val="75000"/>
                    <a:lumOff val="25000"/>
                  </a:schemeClr>
                </a:solidFill>
              </a:rPr>
              <a:t> </a:t>
            </a:r>
            <a:r>
              <a:rPr lang="en-US" sz="1100" err="1">
                <a:solidFill>
                  <a:schemeClr val="tx1">
                    <a:lumMod val="75000"/>
                    <a:lumOff val="25000"/>
                  </a:schemeClr>
                </a:solidFill>
              </a:rPr>
              <a:t>elit</a:t>
            </a:r>
            <a:endParaRPr lang="en-BR" sz="1100">
              <a:solidFill>
                <a:schemeClr val="tx1">
                  <a:lumMod val="75000"/>
                  <a:lumOff val="25000"/>
                </a:schemeClr>
              </a:solidFill>
            </a:endParaRPr>
          </a:p>
        </p:txBody>
      </p:sp>
      <p:sp>
        <p:nvSpPr>
          <p:cNvPr id="44" name="TextBox 43">
            <a:extLst>
              <a:ext uri="{FF2B5EF4-FFF2-40B4-BE49-F238E27FC236}">
                <a16:creationId xmlns:a16="http://schemas.microsoft.com/office/drawing/2014/main" id="{AD0996E9-3DD4-E094-D698-93A76A16E728}"/>
              </a:ext>
            </a:extLst>
          </p:cNvPr>
          <p:cNvSpPr txBox="1"/>
          <p:nvPr/>
        </p:nvSpPr>
        <p:spPr>
          <a:xfrm>
            <a:off x="9411078" y="3866616"/>
            <a:ext cx="1516658" cy="600164"/>
          </a:xfrm>
          <a:prstGeom prst="rect">
            <a:avLst/>
          </a:prstGeom>
          <a:noFill/>
        </p:spPr>
        <p:txBody>
          <a:bodyPr wrap="square">
            <a:spAutoFit/>
          </a:bodyPr>
          <a:lstStyle>
            <a:defPPr>
              <a:defRPr lang="en-BR"/>
            </a:defPPr>
            <a:lvl1pPr>
              <a:defRPr sz="1200">
                <a:solidFill>
                  <a:schemeClr val="tx1">
                    <a:lumMod val="65000"/>
                    <a:lumOff val="35000"/>
                  </a:schemeClr>
                </a:solidFill>
                <a:latin typeface="Segoe UI" panose="020B0502040204020203" pitchFamily="34" charset="0"/>
                <a:cs typeface="Segoe UI" panose="020B0502040204020203" pitchFamily="34" charset="0"/>
              </a:defRPr>
            </a:lvl1pPr>
          </a:lstStyle>
          <a:p>
            <a:r>
              <a:rPr lang="en-US" sz="1100">
                <a:solidFill>
                  <a:schemeClr val="tx1">
                    <a:lumMod val="75000"/>
                    <a:lumOff val="25000"/>
                  </a:schemeClr>
                </a:solidFill>
              </a:rPr>
              <a:t>Lorem ipsum dolor sit </a:t>
            </a:r>
            <a:r>
              <a:rPr lang="en-US" sz="1100" err="1">
                <a:solidFill>
                  <a:schemeClr val="tx1">
                    <a:lumMod val="75000"/>
                    <a:lumOff val="25000"/>
                  </a:schemeClr>
                </a:solidFill>
              </a:rPr>
              <a:t>amet</a:t>
            </a:r>
            <a:r>
              <a:rPr lang="en-US" sz="1100">
                <a:solidFill>
                  <a:schemeClr val="tx1">
                    <a:lumMod val="75000"/>
                    <a:lumOff val="25000"/>
                  </a:schemeClr>
                </a:solidFill>
              </a:rPr>
              <a:t>, </a:t>
            </a:r>
            <a:r>
              <a:rPr lang="en-US" sz="1100" err="1">
                <a:solidFill>
                  <a:schemeClr val="tx1">
                    <a:lumMod val="75000"/>
                    <a:lumOff val="25000"/>
                  </a:schemeClr>
                </a:solidFill>
              </a:rPr>
              <a:t>consectetur</a:t>
            </a:r>
            <a:r>
              <a:rPr lang="en-US" sz="1100">
                <a:solidFill>
                  <a:schemeClr val="tx1">
                    <a:lumMod val="75000"/>
                    <a:lumOff val="25000"/>
                  </a:schemeClr>
                </a:solidFill>
              </a:rPr>
              <a:t> </a:t>
            </a:r>
            <a:r>
              <a:rPr lang="en-US" sz="1100" err="1">
                <a:solidFill>
                  <a:schemeClr val="tx1">
                    <a:lumMod val="75000"/>
                    <a:lumOff val="25000"/>
                  </a:schemeClr>
                </a:solidFill>
              </a:rPr>
              <a:t>adipiscing</a:t>
            </a:r>
            <a:r>
              <a:rPr lang="en-US" sz="1100">
                <a:solidFill>
                  <a:schemeClr val="tx1">
                    <a:lumMod val="75000"/>
                    <a:lumOff val="25000"/>
                  </a:schemeClr>
                </a:solidFill>
              </a:rPr>
              <a:t> </a:t>
            </a:r>
            <a:r>
              <a:rPr lang="en-US" sz="1100" err="1">
                <a:solidFill>
                  <a:schemeClr val="tx1">
                    <a:lumMod val="75000"/>
                    <a:lumOff val="25000"/>
                  </a:schemeClr>
                </a:solidFill>
              </a:rPr>
              <a:t>elit</a:t>
            </a:r>
            <a:endParaRPr lang="en-BR" sz="1100">
              <a:solidFill>
                <a:schemeClr val="tx1">
                  <a:lumMod val="75000"/>
                  <a:lumOff val="25000"/>
                </a:schemeClr>
              </a:solidFill>
            </a:endParaRPr>
          </a:p>
        </p:txBody>
      </p:sp>
      <p:sp>
        <p:nvSpPr>
          <p:cNvPr id="45" name="TextBox 44">
            <a:extLst>
              <a:ext uri="{FF2B5EF4-FFF2-40B4-BE49-F238E27FC236}">
                <a16:creationId xmlns:a16="http://schemas.microsoft.com/office/drawing/2014/main" id="{A955824A-DB5F-4B5C-E781-8A497CBC0A20}"/>
              </a:ext>
            </a:extLst>
          </p:cNvPr>
          <p:cNvSpPr txBox="1"/>
          <p:nvPr/>
        </p:nvSpPr>
        <p:spPr>
          <a:xfrm>
            <a:off x="9411078" y="4684622"/>
            <a:ext cx="1516658" cy="600164"/>
          </a:xfrm>
          <a:prstGeom prst="rect">
            <a:avLst/>
          </a:prstGeom>
          <a:noFill/>
        </p:spPr>
        <p:txBody>
          <a:bodyPr wrap="square">
            <a:spAutoFit/>
          </a:bodyPr>
          <a:lstStyle>
            <a:defPPr>
              <a:defRPr lang="en-BR"/>
            </a:defPPr>
            <a:lvl1pPr>
              <a:defRPr sz="1200">
                <a:solidFill>
                  <a:schemeClr val="tx1">
                    <a:lumMod val="65000"/>
                    <a:lumOff val="35000"/>
                  </a:schemeClr>
                </a:solidFill>
                <a:latin typeface="Segoe UI" panose="020B0502040204020203" pitchFamily="34" charset="0"/>
                <a:cs typeface="Segoe UI" panose="020B0502040204020203" pitchFamily="34" charset="0"/>
              </a:defRPr>
            </a:lvl1pPr>
          </a:lstStyle>
          <a:p>
            <a:r>
              <a:rPr lang="en-US" sz="1100">
                <a:solidFill>
                  <a:schemeClr val="tx1">
                    <a:lumMod val="75000"/>
                    <a:lumOff val="25000"/>
                  </a:schemeClr>
                </a:solidFill>
              </a:rPr>
              <a:t>Lorem ipsum dolor sit </a:t>
            </a:r>
            <a:r>
              <a:rPr lang="en-US" sz="1100" err="1">
                <a:solidFill>
                  <a:schemeClr val="tx1">
                    <a:lumMod val="75000"/>
                    <a:lumOff val="25000"/>
                  </a:schemeClr>
                </a:solidFill>
              </a:rPr>
              <a:t>amet</a:t>
            </a:r>
            <a:r>
              <a:rPr lang="en-US" sz="1100">
                <a:solidFill>
                  <a:schemeClr val="tx1">
                    <a:lumMod val="75000"/>
                    <a:lumOff val="25000"/>
                  </a:schemeClr>
                </a:solidFill>
              </a:rPr>
              <a:t>, </a:t>
            </a:r>
            <a:r>
              <a:rPr lang="en-US" sz="1100" err="1">
                <a:solidFill>
                  <a:schemeClr val="tx1">
                    <a:lumMod val="75000"/>
                    <a:lumOff val="25000"/>
                  </a:schemeClr>
                </a:solidFill>
              </a:rPr>
              <a:t>consectetur</a:t>
            </a:r>
            <a:r>
              <a:rPr lang="en-US" sz="1100">
                <a:solidFill>
                  <a:schemeClr val="tx1">
                    <a:lumMod val="75000"/>
                    <a:lumOff val="25000"/>
                  </a:schemeClr>
                </a:solidFill>
              </a:rPr>
              <a:t> </a:t>
            </a:r>
            <a:r>
              <a:rPr lang="en-US" sz="1100" err="1">
                <a:solidFill>
                  <a:schemeClr val="tx1">
                    <a:lumMod val="75000"/>
                    <a:lumOff val="25000"/>
                  </a:schemeClr>
                </a:solidFill>
              </a:rPr>
              <a:t>adipiscing</a:t>
            </a:r>
            <a:r>
              <a:rPr lang="en-US" sz="1100">
                <a:solidFill>
                  <a:schemeClr val="tx1">
                    <a:lumMod val="75000"/>
                    <a:lumOff val="25000"/>
                  </a:schemeClr>
                </a:solidFill>
              </a:rPr>
              <a:t> </a:t>
            </a:r>
            <a:r>
              <a:rPr lang="en-US" sz="1100" err="1">
                <a:solidFill>
                  <a:schemeClr val="tx1">
                    <a:lumMod val="75000"/>
                    <a:lumOff val="25000"/>
                  </a:schemeClr>
                </a:solidFill>
              </a:rPr>
              <a:t>elit</a:t>
            </a:r>
            <a:endParaRPr lang="en-BR" sz="1100">
              <a:solidFill>
                <a:schemeClr val="tx1">
                  <a:lumMod val="75000"/>
                  <a:lumOff val="25000"/>
                </a:schemeClr>
              </a:solidFill>
            </a:endParaRPr>
          </a:p>
        </p:txBody>
      </p:sp>
      <p:sp>
        <p:nvSpPr>
          <p:cNvPr id="46" name="TextBox 45">
            <a:extLst>
              <a:ext uri="{FF2B5EF4-FFF2-40B4-BE49-F238E27FC236}">
                <a16:creationId xmlns:a16="http://schemas.microsoft.com/office/drawing/2014/main" id="{094766AC-C7D2-788B-BC09-3DA06C666B7B}"/>
              </a:ext>
            </a:extLst>
          </p:cNvPr>
          <p:cNvSpPr txBox="1"/>
          <p:nvPr/>
        </p:nvSpPr>
        <p:spPr>
          <a:xfrm>
            <a:off x="9411078" y="5477998"/>
            <a:ext cx="1516658" cy="600164"/>
          </a:xfrm>
          <a:prstGeom prst="rect">
            <a:avLst/>
          </a:prstGeom>
          <a:noFill/>
        </p:spPr>
        <p:txBody>
          <a:bodyPr wrap="square">
            <a:spAutoFit/>
          </a:bodyPr>
          <a:lstStyle>
            <a:defPPr>
              <a:defRPr lang="en-BR"/>
            </a:defPPr>
            <a:lvl1pPr>
              <a:defRPr sz="1200">
                <a:solidFill>
                  <a:schemeClr val="tx1">
                    <a:lumMod val="65000"/>
                    <a:lumOff val="35000"/>
                  </a:schemeClr>
                </a:solidFill>
                <a:latin typeface="Segoe UI" panose="020B0502040204020203" pitchFamily="34" charset="0"/>
                <a:cs typeface="Segoe UI" panose="020B0502040204020203" pitchFamily="34" charset="0"/>
              </a:defRPr>
            </a:lvl1pPr>
          </a:lstStyle>
          <a:p>
            <a:r>
              <a:rPr lang="en-US" sz="1100">
                <a:solidFill>
                  <a:schemeClr val="tx1">
                    <a:lumMod val="75000"/>
                    <a:lumOff val="25000"/>
                  </a:schemeClr>
                </a:solidFill>
              </a:rPr>
              <a:t>Lorem ipsum dolor sit </a:t>
            </a:r>
            <a:r>
              <a:rPr lang="en-US" sz="1100" err="1">
                <a:solidFill>
                  <a:schemeClr val="tx1">
                    <a:lumMod val="75000"/>
                    <a:lumOff val="25000"/>
                  </a:schemeClr>
                </a:solidFill>
              </a:rPr>
              <a:t>amet</a:t>
            </a:r>
            <a:r>
              <a:rPr lang="en-US" sz="1100">
                <a:solidFill>
                  <a:schemeClr val="tx1">
                    <a:lumMod val="75000"/>
                    <a:lumOff val="25000"/>
                  </a:schemeClr>
                </a:solidFill>
              </a:rPr>
              <a:t>, </a:t>
            </a:r>
            <a:r>
              <a:rPr lang="en-US" sz="1100" err="1">
                <a:solidFill>
                  <a:schemeClr val="tx1">
                    <a:lumMod val="75000"/>
                    <a:lumOff val="25000"/>
                  </a:schemeClr>
                </a:solidFill>
              </a:rPr>
              <a:t>consectetur</a:t>
            </a:r>
            <a:r>
              <a:rPr lang="en-US" sz="1100">
                <a:solidFill>
                  <a:schemeClr val="tx1">
                    <a:lumMod val="75000"/>
                    <a:lumOff val="25000"/>
                  </a:schemeClr>
                </a:solidFill>
              </a:rPr>
              <a:t> </a:t>
            </a:r>
            <a:r>
              <a:rPr lang="en-US" sz="1100" err="1">
                <a:solidFill>
                  <a:schemeClr val="tx1">
                    <a:lumMod val="75000"/>
                    <a:lumOff val="25000"/>
                  </a:schemeClr>
                </a:solidFill>
              </a:rPr>
              <a:t>adipiscing</a:t>
            </a:r>
            <a:r>
              <a:rPr lang="en-US" sz="1100">
                <a:solidFill>
                  <a:schemeClr val="tx1">
                    <a:lumMod val="75000"/>
                    <a:lumOff val="25000"/>
                  </a:schemeClr>
                </a:solidFill>
              </a:rPr>
              <a:t> </a:t>
            </a:r>
            <a:r>
              <a:rPr lang="en-US" sz="1100" err="1">
                <a:solidFill>
                  <a:schemeClr val="tx1">
                    <a:lumMod val="75000"/>
                    <a:lumOff val="25000"/>
                  </a:schemeClr>
                </a:solidFill>
              </a:rPr>
              <a:t>elit</a:t>
            </a:r>
            <a:endParaRPr lang="en-BR" sz="1100">
              <a:solidFill>
                <a:schemeClr val="tx1">
                  <a:lumMod val="75000"/>
                  <a:lumOff val="25000"/>
                </a:schemeClr>
              </a:solidFill>
            </a:endParaRPr>
          </a:p>
        </p:txBody>
      </p:sp>
    </p:spTree>
    <p:extLst>
      <p:ext uri="{BB962C8B-B14F-4D97-AF65-F5344CB8AC3E}">
        <p14:creationId xmlns:p14="http://schemas.microsoft.com/office/powerpoint/2010/main" val="12129294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0604E-B2EF-ECC8-12D9-84F5CA917796}"/>
              </a:ext>
            </a:extLst>
          </p:cNvPr>
          <p:cNvSpPr>
            <a:spLocks noGrp="1"/>
          </p:cNvSpPr>
          <p:nvPr>
            <p:ph type="title"/>
          </p:nvPr>
        </p:nvSpPr>
        <p:spPr/>
        <p:txBody>
          <a:bodyPr/>
          <a:lstStyle/>
          <a:p>
            <a:r>
              <a:rPr lang="en-BR"/>
              <a:t>0</a:t>
            </a:r>
            <a:r>
              <a:rPr lang="pt-BR"/>
              <a:t>9</a:t>
            </a:r>
            <a:r>
              <a:rPr lang="en-BR"/>
              <a:t> | Other Visuals</a:t>
            </a:r>
          </a:p>
        </p:txBody>
      </p:sp>
      <p:sp>
        <p:nvSpPr>
          <p:cNvPr id="3" name="Footer Placeholder 2">
            <a:extLst>
              <a:ext uri="{FF2B5EF4-FFF2-40B4-BE49-F238E27FC236}">
                <a16:creationId xmlns:a16="http://schemas.microsoft.com/office/drawing/2014/main" id="{68095314-A106-3EFD-E0E0-EA81158FBF86}"/>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753501AF-249E-1B2A-81C8-A3D2D74D556C}"/>
              </a:ext>
            </a:extLst>
          </p:cNvPr>
          <p:cNvSpPr>
            <a:spLocks noGrp="1"/>
          </p:cNvSpPr>
          <p:nvPr>
            <p:ph type="sldNum" sz="quarter" idx="12"/>
          </p:nvPr>
        </p:nvSpPr>
        <p:spPr/>
        <p:txBody>
          <a:bodyPr/>
          <a:lstStyle/>
          <a:p>
            <a:fld id="{A8DDC45B-7265-3747-B738-ED29642119D9}" type="slidenum">
              <a:rPr lang="en-BR" smtClean="0"/>
              <a:pPr/>
              <a:t>60</a:t>
            </a:fld>
            <a:endParaRPr lang="en-BR"/>
          </a:p>
        </p:txBody>
      </p:sp>
      <p:sp>
        <p:nvSpPr>
          <p:cNvPr id="8" name="TextBox 7">
            <a:hlinkClick r:id="rId2" action="ppaction://hlinksldjump"/>
            <a:extLst>
              <a:ext uri="{FF2B5EF4-FFF2-40B4-BE49-F238E27FC236}">
                <a16:creationId xmlns:a16="http://schemas.microsoft.com/office/drawing/2014/main" id="{A3E1036C-A5AA-08ED-C4EF-144A9A2B61D1}"/>
              </a:ext>
            </a:extLst>
          </p:cNvPr>
          <p:cNvSpPr txBox="1"/>
          <p:nvPr/>
        </p:nvSpPr>
        <p:spPr>
          <a:xfrm>
            <a:off x="391754" y="780820"/>
            <a:ext cx="543739" cy="246221"/>
          </a:xfrm>
          <a:prstGeom prst="rect">
            <a:avLst/>
          </a:prstGeom>
          <a:noFill/>
        </p:spPr>
        <p:txBody>
          <a:bodyPr wrap="none" rtlCol="0">
            <a:spAutoFit/>
          </a:bodyPr>
          <a:lstStyle/>
          <a:p>
            <a:r>
              <a:rPr lang="en-BR" sz="1000">
                <a:solidFill>
                  <a:schemeClr val="accent3">
                    <a:lumMod val="60000"/>
                    <a:lumOff val="40000"/>
                  </a:schemeClr>
                </a:solidFill>
                <a:latin typeface="Segoe UI" panose="020B0502040204020203" pitchFamily="34" charset="0"/>
                <a:cs typeface="Segoe UI" panose="020B0502040204020203" pitchFamily="34" charset="0"/>
              </a:rPr>
              <a:t>INDEX</a:t>
            </a:r>
          </a:p>
        </p:txBody>
      </p:sp>
      <p:pic>
        <p:nvPicPr>
          <p:cNvPr id="9" name="Graphic 8" descr="Home with solid fill">
            <a:hlinkClick r:id="rId2" action="ppaction://hlinksldjump"/>
            <a:extLst>
              <a:ext uri="{FF2B5EF4-FFF2-40B4-BE49-F238E27FC236}">
                <a16:creationId xmlns:a16="http://schemas.microsoft.com/office/drawing/2014/main" id="{36C23597-69BB-E01E-C582-8F807C0E81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1754" y="317458"/>
            <a:ext cx="543739" cy="543739"/>
          </a:xfrm>
          <a:prstGeom prst="rect">
            <a:avLst/>
          </a:prstGeom>
        </p:spPr>
      </p:pic>
    </p:spTree>
    <p:extLst>
      <p:ext uri="{BB962C8B-B14F-4D97-AF65-F5344CB8AC3E}">
        <p14:creationId xmlns:p14="http://schemas.microsoft.com/office/powerpoint/2010/main" val="42061215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20A3EF-5B44-C3A7-410D-8B412AF0460E}"/>
              </a:ext>
            </a:extLst>
          </p:cNvPr>
          <p:cNvSpPr>
            <a:spLocks noGrp="1"/>
          </p:cNvSpPr>
          <p:nvPr>
            <p:ph type="title"/>
          </p:nvPr>
        </p:nvSpPr>
        <p:spPr/>
        <p:txBody>
          <a:bodyPr/>
          <a:lstStyle/>
          <a:p>
            <a:r>
              <a:rPr lang="en-BR"/>
              <a:t>Other Visuals</a:t>
            </a:r>
          </a:p>
        </p:txBody>
      </p:sp>
      <p:sp>
        <p:nvSpPr>
          <p:cNvPr id="3" name="Footer Placeholder 2">
            <a:extLst>
              <a:ext uri="{FF2B5EF4-FFF2-40B4-BE49-F238E27FC236}">
                <a16:creationId xmlns:a16="http://schemas.microsoft.com/office/drawing/2014/main" id="{1132B78E-2874-BD89-0AEA-4873347D7113}"/>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827D331D-0B6A-5F73-9AC5-5AC044BDA49E}"/>
              </a:ext>
            </a:extLst>
          </p:cNvPr>
          <p:cNvSpPr>
            <a:spLocks noGrp="1"/>
          </p:cNvSpPr>
          <p:nvPr>
            <p:ph type="sldNum" sz="quarter" idx="12"/>
          </p:nvPr>
        </p:nvSpPr>
        <p:spPr/>
        <p:txBody>
          <a:bodyPr/>
          <a:lstStyle/>
          <a:p>
            <a:fld id="{A8DDC45B-7265-3747-B738-ED29642119D9}" type="slidenum">
              <a:rPr lang="en-BR" smtClean="0"/>
              <a:pPr/>
              <a:t>61</a:t>
            </a:fld>
            <a:endParaRPr lang="en-BR"/>
          </a:p>
        </p:txBody>
      </p:sp>
      <p:sp>
        <p:nvSpPr>
          <p:cNvPr id="5" name="Text Placeholder 4">
            <a:extLst>
              <a:ext uri="{FF2B5EF4-FFF2-40B4-BE49-F238E27FC236}">
                <a16:creationId xmlns:a16="http://schemas.microsoft.com/office/drawing/2014/main" id="{13582D24-DA96-86F7-5D50-3560A04AA132}"/>
              </a:ext>
            </a:extLst>
          </p:cNvPr>
          <p:cNvSpPr>
            <a:spLocks noGrp="1"/>
          </p:cNvSpPr>
          <p:nvPr>
            <p:ph type="body" sz="quarter" idx="13"/>
          </p:nvPr>
        </p:nvSpPr>
        <p:spPr/>
        <p:txBody>
          <a:bodyPr/>
          <a:lstStyle/>
          <a:p>
            <a:r>
              <a:rPr lang="en-BR"/>
              <a:t>Interlocking Circles</a:t>
            </a:r>
          </a:p>
        </p:txBody>
      </p:sp>
      <p:sp>
        <p:nvSpPr>
          <p:cNvPr id="6" name="Freeform 25">
            <a:extLst>
              <a:ext uri="{FF2B5EF4-FFF2-40B4-BE49-F238E27FC236}">
                <a16:creationId xmlns:a16="http://schemas.microsoft.com/office/drawing/2014/main" id="{397F7ED1-1172-194F-13A5-28597DFCBC8A}"/>
              </a:ext>
            </a:extLst>
          </p:cNvPr>
          <p:cNvSpPr>
            <a:spLocks/>
          </p:cNvSpPr>
          <p:nvPr/>
        </p:nvSpPr>
        <p:spPr bwMode="auto">
          <a:xfrm>
            <a:off x="5101049" y="3926211"/>
            <a:ext cx="1990147" cy="1990147"/>
          </a:xfrm>
          <a:custGeom>
            <a:avLst/>
            <a:gdLst/>
            <a:ahLst/>
            <a:cxnLst>
              <a:cxn ang="0">
                <a:pos x="692" y="54"/>
              </a:cxn>
              <a:cxn ang="0">
                <a:pos x="697" y="105"/>
              </a:cxn>
              <a:cxn ang="0">
                <a:pos x="707" y="156"/>
              </a:cxn>
              <a:cxn ang="0">
                <a:pos x="720" y="205"/>
              </a:cxn>
              <a:cxn ang="0">
                <a:pos x="743" y="268"/>
              </a:cxn>
              <a:cxn ang="0">
                <a:pos x="772" y="329"/>
              </a:cxn>
              <a:cxn ang="0">
                <a:pos x="817" y="400"/>
              </a:cxn>
              <a:cxn ang="0">
                <a:pos x="868" y="463"/>
              </a:cxn>
              <a:cxn ang="0">
                <a:pos x="927" y="521"/>
              </a:cxn>
              <a:cxn ang="0">
                <a:pos x="980" y="563"/>
              </a:cxn>
              <a:cxn ang="0">
                <a:pos x="1035" y="598"/>
              </a:cxn>
              <a:cxn ang="0">
                <a:pos x="1080" y="622"/>
              </a:cxn>
              <a:cxn ang="0">
                <a:pos x="1174" y="659"/>
              </a:cxn>
              <a:cxn ang="0">
                <a:pos x="1256" y="679"/>
              </a:cxn>
              <a:cxn ang="0">
                <a:pos x="1308" y="685"/>
              </a:cxn>
              <a:cxn ang="0">
                <a:pos x="1377" y="725"/>
              </a:cxn>
              <a:cxn ang="0">
                <a:pos x="1373" y="777"/>
              </a:cxn>
              <a:cxn ang="0">
                <a:pos x="1365" y="828"/>
              </a:cxn>
              <a:cxn ang="0">
                <a:pos x="1353" y="878"/>
              </a:cxn>
              <a:cxn ang="0">
                <a:pos x="1331" y="943"/>
              </a:cxn>
              <a:cxn ang="0">
                <a:pos x="1303" y="1003"/>
              </a:cxn>
              <a:cxn ang="0">
                <a:pos x="1261" y="1075"/>
              </a:cxn>
              <a:cxn ang="0">
                <a:pos x="1221" y="1129"/>
              </a:cxn>
              <a:cxn ang="0">
                <a:pos x="1152" y="1200"/>
              </a:cxn>
              <a:cxn ang="0">
                <a:pos x="1101" y="1242"/>
              </a:cxn>
              <a:cxn ang="0">
                <a:pos x="1047" y="1279"/>
              </a:cxn>
              <a:cxn ang="0">
                <a:pos x="1003" y="1304"/>
              </a:cxn>
              <a:cxn ang="0">
                <a:pos x="926" y="1337"/>
              </a:cxn>
              <a:cxn ang="0">
                <a:pos x="828" y="1366"/>
              </a:cxn>
              <a:cxn ang="0">
                <a:pos x="777" y="1374"/>
              </a:cxn>
              <a:cxn ang="0">
                <a:pos x="689" y="1379"/>
              </a:cxn>
              <a:cxn ang="0">
                <a:pos x="619" y="1375"/>
              </a:cxn>
              <a:cxn ang="0">
                <a:pos x="566" y="1368"/>
              </a:cxn>
              <a:cxn ang="0">
                <a:pos x="517" y="1357"/>
              </a:cxn>
              <a:cxn ang="0">
                <a:pos x="452" y="1337"/>
              </a:cxn>
              <a:cxn ang="0">
                <a:pos x="390" y="1312"/>
              </a:cxn>
              <a:cxn ang="0">
                <a:pos x="332" y="1279"/>
              </a:cxn>
              <a:cxn ang="0">
                <a:pos x="277" y="1242"/>
              </a:cxn>
              <a:cxn ang="0">
                <a:pos x="202" y="1177"/>
              </a:cxn>
              <a:cxn ang="0">
                <a:pos x="157" y="1129"/>
              </a:cxn>
              <a:cxn ang="0">
                <a:pos x="118" y="1075"/>
              </a:cxn>
              <a:cxn ang="0">
                <a:pos x="83" y="1018"/>
              </a:cxn>
              <a:cxn ang="0">
                <a:pos x="53" y="957"/>
              </a:cxn>
              <a:cxn ang="0">
                <a:pos x="21" y="862"/>
              </a:cxn>
              <a:cxn ang="0">
                <a:pos x="8" y="795"/>
              </a:cxn>
              <a:cxn ang="0">
                <a:pos x="1" y="725"/>
              </a:cxn>
              <a:cxn ang="0">
                <a:pos x="53" y="688"/>
              </a:cxn>
              <a:cxn ang="0">
                <a:pos x="105" y="681"/>
              </a:cxn>
              <a:cxn ang="0">
                <a:pos x="156" y="672"/>
              </a:cxn>
              <a:cxn ang="0">
                <a:pos x="204" y="659"/>
              </a:cxn>
              <a:cxn ang="0">
                <a:pos x="267" y="636"/>
              </a:cxn>
              <a:cxn ang="0">
                <a:pos x="328" y="606"/>
              </a:cxn>
              <a:cxn ang="0">
                <a:pos x="399" y="563"/>
              </a:cxn>
              <a:cxn ang="0">
                <a:pos x="463" y="510"/>
              </a:cxn>
              <a:cxn ang="0">
                <a:pos x="521" y="451"/>
              </a:cxn>
              <a:cxn ang="0">
                <a:pos x="562" y="400"/>
              </a:cxn>
              <a:cxn ang="0">
                <a:pos x="597" y="343"/>
              </a:cxn>
              <a:cxn ang="0">
                <a:pos x="622" y="299"/>
              </a:cxn>
              <a:cxn ang="0">
                <a:pos x="658" y="205"/>
              </a:cxn>
              <a:cxn ang="0">
                <a:pos x="678" y="123"/>
              </a:cxn>
              <a:cxn ang="0">
                <a:pos x="685" y="70"/>
              </a:cxn>
            </a:cxnLst>
            <a:rect l="0" t="0" r="r" b="b"/>
            <a:pathLst>
              <a:path w="1379" h="1379">
                <a:moveTo>
                  <a:pt x="689" y="0"/>
                </a:moveTo>
                <a:lnTo>
                  <a:pt x="690" y="35"/>
                </a:lnTo>
                <a:lnTo>
                  <a:pt x="692" y="54"/>
                </a:lnTo>
                <a:lnTo>
                  <a:pt x="693" y="70"/>
                </a:lnTo>
                <a:lnTo>
                  <a:pt x="694" y="88"/>
                </a:lnTo>
                <a:lnTo>
                  <a:pt x="697" y="105"/>
                </a:lnTo>
                <a:lnTo>
                  <a:pt x="700" y="123"/>
                </a:lnTo>
                <a:lnTo>
                  <a:pt x="704" y="139"/>
                </a:lnTo>
                <a:lnTo>
                  <a:pt x="707" y="156"/>
                </a:lnTo>
                <a:lnTo>
                  <a:pt x="711" y="172"/>
                </a:lnTo>
                <a:lnTo>
                  <a:pt x="716" y="189"/>
                </a:lnTo>
                <a:lnTo>
                  <a:pt x="720" y="205"/>
                </a:lnTo>
                <a:lnTo>
                  <a:pt x="731" y="237"/>
                </a:lnTo>
                <a:lnTo>
                  <a:pt x="737" y="253"/>
                </a:lnTo>
                <a:lnTo>
                  <a:pt x="743" y="268"/>
                </a:lnTo>
                <a:lnTo>
                  <a:pt x="758" y="299"/>
                </a:lnTo>
                <a:lnTo>
                  <a:pt x="764" y="314"/>
                </a:lnTo>
                <a:lnTo>
                  <a:pt x="772" y="329"/>
                </a:lnTo>
                <a:lnTo>
                  <a:pt x="789" y="358"/>
                </a:lnTo>
                <a:lnTo>
                  <a:pt x="808" y="385"/>
                </a:lnTo>
                <a:lnTo>
                  <a:pt x="817" y="400"/>
                </a:lnTo>
                <a:lnTo>
                  <a:pt x="826" y="412"/>
                </a:lnTo>
                <a:lnTo>
                  <a:pt x="847" y="439"/>
                </a:lnTo>
                <a:lnTo>
                  <a:pt x="868" y="463"/>
                </a:lnTo>
                <a:lnTo>
                  <a:pt x="891" y="487"/>
                </a:lnTo>
                <a:lnTo>
                  <a:pt x="915" y="510"/>
                </a:lnTo>
                <a:lnTo>
                  <a:pt x="927" y="521"/>
                </a:lnTo>
                <a:lnTo>
                  <a:pt x="939" y="532"/>
                </a:lnTo>
                <a:lnTo>
                  <a:pt x="966" y="552"/>
                </a:lnTo>
                <a:lnTo>
                  <a:pt x="980" y="563"/>
                </a:lnTo>
                <a:lnTo>
                  <a:pt x="993" y="572"/>
                </a:lnTo>
                <a:lnTo>
                  <a:pt x="1022" y="590"/>
                </a:lnTo>
                <a:lnTo>
                  <a:pt x="1035" y="598"/>
                </a:lnTo>
                <a:lnTo>
                  <a:pt x="1050" y="606"/>
                </a:lnTo>
                <a:lnTo>
                  <a:pt x="1065" y="614"/>
                </a:lnTo>
                <a:lnTo>
                  <a:pt x="1080" y="622"/>
                </a:lnTo>
                <a:lnTo>
                  <a:pt x="1111" y="636"/>
                </a:lnTo>
                <a:lnTo>
                  <a:pt x="1141" y="648"/>
                </a:lnTo>
                <a:lnTo>
                  <a:pt x="1174" y="659"/>
                </a:lnTo>
                <a:lnTo>
                  <a:pt x="1206" y="668"/>
                </a:lnTo>
                <a:lnTo>
                  <a:pt x="1240" y="676"/>
                </a:lnTo>
                <a:lnTo>
                  <a:pt x="1256" y="679"/>
                </a:lnTo>
                <a:lnTo>
                  <a:pt x="1273" y="681"/>
                </a:lnTo>
                <a:lnTo>
                  <a:pt x="1291" y="684"/>
                </a:lnTo>
                <a:lnTo>
                  <a:pt x="1308" y="685"/>
                </a:lnTo>
                <a:lnTo>
                  <a:pt x="1343" y="688"/>
                </a:lnTo>
                <a:lnTo>
                  <a:pt x="1379" y="690"/>
                </a:lnTo>
                <a:lnTo>
                  <a:pt x="1377" y="725"/>
                </a:lnTo>
                <a:lnTo>
                  <a:pt x="1377" y="743"/>
                </a:lnTo>
                <a:lnTo>
                  <a:pt x="1374" y="760"/>
                </a:lnTo>
                <a:lnTo>
                  <a:pt x="1373" y="777"/>
                </a:lnTo>
                <a:lnTo>
                  <a:pt x="1370" y="795"/>
                </a:lnTo>
                <a:lnTo>
                  <a:pt x="1368" y="812"/>
                </a:lnTo>
                <a:lnTo>
                  <a:pt x="1365" y="828"/>
                </a:lnTo>
                <a:lnTo>
                  <a:pt x="1361" y="846"/>
                </a:lnTo>
                <a:lnTo>
                  <a:pt x="1357" y="862"/>
                </a:lnTo>
                <a:lnTo>
                  <a:pt x="1353" y="878"/>
                </a:lnTo>
                <a:lnTo>
                  <a:pt x="1348" y="894"/>
                </a:lnTo>
                <a:lnTo>
                  <a:pt x="1337" y="927"/>
                </a:lnTo>
                <a:lnTo>
                  <a:pt x="1331" y="943"/>
                </a:lnTo>
                <a:lnTo>
                  <a:pt x="1325" y="957"/>
                </a:lnTo>
                <a:lnTo>
                  <a:pt x="1311" y="988"/>
                </a:lnTo>
                <a:lnTo>
                  <a:pt x="1303" y="1003"/>
                </a:lnTo>
                <a:lnTo>
                  <a:pt x="1295" y="1018"/>
                </a:lnTo>
                <a:lnTo>
                  <a:pt x="1279" y="1048"/>
                </a:lnTo>
                <a:lnTo>
                  <a:pt x="1261" y="1075"/>
                </a:lnTo>
                <a:lnTo>
                  <a:pt x="1252" y="1089"/>
                </a:lnTo>
                <a:lnTo>
                  <a:pt x="1241" y="1102"/>
                </a:lnTo>
                <a:lnTo>
                  <a:pt x="1221" y="1129"/>
                </a:lnTo>
                <a:lnTo>
                  <a:pt x="1199" y="1153"/>
                </a:lnTo>
                <a:lnTo>
                  <a:pt x="1176" y="1177"/>
                </a:lnTo>
                <a:lnTo>
                  <a:pt x="1152" y="1200"/>
                </a:lnTo>
                <a:lnTo>
                  <a:pt x="1140" y="1211"/>
                </a:lnTo>
                <a:lnTo>
                  <a:pt x="1128" y="1221"/>
                </a:lnTo>
                <a:lnTo>
                  <a:pt x="1101" y="1242"/>
                </a:lnTo>
                <a:lnTo>
                  <a:pt x="1089" y="1252"/>
                </a:lnTo>
                <a:lnTo>
                  <a:pt x="1074" y="1262"/>
                </a:lnTo>
                <a:lnTo>
                  <a:pt x="1047" y="1279"/>
                </a:lnTo>
                <a:lnTo>
                  <a:pt x="1032" y="1287"/>
                </a:lnTo>
                <a:lnTo>
                  <a:pt x="1018" y="1296"/>
                </a:lnTo>
                <a:lnTo>
                  <a:pt x="1003" y="1304"/>
                </a:lnTo>
                <a:lnTo>
                  <a:pt x="988" y="1312"/>
                </a:lnTo>
                <a:lnTo>
                  <a:pt x="957" y="1325"/>
                </a:lnTo>
                <a:lnTo>
                  <a:pt x="926" y="1337"/>
                </a:lnTo>
                <a:lnTo>
                  <a:pt x="894" y="1348"/>
                </a:lnTo>
                <a:lnTo>
                  <a:pt x="861" y="1357"/>
                </a:lnTo>
                <a:lnTo>
                  <a:pt x="828" y="1366"/>
                </a:lnTo>
                <a:lnTo>
                  <a:pt x="812" y="1368"/>
                </a:lnTo>
                <a:lnTo>
                  <a:pt x="794" y="1371"/>
                </a:lnTo>
                <a:lnTo>
                  <a:pt x="777" y="1374"/>
                </a:lnTo>
                <a:lnTo>
                  <a:pt x="759" y="1375"/>
                </a:lnTo>
                <a:lnTo>
                  <a:pt x="724" y="1378"/>
                </a:lnTo>
                <a:lnTo>
                  <a:pt x="689" y="1379"/>
                </a:lnTo>
                <a:lnTo>
                  <a:pt x="654" y="1378"/>
                </a:lnTo>
                <a:lnTo>
                  <a:pt x="636" y="1378"/>
                </a:lnTo>
                <a:lnTo>
                  <a:pt x="619" y="1375"/>
                </a:lnTo>
                <a:lnTo>
                  <a:pt x="601" y="1374"/>
                </a:lnTo>
                <a:lnTo>
                  <a:pt x="584" y="1371"/>
                </a:lnTo>
                <a:lnTo>
                  <a:pt x="566" y="1368"/>
                </a:lnTo>
                <a:lnTo>
                  <a:pt x="550" y="1366"/>
                </a:lnTo>
                <a:lnTo>
                  <a:pt x="533" y="1361"/>
                </a:lnTo>
                <a:lnTo>
                  <a:pt x="517" y="1357"/>
                </a:lnTo>
                <a:lnTo>
                  <a:pt x="500" y="1353"/>
                </a:lnTo>
                <a:lnTo>
                  <a:pt x="484" y="1348"/>
                </a:lnTo>
                <a:lnTo>
                  <a:pt x="452" y="1337"/>
                </a:lnTo>
                <a:lnTo>
                  <a:pt x="436" y="1332"/>
                </a:lnTo>
                <a:lnTo>
                  <a:pt x="421" y="1325"/>
                </a:lnTo>
                <a:lnTo>
                  <a:pt x="390" y="1312"/>
                </a:lnTo>
                <a:lnTo>
                  <a:pt x="375" y="1304"/>
                </a:lnTo>
                <a:lnTo>
                  <a:pt x="360" y="1296"/>
                </a:lnTo>
                <a:lnTo>
                  <a:pt x="332" y="1279"/>
                </a:lnTo>
                <a:lnTo>
                  <a:pt x="304" y="1262"/>
                </a:lnTo>
                <a:lnTo>
                  <a:pt x="290" y="1252"/>
                </a:lnTo>
                <a:lnTo>
                  <a:pt x="277" y="1242"/>
                </a:lnTo>
                <a:lnTo>
                  <a:pt x="250" y="1221"/>
                </a:lnTo>
                <a:lnTo>
                  <a:pt x="226" y="1200"/>
                </a:lnTo>
                <a:lnTo>
                  <a:pt x="202" y="1177"/>
                </a:lnTo>
                <a:lnTo>
                  <a:pt x="179" y="1153"/>
                </a:lnTo>
                <a:lnTo>
                  <a:pt x="168" y="1141"/>
                </a:lnTo>
                <a:lnTo>
                  <a:pt x="157" y="1129"/>
                </a:lnTo>
                <a:lnTo>
                  <a:pt x="137" y="1102"/>
                </a:lnTo>
                <a:lnTo>
                  <a:pt x="127" y="1089"/>
                </a:lnTo>
                <a:lnTo>
                  <a:pt x="118" y="1075"/>
                </a:lnTo>
                <a:lnTo>
                  <a:pt x="99" y="1048"/>
                </a:lnTo>
                <a:lnTo>
                  <a:pt x="91" y="1033"/>
                </a:lnTo>
                <a:lnTo>
                  <a:pt x="83" y="1018"/>
                </a:lnTo>
                <a:lnTo>
                  <a:pt x="75" y="1003"/>
                </a:lnTo>
                <a:lnTo>
                  <a:pt x="68" y="988"/>
                </a:lnTo>
                <a:lnTo>
                  <a:pt x="53" y="957"/>
                </a:lnTo>
                <a:lnTo>
                  <a:pt x="41" y="927"/>
                </a:lnTo>
                <a:lnTo>
                  <a:pt x="30" y="894"/>
                </a:lnTo>
                <a:lnTo>
                  <a:pt x="21" y="862"/>
                </a:lnTo>
                <a:lnTo>
                  <a:pt x="14" y="828"/>
                </a:lnTo>
                <a:lnTo>
                  <a:pt x="10" y="812"/>
                </a:lnTo>
                <a:lnTo>
                  <a:pt x="8" y="795"/>
                </a:lnTo>
                <a:lnTo>
                  <a:pt x="5" y="777"/>
                </a:lnTo>
                <a:lnTo>
                  <a:pt x="4" y="760"/>
                </a:lnTo>
                <a:lnTo>
                  <a:pt x="1" y="725"/>
                </a:lnTo>
                <a:lnTo>
                  <a:pt x="0" y="690"/>
                </a:lnTo>
                <a:lnTo>
                  <a:pt x="35" y="688"/>
                </a:lnTo>
                <a:lnTo>
                  <a:pt x="53" y="688"/>
                </a:lnTo>
                <a:lnTo>
                  <a:pt x="70" y="685"/>
                </a:lnTo>
                <a:lnTo>
                  <a:pt x="87" y="684"/>
                </a:lnTo>
                <a:lnTo>
                  <a:pt x="105" y="681"/>
                </a:lnTo>
                <a:lnTo>
                  <a:pt x="122" y="679"/>
                </a:lnTo>
                <a:lnTo>
                  <a:pt x="138" y="676"/>
                </a:lnTo>
                <a:lnTo>
                  <a:pt x="156" y="672"/>
                </a:lnTo>
                <a:lnTo>
                  <a:pt x="172" y="668"/>
                </a:lnTo>
                <a:lnTo>
                  <a:pt x="188" y="664"/>
                </a:lnTo>
                <a:lnTo>
                  <a:pt x="204" y="659"/>
                </a:lnTo>
                <a:lnTo>
                  <a:pt x="237" y="648"/>
                </a:lnTo>
                <a:lnTo>
                  <a:pt x="253" y="642"/>
                </a:lnTo>
                <a:lnTo>
                  <a:pt x="267" y="636"/>
                </a:lnTo>
                <a:lnTo>
                  <a:pt x="298" y="622"/>
                </a:lnTo>
                <a:lnTo>
                  <a:pt x="313" y="614"/>
                </a:lnTo>
                <a:lnTo>
                  <a:pt x="328" y="606"/>
                </a:lnTo>
                <a:lnTo>
                  <a:pt x="358" y="590"/>
                </a:lnTo>
                <a:lnTo>
                  <a:pt x="385" y="572"/>
                </a:lnTo>
                <a:lnTo>
                  <a:pt x="399" y="563"/>
                </a:lnTo>
                <a:lnTo>
                  <a:pt x="412" y="552"/>
                </a:lnTo>
                <a:lnTo>
                  <a:pt x="439" y="532"/>
                </a:lnTo>
                <a:lnTo>
                  <a:pt x="463" y="510"/>
                </a:lnTo>
                <a:lnTo>
                  <a:pt x="487" y="487"/>
                </a:lnTo>
                <a:lnTo>
                  <a:pt x="510" y="463"/>
                </a:lnTo>
                <a:lnTo>
                  <a:pt x="521" y="451"/>
                </a:lnTo>
                <a:lnTo>
                  <a:pt x="531" y="439"/>
                </a:lnTo>
                <a:lnTo>
                  <a:pt x="552" y="412"/>
                </a:lnTo>
                <a:lnTo>
                  <a:pt x="562" y="400"/>
                </a:lnTo>
                <a:lnTo>
                  <a:pt x="572" y="385"/>
                </a:lnTo>
                <a:lnTo>
                  <a:pt x="589" y="358"/>
                </a:lnTo>
                <a:lnTo>
                  <a:pt x="597" y="343"/>
                </a:lnTo>
                <a:lnTo>
                  <a:pt x="606" y="329"/>
                </a:lnTo>
                <a:lnTo>
                  <a:pt x="614" y="314"/>
                </a:lnTo>
                <a:lnTo>
                  <a:pt x="622" y="299"/>
                </a:lnTo>
                <a:lnTo>
                  <a:pt x="635" y="268"/>
                </a:lnTo>
                <a:lnTo>
                  <a:pt x="647" y="237"/>
                </a:lnTo>
                <a:lnTo>
                  <a:pt x="658" y="205"/>
                </a:lnTo>
                <a:lnTo>
                  <a:pt x="667" y="172"/>
                </a:lnTo>
                <a:lnTo>
                  <a:pt x="676" y="139"/>
                </a:lnTo>
                <a:lnTo>
                  <a:pt x="678" y="123"/>
                </a:lnTo>
                <a:lnTo>
                  <a:pt x="681" y="105"/>
                </a:lnTo>
                <a:lnTo>
                  <a:pt x="684" y="88"/>
                </a:lnTo>
                <a:lnTo>
                  <a:pt x="685" y="70"/>
                </a:lnTo>
                <a:lnTo>
                  <a:pt x="688" y="35"/>
                </a:lnTo>
                <a:lnTo>
                  <a:pt x="689" y="0"/>
                </a:lnTo>
                <a:close/>
              </a:path>
            </a:pathLst>
          </a:custGeom>
          <a:solidFill>
            <a:srgbClr val="FF0000"/>
          </a:solidFill>
          <a:ln w="9525">
            <a:noFill/>
            <a:round/>
            <a:headEnd/>
            <a:tailEnd/>
          </a:ln>
        </p:spPr>
        <p:txBody>
          <a:bodyPr/>
          <a:lstStyle/>
          <a:p>
            <a:endParaRPr lang="en-US"/>
          </a:p>
        </p:txBody>
      </p:sp>
      <p:sp>
        <p:nvSpPr>
          <p:cNvPr id="7" name="Freeform 26">
            <a:extLst>
              <a:ext uri="{FF2B5EF4-FFF2-40B4-BE49-F238E27FC236}">
                <a16:creationId xmlns:a16="http://schemas.microsoft.com/office/drawing/2014/main" id="{5B3A92F5-AC66-BDE0-D58E-1425EC54025C}"/>
              </a:ext>
            </a:extLst>
          </p:cNvPr>
          <p:cNvSpPr>
            <a:spLocks/>
          </p:cNvSpPr>
          <p:nvPr/>
        </p:nvSpPr>
        <p:spPr bwMode="auto">
          <a:xfrm>
            <a:off x="5101049" y="1936062"/>
            <a:ext cx="1990147" cy="1990148"/>
          </a:xfrm>
          <a:custGeom>
            <a:avLst/>
            <a:gdLst/>
            <a:ahLst/>
            <a:cxnLst>
              <a:cxn ang="0">
                <a:pos x="2" y="637"/>
              </a:cxn>
              <a:cxn ang="0">
                <a:pos x="8" y="584"/>
              </a:cxn>
              <a:cxn ang="0">
                <a:pos x="17" y="533"/>
              </a:cxn>
              <a:cxn ang="0">
                <a:pos x="30" y="485"/>
              </a:cxn>
              <a:cxn ang="0">
                <a:pos x="53" y="422"/>
              </a:cxn>
              <a:cxn ang="0">
                <a:pos x="83" y="361"/>
              </a:cxn>
              <a:cxn ang="0">
                <a:pos x="127" y="291"/>
              </a:cxn>
              <a:cxn ang="0">
                <a:pos x="179" y="226"/>
              </a:cxn>
              <a:cxn ang="0">
                <a:pos x="238" y="168"/>
              </a:cxn>
              <a:cxn ang="0">
                <a:pos x="290" y="128"/>
              </a:cxn>
              <a:cxn ang="0">
                <a:pos x="346" y="92"/>
              </a:cxn>
              <a:cxn ang="0">
                <a:pos x="390" y="69"/>
              </a:cxn>
              <a:cxn ang="0">
                <a:pos x="484" y="31"/>
              </a:cxn>
              <a:cxn ang="0">
                <a:pos x="566" y="11"/>
              </a:cxn>
              <a:cxn ang="0">
                <a:pos x="619" y="4"/>
              </a:cxn>
              <a:cxn ang="0">
                <a:pos x="724" y="1"/>
              </a:cxn>
              <a:cxn ang="0">
                <a:pos x="777" y="5"/>
              </a:cxn>
              <a:cxn ang="0">
                <a:pos x="828" y="15"/>
              </a:cxn>
              <a:cxn ang="0">
                <a:pos x="878" y="27"/>
              </a:cxn>
              <a:cxn ang="0">
                <a:pos x="942" y="48"/>
              </a:cxn>
              <a:cxn ang="0">
                <a:pos x="1003" y="75"/>
              </a:cxn>
              <a:cxn ang="0">
                <a:pos x="1074" y="119"/>
              </a:cxn>
              <a:cxn ang="0">
                <a:pos x="1128" y="158"/>
              </a:cxn>
              <a:cxn ang="0">
                <a:pos x="1199" y="226"/>
              </a:cxn>
              <a:cxn ang="0">
                <a:pos x="1241" y="277"/>
              </a:cxn>
              <a:cxn ang="0">
                <a:pos x="1279" y="333"/>
              </a:cxn>
              <a:cxn ang="0">
                <a:pos x="1303" y="376"/>
              </a:cxn>
              <a:cxn ang="0">
                <a:pos x="1337" y="452"/>
              </a:cxn>
              <a:cxn ang="0">
                <a:pos x="1365" y="551"/>
              </a:cxn>
              <a:cxn ang="0">
                <a:pos x="1373" y="602"/>
              </a:cxn>
              <a:cxn ang="0">
                <a:pos x="1379" y="690"/>
              </a:cxn>
              <a:cxn ang="0">
                <a:pos x="1308" y="694"/>
              </a:cxn>
              <a:cxn ang="0">
                <a:pos x="1256" y="700"/>
              </a:cxn>
              <a:cxn ang="0">
                <a:pos x="1206" y="711"/>
              </a:cxn>
              <a:cxn ang="0">
                <a:pos x="1141" y="731"/>
              </a:cxn>
              <a:cxn ang="0">
                <a:pos x="1080" y="758"/>
              </a:cxn>
              <a:cxn ang="0">
                <a:pos x="1022" y="789"/>
              </a:cxn>
              <a:cxn ang="0">
                <a:pos x="966" y="827"/>
              </a:cxn>
              <a:cxn ang="0">
                <a:pos x="891" y="892"/>
              </a:cxn>
              <a:cxn ang="0">
                <a:pos x="847" y="940"/>
              </a:cxn>
              <a:cxn ang="0">
                <a:pos x="808" y="994"/>
              </a:cxn>
              <a:cxn ang="0">
                <a:pos x="772" y="1050"/>
              </a:cxn>
              <a:cxn ang="0">
                <a:pos x="743" y="1111"/>
              </a:cxn>
              <a:cxn ang="0">
                <a:pos x="711" y="1207"/>
              </a:cxn>
              <a:cxn ang="0">
                <a:pos x="697" y="1274"/>
              </a:cxn>
              <a:cxn ang="0">
                <a:pos x="690" y="1344"/>
              </a:cxn>
              <a:cxn ang="0">
                <a:pos x="688" y="1326"/>
              </a:cxn>
              <a:cxn ang="0">
                <a:pos x="681" y="1274"/>
              </a:cxn>
              <a:cxn ang="0">
                <a:pos x="671" y="1223"/>
              </a:cxn>
              <a:cxn ang="0">
                <a:pos x="658" y="1174"/>
              </a:cxn>
              <a:cxn ang="0">
                <a:pos x="635" y="1111"/>
              </a:cxn>
              <a:cxn ang="0">
                <a:pos x="606" y="1050"/>
              </a:cxn>
              <a:cxn ang="0">
                <a:pos x="562" y="980"/>
              </a:cxn>
              <a:cxn ang="0">
                <a:pos x="510" y="916"/>
              </a:cxn>
              <a:cxn ang="0">
                <a:pos x="451" y="858"/>
              </a:cxn>
              <a:cxn ang="0">
                <a:pos x="399" y="817"/>
              </a:cxn>
              <a:cxn ang="0">
                <a:pos x="343" y="781"/>
              </a:cxn>
              <a:cxn ang="0">
                <a:pos x="298" y="758"/>
              </a:cxn>
              <a:cxn ang="0">
                <a:pos x="204" y="720"/>
              </a:cxn>
              <a:cxn ang="0">
                <a:pos x="122" y="700"/>
              </a:cxn>
              <a:cxn ang="0">
                <a:pos x="70" y="694"/>
              </a:cxn>
            </a:cxnLst>
            <a:rect l="0" t="0" r="r" b="b"/>
            <a:pathLst>
              <a:path w="1379" h="1379">
                <a:moveTo>
                  <a:pt x="0" y="690"/>
                </a:moveTo>
                <a:lnTo>
                  <a:pt x="1" y="654"/>
                </a:lnTo>
                <a:lnTo>
                  <a:pt x="2" y="637"/>
                </a:lnTo>
                <a:lnTo>
                  <a:pt x="4" y="619"/>
                </a:lnTo>
                <a:lnTo>
                  <a:pt x="5" y="602"/>
                </a:lnTo>
                <a:lnTo>
                  <a:pt x="8" y="584"/>
                </a:lnTo>
                <a:lnTo>
                  <a:pt x="10" y="567"/>
                </a:lnTo>
                <a:lnTo>
                  <a:pt x="14" y="551"/>
                </a:lnTo>
                <a:lnTo>
                  <a:pt x="17" y="533"/>
                </a:lnTo>
                <a:lnTo>
                  <a:pt x="21" y="517"/>
                </a:lnTo>
                <a:lnTo>
                  <a:pt x="26" y="501"/>
                </a:lnTo>
                <a:lnTo>
                  <a:pt x="30" y="485"/>
                </a:lnTo>
                <a:lnTo>
                  <a:pt x="41" y="452"/>
                </a:lnTo>
                <a:lnTo>
                  <a:pt x="48" y="436"/>
                </a:lnTo>
                <a:lnTo>
                  <a:pt x="53" y="422"/>
                </a:lnTo>
                <a:lnTo>
                  <a:pt x="68" y="391"/>
                </a:lnTo>
                <a:lnTo>
                  <a:pt x="75" y="376"/>
                </a:lnTo>
                <a:lnTo>
                  <a:pt x="83" y="361"/>
                </a:lnTo>
                <a:lnTo>
                  <a:pt x="99" y="333"/>
                </a:lnTo>
                <a:lnTo>
                  <a:pt x="118" y="304"/>
                </a:lnTo>
                <a:lnTo>
                  <a:pt x="127" y="291"/>
                </a:lnTo>
                <a:lnTo>
                  <a:pt x="137" y="277"/>
                </a:lnTo>
                <a:lnTo>
                  <a:pt x="157" y="250"/>
                </a:lnTo>
                <a:lnTo>
                  <a:pt x="179" y="226"/>
                </a:lnTo>
                <a:lnTo>
                  <a:pt x="202" y="202"/>
                </a:lnTo>
                <a:lnTo>
                  <a:pt x="226" y="179"/>
                </a:lnTo>
                <a:lnTo>
                  <a:pt x="238" y="168"/>
                </a:lnTo>
                <a:lnTo>
                  <a:pt x="250" y="158"/>
                </a:lnTo>
                <a:lnTo>
                  <a:pt x="277" y="137"/>
                </a:lnTo>
                <a:lnTo>
                  <a:pt x="290" y="128"/>
                </a:lnTo>
                <a:lnTo>
                  <a:pt x="304" y="119"/>
                </a:lnTo>
                <a:lnTo>
                  <a:pt x="332" y="100"/>
                </a:lnTo>
                <a:lnTo>
                  <a:pt x="346" y="92"/>
                </a:lnTo>
                <a:lnTo>
                  <a:pt x="360" y="83"/>
                </a:lnTo>
                <a:lnTo>
                  <a:pt x="375" y="75"/>
                </a:lnTo>
                <a:lnTo>
                  <a:pt x="390" y="69"/>
                </a:lnTo>
                <a:lnTo>
                  <a:pt x="421" y="54"/>
                </a:lnTo>
                <a:lnTo>
                  <a:pt x="452" y="42"/>
                </a:lnTo>
                <a:lnTo>
                  <a:pt x="484" y="31"/>
                </a:lnTo>
                <a:lnTo>
                  <a:pt x="517" y="22"/>
                </a:lnTo>
                <a:lnTo>
                  <a:pt x="550" y="15"/>
                </a:lnTo>
                <a:lnTo>
                  <a:pt x="566" y="11"/>
                </a:lnTo>
                <a:lnTo>
                  <a:pt x="584" y="8"/>
                </a:lnTo>
                <a:lnTo>
                  <a:pt x="601" y="5"/>
                </a:lnTo>
                <a:lnTo>
                  <a:pt x="619" y="4"/>
                </a:lnTo>
                <a:lnTo>
                  <a:pt x="654" y="1"/>
                </a:lnTo>
                <a:lnTo>
                  <a:pt x="689" y="0"/>
                </a:lnTo>
                <a:lnTo>
                  <a:pt x="724" y="1"/>
                </a:lnTo>
                <a:lnTo>
                  <a:pt x="743" y="3"/>
                </a:lnTo>
                <a:lnTo>
                  <a:pt x="759" y="4"/>
                </a:lnTo>
                <a:lnTo>
                  <a:pt x="777" y="5"/>
                </a:lnTo>
                <a:lnTo>
                  <a:pt x="794" y="8"/>
                </a:lnTo>
                <a:lnTo>
                  <a:pt x="812" y="11"/>
                </a:lnTo>
                <a:lnTo>
                  <a:pt x="828" y="15"/>
                </a:lnTo>
                <a:lnTo>
                  <a:pt x="845" y="18"/>
                </a:lnTo>
                <a:lnTo>
                  <a:pt x="861" y="22"/>
                </a:lnTo>
                <a:lnTo>
                  <a:pt x="878" y="27"/>
                </a:lnTo>
                <a:lnTo>
                  <a:pt x="894" y="31"/>
                </a:lnTo>
                <a:lnTo>
                  <a:pt x="926" y="42"/>
                </a:lnTo>
                <a:lnTo>
                  <a:pt x="942" y="48"/>
                </a:lnTo>
                <a:lnTo>
                  <a:pt x="957" y="54"/>
                </a:lnTo>
                <a:lnTo>
                  <a:pt x="988" y="69"/>
                </a:lnTo>
                <a:lnTo>
                  <a:pt x="1003" y="75"/>
                </a:lnTo>
                <a:lnTo>
                  <a:pt x="1018" y="83"/>
                </a:lnTo>
                <a:lnTo>
                  <a:pt x="1047" y="100"/>
                </a:lnTo>
                <a:lnTo>
                  <a:pt x="1074" y="119"/>
                </a:lnTo>
                <a:lnTo>
                  <a:pt x="1089" y="128"/>
                </a:lnTo>
                <a:lnTo>
                  <a:pt x="1101" y="137"/>
                </a:lnTo>
                <a:lnTo>
                  <a:pt x="1128" y="158"/>
                </a:lnTo>
                <a:lnTo>
                  <a:pt x="1152" y="179"/>
                </a:lnTo>
                <a:lnTo>
                  <a:pt x="1176" y="202"/>
                </a:lnTo>
                <a:lnTo>
                  <a:pt x="1199" y="226"/>
                </a:lnTo>
                <a:lnTo>
                  <a:pt x="1210" y="238"/>
                </a:lnTo>
                <a:lnTo>
                  <a:pt x="1221" y="250"/>
                </a:lnTo>
                <a:lnTo>
                  <a:pt x="1241" y="277"/>
                </a:lnTo>
                <a:lnTo>
                  <a:pt x="1252" y="291"/>
                </a:lnTo>
                <a:lnTo>
                  <a:pt x="1261" y="304"/>
                </a:lnTo>
                <a:lnTo>
                  <a:pt x="1279" y="333"/>
                </a:lnTo>
                <a:lnTo>
                  <a:pt x="1287" y="346"/>
                </a:lnTo>
                <a:lnTo>
                  <a:pt x="1295" y="361"/>
                </a:lnTo>
                <a:lnTo>
                  <a:pt x="1303" y="376"/>
                </a:lnTo>
                <a:lnTo>
                  <a:pt x="1311" y="391"/>
                </a:lnTo>
                <a:lnTo>
                  <a:pt x="1325" y="422"/>
                </a:lnTo>
                <a:lnTo>
                  <a:pt x="1337" y="452"/>
                </a:lnTo>
                <a:lnTo>
                  <a:pt x="1348" y="485"/>
                </a:lnTo>
                <a:lnTo>
                  <a:pt x="1357" y="517"/>
                </a:lnTo>
                <a:lnTo>
                  <a:pt x="1365" y="551"/>
                </a:lnTo>
                <a:lnTo>
                  <a:pt x="1368" y="567"/>
                </a:lnTo>
                <a:lnTo>
                  <a:pt x="1370" y="584"/>
                </a:lnTo>
                <a:lnTo>
                  <a:pt x="1373" y="602"/>
                </a:lnTo>
                <a:lnTo>
                  <a:pt x="1374" y="619"/>
                </a:lnTo>
                <a:lnTo>
                  <a:pt x="1377" y="654"/>
                </a:lnTo>
                <a:lnTo>
                  <a:pt x="1379" y="690"/>
                </a:lnTo>
                <a:lnTo>
                  <a:pt x="1343" y="691"/>
                </a:lnTo>
                <a:lnTo>
                  <a:pt x="1326" y="692"/>
                </a:lnTo>
                <a:lnTo>
                  <a:pt x="1308" y="694"/>
                </a:lnTo>
                <a:lnTo>
                  <a:pt x="1291" y="695"/>
                </a:lnTo>
                <a:lnTo>
                  <a:pt x="1273" y="698"/>
                </a:lnTo>
                <a:lnTo>
                  <a:pt x="1256" y="700"/>
                </a:lnTo>
                <a:lnTo>
                  <a:pt x="1240" y="704"/>
                </a:lnTo>
                <a:lnTo>
                  <a:pt x="1222" y="707"/>
                </a:lnTo>
                <a:lnTo>
                  <a:pt x="1206" y="711"/>
                </a:lnTo>
                <a:lnTo>
                  <a:pt x="1190" y="716"/>
                </a:lnTo>
                <a:lnTo>
                  <a:pt x="1174" y="720"/>
                </a:lnTo>
                <a:lnTo>
                  <a:pt x="1141" y="731"/>
                </a:lnTo>
                <a:lnTo>
                  <a:pt x="1125" y="738"/>
                </a:lnTo>
                <a:lnTo>
                  <a:pt x="1111" y="743"/>
                </a:lnTo>
                <a:lnTo>
                  <a:pt x="1080" y="758"/>
                </a:lnTo>
                <a:lnTo>
                  <a:pt x="1065" y="765"/>
                </a:lnTo>
                <a:lnTo>
                  <a:pt x="1050" y="773"/>
                </a:lnTo>
                <a:lnTo>
                  <a:pt x="1022" y="789"/>
                </a:lnTo>
                <a:lnTo>
                  <a:pt x="993" y="808"/>
                </a:lnTo>
                <a:lnTo>
                  <a:pt x="980" y="817"/>
                </a:lnTo>
                <a:lnTo>
                  <a:pt x="966" y="827"/>
                </a:lnTo>
                <a:lnTo>
                  <a:pt x="939" y="847"/>
                </a:lnTo>
                <a:lnTo>
                  <a:pt x="915" y="869"/>
                </a:lnTo>
                <a:lnTo>
                  <a:pt x="891" y="892"/>
                </a:lnTo>
                <a:lnTo>
                  <a:pt x="868" y="916"/>
                </a:lnTo>
                <a:lnTo>
                  <a:pt x="857" y="928"/>
                </a:lnTo>
                <a:lnTo>
                  <a:pt x="847" y="940"/>
                </a:lnTo>
                <a:lnTo>
                  <a:pt x="826" y="967"/>
                </a:lnTo>
                <a:lnTo>
                  <a:pt x="817" y="980"/>
                </a:lnTo>
                <a:lnTo>
                  <a:pt x="808" y="994"/>
                </a:lnTo>
                <a:lnTo>
                  <a:pt x="789" y="1022"/>
                </a:lnTo>
                <a:lnTo>
                  <a:pt x="781" y="1036"/>
                </a:lnTo>
                <a:lnTo>
                  <a:pt x="772" y="1050"/>
                </a:lnTo>
                <a:lnTo>
                  <a:pt x="764" y="1065"/>
                </a:lnTo>
                <a:lnTo>
                  <a:pt x="758" y="1080"/>
                </a:lnTo>
                <a:lnTo>
                  <a:pt x="743" y="1111"/>
                </a:lnTo>
                <a:lnTo>
                  <a:pt x="731" y="1142"/>
                </a:lnTo>
                <a:lnTo>
                  <a:pt x="720" y="1174"/>
                </a:lnTo>
                <a:lnTo>
                  <a:pt x="711" y="1207"/>
                </a:lnTo>
                <a:lnTo>
                  <a:pt x="704" y="1240"/>
                </a:lnTo>
                <a:lnTo>
                  <a:pt x="700" y="1256"/>
                </a:lnTo>
                <a:lnTo>
                  <a:pt x="697" y="1274"/>
                </a:lnTo>
                <a:lnTo>
                  <a:pt x="694" y="1291"/>
                </a:lnTo>
                <a:lnTo>
                  <a:pt x="693" y="1309"/>
                </a:lnTo>
                <a:lnTo>
                  <a:pt x="690" y="1344"/>
                </a:lnTo>
                <a:lnTo>
                  <a:pt x="689" y="1379"/>
                </a:lnTo>
                <a:lnTo>
                  <a:pt x="688" y="1344"/>
                </a:lnTo>
                <a:lnTo>
                  <a:pt x="688" y="1326"/>
                </a:lnTo>
                <a:lnTo>
                  <a:pt x="685" y="1309"/>
                </a:lnTo>
                <a:lnTo>
                  <a:pt x="684" y="1291"/>
                </a:lnTo>
                <a:lnTo>
                  <a:pt x="681" y="1274"/>
                </a:lnTo>
                <a:lnTo>
                  <a:pt x="678" y="1256"/>
                </a:lnTo>
                <a:lnTo>
                  <a:pt x="676" y="1240"/>
                </a:lnTo>
                <a:lnTo>
                  <a:pt x="671" y="1223"/>
                </a:lnTo>
                <a:lnTo>
                  <a:pt x="667" y="1207"/>
                </a:lnTo>
                <a:lnTo>
                  <a:pt x="663" y="1190"/>
                </a:lnTo>
                <a:lnTo>
                  <a:pt x="658" y="1174"/>
                </a:lnTo>
                <a:lnTo>
                  <a:pt x="647" y="1142"/>
                </a:lnTo>
                <a:lnTo>
                  <a:pt x="642" y="1126"/>
                </a:lnTo>
                <a:lnTo>
                  <a:pt x="635" y="1111"/>
                </a:lnTo>
                <a:lnTo>
                  <a:pt x="622" y="1080"/>
                </a:lnTo>
                <a:lnTo>
                  <a:pt x="614" y="1065"/>
                </a:lnTo>
                <a:lnTo>
                  <a:pt x="606" y="1050"/>
                </a:lnTo>
                <a:lnTo>
                  <a:pt x="589" y="1022"/>
                </a:lnTo>
                <a:lnTo>
                  <a:pt x="572" y="994"/>
                </a:lnTo>
                <a:lnTo>
                  <a:pt x="562" y="980"/>
                </a:lnTo>
                <a:lnTo>
                  <a:pt x="552" y="967"/>
                </a:lnTo>
                <a:lnTo>
                  <a:pt x="531" y="940"/>
                </a:lnTo>
                <a:lnTo>
                  <a:pt x="510" y="916"/>
                </a:lnTo>
                <a:lnTo>
                  <a:pt x="487" y="892"/>
                </a:lnTo>
                <a:lnTo>
                  <a:pt x="463" y="869"/>
                </a:lnTo>
                <a:lnTo>
                  <a:pt x="451" y="858"/>
                </a:lnTo>
                <a:lnTo>
                  <a:pt x="439" y="847"/>
                </a:lnTo>
                <a:lnTo>
                  <a:pt x="412" y="827"/>
                </a:lnTo>
                <a:lnTo>
                  <a:pt x="399" y="817"/>
                </a:lnTo>
                <a:lnTo>
                  <a:pt x="385" y="808"/>
                </a:lnTo>
                <a:lnTo>
                  <a:pt x="358" y="789"/>
                </a:lnTo>
                <a:lnTo>
                  <a:pt x="343" y="781"/>
                </a:lnTo>
                <a:lnTo>
                  <a:pt x="328" y="773"/>
                </a:lnTo>
                <a:lnTo>
                  <a:pt x="313" y="765"/>
                </a:lnTo>
                <a:lnTo>
                  <a:pt x="298" y="758"/>
                </a:lnTo>
                <a:lnTo>
                  <a:pt x="267" y="743"/>
                </a:lnTo>
                <a:lnTo>
                  <a:pt x="237" y="731"/>
                </a:lnTo>
                <a:lnTo>
                  <a:pt x="204" y="720"/>
                </a:lnTo>
                <a:lnTo>
                  <a:pt x="172" y="711"/>
                </a:lnTo>
                <a:lnTo>
                  <a:pt x="138" y="704"/>
                </a:lnTo>
                <a:lnTo>
                  <a:pt x="122" y="700"/>
                </a:lnTo>
                <a:lnTo>
                  <a:pt x="105" y="698"/>
                </a:lnTo>
                <a:lnTo>
                  <a:pt x="87" y="695"/>
                </a:lnTo>
                <a:lnTo>
                  <a:pt x="70" y="694"/>
                </a:lnTo>
                <a:lnTo>
                  <a:pt x="35" y="691"/>
                </a:lnTo>
                <a:lnTo>
                  <a:pt x="0" y="690"/>
                </a:lnTo>
                <a:close/>
              </a:path>
            </a:pathLst>
          </a:custGeom>
          <a:solidFill>
            <a:srgbClr val="FF0000"/>
          </a:solidFill>
          <a:ln w="9525">
            <a:noFill/>
            <a:round/>
            <a:headEnd/>
            <a:tailEnd/>
          </a:ln>
        </p:spPr>
        <p:txBody>
          <a:bodyPr/>
          <a:lstStyle/>
          <a:p>
            <a:endParaRPr lang="en-US"/>
          </a:p>
        </p:txBody>
      </p:sp>
      <p:sp>
        <p:nvSpPr>
          <p:cNvPr id="8" name="Freeform 27">
            <a:extLst>
              <a:ext uri="{FF2B5EF4-FFF2-40B4-BE49-F238E27FC236}">
                <a16:creationId xmlns:a16="http://schemas.microsoft.com/office/drawing/2014/main" id="{E001F120-5E4A-2A8A-07A7-545B2FAE296B}"/>
              </a:ext>
            </a:extLst>
          </p:cNvPr>
          <p:cNvSpPr>
            <a:spLocks/>
          </p:cNvSpPr>
          <p:nvPr/>
        </p:nvSpPr>
        <p:spPr bwMode="auto">
          <a:xfrm>
            <a:off x="5101049" y="2931858"/>
            <a:ext cx="994352" cy="994353"/>
          </a:xfrm>
          <a:custGeom>
            <a:avLst/>
            <a:gdLst/>
            <a:ahLst/>
            <a:cxnLst>
              <a:cxn ang="0">
                <a:pos x="35" y="1"/>
              </a:cxn>
              <a:cxn ang="0">
                <a:pos x="70" y="4"/>
              </a:cxn>
              <a:cxn ang="0">
                <a:pos x="105" y="8"/>
              </a:cxn>
              <a:cxn ang="0">
                <a:pos x="138" y="14"/>
              </a:cxn>
              <a:cxn ang="0">
                <a:pos x="172" y="21"/>
              </a:cxn>
              <a:cxn ang="0">
                <a:pos x="204" y="30"/>
              </a:cxn>
              <a:cxn ang="0">
                <a:pos x="253" y="48"/>
              </a:cxn>
              <a:cxn ang="0">
                <a:pos x="298" y="68"/>
              </a:cxn>
              <a:cxn ang="0">
                <a:pos x="328" y="83"/>
              </a:cxn>
              <a:cxn ang="0">
                <a:pos x="385" y="118"/>
              </a:cxn>
              <a:cxn ang="0">
                <a:pos x="412" y="137"/>
              </a:cxn>
              <a:cxn ang="0">
                <a:pos x="463" y="179"/>
              </a:cxn>
              <a:cxn ang="0">
                <a:pos x="510" y="226"/>
              </a:cxn>
              <a:cxn ang="0">
                <a:pos x="531" y="250"/>
              </a:cxn>
              <a:cxn ang="0">
                <a:pos x="562" y="290"/>
              </a:cxn>
              <a:cxn ang="0">
                <a:pos x="589" y="332"/>
              </a:cxn>
              <a:cxn ang="0">
                <a:pos x="606" y="360"/>
              </a:cxn>
              <a:cxn ang="0">
                <a:pos x="622" y="390"/>
              </a:cxn>
              <a:cxn ang="0">
                <a:pos x="647" y="452"/>
              </a:cxn>
              <a:cxn ang="0">
                <a:pos x="667" y="517"/>
              </a:cxn>
              <a:cxn ang="0">
                <a:pos x="678" y="566"/>
              </a:cxn>
              <a:cxn ang="0">
                <a:pos x="684" y="601"/>
              </a:cxn>
              <a:cxn ang="0">
                <a:pos x="688" y="654"/>
              </a:cxn>
              <a:cxn ang="0">
                <a:pos x="654" y="688"/>
              </a:cxn>
              <a:cxn ang="0">
                <a:pos x="619" y="685"/>
              </a:cxn>
              <a:cxn ang="0">
                <a:pos x="584" y="681"/>
              </a:cxn>
              <a:cxn ang="0">
                <a:pos x="550" y="676"/>
              </a:cxn>
              <a:cxn ang="0">
                <a:pos x="517" y="667"/>
              </a:cxn>
              <a:cxn ang="0">
                <a:pos x="484" y="658"/>
              </a:cxn>
              <a:cxn ang="0">
                <a:pos x="436" y="642"/>
              </a:cxn>
              <a:cxn ang="0">
                <a:pos x="390" y="622"/>
              </a:cxn>
              <a:cxn ang="0">
                <a:pos x="360" y="606"/>
              </a:cxn>
              <a:cxn ang="0">
                <a:pos x="304" y="572"/>
              </a:cxn>
              <a:cxn ang="0">
                <a:pos x="277" y="552"/>
              </a:cxn>
              <a:cxn ang="0">
                <a:pos x="226" y="510"/>
              </a:cxn>
              <a:cxn ang="0">
                <a:pos x="179" y="463"/>
              </a:cxn>
              <a:cxn ang="0">
                <a:pos x="157" y="439"/>
              </a:cxn>
              <a:cxn ang="0">
                <a:pos x="127" y="399"/>
              </a:cxn>
              <a:cxn ang="0">
                <a:pos x="99" y="358"/>
              </a:cxn>
              <a:cxn ang="0">
                <a:pos x="83" y="328"/>
              </a:cxn>
              <a:cxn ang="0">
                <a:pos x="68" y="298"/>
              </a:cxn>
              <a:cxn ang="0">
                <a:pos x="41" y="237"/>
              </a:cxn>
              <a:cxn ang="0">
                <a:pos x="21" y="172"/>
              </a:cxn>
              <a:cxn ang="0">
                <a:pos x="10" y="122"/>
              </a:cxn>
              <a:cxn ang="0">
                <a:pos x="5" y="87"/>
              </a:cxn>
              <a:cxn ang="0">
                <a:pos x="1" y="35"/>
              </a:cxn>
            </a:cxnLst>
            <a:rect l="0" t="0" r="r" b="b"/>
            <a:pathLst>
              <a:path w="689" h="689">
                <a:moveTo>
                  <a:pt x="0" y="0"/>
                </a:moveTo>
                <a:lnTo>
                  <a:pt x="35" y="1"/>
                </a:lnTo>
                <a:lnTo>
                  <a:pt x="53" y="2"/>
                </a:lnTo>
                <a:lnTo>
                  <a:pt x="70" y="4"/>
                </a:lnTo>
                <a:lnTo>
                  <a:pt x="87" y="5"/>
                </a:lnTo>
                <a:lnTo>
                  <a:pt x="105" y="8"/>
                </a:lnTo>
                <a:lnTo>
                  <a:pt x="122" y="10"/>
                </a:lnTo>
                <a:lnTo>
                  <a:pt x="138" y="14"/>
                </a:lnTo>
                <a:lnTo>
                  <a:pt x="156" y="17"/>
                </a:lnTo>
                <a:lnTo>
                  <a:pt x="172" y="21"/>
                </a:lnTo>
                <a:lnTo>
                  <a:pt x="188" y="26"/>
                </a:lnTo>
                <a:lnTo>
                  <a:pt x="204" y="30"/>
                </a:lnTo>
                <a:lnTo>
                  <a:pt x="237" y="41"/>
                </a:lnTo>
                <a:lnTo>
                  <a:pt x="253" y="48"/>
                </a:lnTo>
                <a:lnTo>
                  <a:pt x="267" y="53"/>
                </a:lnTo>
                <a:lnTo>
                  <a:pt x="298" y="68"/>
                </a:lnTo>
                <a:lnTo>
                  <a:pt x="313" y="75"/>
                </a:lnTo>
                <a:lnTo>
                  <a:pt x="328" y="83"/>
                </a:lnTo>
                <a:lnTo>
                  <a:pt x="358" y="99"/>
                </a:lnTo>
                <a:lnTo>
                  <a:pt x="385" y="118"/>
                </a:lnTo>
                <a:lnTo>
                  <a:pt x="399" y="127"/>
                </a:lnTo>
                <a:lnTo>
                  <a:pt x="412" y="137"/>
                </a:lnTo>
                <a:lnTo>
                  <a:pt x="439" y="157"/>
                </a:lnTo>
                <a:lnTo>
                  <a:pt x="463" y="179"/>
                </a:lnTo>
                <a:lnTo>
                  <a:pt x="487" y="202"/>
                </a:lnTo>
                <a:lnTo>
                  <a:pt x="510" y="226"/>
                </a:lnTo>
                <a:lnTo>
                  <a:pt x="521" y="238"/>
                </a:lnTo>
                <a:lnTo>
                  <a:pt x="531" y="250"/>
                </a:lnTo>
                <a:lnTo>
                  <a:pt x="552" y="277"/>
                </a:lnTo>
                <a:lnTo>
                  <a:pt x="562" y="290"/>
                </a:lnTo>
                <a:lnTo>
                  <a:pt x="572" y="304"/>
                </a:lnTo>
                <a:lnTo>
                  <a:pt x="589" y="332"/>
                </a:lnTo>
                <a:lnTo>
                  <a:pt x="597" y="346"/>
                </a:lnTo>
                <a:lnTo>
                  <a:pt x="606" y="360"/>
                </a:lnTo>
                <a:lnTo>
                  <a:pt x="614" y="375"/>
                </a:lnTo>
                <a:lnTo>
                  <a:pt x="622" y="390"/>
                </a:lnTo>
                <a:lnTo>
                  <a:pt x="635" y="421"/>
                </a:lnTo>
                <a:lnTo>
                  <a:pt x="647" y="452"/>
                </a:lnTo>
                <a:lnTo>
                  <a:pt x="658" y="484"/>
                </a:lnTo>
                <a:lnTo>
                  <a:pt x="667" y="517"/>
                </a:lnTo>
                <a:lnTo>
                  <a:pt x="676" y="550"/>
                </a:lnTo>
                <a:lnTo>
                  <a:pt x="678" y="566"/>
                </a:lnTo>
                <a:lnTo>
                  <a:pt x="681" y="584"/>
                </a:lnTo>
                <a:lnTo>
                  <a:pt x="684" y="601"/>
                </a:lnTo>
                <a:lnTo>
                  <a:pt x="685" y="619"/>
                </a:lnTo>
                <a:lnTo>
                  <a:pt x="688" y="654"/>
                </a:lnTo>
                <a:lnTo>
                  <a:pt x="689" y="689"/>
                </a:lnTo>
                <a:lnTo>
                  <a:pt x="654" y="688"/>
                </a:lnTo>
                <a:lnTo>
                  <a:pt x="636" y="688"/>
                </a:lnTo>
                <a:lnTo>
                  <a:pt x="619" y="685"/>
                </a:lnTo>
                <a:lnTo>
                  <a:pt x="601" y="684"/>
                </a:lnTo>
                <a:lnTo>
                  <a:pt x="584" y="681"/>
                </a:lnTo>
                <a:lnTo>
                  <a:pt x="566" y="678"/>
                </a:lnTo>
                <a:lnTo>
                  <a:pt x="550" y="676"/>
                </a:lnTo>
                <a:lnTo>
                  <a:pt x="533" y="671"/>
                </a:lnTo>
                <a:lnTo>
                  <a:pt x="517" y="667"/>
                </a:lnTo>
                <a:lnTo>
                  <a:pt x="500" y="663"/>
                </a:lnTo>
                <a:lnTo>
                  <a:pt x="484" y="658"/>
                </a:lnTo>
                <a:lnTo>
                  <a:pt x="452" y="647"/>
                </a:lnTo>
                <a:lnTo>
                  <a:pt x="436" y="642"/>
                </a:lnTo>
                <a:lnTo>
                  <a:pt x="421" y="635"/>
                </a:lnTo>
                <a:lnTo>
                  <a:pt x="390" y="622"/>
                </a:lnTo>
                <a:lnTo>
                  <a:pt x="375" y="614"/>
                </a:lnTo>
                <a:lnTo>
                  <a:pt x="360" y="606"/>
                </a:lnTo>
                <a:lnTo>
                  <a:pt x="332" y="589"/>
                </a:lnTo>
                <a:lnTo>
                  <a:pt x="304" y="572"/>
                </a:lnTo>
                <a:lnTo>
                  <a:pt x="290" y="562"/>
                </a:lnTo>
                <a:lnTo>
                  <a:pt x="277" y="552"/>
                </a:lnTo>
                <a:lnTo>
                  <a:pt x="250" y="531"/>
                </a:lnTo>
                <a:lnTo>
                  <a:pt x="226" y="510"/>
                </a:lnTo>
                <a:lnTo>
                  <a:pt x="202" y="487"/>
                </a:lnTo>
                <a:lnTo>
                  <a:pt x="179" y="463"/>
                </a:lnTo>
                <a:lnTo>
                  <a:pt x="168" y="451"/>
                </a:lnTo>
                <a:lnTo>
                  <a:pt x="157" y="439"/>
                </a:lnTo>
                <a:lnTo>
                  <a:pt x="137" y="412"/>
                </a:lnTo>
                <a:lnTo>
                  <a:pt x="127" y="399"/>
                </a:lnTo>
                <a:lnTo>
                  <a:pt x="118" y="385"/>
                </a:lnTo>
                <a:lnTo>
                  <a:pt x="99" y="358"/>
                </a:lnTo>
                <a:lnTo>
                  <a:pt x="91" y="343"/>
                </a:lnTo>
                <a:lnTo>
                  <a:pt x="83" y="328"/>
                </a:lnTo>
                <a:lnTo>
                  <a:pt x="75" y="313"/>
                </a:lnTo>
                <a:lnTo>
                  <a:pt x="68" y="298"/>
                </a:lnTo>
                <a:lnTo>
                  <a:pt x="53" y="267"/>
                </a:lnTo>
                <a:lnTo>
                  <a:pt x="41" y="237"/>
                </a:lnTo>
                <a:lnTo>
                  <a:pt x="30" y="204"/>
                </a:lnTo>
                <a:lnTo>
                  <a:pt x="21" y="172"/>
                </a:lnTo>
                <a:lnTo>
                  <a:pt x="14" y="138"/>
                </a:lnTo>
                <a:lnTo>
                  <a:pt x="10" y="122"/>
                </a:lnTo>
                <a:lnTo>
                  <a:pt x="8" y="105"/>
                </a:lnTo>
                <a:lnTo>
                  <a:pt x="5" y="87"/>
                </a:lnTo>
                <a:lnTo>
                  <a:pt x="4" y="70"/>
                </a:lnTo>
                <a:lnTo>
                  <a:pt x="1" y="35"/>
                </a:lnTo>
                <a:lnTo>
                  <a:pt x="0" y="0"/>
                </a:lnTo>
                <a:close/>
              </a:path>
            </a:pathLst>
          </a:custGeom>
          <a:solidFill>
            <a:srgbClr val="C00000"/>
          </a:solidFill>
          <a:ln w="9525">
            <a:noFill/>
            <a:round/>
            <a:headEnd/>
            <a:tailEnd/>
          </a:ln>
        </p:spPr>
        <p:txBody>
          <a:bodyPr/>
          <a:lstStyle/>
          <a:p>
            <a:endParaRPr lang="en-US"/>
          </a:p>
        </p:txBody>
      </p:sp>
      <p:sp>
        <p:nvSpPr>
          <p:cNvPr id="9" name="Freeform 28">
            <a:extLst>
              <a:ext uri="{FF2B5EF4-FFF2-40B4-BE49-F238E27FC236}">
                <a16:creationId xmlns:a16="http://schemas.microsoft.com/office/drawing/2014/main" id="{C4D062CF-D78E-55E1-8B68-F7743F74FB43}"/>
              </a:ext>
            </a:extLst>
          </p:cNvPr>
          <p:cNvSpPr>
            <a:spLocks/>
          </p:cNvSpPr>
          <p:nvPr/>
        </p:nvSpPr>
        <p:spPr bwMode="auto">
          <a:xfrm>
            <a:off x="5101049" y="3926211"/>
            <a:ext cx="994352" cy="995796"/>
          </a:xfrm>
          <a:custGeom>
            <a:avLst/>
            <a:gdLst/>
            <a:ahLst/>
            <a:cxnLst>
              <a:cxn ang="0">
                <a:pos x="688" y="35"/>
              </a:cxn>
              <a:cxn ang="0">
                <a:pos x="685" y="70"/>
              </a:cxn>
              <a:cxn ang="0">
                <a:pos x="681" y="105"/>
              </a:cxn>
              <a:cxn ang="0">
                <a:pos x="676" y="139"/>
              </a:cxn>
              <a:cxn ang="0">
                <a:pos x="667" y="172"/>
              </a:cxn>
              <a:cxn ang="0">
                <a:pos x="658" y="205"/>
              </a:cxn>
              <a:cxn ang="0">
                <a:pos x="642" y="253"/>
              </a:cxn>
              <a:cxn ang="0">
                <a:pos x="622" y="299"/>
              </a:cxn>
              <a:cxn ang="0">
                <a:pos x="606" y="329"/>
              </a:cxn>
              <a:cxn ang="0">
                <a:pos x="572" y="385"/>
              </a:cxn>
              <a:cxn ang="0">
                <a:pos x="552" y="412"/>
              </a:cxn>
              <a:cxn ang="0">
                <a:pos x="510" y="463"/>
              </a:cxn>
              <a:cxn ang="0">
                <a:pos x="463" y="510"/>
              </a:cxn>
              <a:cxn ang="0">
                <a:pos x="439" y="532"/>
              </a:cxn>
              <a:cxn ang="0">
                <a:pos x="399" y="563"/>
              </a:cxn>
              <a:cxn ang="0">
                <a:pos x="358" y="590"/>
              </a:cxn>
              <a:cxn ang="0">
                <a:pos x="328" y="606"/>
              </a:cxn>
              <a:cxn ang="0">
                <a:pos x="298" y="622"/>
              </a:cxn>
              <a:cxn ang="0">
                <a:pos x="237" y="648"/>
              </a:cxn>
              <a:cxn ang="0">
                <a:pos x="172" y="668"/>
              </a:cxn>
              <a:cxn ang="0">
                <a:pos x="122" y="679"/>
              </a:cxn>
              <a:cxn ang="0">
                <a:pos x="87" y="684"/>
              </a:cxn>
              <a:cxn ang="0">
                <a:pos x="35" y="688"/>
              </a:cxn>
              <a:cxn ang="0">
                <a:pos x="1" y="654"/>
              </a:cxn>
              <a:cxn ang="0">
                <a:pos x="4" y="619"/>
              </a:cxn>
              <a:cxn ang="0">
                <a:pos x="8" y="584"/>
              </a:cxn>
              <a:cxn ang="0">
                <a:pos x="14" y="551"/>
              </a:cxn>
              <a:cxn ang="0">
                <a:pos x="21" y="517"/>
              </a:cxn>
              <a:cxn ang="0">
                <a:pos x="30" y="485"/>
              </a:cxn>
              <a:cxn ang="0">
                <a:pos x="48" y="436"/>
              </a:cxn>
              <a:cxn ang="0">
                <a:pos x="68" y="391"/>
              </a:cxn>
              <a:cxn ang="0">
                <a:pos x="83" y="361"/>
              </a:cxn>
              <a:cxn ang="0">
                <a:pos x="118" y="304"/>
              </a:cxn>
              <a:cxn ang="0">
                <a:pos x="137" y="277"/>
              </a:cxn>
              <a:cxn ang="0">
                <a:pos x="179" y="226"/>
              </a:cxn>
              <a:cxn ang="0">
                <a:pos x="226" y="179"/>
              </a:cxn>
              <a:cxn ang="0">
                <a:pos x="250" y="158"/>
              </a:cxn>
              <a:cxn ang="0">
                <a:pos x="290" y="128"/>
              </a:cxn>
              <a:cxn ang="0">
                <a:pos x="332" y="100"/>
              </a:cxn>
              <a:cxn ang="0">
                <a:pos x="360" y="83"/>
              </a:cxn>
              <a:cxn ang="0">
                <a:pos x="390" y="69"/>
              </a:cxn>
              <a:cxn ang="0">
                <a:pos x="452" y="42"/>
              </a:cxn>
              <a:cxn ang="0">
                <a:pos x="517" y="22"/>
              </a:cxn>
              <a:cxn ang="0">
                <a:pos x="566" y="11"/>
              </a:cxn>
              <a:cxn ang="0">
                <a:pos x="601" y="5"/>
              </a:cxn>
              <a:cxn ang="0">
                <a:pos x="654" y="1"/>
              </a:cxn>
            </a:cxnLst>
            <a:rect l="0" t="0" r="r" b="b"/>
            <a:pathLst>
              <a:path w="689" h="690">
                <a:moveTo>
                  <a:pt x="689" y="0"/>
                </a:moveTo>
                <a:lnTo>
                  <a:pt x="688" y="35"/>
                </a:lnTo>
                <a:lnTo>
                  <a:pt x="688" y="54"/>
                </a:lnTo>
                <a:lnTo>
                  <a:pt x="685" y="70"/>
                </a:lnTo>
                <a:lnTo>
                  <a:pt x="684" y="88"/>
                </a:lnTo>
                <a:lnTo>
                  <a:pt x="681" y="105"/>
                </a:lnTo>
                <a:lnTo>
                  <a:pt x="678" y="123"/>
                </a:lnTo>
                <a:lnTo>
                  <a:pt x="676" y="139"/>
                </a:lnTo>
                <a:lnTo>
                  <a:pt x="671" y="156"/>
                </a:lnTo>
                <a:lnTo>
                  <a:pt x="667" y="172"/>
                </a:lnTo>
                <a:lnTo>
                  <a:pt x="663" y="189"/>
                </a:lnTo>
                <a:lnTo>
                  <a:pt x="658" y="205"/>
                </a:lnTo>
                <a:lnTo>
                  <a:pt x="647" y="237"/>
                </a:lnTo>
                <a:lnTo>
                  <a:pt x="642" y="253"/>
                </a:lnTo>
                <a:lnTo>
                  <a:pt x="635" y="268"/>
                </a:lnTo>
                <a:lnTo>
                  <a:pt x="622" y="299"/>
                </a:lnTo>
                <a:lnTo>
                  <a:pt x="614" y="314"/>
                </a:lnTo>
                <a:lnTo>
                  <a:pt x="606" y="329"/>
                </a:lnTo>
                <a:lnTo>
                  <a:pt x="589" y="358"/>
                </a:lnTo>
                <a:lnTo>
                  <a:pt x="572" y="385"/>
                </a:lnTo>
                <a:lnTo>
                  <a:pt x="562" y="400"/>
                </a:lnTo>
                <a:lnTo>
                  <a:pt x="552" y="412"/>
                </a:lnTo>
                <a:lnTo>
                  <a:pt x="531" y="439"/>
                </a:lnTo>
                <a:lnTo>
                  <a:pt x="510" y="463"/>
                </a:lnTo>
                <a:lnTo>
                  <a:pt x="487" y="487"/>
                </a:lnTo>
                <a:lnTo>
                  <a:pt x="463" y="510"/>
                </a:lnTo>
                <a:lnTo>
                  <a:pt x="451" y="521"/>
                </a:lnTo>
                <a:lnTo>
                  <a:pt x="439" y="532"/>
                </a:lnTo>
                <a:lnTo>
                  <a:pt x="412" y="552"/>
                </a:lnTo>
                <a:lnTo>
                  <a:pt x="399" y="563"/>
                </a:lnTo>
                <a:lnTo>
                  <a:pt x="385" y="572"/>
                </a:lnTo>
                <a:lnTo>
                  <a:pt x="358" y="590"/>
                </a:lnTo>
                <a:lnTo>
                  <a:pt x="343" y="598"/>
                </a:lnTo>
                <a:lnTo>
                  <a:pt x="328" y="606"/>
                </a:lnTo>
                <a:lnTo>
                  <a:pt x="313" y="614"/>
                </a:lnTo>
                <a:lnTo>
                  <a:pt x="298" y="622"/>
                </a:lnTo>
                <a:lnTo>
                  <a:pt x="267" y="636"/>
                </a:lnTo>
                <a:lnTo>
                  <a:pt x="237" y="648"/>
                </a:lnTo>
                <a:lnTo>
                  <a:pt x="204" y="659"/>
                </a:lnTo>
                <a:lnTo>
                  <a:pt x="172" y="668"/>
                </a:lnTo>
                <a:lnTo>
                  <a:pt x="138" y="676"/>
                </a:lnTo>
                <a:lnTo>
                  <a:pt x="122" y="679"/>
                </a:lnTo>
                <a:lnTo>
                  <a:pt x="105" y="681"/>
                </a:lnTo>
                <a:lnTo>
                  <a:pt x="87" y="684"/>
                </a:lnTo>
                <a:lnTo>
                  <a:pt x="70" y="685"/>
                </a:lnTo>
                <a:lnTo>
                  <a:pt x="35" y="688"/>
                </a:lnTo>
                <a:lnTo>
                  <a:pt x="0" y="690"/>
                </a:lnTo>
                <a:lnTo>
                  <a:pt x="1" y="654"/>
                </a:lnTo>
                <a:lnTo>
                  <a:pt x="2" y="637"/>
                </a:lnTo>
                <a:lnTo>
                  <a:pt x="4" y="619"/>
                </a:lnTo>
                <a:lnTo>
                  <a:pt x="5" y="602"/>
                </a:lnTo>
                <a:lnTo>
                  <a:pt x="8" y="584"/>
                </a:lnTo>
                <a:lnTo>
                  <a:pt x="10" y="567"/>
                </a:lnTo>
                <a:lnTo>
                  <a:pt x="14" y="551"/>
                </a:lnTo>
                <a:lnTo>
                  <a:pt x="17" y="533"/>
                </a:lnTo>
                <a:lnTo>
                  <a:pt x="21" y="517"/>
                </a:lnTo>
                <a:lnTo>
                  <a:pt x="26" y="501"/>
                </a:lnTo>
                <a:lnTo>
                  <a:pt x="30" y="485"/>
                </a:lnTo>
                <a:lnTo>
                  <a:pt x="41" y="452"/>
                </a:lnTo>
                <a:lnTo>
                  <a:pt x="48" y="436"/>
                </a:lnTo>
                <a:lnTo>
                  <a:pt x="53" y="422"/>
                </a:lnTo>
                <a:lnTo>
                  <a:pt x="68" y="391"/>
                </a:lnTo>
                <a:lnTo>
                  <a:pt x="75" y="376"/>
                </a:lnTo>
                <a:lnTo>
                  <a:pt x="83" y="361"/>
                </a:lnTo>
                <a:lnTo>
                  <a:pt x="99" y="333"/>
                </a:lnTo>
                <a:lnTo>
                  <a:pt x="118" y="304"/>
                </a:lnTo>
                <a:lnTo>
                  <a:pt x="127" y="291"/>
                </a:lnTo>
                <a:lnTo>
                  <a:pt x="137" y="277"/>
                </a:lnTo>
                <a:lnTo>
                  <a:pt x="157" y="250"/>
                </a:lnTo>
                <a:lnTo>
                  <a:pt x="179" y="226"/>
                </a:lnTo>
                <a:lnTo>
                  <a:pt x="202" y="202"/>
                </a:lnTo>
                <a:lnTo>
                  <a:pt x="226" y="179"/>
                </a:lnTo>
                <a:lnTo>
                  <a:pt x="238" y="168"/>
                </a:lnTo>
                <a:lnTo>
                  <a:pt x="250" y="158"/>
                </a:lnTo>
                <a:lnTo>
                  <a:pt x="277" y="137"/>
                </a:lnTo>
                <a:lnTo>
                  <a:pt x="290" y="128"/>
                </a:lnTo>
                <a:lnTo>
                  <a:pt x="304" y="119"/>
                </a:lnTo>
                <a:lnTo>
                  <a:pt x="332" y="100"/>
                </a:lnTo>
                <a:lnTo>
                  <a:pt x="346" y="92"/>
                </a:lnTo>
                <a:lnTo>
                  <a:pt x="360" y="83"/>
                </a:lnTo>
                <a:lnTo>
                  <a:pt x="375" y="75"/>
                </a:lnTo>
                <a:lnTo>
                  <a:pt x="390" y="69"/>
                </a:lnTo>
                <a:lnTo>
                  <a:pt x="421" y="54"/>
                </a:lnTo>
                <a:lnTo>
                  <a:pt x="452" y="42"/>
                </a:lnTo>
                <a:lnTo>
                  <a:pt x="484" y="31"/>
                </a:lnTo>
                <a:lnTo>
                  <a:pt x="517" y="22"/>
                </a:lnTo>
                <a:lnTo>
                  <a:pt x="550" y="15"/>
                </a:lnTo>
                <a:lnTo>
                  <a:pt x="566" y="11"/>
                </a:lnTo>
                <a:lnTo>
                  <a:pt x="584" y="8"/>
                </a:lnTo>
                <a:lnTo>
                  <a:pt x="601" y="5"/>
                </a:lnTo>
                <a:lnTo>
                  <a:pt x="619" y="4"/>
                </a:lnTo>
                <a:lnTo>
                  <a:pt x="654" y="1"/>
                </a:lnTo>
                <a:lnTo>
                  <a:pt x="689" y="0"/>
                </a:lnTo>
                <a:close/>
              </a:path>
            </a:pathLst>
          </a:custGeom>
          <a:solidFill>
            <a:srgbClr val="C00000"/>
          </a:solidFill>
          <a:ln w="9525">
            <a:noFill/>
            <a:round/>
            <a:headEnd/>
            <a:tailEnd/>
          </a:ln>
        </p:spPr>
        <p:txBody>
          <a:bodyPr/>
          <a:lstStyle/>
          <a:p>
            <a:endParaRPr lang="en-US"/>
          </a:p>
        </p:txBody>
      </p:sp>
      <p:sp>
        <p:nvSpPr>
          <p:cNvPr id="10" name="Freeform 29">
            <a:extLst>
              <a:ext uri="{FF2B5EF4-FFF2-40B4-BE49-F238E27FC236}">
                <a16:creationId xmlns:a16="http://schemas.microsoft.com/office/drawing/2014/main" id="{8E47C681-0154-BAD6-01B4-D88A72DAB28A}"/>
              </a:ext>
            </a:extLst>
          </p:cNvPr>
          <p:cNvSpPr>
            <a:spLocks/>
          </p:cNvSpPr>
          <p:nvPr/>
        </p:nvSpPr>
        <p:spPr bwMode="auto">
          <a:xfrm>
            <a:off x="4105253" y="2931858"/>
            <a:ext cx="1990147" cy="1990148"/>
          </a:xfrm>
          <a:custGeom>
            <a:avLst/>
            <a:gdLst/>
            <a:ahLst/>
            <a:cxnLst>
              <a:cxn ang="0">
                <a:pos x="3" y="636"/>
              </a:cxn>
              <a:cxn ang="0">
                <a:pos x="8" y="584"/>
              </a:cxn>
              <a:cxn ang="0">
                <a:pos x="18" y="533"/>
              </a:cxn>
              <a:cxn ang="0">
                <a:pos x="31" y="484"/>
              </a:cxn>
              <a:cxn ang="0">
                <a:pos x="54" y="421"/>
              </a:cxn>
              <a:cxn ang="0">
                <a:pos x="83" y="360"/>
              </a:cxn>
              <a:cxn ang="0">
                <a:pos x="128" y="290"/>
              </a:cxn>
              <a:cxn ang="0">
                <a:pos x="179" y="226"/>
              </a:cxn>
              <a:cxn ang="0">
                <a:pos x="238" y="168"/>
              </a:cxn>
              <a:cxn ang="0">
                <a:pos x="291" y="127"/>
              </a:cxn>
              <a:cxn ang="0">
                <a:pos x="346" y="91"/>
              </a:cxn>
              <a:cxn ang="0">
                <a:pos x="391" y="68"/>
              </a:cxn>
              <a:cxn ang="0">
                <a:pos x="485" y="30"/>
              </a:cxn>
              <a:cxn ang="0">
                <a:pos x="567" y="10"/>
              </a:cxn>
              <a:cxn ang="0">
                <a:pos x="619" y="4"/>
              </a:cxn>
              <a:cxn ang="0">
                <a:pos x="691" y="35"/>
              </a:cxn>
              <a:cxn ang="0">
                <a:pos x="695" y="87"/>
              </a:cxn>
              <a:cxn ang="0">
                <a:pos x="704" y="138"/>
              </a:cxn>
              <a:cxn ang="0">
                <a:pos x="716" y="188"/>
              </a:cxn>
              <a:cxn ang="0">
                <a:pos x="738" y="253"/>
              </a:cxn>
              <a:cxn ang="0">
                <a:pos x="765" y="313"/>
              </a:cxn>
              <a:cxn ang="0">
                <a:pos x="808" y="385"/>
              </a:cxn>
              <a:cxn ang="0">
                <a:pos x="847" y="439"/>
              </a:cxn>
              <a:cxn ang="0">
                <a:pos x="916" y="510"/>
              </a:cxn>
              <a:cxn ang="0">
                <a:pos x="967" y="552"/>
              </a:cxn>
              <a:cxn ang="0">
                <a:pos x="1022" y="589"/>
              </a:cxn>
              <a:cxn ang="0">
                <a:pos x="1065" y="614"/>
              </a:cxn>
              <a:cxn ang="0">
                <a:pos x="1142" y="647"/>
              </a:cxn>
              <a:cxn ang="0">
                <a:pos x="1240" y="676"/>
              </a:cxn>
              <a:cxn ang="0">
                <a:pos x="1291" y="684"/>
              </a:cxn>
              <a:cxn ang="0">
                <a:pos x="1379" y="689"/>
              </a:cxn>
              <a:cxn ang="0">
                <a:pos x="1309" y="693"/>
              </a:cxn>
              <a:cxn ang="0">
                <a:pos x="1256" y="700"/>
              </a:cxn>
              <a:cxn ang="0">
                <a:pos x="1207" y="711"/>
              </a:cxn>
              <a:cxn ang="0">
                <a:pos x="1142" y="731"/>
              </a:cxn>
              <a:cxn ang="0">
                <a:pos x="1080" y="758"/>
              </a:cxn>
              <a:cxn ang="0">
                <a:pos x="1022" y="789"/>
              </a:cxn>
              <a:cxn ang="0">
                <a:pos x="967" y="826"/>
              </a:cxn>
              <a:cxn ang="0">
                <a:pos x="892" y="891"/>
              </a:cxn>
              <a:cxn ang="0">
                <a:pos x="847" y="939"/>
              </a:cxn>
              <a:cxn ang="0">
                <a:pos x="808" y="993"/>
              </a:cxn>
              <a:cxn ang="0">
                <a:pos x="773" y="1050"/>
              </a:cxn>
              <a:cxn ang="0">
                <a:pos x="743" y="1111"/>
              </a:cxn>
              <a:cxn ang="0">
                <a:pos x="711" y="1206"/>
              </a:cxn>
              <a:cxn ang="0">
                <a:pos x="698" y="1273"/>
              </a:cxn>
              <a:cxn ang="0">
                <a:pos x="691" y="1343"/>
              </a:cxn>
              <a:cxn ang="0">
                <a:pos x="637" y="1377"/>
              </a:cxn>
              <a:cxn ang="0">
                <a:pos x="584" y="1370"/>
              </a:cxn>
              <a:cxn ang="0">
                <a:pos x="533" y="1361"/>
              </a:cxn>
              <a:cxn ang="0">
                <a:pos x="485" y="1348"/>
              </a:cxn>
              <a:cxn ang="0">
                <a:pos x="422" y="1325"/>
              </a:cxn>
              <a:cxn ang="0">
                <a:pos x="361" y="1295"/>
              </a:cxn>
              <a:cxn ang="0">
                <a:pos x="291" y="1252"/>
              </a:cxn>
              <a:cxn ang="0">
                <a:pos x="226" y="1199"/>
              </a:cxn>
              <a:cxn ang="0">
                <a:pos x="168" y="1140"/>
              </a:cxn>
              <a:cxn ang="0">
                <a:pos x="128" y="1089"/>
              </a:cxn>
              <a:cxn ang="0">
                <a:pos x="92" y="1032"/>
              </a:cxn>
              <a:cxn ang="0">
                <a:pos x="69" y="988"/>
              </a:cxn>
              <a:cxn ang="0">
                <a:pos x="31" y="894"/>
              </a:cxn>
              <a:cxn ang="0">
                <a:pos x="11" y="812"/>
              </a:cxn>
              <a:cxn ang="0">
                <a:pos x="4" y="759"/>
              </a:cxn>
            </a:cxnLst>
            <a:rect l="0" t="0" r="r" b="b"/>
            <a:pathLst>
              <a:path w="1379" h="1379">
                <a:moveTo>
                  <a:pt x="0" y="689"/>
                </a:moveTo>
                <a:lnTo>
                  <a:pt x="1" y="654"/>
                </a:lnTo>
                <a:lnTo>
                  <a:pt x="3" y="636"/>
                </a:lnTo>
                <a:lnTo>
                  <a:pt x="4" y="619"/>
                </a:lnTo>
                <a:lnTo>
                  <a:pt x="5" y="601"/>
                </a:lnTo>
                <a:lnTo>
                  <a:pt x="8" y="584"/>
                </a:lnTo>
                <a:lnTo>
                  <a:pt x="11" y="566"/>
                </a:lnTo>
                <a:lnTo>
                  <a:pt x="15" y="550"/>
                </a:lnTo>
                <a:lnTo>
                  <a:pt x="18" y="533"/>
                </a:lnTo>
                <a:lnTo>
                  <a:pt x="22" y="517"/>
                </a:lnTo>
                <a:lnTo>
                  <a:pt x="27" y="500"/>
                </a:lnTo>
                <a:lnTo>
                  <a:pt x="31" y="484"/>
                </a:lnTo>
                <a:lnTo>
                  <a:pt x="42" y="452"/>
                </a:lnTo>
                <a:lnTo>
                  <a:pt x="48" y="436"/>
                </a:lnTo>
                <a:lnTo>
                  <a:pt x="54" y="421"/>
                </a:lnTo>
                <a:lnTo>
                  <a:pt x="69" y="390"/>
                </a:lnTo>
                <a:lnTo>
                  <a:pt x="75" y="375"/>
                </a:lnTo>
                <a:lnTo>
                  <a:pt x="83" y="360"/>
                </a:lnTo>
                <a:lnTo>
                  <a:pt x="100" y="332"/>
                </a:lnTo>
                <a:lnTo>
                  <a:pt x="119" y="304"/>
                </a:lnTo>
                <a:lnTo>
                  <a:pt x="128" y="290"/>
                </a:lnTo>
                <a:lnTo>
                  <a:pt x="137" y="277"/>
                </a:lnTo>
                <a:lnTo>
                  <a:pt x="158" y="250"/>
                </a:lnTo>
                <a:lnTo>
                  <a:pt x="179" y="226"/>
                </a:lnTo>
                <a:lnTo>
                  <a:pt x="202" y="202"/>
                </a:lnTo>
                <a:lnTo>
                  <a:pt x="226" y="179"/>
                </a:lnTo>
                <a:lnTo>
                  <a:pt x="238" y="168"/>
                </a:lnTo>
                <a:lnTo>
                  <a:pt x="250" y="157"/>
                </a:lnTo>
                <a:lnTo>
                  <a:pt x="277" y="137"/>
                </a:lnTo>
                <a:lnTo>
                  <a:pt x="291" y="127"/>
                </a:lnTo>
                <a:lnTo>
                  <a:pt x="304" y="118"/>
                </a:lnTo>
                <a:lnTo>
                  <a:pt x="333" y="99"/>
                </a:lnTo>
                <a:lnTo>
                  <a:pt x="346" y="91"/>
                </a:lnTo>
                <a:lnTo>
                  <a:pt x="361" y="83"/>
                </a:lnTo>
                <a:lnTo>
                  <a:pt x="376" y="75"/>
                </a:lnTo>
                <a:lnTo>
                  <a:pt x="391" y="68"/>
                </a:lnTo>
                <a:lnTo>
                  <a:pt x="422" y="53"/>
                </a:lnTo>
                <a:lnTo>
                  <a:pt x="452" y="41"/>
                </a:lnTo>
                <a:lnTo>
                  <a:pt x="485" y="30"/>
                </a:lnTo>
                <a:lnTo>
                  <a:pt x="517" y="21"/>
                </a:lnTo>
                <a:lnTo>
                  <a:pt x="551" y="14"/>
                </a:lnTo>
                <a:lnTo>
                  <a:pt x="567" y="10"/>
                </a:lnTo>
                <a:lnTo>
                  <a:pt x="584" y="8"/>
                </a:lnTo>
                <a:lnTo>
                  <a:pt x="602" y="5"/>
                </a:lnTo>
                <a:lnTo>
                  <a:pt x="619" y="4"/>
                </a:lnTo>
                <a:lnTo>
                  <a:pt x="654" y="1"/>
                </a:lnTo>
                <a:lnTo>
                  <a:pt x="690" y="0"/>
                </a:lnTo>
                <a:lnTo>
                  <a:pt x="691" y="35"/>
                </a:lnTo>
                <a:lnTo>
                  <a:pt x="692" y="53"/>
                </a:lnTo>
                <a:lnTo>
                  <a:pt x="694" y="70"/>
                </a:lnTo>
                <a:lnTo>
                  <a:pt x="695" y="87"/>
                </a:lnTo>
                <a:lnTo>
                  <a:pt x="698" y="105"/>
                </a:lnTo>
                <a:lnTo>
                  <a:pt x="700" y="122"/>
                </a:lnTo>
                <a:lnTo>
                  <a:pt x="704" y="138"/>
                </a:lnTo>
                <a:lnTo>
                  <a:pt x="707" y="156"/>
                </a:lnTo>
                <a:lnTo>
                  <a:pt x="711" y="172"/>
                </a:lnTo>
                <a:lnTo>
                  <a:pt x="716" y="188"/>
                </a:lnTo>
                <a:lnTo>
                  <a:pt x="720" y="204"/>
                </a:lnTo>
                <a:lnTo>
                  <a:pt x="731" y="237"/>
                </a:lnTo>
                <a:lnTo>
                  <a:pt x="738" y="253"/>
                </a:lnTo>
                <a:lnTo>
                  <a:pt x="743" y="267"/>
                </a:lnTo>
                <a:lnTo>
                  <a:pt x="758" y="298"/>
                </a:lnTo>
                <a:lnTo>
                  <a:pt x="765" y="313"/>
                </a:lnTo>
                <a:lnTo>
                  <a:pt x="773" y="328"/>
                </a:lnTo>
                <a:lnTo>
                  <a:pt x="789" y="358"/>
                </a:lnTo>
                <a:lnTo>
                  <a:pt x="808" y="385"/>
                </a:lnTo>
                <a:lnTo>
                  <a:pt x="817" y="399"/>
                </a:lnTo>
                <a:lnTo>
                  <a:pt x="827" y="412"/>
                </a:lnTo>
                <a:lnTo>
                  <a:pt x="847" y="439"/>
                </a:lnTo>
                <a:lnTo>
                  <a:pt x="869" y="463"/>
                </a:lnTo>
                <a:lnTo>
                  <a:pt x="892" y="487"/>
                </a:lnTo>
                <a:lnTo>
                  <a:pt x="916" y="510"/>
                </a:lnTo>
                <a:lnTo>
                  <a:pt x="928" y="521"/>
                </a:lnTo>
                <a:lnTo>
                  <a:pt x="940" y="531"/>
                </a:lnTo>
                <a:lnTo>
                  <a:pt x="967" y="552"/>
                </a:lnTo>
                <a:lnTo>
                  <a:pt x="980" y="562"/>
                </a:lnTo>
                <a:lnTo>
                  <a:pt x="994" y="572"/>
                </a:lnTo>
                <a:lnTo>
                  <a:pt x="1022" y="589"/>
                </a:lnTo>
                <a:lnTo>
                  <a:pt x="1036" y="597"/>
                </a:lnTo>
                <a:lnTo>
                  <a:pt x="1050" y="606"/>
                </a:lnTo>
                <a:lnTo>
                  <a:pt x="1065" y="614"/>
                </a:lnTo>
                <a:lnTo>
                  <a:pt x="1080" y="622"/>
                </a:lnTo>
                <a:lnTo>
                  <a:pt x="1111" y="635"/>
                </a:lnTo>
                <a:lnTo>
                  <a:pt x="1142" y="647"/>
                </a:lnTo>
                <a:lnTo>
                  <a:pt x="1174" y="658"/>
                </a:lnTo>
                <a:lnTo>
                  <a:pt x="1207" y="667"/>
                </a:lnTo>
                <a:lnTo>
                  <a:pt x="1240" y="676"/>
                </a:lnTo>
                <a:lnTo>
                  <a:pt x="1256" y="678"/>
                </a:lnTo>
                <a:lnTo>
                  <a:pt x="1274" y="681"/>
                </a:lnTo>
                <a:lnTo>
                  <a:pt x="1291" y="684"/>
                </a:lnTo>
                <a:lnTo>
                  <a:pt x="1309" y="685"/>
                </a:lnTo>
                <a:lnTo>
                  <a:pt x="1344" y="688"/>
                </a:lnTo>
                <a:lnTo>
                  <a:pt x="1379" y="689"/>
                </a:lnTo>
                <a:lnTo>
                  <a:pt x="1344" y="690"/>
                </a:lnTo>
                <a:lnTo>
                  <a:pt x="1326" y="692"/>
                </a:lnTo>
                <a:lnTo>
                  <a:pt x="1309" y="693"/>
                </a:lnTo>
                <a:lnTo>
                  <a:pt x="1291" y="694"/>
                </a:lnTo>
                <a:lnTo>
                  <a:pt x="1274" y="697"/>
                </a:lnTo>
                <a:lnTo>
                  <a:pt x="1256" y="700"/>
                </a:lnTo>
                <a:lnTo>
                  <a:pt x="1240" y="704"/>
                </a:lnTo>
                <a:lnTo>
                  <a:pt x="1223" y="707"/>
                </a:lnTo>
                <a:lnTo>
                  <a:pt x="1207" y="711"/>
                </a:lnTo>
                <a:lnTo>
                  <a:pt x="1190" y="716"/>
                </a:lnTo>
                <a:lnTo>
                  <a:pt x="1174" y="720"/>
                </a:lnTo>
                <a:lnTo>
                  <a:pt x="1142" y="731"/>
                </a:lnTo>
                <a:lnTo>
                  <a:pt x="1126" y="737"/>
                </a:lnTo>
                <a:lnTo>
                  <a:pt x="1111" y="743"/>
                </a:lnTo>
                <a:lnTo>
                  <a:pt x="1080" y="758"/>
                </a:lnTo>
                <a:lnTo>
                  <a:pt x="1065" y="764"/>
                </a:lnTo>
                <a:lnTo>
                  <a:pt x="1050" y="772"/>
                </a:lnTo>
                <a:lnTo>
                  <a:pt x="1022" y="789"/>
                </a:lnTo>
                <a:lnTo>
                  <a:pt x="994" y="808"/>
                </a:lnTo>
                <a:lnTo>
                  <a:pt x="980" y="817"/>
                </a:lnTo>
                <a:lnTo>
                  <a:pt x="967" y="826"/>
                </a:lnTo>
                <a:lnTo>
                  <a:pt x="940" y="847"/>
                </a:lnTo>
                <a:lnTo>
                  <a:pt x="916" y="868"/>
                </a:lnTo>
                <a:lnTo>
                  <a:pt x="892" y="891"/>
                </a:lnTo>
                <a:lnTo>
                  <a:pt x="869" y="915"/>
                </a:lnTo>
                <a:lnTo>
                  <a:pt x="858" y="927"/>
                </a:lnTo>
                <a:lnTo>
                  <a:pt x="847" y="939"/>
                </a:lnTo>
                <a:lnTo>
                  <a:pt x="827" y="966"/>
                </a:lnTo>
                <a:lnTo>
                  <a:pt x="817" y="980"/>
                </a:lnTo>
                <a:lnTo>
                  <a:pt x="808" y="993"/>
                </a:lnTo>
                <a:lnTo>
                  <a:pt x="789" y="1022"/>
                </a:lnTo>
                <a:lnTo>
                  <a:pt x="781" y="1035"/>
                </a:lnTo>
                <a:lnTo>
                  <a:pt x="773" y="1050"/>
                </a:lnTo>
                <a:lnTo>
                  <a:pt x="765" y="1065"/>
                </a:lnTo>
                <a:lnTo>
                  <a:pt x="758" y="1080"/>
                </a:lnTo>
                <a:lnTo>
                  <a:pt x="743" y="1111"/>
                </a:lnTo>
                <a:lnTo>
                  <a:pt x="731" y="1141"/>
                </a:lnTo>
                <a:lnTo>
                  <a:pt x="720" y="1174"/>
                </a:lnTo>
                <a:lnTo>
                  <a:pt x="711" y="1206"/>
                </a:lnTo>
                <a:lnTo>
                  <a:pt x="704" y="1240"/>
                </a:lnTo>
                <a:lnTo>
                  <a:pt x="700" y="1256"/>
                </a:lnTo>
                <a:lnTo>
                  <a:pt x="698" y="1273"/>
                </a:lnTo>
                <a:lnTo>
                  <a:pt x="695" y="1291"/>
                </a:lnTo>
                <a:lnTo>
                  <a:pt x="694" y="1308"/>
                </a:lnTo>
                <a:lnTo>
                  <a:pt x="691" y="1343"/>
                </a:lnTo>
                <a:lnTo>
                  <a:pt x="690" y="1379"/>
                </a:lnTo>
                <a:lnTo>
                  <a:pt x="654" y="1377"/>
                </a:lnTo>
                <a:lnTo>
                  <a:pt x="637" y="1377"/>
                </a:lnTo>
                <a:lnTo>
                  <a:pt x="619" y="1374"/>
                </a:lnTo>
                <a:lnTo>
                  <a:pt x="602" y="1373"/>
                </a:lnTo>
                <a:lnTo>
                  <a:pt x="584" y="1370"/>
                </a:lnTo>
                <a:lnTo>
                  <a:pt x="567" y="1368"/>
                </a:lnTo>
                <a:lnTo>
                  <a:pt x="551" y="1365"/>
                </a:lnTo>
                <a:lnTo>
                  <a:pt x="533" y="1361"/>
                </a:lnTo>
                <a:lnTo>
                  <a:pt x="517" y="1357"/>
                </a:lnTo>
                <a:lnTo>
                  <a:pt x="501" y="1353"/>
                </a:lnTo>
                <a:lnTo>
                  <a:pt x="485" y="1348"/>
                </a:lnTo>
                <a:lnTo>
                  <a:pt x="452" y="1337"/>
                </a:lnTo>
                <a:lnTo>
                  <a:pt x="436" y="1331"/>
                </a:lnTo>
                <a:lnTo>
                  <a:pt x="422" y="1325"/>
                </a:lnTo>
                <a:lnTo>
                  <a:pt x="391" y="1311"/>
                </a:lnTo>
                <a:lnTo>
                  <a:pt x="376" y="1303"/>
                </a:lnTo>
                <a:lnTo>
                  <a:pt x="361" y="1295"/>
                </a:lnTo>
                <a:lnTo>
                  <a:pt x="333" y="1279"/>
                </a:lnTo>
                <a:lnTo>
                  <a:pt x="304" y="1261"/>
                </a:lnTo>
                <a:lnTo>
                  <a:pt x="291" y="1252"/>
                </a:lnTo>
                <a:lnTo>
                  <a:pt x="277" y="1241"/>
                </a:lnTo>
                <a:lnTo>
                  <a:pt x="250" y="1221"/>
                </a:lnTo>
                <a:lnTo>
                  <a:pt x="226" y="1199"/>
                </a:lnTo>
                <a:lnTo>
                  <a:pt x="202" y="1176"/>
                </a:lnTo>
                <a:lnTo>
                  <a:pt x="179" y="1152"/>
                </a:lnTo>
                <a:lnTo>
                  <a:pt x="168" y="1140"/>
                </a:lnTo>
                <a:lnTo>
                  <a:pt x="158" y="1128"/>
                </a:lnTo>
                <a:lnTo>
                  <a:pt x="137" y="1101"/>
                </a:lnTo>
                <a:lnTo>
                  <a:pt x="128" y="1089"/>
                </a:lnTo>
                <a:lnTo>
                  <a:pt x="119" y="1074"/>
                </a:lnTo>
                <a:lnTo>
                  <a:pt x="100" y="1047"/>
                </a:lnTo>
                <a:lnTo>
                  <a:pt x="92" y="1032"/>
                </a:lnTo>
                <a:lnTo>
                  <a:pt x="83" y="1018"/>
                </a:lnTo>
                <a:lnTo>
                  <a:pt x="75" y="1003"/>
                </a:lnTo>
                <a:lnTo>
                  <a:pt x="69" y="988"/>
                </a:lnTo>
                <a:lnTo>
                  <a:pt x="54" y="957"/>
                </a:lnTo>
                <a:lnTo>
                  <a:pt x="42" y="926"/>
                </a:lnTo>
                <a:lnTo>
                  <a:pt x="31" y="894"/>
                </a:lnTo>
                <a:lnTo>
                  <a:pt x="22" y="861"/>
                </a:lnTo>
                <a:lnTo>
                  <a:pt x="15" y="828"/>
                </a:lnTo>
                <a:lnTo>
                  <a:pt x="11" y="812"/>
                </a:lnTo>
                <a:lnTo>
                  <a:pt x="8" y="794"/>
                </a:lnTo>
                <a:lnTo>
                  <a:pt x="5" y="777"/>
                </a:lnTo>
                <a:lnTo>
                  <a:pt x="4" y="759"/>
                </a:lnTo>
                <a:lnTo>
                  <a:pt x="1" y="724"/>
                </a:lnTo>
                <a:lnTo>
                  <a:pt x="0" y="689"/>
                </a:lnTo>
                <a:close/>
              </a:path>
            </a:pathLst>
          </a:custGeom>
          <a:pattFill prst="wdUpDiag">
            <a:fgClr>
              <a:schemeClr val="tx2">
                <a:lumMod val="20000"/>
                <a:lumOff val="80000"/>
              </a:schemeClr>
            </a:fgClr>
            <a:bgClr>
              <a:schemeClr val="bg1"/>
            </a:bgClr>
          </a:pattFill>
          <a:ln w="9525">
            <a:noFill/>
            <a:round/>
            <a:headEnd/>
            <a:tailEnd/>
          </a:ln>
        </p:spPr>
        <p:txBody>
          <a:bodyPr/>
          <a:lstStyle/>
          <a:p>
            <a:endParaRPr lang="en-US"/>
          </a:p>
        </p:txBody>
      </p:sp>
      <p:sp>
        <p:nvSpPr>
          <p:cNvPr id="11" name="Freeform 30">
            <a:extLst>
              <a:ext uri="{FF2B5EF4-FFF2-40B4-BE49-F238E27FC236}">
                <a16:creationId xmlns:a16="http://schemas.microsoft.com/office/drawing/2014/main" id="{EC70DC36-E4DC-27F1-C2C5-6A2BA038CF3B}"/>
              </a:ext>
            </a:extLst>
          </p:cNvPr>
          <p:cNvSpPr>
            <a:spLocks/>
          </p:cNvSpPr>
          <p:nvPr/>
        </p:nvSpPr>
        <p:spPr bwMode="auto">
          <a:xfrm>
            <a:off x="6095401" y="2931858"/>
            <a:ext cx="995795" cy="994353"/>
          </a:xfrm>
          <a:custGeom>
            <a:avLst/>
            <a:gdLst/>
            <a:ahLst/>
            <a:cxnLst>
              <a:cxn ang="0">
                <a:pos x="1" y="654"/>
              </a:cxn>
              <a:cxn ang="0">
                <a:pos x="4" y="619"/>
              </a:cxn>
              <a:cxn ang="0">
                <a:pos x="8" y="584"/>
              </a:cxn>
              <a:cxn ang="0">
                <a:pos x="15" y="550"/>
              </a:cxn>
              <a:cxn ang="0">
                <a:pos x="22" y="517"/>
              </a:cxn>
              <a:cxn ang="0">
                <a:pos x="31" y="484"/>
              </a:cxn>
              <a:cxn ang="0">
                <a:pos x="48" y="436"/>
              </a:cxn>
              <a:cxn ang="0">
                <a:pos x="69" y="390"/>
              </a:cxn>
              <a:cxn ang="0">
                <a:pos x="83" y="360"/>
              </a:cxn>
              <a:cxn ang="0">
                <a:pos x="119" y="304"/>
              </a:cxn>
              <a:cxn ang="0">
                <a:pos x="137" y="277"/>
              </a:cxn>
              <a:cxn ang="0">
                <a:pos x="179" y="226"/>
              </a:cxn>
              <a:cxn ang="0">
                <a:pos x="226" y="179"/>
              </a:cxn>
              <a:cxn ang="0">
                <a:pos x="250" y="157"/>
              </a:cxn>
              <a:cxn ang="0">
                <a:pos x="291" y="127"/>
              </a:cxn>
              <a:cxn ang="0">
                <a:pos x="333" y="99"/>
              </a:cxn>
              <a:cxn ang="0">
                <a:pos x="361" y="83"/>
              </a:cxn>
              <a:cxn ang="0">
                <a:pos x="391" y="68"/>
              </a:cxn>
              <a:cxn ang="0">
                <a:pos x="452" y="41"/>
              </a:cxn>
              <a:cxn ang="0">
                <a:pos x="517" y="21"/>
              </a:cxn>
              <a:cxn ang="0">
                <a:pos x="567" y="10"/>
              </a:cxn>
              <a:cxn ang="0">
                <a:pos x="602" y="5"/>
              </a:cxn>
              <a:cxn ang="0">
                <a:pos x="654" y="1"/>
              </a:cxn>
              <a:cxn ang="0">
                <a:pos x="688" y="35"/>
              </a:cxn>
              <a:cxn ang="0">
                <a:pos x="685" y="70"/>
              </a:cxn>
              <a:cxn ang="0">
                <a:pos x="681" y="105"/>
              </a:cxn>
              <a:cxn ang="0">
                <a:pos x="676" y="138"/>
              </a:cxn>
              <a:cxn ang="0">
                <a:pos x="668" y="172"/>
              </a:cxn>
              <a:cxn ang="0">
                <a:pos x="659" y="204"/>
              </a:cxn>
              <a:cxn ang="0">
                <a:pos x="642" y="253"/>
              </a:cxn>
              <a:cxn ang="0">
                <a:pos x="622" y="298"/>
              </a:cxn>
              <a:cxn ang="0">
                <a:pos x="606" y="328"/>
              </a:cxn>
              <a:cxn ang="0">
                <a:pos x="572" y="385"/>
              </a:cxn>
              <a:cxn ang="0">
                <a:pos x="552" y="412"/>
              </a:cxn>
              <a:cxn ang="0">
                <a:pos x="510" y="463"/>
              </a:cxn>
              <a:cxn ang="0">
                <a:pos x="463" y="510"/>
              </a:cxn>
              <a:cxn ang="0">
                <a:pos x="439" y="531"/>
              </a:cxn>
              <a:cxn ang="0">
                <a:pos x="400" y="562"/>
              </a:cxn>
              <a:cxn ang="0">
                <a:pos x="358" y="589"/>
              </a:cxn>
              <a:cxn ang="0">
                <a:pos x="329" y="606"/>
              </a:cxn>
              <a:cxn ang="0">
                <a:pos x="299" y="622"/>
              </a:cxn>
              <a:cxn ang="0">
                <a:pos x="237" y="647"/>
              </a:cxn>
              <a:cxn ang="0">
                <a:pos x="172" y="667"/>
              </a:cxn>
              <a:cxn ang="0">
                <a:pos x="123" y="678"/>
              </a:cxn>
              <a:cxn ang="0">
                <a:pos x="88" y="684"/>
              </a:cxn>
              <a:cxn ang="0">
                <a:pos x="35" y="688"/>
              </a:cxn>
            </a:cxnLst>
            <a:rect l="0" t="0" r="r" b="b"/>
            <a:pathLst>
              <a:path w="690" h="689">
                <a:moveTo>
                  <a:pt x="0" y="689"/>
                </a:moveTo>
                <a:lnTo>
                  <a:pt x="1" y="654"/>
                </a:lnTo>
                <a:lnTo>
                  <a:pt x="3" y="636"/>
                </a:lnTo>
                <a:lnTo>
                  <a:pt x="4" y="619"/>
                </a:lnTo>
                <a:lnTo>
                  <a:pt x="5" y="601"/>
                </a:lnTo>
                <a:lnTo>
                  <a:pt x="8" y="584"/>
                </a:lnTo>
                <a:lnTo>
                  <a:pt x="11" y="566"/>
                </a:lnTo>
                <a:lnTo>
                  <a:pt x="15" y="550"/>
                </a:lnTo>
                <a:lnTo>
                  <a:pt x="18" y="533"/>
                </a:lnTo>
                <a:lnTo>
                  <a:pt x="22" y="517"/>
                </a:lnTo>
                <a:lnTo>
                  <a:pt x="27" y="500"/>
                </a:lnTo>
                <a:lnTo>
                  <a:pt x="31" y="484"/>
                </a:lnTo>
                <a:lnTo>
                  <a:pt x="42" y="452"/>
                </a:lnTo>
                <a:lnTo>
                  <a:pt x="48" y="436"/>
                </a:lnTo>
                <a:lnTo>
                  <a:pt x="54" y="421"/>
                </a:lnTo>
                <a:lnTo>
                  <a:pt x="69" y="390"/>
                </a:lnTo>
                <a:lnTo>
                  <a:pt x="75" y="375"/>
                </a:lnTo>
                <a:lnTo>
                  <a:pt x="83" y="360"/>
                </a:lnTo>
                <a:lnTo>
                  <a:pt x="100" y="332"/>
                </a:lnTo>
                <a:lnTo>
                  <a:pt x="119" y="304"/>
                </a:lnTo>
                <a:lnTo>
                  <a:pt x="128" y="290"/>
                </a:lnTo>
                <a:lnTo>
                  <a:pt x="137" y="277"/>
                </a:lnTo>
                <a:lnTo>
                  <a:pt x="158" y="250"/>
                </a:lnTo>
                <a:lnTo>
                  <a:pt x="179" y="226"/>
                </a:lnTo>
                <a:lnTo>
                  <a:pt x="202" y="202"/>
                </a:lnTo>
                <a:lnTo>
                  <a:pt x="226" y="179"/>
                </a:lnTo>
                <a:lnTo>
                  <a:pt x="238" y="168"/>
                </a:lnTo>
                <a:lnTo>
                  <a:pt x="250" y="157"/>
                </a:lnTo>
                <a:lnTo>
                  <a:pt x="277" y="137"/>
                </a:lnTo>
                <a:lnTo>
                  <a:pt x="291" y="127"/>
                </a:lnTo>
                <a:lnTo>
                  <a:pt x="304" y="118"/>
                </a:lnTo>
                <a:lnTo>
                  <a:pt x="333" y="99"/>
                </a:lnTo>
                <a:lnTo>
                  <a:pt x="346" y="91"/>
                </a:lnTo>
                <a:lnTo>
                  <a:pt x="361" y="83"/>
                </a:lnTo>
                <a:lnTo>
                  <a:pt x="376" y="75"/>
                </a:lnTo>
                <a:lnTo>
                  <a:pt x="391" y="68"/>
                </a:lnTo>
                <a:lnTo>
                  <a:pt x="422" y="53"/>
                </a:lnTo>
                <a:lnTo>
                  <a:pt x="452" y="41"/>
                </a:lnTo>
                <a:lnTo>
                  <a:pt x="485" y="30"/>
                </a:lnTo>
                <a:lnTo>
                  <a:pt x="517" y="21"/>
                </a:lnTo>
                <a:lnTo>
                  <a:pt x="551" y="14"/>
                </a:lnTo>
                <a:lnTo>
                  <a:pt x="567" y="10"/>
                </a:lnTo>
                <a:lnTo>
                  <a:pt x="584" y="8"/>
                </a:lnTo>
                <a:lnTo>
                  <a:pt x="602" y="5"/>
                </a:lnTo>
                <a:lnTo>
                  <a:pt x="619" y="4"/>
                </a:lnTo>
                <a:lnTo>
                  <a:pt x="654" y="1"/>
                </a:lnTo>
                <a:lnTo>
                  <a:pt x="690" y="0"/>
                </a:lnTo>
                <a:lnTo>
                  <a:pt x="688" y="35"/>
                </a:lnTo>
                <a:lnTo>
                  <a:pt x="688" y="53"/>
                </a:lnTo>
                <a:lnTo>
                  <a:pt x="685" y="70"/>
                </a:lnTo>
                <a:lnTo>
                  <a:pt x="684" y="87"/>
                </a:lnTo>
                <a:lnTo>
                  <a:pt x="681" y="105"/>
                </a:lnTo>
                <a:lnTo>
                  <a:pt x="679" y="122"/>
                </a:lnTo>
                <a:lnTo>
                  <a:pt x="676" y="138"/>
                </a:lnTo>
                <a:lnTo>
                  <a:pt x="672" y="156"/>
                </a:lnTo>
                <a:lnTo>
                  <a:pt x="668" y="172"/>
                </a:lnTo>
                <a:lnTo>
                  <a:pt x="664" y="188"/>
                </a:lnTo>
                <a:lnTo>
                  <a:pt x="659" y="204"/>
                </a:lnTo>
                <a:lnTo>
                  <a:pt x="648" y="237"/>
                </a:lnTo>
                <a:lnTo>
                  <a:pt x="642" y="253"/>
                </a:lnTo>
                <a:lnTo>
                  <a:pt x="636" y="267"/>
                </a:lnTo>
                <a:lnTo>
                  <a:pt x="622" y="298"/>
                </a:lnTo>
                <a:lnTo>
                  <a:pt x="614" y="313"/>
                </a:lnTo>
                <a:lnTo>
                  <a:pt x="606" y="328"/>
                </a:lnTo>
                <a:lnTo>
                  <a:pt x="590" y="358"/>
                </a:lnTo>
                <a:lnTo>
                  <a:pt x="572" y="385"/>
                </a:lnTo>
                <a:lnTo>
                  <a:pt x="563" y="399"/>
                </a:lnTo>
                <a:lnTo>
                  <a:pt x="552" y="412"/>
                </a:lnTo>
                <a:lnTo>
                  <a:pt x="532" y="439"/>
                </a:lnTo>
                <a:lnTo>
                  <a:pt x="510" y="463"/>
                </a:lnTo>
                <a:lnTo>
                  <a:pt x="487" y="487"/>
                </a:lnTo>
                <a:lnTo>
                  <a:pt x="463" y="510"/>
                </a:lnTo>
                <a:lnTo>
                  <a:pt x="451" y="521"/>
                </a:lnTo>
                <a:lnTo>
                  <a:pt x="439" y="531"/>
                </a:lnTo>
                <a:lnTo>
                  <a:pt x="412" y="552"/>
                </a:lnTo>
                <a:lnTo>
                  <a:pt x="400" y="562"/>
                </a:lnTo>
                <a:lnTo>
                  <a:pt x="385" y="572"/>
                </a:lnTo>
                <a:lnTo>
                  <a:pt x="358" y="589"/>
                </a:lnTo>
                <a:lnTo>
                  <a:pt x="343" y="597"/>
                </a:lnTo>
                <a:lnTo>
                  <a:pt x="329" y="606"/>
                </a:lnTo>
                <a:lnTo>
                  <a:pt x="314" y="614"/>
                </a:lnTo>
                <a:lnTo>
                  <a:pt x="299" y="622"/>
                </a:lnTo>
                <a:lnTo>
                  <a:pt x="268" y="635"/>
                </a:lnTo>
                <a:lnTo>
                  <a:pt x="237" y="647"/>
                </a:lnTo>
                <a:lnTo>
                  <a:pt x="205" y="658"/>
                </a:lnTo>
                <a:lnTo>
                  <a:pt x="172" y="667"/>
                </a:lnTo>
                <a:lnTo>
                  <a:pt x="139" y="676"/>
                </a:lnTo>
                <a:lnTo>
                  <a:pt x="123" y="678"/>
                </a:lnTo>
                <a:lnTo>
                  <a:pt x="105" y="681"/>
                </a:lnTo>
                <a:lnTo>
                  <a:pt x="88" y="684"/>
                </a:lnTo>
                <a:lnTo>
                  <a:pt x="70" y="685"/>
                </a:lnTo>
                <a:lnTo>
                  <a:pt x="35" y="688"/>
                </a:lnTo>
                <a:lnTo>
                  <a:pt x="0" y="689"/>
                </a:lnTo>
                <a:close/>
              </a:path>
            </a:pathLst>
          </a:custGeom>
          <a:solidFill>
            <a:srgbClr val="C00000"/>
          </a:solidFill>
          <a:ln w="9525">
            <a:noFill/>
            <a:round/>
            <a:headEnd/>
            <a:tailEnd/>
          </a:ln>
        </p:spPr>
        <p:txBody>
          <a:bodyPr/>
          <a:lstStyle/>
          <a:p>
            <a:endParaRPr lang="en-US"/>
          </a:p>
        </p:txBody>
      </p:sp>
      <p:sp>
        <p:nvSpPr>
          <p:cNvPr id="12" name="Freeform 31">
            <a:extLst>
              <a:ext uri="{FF2B5EF4-FFF2-40B4-BE49-F238E27FC236}">
                <a16:creationId xmlns:a16="http://schemas.microsoft.com/office/drawing/2014/main" id="{5D21883D-0D2C-93E4-AB3D-7E1219C919C3}"/>
              </a:ext>
            </a:extLst>
          </p:cNvPr>
          <p:cNvSpPr>
            <a:spLocks/>
          </p:cNvSpPr>
          <p:nvPr/>
        </p:nvSpPr>
        <p:spPr bwMode="auto">
          <a:xfrm>
            <a:off x="6095401" y="3926211"/>
            <a:ext cx="995795" cy="995796"/>
          </a:xfrm>
          <a:custGeom>
            <a:avLst/>
            <a:gdLst/>
            <a:ahLst/>
            <a:cxnLst>
              <a:cxn ang="0">
                <a:pos x="654" y="688"/>
              </a:cxn>
              <a:cxn ang="0">
                <a:pos x="619" y="685"/>
              </a:cxn>
              <a:cxn ang="0">
                <a:pos x="584" y="681"/>
              </a:cxn>
              <a:cxn ang="0">
                <a:pos x="551" y="676"/>
              </a:cxn>
              <a:cxn ang="0">
                <a:pos x="517" y="668"/>
              </a:cxn>
              <a:cxn ang="0">
                <a:pos x="485" y="659"/>
              </a:cxn>
              <a:cxn ang="0">
                <a:pos x="436" y="642"/>
              </a:cxn>
              <a:cxn ang="0">
                <a:pos x="391" y="622"/>
              </a:cxn>
              <a:cxn ang="0">
                <a:pos x="361" y="606"/>
              </a:cxn>
              <a:cxn ang="0">
                <a:pos x="304" y="572"/>
              </a:cxn>
              <a:cxn ang="0">
                <a:pos x="277" y="552"/>
              </a:cxn>
              <a:cxn ang="0">
                <a:pos x="226" y="510"/>
              </a:cxn>
              <a:cxn ang="0">
                <a:pos x="179" y="463"/>
              </a:cxn>
              <a:cxn ang="0">
                <a:pos x="158" y="439"/>
              </a:cxn>
              <a:cxn ang="0">
                <a:pos x="128" y="400"/>
              </a:cxn>
              <a:cxn ang="0">
                <a:pos x="100" y="358"/>
              </a:cxn>
              <a:cxn ang="0">
                <a:pos x="83" y="329"/>
              </a:cxn>
              <a:cxn ang="0">
                <a:pos x="69" y="299"/>
              </a:cxn>
              <a:cxn ang="0">
                <a:pos x="42" y="237"/>
              </a:cxn>
              <a:cxn ang="0">
                <a:pos x="22" y="172"/>
              </a:cxn>
              <a:cxn ang="0">
                <a:pos x="11" y="123"/>
              </a:cxn>
              <a:cxn ang="0">
                <a:pos x="5" y="88"/>
              </a:cxn>
              <a:cxn ang="0">
                <a:pos x="1" y="35"/>
              </a:cxn>
              <a:cxn ang="0">
                <a:pos x="35" y="1"/>
              </a:cxn>
              <a:cxn ang="0">
                <a:pos x="70" y="4"/>
              </a:cxn>
              <a:cxn ang="0">
                <a:pos x="105" y="8"/>
              </a:cxn>
              <a:cxn ang="0">
                <a:pos x="139" y="15"/>
              </a:cxn>
              <a:cxn ang="0">
                <a:pos x="172" y="22"/>
              </a:cxn>
              <a:cxn ang="0">
                <a:pos x="205" y="31"/>
              </a:cxn>
              <a:cxn ang="0">
                <a:pos x="253" y="48"/>
              </a:cxn>
              <a:cxn ang="0">
                <a:pos x="299" y="69"/>
              </a:cxn>
              <a:cxn ang="0">
                <a:pos x="329" y="83"/>
              </a:cxn>
              <a:cxn ang="0">
                <a:pos x="385" y="119"/>
              </a:cxn>
              <a:cxn ang="0">
                <a:pos x="412" y="137"/>
              </a:cxn>
              <a:cxn ang="0">
                <a:pos x="463" y="179"/>
              </a:cxn>
              <a:cxn ang="0">
                <a:pos x="510" y="226"/>
              </a:cxn>
              <a:cxn ang="0">
                <a:pos x="532" y="250"/>
              </a:cxn>
              <a:cxn ang="0">
                <a:pos x="563" y="291"/>
              </a:cxn>
              <a:cxn ang="0">
                <a:pos x="590" y="333"/>
              </a:cxn>
              <a:cxn ang="0">
                <a:pos x="606" y="361"/>
              </a:cxn>
              <a:cxn ang="0">
                <a:pos x="622" y="391"/>
              </a:cxn>
              <a:cxn ang="0">
                <a:pos x="648" y="452"/>
              </a:cxn>
              <a:cxn ang="0">
                <a:pos x="668" y="517"/>
              </a:cxn>
              <a:cxn ang="0">
                <a:pos x="679" y="567"/>
              </a:cxn>
              <a:cxn ang="0">
                <a:pos x="684" y="602"/>
              </a:cxn>
              <a:cxn ang="0">
                <a:pos x="688" y="654"/>
              </a:cxn>
            </a:cxnLst>
            <a:rect l="0" t="0" r="r" b="b"/>
            <a:pathLst>
              <a:path w="690" h="690">
                <a:moveTo>
                  <a:pt x="690" y="690"/>
                </a:moveTo>
                <a:lnTo>
                  <a:pt x="654" y="688"/>
                </a:lnTo>
                <a:lnTo>
                  <a:pt x="637" y="688"/>
                </a:lnTo>
                <a:lnTo>
                  <a:pt x="619" y="685"/>
                </a:lnTo>
                <a:lnTo>
                  <a:pt x="602" y="684"/>
                </a:lnTo>
                <a:lnTo>
                  <a:pt x="584" y="681"/>
                </a:lnTo>
                <a:lnTo>
                  <a:pt x="567" y="679"/>
                </a:lnTo>
                <a:lnTo>
                  <a:pt x="551" y="676"/>
                </a:lnTo>
                <a:lnTo>
                  <a:pt x="533" y="672"/>
                </a:lnTo>
                <a:lnTo>
                  <a:pt x="517" y="668"/>
                </a:lnTo>
                <a:lnTo>
                  <a:pt x="501" y="664"/>
                </a:lnTo>
                <a:lnTo>
                  <a:pt x="485" y="659"/>
                </a:lnTo>
                <a:lnTo>
                  <a:pt x="452" y="648"/>
                </a:lnTo>
                <a:lnTo>
                  <a:pt x="436" y="642"/>
                </a:lnTo>
                <a:lnTo>
                  <a:pt x="422" y="636"/>
                </a:lnTo>
                <a:lnTo>
                  <a:pt x="391" y="622"/>
                </a:lnTo>
                <a:lnTo>
                  <a:pt x="376" y="614"/>
                </a:lnTo>
                <a:lnTo>
                  <a:pt x="361" y="606"/>
                </a:lnTo>
                <a:lnTo>
                  <a:pt x="333" y="590"/>
                </a:lnTo>
                <a:lnTo>
                  <a:pt x="304" y="572"/>
                </a:lnTo>
                <a:lnTo>
                  <a:pt x="291" y="563"/>
                </a:lnTo>
                <a:lnTo>
                  <a:pt x="277" y="552"/>
                </a:lnTo>
                <a:lnTo>
                  <a:pt x="250" y="532"/>
                </a:lnTo>
                <a:lnTo>
                  <a:pt x="226" y="510"/>
                </a:lnTo>
                <a:lnTo>
                  <a:pt x="202" y="487"/>
                </a:lnTo>
                <a:lnTo>
                  <a:pt x="179" y="463"/>
                </a:lnTo>
                <a:lnTo>
                  <a:pt x="168" y="451"/>
                </a:lnTo>
                <a:lnTo>
                  <a:pt x="158" y="439"/>
                </a:lnTo>
                <a:lnTo>
                  <a:pt x="137" y="412"/>
                </a:lnTo>
                <a:lnTo>
                  <a:pt x="128" y="400"/>
                </a:lnTo>
                <a:lnTo>
                  <a:pt x="119" y="385"/>
                </a:lnTo>
                <a:lnTo>
                  <a:pt x="100" y="358"/>
                </a:lnTo>
                <a:lnTo>
                  <a:pt x="92" y="343"/>
                </a:lnTo>
                <a:lnTo>
                  <a:pt x="83" y="329"/>
                </a:lnTo>
                <a:lnTo>
                  <a:pt x="75" y="314"/>
                </a:lnTo>
                <a:lnTo>
                  <a:pt x="69" y="299"/>
                </a:lnTo>
                <a:lnTo>
                  <a:pt x="54" y="268"/>
                </a:lnTo>
                <a:lnTo>
                  <a:pt x="42" y="237"/>
                </a:lnTo>
                <a:lnTo>
                  <a:pt x="31" y="205"/>
                </a:lnTo>
                <a:lnTo>
                  <a:pt x="22" y="172"/>
                </a:lnTo>
                <a:lnTo>
                  <a:pt x="15" y="139"/>
                </a:lnTo>
                <a:lnTo>
                  <a:pt x="11" y="123"/>
                </a:lnTo>
                <a:lnTo>
                  <a:pt x="8" y="105"/>
                </a:lnTo>
                <a:lnTo>
                  <a:pt x="5" y="88"/>
                </a:lnTo>
                <a:lnTo>
                  <a:pt x="4" y="70"/>
                </a:lnTo>
                <a:lnTo>
                  <a:pt x="1" y="35"/>
                </a:lnTo>
                <a:lnTo>
                  <a:pt x="0" y="0"/>
                </a:lnTo>
                <a:lnTo>
                  <a:pt x="35" y="1"/>
                </a:lnTo>
                <a:lnTo>
                  <a:pt x="54" y="3"/>
                </a:lnTo>
                <a:lnTo>
                  <a:pt x="70" y="4"/>
                </a:lnTo>
                <a:lnTo>
                  <a:pt x="88" y="5"/>
                </a:lnTo>
                <a:lnTo>
                  <a:pt x="105" y="8"/>
                </a:lnTo>
                <a:lnTo>
                  <a:pt x="123" y="11"/>
                </a:lnTo>
                <a:lnTo>
                  <a:pt x="139" y="15"/>
                </a:lnTo>
                <a:lnTo>
                  <a:pt x="156" y="18"/>
                </a:lnTo>
                <a:lnTo>
                  <a:pt x="172" y="22"/>
                </a:lnTo>
                <a:lnTo>
                  <a:pt x="189" y="27"/>
                </a:lnTo>
                <a:lnTo>
                  <a:pt x="205" y="31"/>
                </a:lnTo>
                <a:lnTo>
                  <a:pt x="237" y="42"/>
                </a:lnTo>
                <a:lnTo>
                  <a:pt x="253" y="48"/>
                </a:lnTo>
                <a:lnTo>
                  <a:pt x="268" y="54"/>
                </a:lnTo>
                <a:lnTo>
                  <a:pt x="299" y="69"/>
                </a:lnTo>
                <a:lnTo>
                  <a:pt x="314" y="75"/>
                </a:lnTo>
                <a:lnTo>
                  <a:pt x="329" y="83"/>
                </a:lnTo>
                <a:lnTo>
                  <a:pt x="358" y="100"/>
                </a:lnTo>
                <a:lnTo>
                  <a:pt x="385" y="119"/>
                </a:lnTo>
                <a:lnTo>
                  <a:pt x="400" y="128"/>
                </a:lnTo>
                <a:lnTo>
                  <a:pt x="412" y="137"/>
                </a:lnTo>
                <a:lnTo>
                  <a:pt x="439" y="158"/>
                </a:lnTo>
                <a:lnTo>
                  <a:pt x="463" y="179"/>
                </a:lnTo>
                <a:lnTo>
                  <a:pt x="487" y="202"/>
                </a:lnTo>
                <a:lnTo>
                  <a:pt x="510" y="226"/>
                </a:lnTo>
                <a:lnTo>
                  <a:pt x="521" y="238"/>
                </a:lnTo>
                <a:lnTo>
                  <a:pt x="532" y="250"/>
                </a:lnTo>
                <a:lnTo>
                  <a:pt x="552" y="277"/>
                </a:lnTo>
                <a:lnTo>
                  <a:pt x="563" y="291"/>
                </a:lnTo>
                <a:lnTo>
                  <a:pt x="572" y="304"/>
                </a:lnTo>
                <a:lnTo>
                  <a:pt x="590" y="333"/>
                </a:lnTo>
                <a:lnTo>
                  <a:pt x="598" y="346"/>
                </a:lnTo>
                <a:lnTo>
                  <a:pt x="606" y="361"/>
                </a:lnTo>
                <a:lnTo>
                  <a:pt x="614" y="376"/>
                </a:lnTo>
                <a:lnTo>
                  <a:pt x="622" y="391"/>
                </a:lnTo>
                <a:lnTo>
                  <a:pt x="636" y="422"/>
                </a:lnTo>
                <a:lnTo>
                  <a:pt x="648" y="452"/>
                </a:lnTo>
                <a:lnTo>
                  <a:pt x="659" y="485"/>
                </a:lnTo>
                <a:lnTo>
                  <a:pt x="668" y="517"/>
                </a:lnTo>
                <a:lnTo>
                  <a:pt x="676" y="551"/>
                </a:lnTo>
                <a:lnTo>
                  <a:pt x="679" y="567"/>
                </a:lnTo>
                <a:lnTo>
                  <a:pt x="681" y="584"/>
                </a:lnTo>
                <a:lnTo>
                  <a:pt x="684" y="602"/>
                </a:lnTo>
                <a:lnTo>
                  <a:pt x="685" y="619"/>
                </a:lnTo>
                <a:lnTo>
                  <a:pt x="688" y="654"/>
                </a:lnTo>
                <a:lnTo>
                  <a:pt x="690" y="690"/>
                </a:lnTo>
                <a:close/>
              </a:path>
            </a:pathLst>
          </a:custGeom>
          <a:solidFill>
            <a:srgbClr val="C00000"/>
          </a:solidFill>
          <a:ln w="9525">
            <a:noFill/>
            <a:round/>
            <a:headEnd/>
            <a:tailEnd/>
          </a:ln>
        </p:spPr>
        <p:txBody>
          <a:bodyPr/>
          <a:lstStyle/>
          <a:p>
            <a:endParaRPr lang="en-US"/>
          </a:p>
        </p:txBody>
      </p:sp>
      <p:sp>
        <p:nvSpPr>
          <p:cNvPr id="13" name="Freeform 32">
            <a:extLst>
              <a:ext uri="{FF2B5EF4-FFF2-40B4-BE49-F238E27FC236}">
                <a16:creationId xmlns:a16="http://schemas.microsoft.com/office/drawing/2014/main" id="{DD928020-FF2E-E9FD-A64C-53F64F88B276}"/>
              </a:ext>
            </a:extLst>
          </p:cNvPr>
          <p:cNvSpPr>
            <a:spLocks/>
          </p:cNvSpPr>
          <p:nvPr/>
        </p:nvSpPr>
        <p:spPr bwMode="auto">
          <a:xfrm>
            <a:off x="6095401" y="2931858"/>
            <a:ext cx="1990148" cy="1990148"/>
          </a:xfrm>
          <a:custGeom>
            <a:avLst/>
            <a:gdLst/>
            <a:ahLst/>
            <a:cxnLst>
              <a:cxn ang="0">
                <a:pos x="743" y="2"/>
              </a:cxn>
              <a:cxn ang="0">
                <a:pos x="795" y="8"/>
              </a:cxn>
              <a:cxn ang="0">
                <a:pos x="846" y="17"/>
              </a:cxn>
              <a:cxn ang="0">
                <a:pos x="894" y="30"/>
              </a:cxn>
              <a:cxn ang="0">
                <a:pos x="957" y="53"/>
              </a:cxn>
              <a:cxn ang="0">
                <a:pos x="1018" y="83"/>
              </a:cxn>
              <a:cxn ang="0">
                <a:pos x="1089" y="127"/>
              </a:cxn>
              <a:cxn ang="0">
                <a:pos x="1153" y="179"/>
              </a:cxn>
              <a:cxn ang="0">
                <a:pos x="1211" y="238"/>
              </a:cxn>
              <a:cxn ang="0">
                <a:pos x="1252" y="290"/>
              </a:cxn>
              <a:cxn ang="0">
                <a:pos x="1287" y="346"/>
              </a:cxn>
              <a:cxn ang="0">
                <a:pos x="1312" y="390"/>
              </a:cxn>
              <a:cxn ang="0">
                <a:pos x="1348" y="484"/>
              </a:cxn>
              <a:cxn ang="0">
                <a:pos x="1368" y="566"/>
              </a:cxn>
              <a:cxn ang="0">
                <a:pos x="1375" y="619"/>
              </a:cxn>
              <a:cxn ang="0">
                <a:pos x="1378" y="724"/>
              </a:cxn>
              <a:cxn ang="0">
                <a:pos x="1374" y="777"/>
              </a:cxn>
              <a:cxn ang="0">
                <a:pos x="1366" y="828"/>
              </a:cxn>
              <a:cxn ang="0">
                <a:pos x="1353" y="878"/>
              </a:cxn>
              <a:cxn ang="0">
                <a:pos x="1332" y="942"/>
              </a:cxn>
              <a:cxn ang="0">
                <a:pos x="1304" y="1003"/>
              </a:cxn>
              <a:cxn ang="0">
                <a:pos x="1262" y="1074"/>
              </a:cxn>
              <a:cxn ang="0">
                <a:pos x="1221" y="1128"/>
              </a:cxn>
              <a:cxn ang="0">
                <a:pos x="1153" y="1199"/>
              </a:cxn>
              <a:cxn ang="0">
                <a:pos x="1102" y="1241"/>
              </a:cxn>
              <a:cxn ang="0">
                <a:pos x="1048" y="1279"/>
              </a:cxn>
              <a:cxn ang="0">
                <a:pos x="1003" y="1303"/>
              </a:cxn>
              <a:cxn ang="0">
                <a:pos x="927" y="1337"/>
              </a:cxn>
              <a:cxn ang="0">
                <a:pos x="828" y="1365"/>
              </a:cxn>
              <a:cxn ang="0">
                <a:pos x="777" y="1373"/>
              </a:cxn>
              <a:cxn ang="0">
                <a:pos x="690" y="1379"/>
              </a:cxn>
              <a:cxn ang="0">
                <a:pos x="685" y="1308"/>
              </a:cxn>
              <a:cxn ang="0">
                <a:pos x="679" y="1256"/>
              </a:cxn>
              <a:cxn ang="0">
                <a:pos x="668" y="1206"/>
              </a:cxn>
              <a:cxn ang="0">
                <a:pos x="648" y="1141"/>
              </a:cxn>
              <a:cxn ang="0">
                <a:pos x="622" y="1080"/>
              </a:cxn>
              <a:cxn ang="0">
                <a:pos x="590" y="1022"/>
              </a:cxn>
              <a:cxn ang="0">
                <a:pos x="552" y="966"/>
              </a:cxn>
              <a:cxn ang="0">
                <a:pos x="487" y="891"/>
              </a:cxn>
              <a:cxn ang="0">
                <a:pos x="439" y="847"/>
              </a:cxn>
              <a:cxn ang="0">
                <a:pos x="385" y="808"/>
              </a:cxn>
              <a:cxn ang="0">
                <a:pos x="329" y="772"/>
              </a:cxn>
              <a:cxn ang="0">
                <a:pos x="268" y="743"/>
              </a:cxn>
              <a:cxn ang="0">
                <a:pos x="172" y="711"/>
              </a:cxn>
              <a:cxn ang="0">
                <a:pos x="105" y="697"/>
              </a:cxn>
              <a:cxn ang="0">
                <a:pos x="35" y="690"/>
              </a:cxn>
              <a:cxn ang="0">
                <a:pos x="54" y="688"/>
              </a:cxn>
              <a:cxn ang="0">
                <a:pos x="105" y="681"/>
              </a:cxn>
              <a:cxn ang="0">
                <a:pos x="156" y="671"/>
              </a:cxn>
              <a:cxn ang="0">
                <a:pos x="205" y="658"/>
              </a:cxn>
              <a:cxn ang="0">
                <a:pos x="268" y="635"/>
              </a:cxn>
              <a:cxn ang="0">
                <a:pos x="329" y="606"/>
              </a:cxn>
              <a:cxn ang="0">
                <a:pos x="400" y="562"/>
              </a:cxn>
              <a:cxn ang="0">
                <a:pos x="463" y="510"/>
              </a:cxn>
              <a:cxn ang="0">
                <a:pos x="521" y="451"/>
              </a:cxn>
              <a:cxn ang="0">
                <a:pos x="563" y="399"/>
              </a:cxn>
              <a:cxn ang="0">
                <a:pos x="598" y="343"/>
              </a:cxn>
              <a:cxn ang="0">
                <a:pos x="622" y="298"/>
              </a:cxn>
              <a:cxn ang="0">
                <a:pos x="659" y="204"/>
              </a:cxn>
              <a:cxn ang="0">
                <a:pos x="679" y="122"/>
              </a:cxn>
              <a:cxn ang="0">
                <a:pos x="685" y="70"/>
              </a:cxn>
            </a:cxnLst>
            <a:rect l="0" t="0" r="r" b="b"/>
            <a:pathLst>
              <a:path w="1379" h="1379">
                <a:moveTo>
                  <a:pt x="690" y="0"/>
                </a:moveTo>
                <a:lnTo>
                  <a:pt x="725" y="1"/>
                </a:lnTo>
                <a:lnTo>
                  <a:pt x="743" y="2"/>
                </a:lnTo>
                <a:lnTo>
                  <a:pt x="760" y="4"/>
                </a:lnTo>
                <a:lnTo>
                  <a:pt x="777" y="5"/>
                </a:lnTo>
                <a:lnTo>
                  <a:pt x="795" y="8"/>
                </a:lnTo>
                <a:lnTo>
                  <a:pt x="812" y="10"/>
                </a:lnTo>
                <a:lnTo>
                  <a:pt x="828" y="14"/>
                </a:lnTo>
                <a:lnTo>
                  <a:pt x="846" y="17"/>
                </a:lnTo>
                <a:lnTo>
                  <a:pt x="862" y="21"/>
                </a:lnTo>
                <a:lnTo>
                  <a:pt x="878" y="26"/>
                </a:lnTo>
                <a:lnTo>
                  <a:pt x="894" y="30"/>
                </a:lnTo>
                <a:lnTo>
                  <a:pt x="927" y="41"/>
                </a:lnTo>
                <a:lnTo>
                  <a:pt x="943" y="48"/>
                </a:lnTo>
                <a:lnTo>
                  <a:pt x="957" y="53"/>
                </a:lnTo>
                <a:lnTo>
                  <a:pt x="988" y="68"/>
                </a:lnTo>
                <a:lnTo>
                  <a:pt x="1003" y="75"/>
                </a:lnTo>
                <a:lnTo>
                  <a:pt x="1018" y="83"/>
                </a:lnTo>
                <a:lnTo>
                  <a:pt x="1048" y="99"/>
                </a:lnTo>
                <a:lnTo>
                  <a:pt x="1075" y="118"/>
                </a:lnTo>
                <a:lnTo>
                  <a:pt x="1089" y="127"/>
                </a:lnTo>
                <a:lnTo>
                  <a:pt x="1102" y="137"/>
                </a:lnTo>
                <a:lnTo>
                  <a:pt x="1129" y="157"/>
                </a:lnTo>
                <a:lnTo>
                  <a:pt x="1153" y="179"/>
                </a:lnTo>
                <a:lnTo>
                  <a:pt x="1177" y="202"/>
                </a:lnTo>
                <a:lnTo>
                  <a:pt x="1200" y="226"/>
                </a:lnTo>
                <a:lnTo>
                  <a:pt x="1211" y="238"/>
                </a:lnTo>
                <a:lnTo>
                  <a:pt x="1221" y="250"/>
                </a:lnTo>
                <a:lnTo>
                  <a:pt x="1242" y="277"/>
                </a:lnTo>
                <a:lnTo>
                  <a:pt x="1252" y="290"/>
                </a:lnTo>
                <a:lnTo>
                  <a:pt x="1262" y="304"/>
                </a:lnTo>
                <a:lnTo>
                  <a:pt x="1279" y="332"/>
                </a:lnTo>
                <a:lnTo>
                  <a:pt x="1287" y="346"/>
                </a:lnTo>
                <a:lnTo>
                  <a:pt x="1296" y="360"/>
                </a:lnTo>
                <a:lnTo>
                  <a:pt x="1304" y="375"/>
                </a:lnTo>
                <a:lnTo>
                  <a:pt x="1312" y="390"/>
                </a:lnTo>
                <a:lnTo>
                  <a:pt x="1325" y="421"/>
                </a:lnTo>
                <a:lnTo>
                  <a:pt x="1337" y="452"/>
                </a:lnTo>
                <a:lnTo>
                  <a:pt x="1348" y="484"/>
                </a:lnTo>
                <a:lnTo>
                  <a:pt x="1357" y="517"/>
                </a:lnTo>
                <a:lnTo>
                  <a:pt x="1366" y="550"/>
                </a:lnTo>
                <a:lnTo>
                  <a:pt x="1368" y="566"/>
                </a:lnTo>
                <a:lnTo>
                  <a:pt x="1371" y="584"/>
                </a:lnTo>
                <a:lnTo>
                  <a:pt x="1374" y="601"/>
                </a:lnTo>
                <a:lnTo>
                  <a:pt x="1375" y="619"/>
                </a:lnTo>
                <a:lnTo>
                  <a:pt x="1378" y="654"/>
                </a:lnTo>
                <a:lnTo>
                  <a:pt x="1379" y="689"/>
                </a:lnTo>
                <a:lnTo>
                  <a:pt x="1378" y="724"/>
                </a:lnTo>
                <a:lnTo>
                  <a:pt x="1378" y="743"/>
                </a:lnTo>
                <a:lnTo>
                  <a:pt x="1375" y="759"/>
                </a:lnTo>
                <a:lnTo>
                  <a:pt x="1374" y="777"/>
                </a:lnTo>
                <a:lnTo>
                  <a:pt x="1371" y="794"/>
                </a:lnTo>
                <a:lnTo>
                  <a:pt x="1368" y="812"/>
                </a:lnTo>
                <a:lnTo>
                  <a:pt x="1366" y="828"/>
                </a:lnTo>
                <a:lnTo>
                  <a:pt x="1361" y="845"/>
                </a:lnTo>
                <a:lnTo>
                  <a:pt x="1357" y="861"/>
                </a:lnTo>
                <a:lnTo>
                  <a:pt x="1353" y="878"/>
                </a:lnTo>
                <a:lnTo>
                  <a:pt x="1348" y="894"/>
                </a:lnTo>
                <a:lnTo>
                  <a:pt x="1337" y="926"/>
                </a:lnTo>
                <a:lnTo>
                  <a:pt x="1332" y="942"/>
                </a:lnTo>
                <a:lnTo>
                  <a:pt x="1325" y="957"/>
                </a:lnTo>
                <a:lnTo>
                  <a:pt x="1312" y="988"/>
                </a:lnTo>
                <a:lnTo>
                  <a:pt x="1304" y="1003"/>
                </a:lnTo>
                <a:lnTo>
                  <a:pt x="1296" y="1018"/>
                </a:lnTo>
                <a:lnTo>
                  <a:pt x="1279" y="1047"/>
                </a:lnTo>
                <a:lnTo>
                  <a:pt x="1262" y="1074"/>
                </a:lnTo>
                <a:lnTo>
                  <a:pt x="1252" y="1089"/>
                </a:lnTo>
                <a:lnTo>
                  <a:pt x="1242" y="1101"/>
                </a:lnTo>
                <a:lnTo>
                  <a:pt x="1221" y="1128"/>
                </a:lnTo>
                <a:lnTo>
                  <a:pt x="1200" y="1152"/>
                </a:lnTo>
                <a:lnTo>
                  <a:pt x="1177" y="1176"/>
                </a:lnTo>
                <a:lnTo>
                  <a:pt x="1153" y="1199"/>
                </a:lnTo>
                <a:lnTo>
                  <a:pt x="1141" y="1210"/>
                </a:lnTo>
                <a:lnTo>
                  <a:pt x="1129" y="1221"/>
                </a:lnTo>
                <a:lnTo>
                  <a:pt x="1102" y="1241"/>
                </a:lnTo>
                <a:lnTo>
                  <a:pt x="1089" y="1252"/>
                </a:lnTo>
                <a:lnTo>
                  <a:pt x="1075" y="1261"/>
                </a:lnTo>
                <a:lnTo>
                  <a:pt x="1048" y="1279"/>
                </a:lnTo>
                <a:lnTo>
                  <a:pt x="1033" y="1287"/>
                </a:lnTo>
                <a:lnTo>
                  <a:pt x="1018" y="1295"/>
                </a:lnTo>
                <a:lnTo>
                  <a:pt x="1003" y="1303"/>
                </a:lnTo>
                <a:lnTo>
                  <a:pt x="988" y="1311"/>
                </a:lnTo>
                <a:lnTo>
                  <a:pt x="957" y="1325"/>
                </a:lnTo>
                <a:lnTo>
                  <a:pt x="927" y="1337"/>
                </a:lnTo>
                <a:lnTo>
                  <a:pt x="894" y="1348"/>
                </a:lnTo>
                <a:lnTo>
                  <a:pt x="862" y="1357"/>
                </a:lnTo>
                <a:lnTo>
                  <a:pt x="828" y="1365"/>
                </a:lnTo>
                <a:lnTo>
                  <a:pt x="812" y="1368"/>
                </a:lnTo>
                <a:lnTo>
                  <a:pt x="795" y="1370"/>
                </a:lnTo>
                <a:lnTo>
                  <a:pt x="777" y="1373"/>
                </a:lnTo>
                <a:lnTo>
                  <a:pt x="760" y="1374"/>
                </a:lnTo>
                <a:lnTo>
                  <a:pt x="725" y="1377"/>
                </a:lnTo>
                <a:lnTo>
                  <a:pt x="690" y="1379"/>
                </a:lnTo>
                <a:lnTo>
                  <a:pt x="688" y="1343"/>
                </a:lnTo>
                <a:lnTo>
                  <a:pt x="688" y="1326"/>
                </a:lnTo>
                <a:lnTo>
                  <a:pt x="685" y="1308"/>
                </a:lnTo>
                <a:lnTo>
                  <a:pt x="684" y="1291"/>
                </a:lnTo>
                <a:lnTo>
                  <a:pt x="681" y="1273"/>
                </a:lnTo>
                <a:lnTo>
                  <a:pt x="679" y="1256"/>
                </a:lnTo>
                <a:lnTo>
                  <a:pt x="676" y="1240"/>
                </a:lnTo>
                <a:lnTo>
                  <a:pt x="672" y="1222"/>
                </a:lnTo>
                <a:lnTo>
                  <a:pt x="668" y="1206"/>
                </a:lnTo>
                <a:lnTo>
                  <a:pt x="664" y="1190"/>
                </a:lnTo>
                <a:lnTo>
                  <a:pt x="659" y="1174"/>
                </a:lnTo>
                <a:lnTo>
                  <a:pt x="648" y="1141"/>
                </a:lnTo>
                <a:lnTo>
                  <a:pt x="642" y="1125"/>
                </a:lnTo>
                <a:lnTo>
                  <a:pt x="636" y="1111"/>
                </a:lnTo>
                <a:lnTo>
                  <a:pt x="622" y="1080"/>
                </a:lnTo>
                <a:lnTo>
                  <a:pt x="614" y="1065"/>
                </a:lnTo>
                <a:lnTo>
                  <a:pt x="606" y="1050"/>
                </a:lnTo>
                <a:lnTo>
                  <a:pt x="590" y="1022"/>
                </a:lnTo>
                <a:lnTo>
                  <a:pt x="572" y="993"/>
                </a:lnTo>
                <a:lnTo>
                  <a:pt x="563" y="980"/>
                </a:lnTo>
                <a:lnTo>
                  <a:pt x="552" y="966"/>
                </a:lnTo>
                <a:lnTo>
                  <a:pt x="532" y="939"/>
                </a:lnTo>
                <a:lnTo>
                  <a:pt x="510" y="915"/>
                </a:lnTo>
                <a:lnTo>
                  <a:pt x="487" y="891"/>
                </a:lnTo>
                <a:lnTo>
                  <a:pt x="463" y="868"/>
                </a:lnTo>
                <a:lnTo>
                  <a:pt x="451" y="857"/>
                </a:lnTo>
                <a:lnTo>
                  <a:pt x="439" y="847"/>
                </a:lnTo>
                <a:lnTo>
                  <a:pt x="412" y="826"/>
                </a:lnTo>
                <a:lnTo>
                  <a:pt x="400" y="817"/>
                </a:lnTo>
                <a:lnTo>
                  <a:pt x="385" y="808"/>
                </a:lnTo>
                <a:lnTo>
                  <a:pt x="358" y="789"/>
                </a:lnTo>
                <a:lnTo>
                  <a:pt x="343" y="781"/>
                </a:lnTo>
                <a:lnTo>
                  <a:pt x="329" y="772"/>
                </a:lnTo>
                <a:lnTo>
                  <a:pt x="314" y="764"/>
                </a:lnTo>
                <a:lnTo>
                  <a:pt x="299" y="758"/>
                </a:lnTo>
                <a:lnTo>
                  <a:pt x="268" y="743"/>
                </a:lnTo>
                <a:lnTo>
                  <a:pt x="237" y="731"/>
                </a:lnTo>
                <a:lnTo>
                  <a:pt x="205" y="720"/>
                </a:lnTo>
                <a:lnTo>
                  <a:pt x="172" y="711"/>
                </a:lnTo>
                <a:lnTo>
                  <a:pt x="139" y="704"/>
                </a:lnTo>
                <a:lnTo>
                  <a:pt x="123" y="700"/>
                </a:lnTo>
                <a:lnTo>
                  <a:pt x="105" y="697"/>
                </a:lnTo>
                <a:lnTo>
                  <a:pt x="88" y="694"/>
                </a:lnTo>
                <a:lnTo>
                  <a:pt x="70" y="693"/>
                </a:lnTo>
                <a:lnTo>
                  <a:pt x="35" y="690"/>
                </a:lnTo>
                <a:lnTo>
                  <a:pt x="0" y="689"/>
                </a:lnTo>
                <a:lnTo>
                  <a:pt x="35" y="688"/>
                </a:lnTo>
                <a:lnTo>
                  <a:pt x="54" y="688"/>
                </a:lnTo>
                <a:lnTo>
                  <a:pt x="70" y="685"/>
                </a:lnTo>
                <a:lnTo>
                  <a:pt x="88" y="684"/>
                </a:lnTo>
                <a:lnTo>
                  <a:pt x="105" y="681"/>
                </a:lnTo>
                <a:lnTo>
                  <a:pt x="123" y="678"/>
                </a:lnTo>
                <a:lnTo>
                  <a:pt x="139" y="676"/>
                </a:lnTo>
                <a:lnTo>
                  <a:pt x="156" y="671"/>
                </a:lnTo>
                <a:lnTo>
                  <a:pt x="172" y="667"/>
                </a:lnTo>
                <a:lnTo>
                  <a:pt x="189" y="663"/>
                </a:lnTo>
                <a:lnTo>
                  <a:pt x="205" y="658"/>
                </a:lnTo>
                <a:lnTo>
                  <a:pt x="237" y="647"/>
                </a:lnTo>
                <a:lnTo>
                  <a:pt x="253" y="642"/>
                </a:lnTo>
                <a:lnTo>
                  <a:pt x="268" y="635"/>
                </a:lnTo>
                <a:lnTo>
                  <a:pt x="299" y="622"/>
                </a:lnTo>
                <a:lnTo>
                  <a:pt x="314" y="614"/>
                </a:lnTo>
                <a:lnTo>
                  <a:pt x="329" y="606"/>
                </a:lnTo>
                <a:lnTo>
                  <a:pt x="358" y="589"/>
                </a:lnTo>
                <a:lnTo>
                  <a:pt x="385" y="572"/>
                </a:lnTo>
                <a:lnTo>
                  <a:pt x="400" y="562"/>
                </a:lnTo>
                <a:lnTo>
                  <a:pt x="412" y="552"/>
                </a:lnTo>
                <a:lnTo>
                  <a:pt x="439" y="531"/>
                </a:lnTo>
                <a:lnTo>
                  <a:pt x="463" y="510"/>
                </a:lnTo>
                <a:lnTo>
                  <a:pt x="487" y="487"/>
                </a:lnTo>
                <a:lnTo>
                  <a:pt x="510" y="463"/>
                </a:lnTo>
                <a:lnTo>
                  <a:pt x="521" y="451"/>
                </a:lnTo>
                <a:lnTo>
                  <a:pt x="532" y="439"/>
                </a:lnTo>
                <a:lnTo>
                  <a:pt x="552" y="412"/>
                </a:lnTo>
                <a:lnTo>
                  <a:pt x="563" y="399"/>
                </a:lnTo>
                <a:lnTo>
                  <a:pt x="572" y="385"/>
                </a:lnTo>
                <a:lnTo>
                  <a:pt x="590" y="358"/>
                </a:lnTo>
                <a:lnTo>
                  <a:pt x="598" y="343"/>
                </a:lnTo>
                <a:lnTo>
                  <a:pt x="606" y="328"/>
                </a:lnTo>
                <a:lnTo>
                  <a:pt x="614" y="313"/>
                </a:lnTo>
                <a:lnTo>
                  <a:pt x="622" y="298"/>
                </a:lnTo>
                <a:lnTo>
                  <a:pt x="636" y="267"/>
                </a:lnTo>
                <a:lnTo>
                  <a:pt x="648" y="237"/>
                </a:lnTo>
                <a:lnTo>
                  <a:pt x="659" y="204"/>
                </a:lnTo>
                <a:lnTo>
                  <a:pt x="668" y="172"/>
                </a:lnTo>
                <a:lnTo>
                  <a:pt x="676" y="138"/>
                </a:lnTo>
                <a:lnTo>
                  <a:pt x="679" y="122"/>
                </a:lnTo>
                <a:lnTo>
                  <a:pt x="681" y="105"/>
                </a:lnTo>
                <a:lnTo>
                  <a:pt x="684" y="87"/>
                </a:lnTo>
                <a:lnTo>
                  <a:pt x="685" y="70"/>
                </a:lnTo>
                <a:lnTo>
                  <a:pt x="688" y="35"/>
                </a:lnTo>
                <a:lnTo>
                  <a:pt x="690" y="0"/>
                </a:lnTo>
                <a:close/>
              </a:path>
            </a:pathLst>
          </a:custGeom>
          <a:pattFill prst="wdUpDiag">
            <a:fgClr>
              <a:schemeClr val="tx2">
                <a:lumMod val="20000"/>
                <a:lumOff val="80000"/>
              </a:schemeClr>
            </a:fgClr>
            <a:bgClr>
              <a:schemeClr val="bg1"/>
            </a:bgClr>
          </a:pattFill>
          <a:ln w="9525">
            <a:noFill/>
            <a:round/>
            <a:headEnd/>
            <a:tailEnd/>
          </a:ln>
        </p:spPr>
        <p:txBody>
          <a:bodyPr/>
          <a:lstStyle/>
          <a:p>
            <a:endParaRPr lang="en-US"/>
          </a:p>
        </p:txBody>
      </p:sp>
      <p:sp>
        <p:nvSpPr>
          <p:cNvPr id="14" name="Oval 33">
            <a:extLst>
              <a:ext uri="{FF2B5EF4-FFF2-40B4-BE49-F238E27FC236}">
                <a16:creationId xmlns:a16="http://schemas.microsoft.com/office/drawing/2014/main" id="{CC986B2C-B079-43C7-4B7F-99C07EDEA5F4}"/>
              </a:ext>
            </a:extLst>
          </p:cNvPr>
          <p:cNvSpPr>
            <a:spLocks noChangeArrowheads="1"/>
          </p:cNvSpPr>
          <p:nvPr/>
        </p:nvSpPr>
        <p:spPr bwMode="auto">
          <a:xfrm rot="5400000">
            <a:off x="5101049" y="3927653"/>
            <a:ext cx="1988705" cy="1988705"/>
          </a:xfrm>
          <a:prstGeom prst="ellipse">
            <a:avLst/>
          </a:prstGeom>
          <a:noFill/>
          <a:ln w="6350">
            <a:noFill/>
            <a:round/>
            <a:headEnd/>
            <a:tailEnd/>
          </a:ln>
          <a:effectLst/>
        </p:spPr>
        <p:txBody>
          <a:bodyPr rot="10800000" vert="eaVert" lIns="45720" rIns="45720" anchor="ctr" anchorCtr="1"/>
          <a:lstStyle/>
          <a:p>
            <a:pPr eaLnBrk="0" hangingPunct="0"/>
            <a:r>
              <a:rPr lang="en-US" b="1">
                <a:solidFill>
                  <a:schemeClr val="bg1"/>
                </a:solidFill>
              </a:rPr>
              <a:t>Text</a:t>
            </a:r>
          </a:p>
        </p:txBody>
      </p:sp>
      <p:sp>
        <p:nvSpPr>
          <p:cNvPr id="15" name="Oval 34">
            <a:extLst>
              <a:ext uri="{FF2B5EF4-FFF2-40B4-BE49-F238E27FC236}">
                <a16:creationId xmlns:a16="http://schemas.microsoft.com/office/drawing/2014/main" id="{A97A4069-9FD2-1AE0-34E5-7952477DD12B}"/>
              </a:ext>
            </a:extLst>
          </p:cNvPr>
          <p:cNvSpPr>
            <a:spLocks noChangeArrowheads="1"/>
          </p:cNvSpPr>
          <p:nvPr/>
        </p:nvSpPr>
        <p:spPr bwMode="auto">
          <a:xfrm rot="5400000">
            <a:off x="5101770" y="1935341"/>
            <a:ext cx="1988705" cy="1990147"/>
          </a:xfrm>
          <a:prstGeom prst="ellipse">
            <a:avLst/>
          </a:prstGeom>
          <a:noFill/>
          <a:ln w="6350">
            <a:noFill/>
            <a:round/>
            <a:headEnd/>
            <a:tailEnd/>
          </a:ln>
          <a:effectLst/>
        </p:spPr>
        <p:txBody>
          <a:bodyPr rot="10800000" vert="eaVert" lIns="45720" rIns="45720" anchor="ctr" anchorCtr="1"/>
          <a:lstStyle/>
          <a:p>
            <a:pPr eaLnBrk="0" hangingPunct="0"/>
            <a:r>
              <a:rPr lang="en-US" b="1">
                <a:solidFill>
                  <a:schemeClr val="bg1"/>
                </a:solidFill>
              </a:rPr>
              <a:t>Text</a:t>
            </a:r>
          </a:p>
        </p:txBody>
      </p:sp>
      <p:sp>
        <p:nvSpPr>
          <p:cNvPr id="16" name="Oval 35">
            <a:extLst>
              <a:ext uri="{FF2B5EF4-FFF2-40B4-BE49-F238E27FC236}">
                <a16:creationId xmlns:a16="http://schemas.microsoft.com/office/drawing/2014/main" id="{555AE607-F686-53DF-2C5E-E6FCFC87B05C}"/>
              </a:ext>
            </a:extLst>
          </p:cNvPr>
          <p:cNvSpPr>
            <a:spLocks noChangeArrowheads="1"/>
          </p:cNvSpPr>
          <p:nvPr/>
        </p:nvSpPr>
        <p:spPr bwMode="auto">
          <a:xfrm>
            <a:off x="4105253" y="2931858"/>
            <a:ext cx="1988705" cy="1988705"/>
          </a:xfrm>
          <a:prstGeom prst="ellipse">
            <a:avLst/>
          </a:prstGeom>
          <a:noFill/>
          <a:ln w="6350">
            <a:noFill/>
            <a:round/>
            <a:headEnd/>
            <a:tailEnd/>
          </a:ln>
          <a:effectLst/>
        </p:spPr>
        <p:txBody>
          <a:bodyPr lIns="45720" rIns="45720" anchor="ctr" anchorCtr="1"/>
          <a:lstStyle/>
          <a:p>
            <a:pPr eaLnBrk="0" hangingPunct="0"/>
            <a:r>
              <a:rPr lang="en-US">
                <a:solidFill>
                  <a:schemeClr val="tx1"/>
                </a:solidFill>
              </a:rPr>
              <a:t>Text</a:t>
            </a:r>
          </a:p>
        </p:txBody>
      </p:sp>
      <p:sp>
        <p:nvSpPr>
          <p:cNvPr id="17" name="Oval 36">
            <a:extLst>
              <a:ext uri="{FF2B5EF4-FFF2-40B4-BE49-F238E27FC236}">
                <a16:creationId xmlns:a16="http://schemas.microsoft.com/office/drawing/2014/main" id="{BC0EE10A-12B7-4998-9198-2D0316635865}"/>
              </a:ext>
            </a:extLst>
          </p:cNvPr>
          <p:cNvSpPr>
            <a:spLocks noChangeArrowheads="1"/>
          </p:cNvSpPr>
          <p:nvPr/>
        </p:nvSpPr>
        <p:spPr bwMode="auto">
          <a:xfrm>
            <a:off x="6095401" y="2931858"/>
            <a:ext cx="1988705" cy="1988705"/>
          </a:xfrm>
          <a:prstGeom prst="ellipse">
            <a:avLst/>
          </a:prstGeom>
          <a:noFill/>
          <a:ln w="6350">
            <a:noFill/>
            <a:round/>
            <a:headEnd/>
            <a:tailEnd/>
          </a:ln>
          <a:effectLst/>
        </p:spPr>
        <p:txBody>
          <a:bodyPr lIns="45720" rIns="45720" anchor="ctr" anchorCtr="1"/>
          <a:lstStyle/>
          <a:p>
            <a:pPr eaLnBrk="0" hangingPunct="0"/>
            <a:r>
              <a:rPr lang="en-US">
                <a:solidFill>
                  <a:schemeClr val="tx1"/>
                </a:solidFill>
              </a:rPr>
              <a:t>Text</a:t>
            </a:r>
          </a:p>
        </p:txBody>
      </p:sp>
      <p:cxnSp>
        <p:nvCxnSpPr>
          <p:cNvPr id="36" name="Straight Connector 35">
            <a:extLst>
              <a:ext uri="{FF2B5EF4-FFF2-40B4-BE49-F238E27FC236}">
                <a16:creationId xmlns:a16="http://schemas.microsoft.com/office/drawing/2014/main" id="{75E1A85C-47E4-B13C-A87C-C8EF545066EF}"/>
              </a:ext>
            </a:extLst>
          </p:cNvPr>
          <p:cNvCxnSpPr>
            <a:cxnSpLocks/>
            <a:stCxn id="15" idx="2"/>
          </p:cNvCxnSpPr>
          <p:nvPr/>
        </p:nvCxnSpPr>
        <p:spPr>
          <a:xfrm flipV="1">
            <a:off x="6096123" y="1936062"/>
            <a:ext cx="2644640" cy="1"/>
          </a:xfrm>
          <a:prstGeom prst="line">
            <a:avLst/>
          </a:prstGeom>
          <a:ln w="12700">
            <a:solidFill>
              <a:srgbClr val="FF0000"/>
            </a:solidFill>
            <a:prstDash val="dash"/>
            <a:tailEnd type="oval"/>
          </a:ln>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FE43650E-631D-D2C2-D1F2-D1A7F17BBBA0}"/>
              </a:ext>
            </a:extLst>
          </p:cNvPr>
          <p:cNvCxnSpPr>
            <a:cxnSpLocks/>
          </p:cNvCxnSpPr>
          <p:nvPr/>
        </p:nvCxnSpPr>
        <p:spPr>
          <a:xfrm flipV="1">
            <a:off x="3449318" y="5925127"/>
            <a:ext cx="2644640" cy="1"/>
          </a:xfrm>
          <a:prstGeom prst="line">
            <a:avLst/>
          </a:prstGeom>
          <a:ln w="12700">
            <a:solidFill>
              <a:srgbClr val="FF0000"/>
            </a:solidFill>
            <a:prstDash val="dash"/>
            <a:headEnd type="oval"/>
          </a:ln>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06959410-AA38-1EBF-EF7D-3096146C72B3}"/>
              </a:ext>
            </a:extLst>
          </p:cNvPr>
          <p:cNvSpPr txBox="1"/>
          <p:nvPr/>
        </p:nvSpPr>
        <p:spPr>
          <a:xfrm>
            <a:off x="8838834" y="1783196"/>
            <a:ext cx="2932619" cy="1754326"/>
          </a:xfrm>
          <a:prstGeom prst="rect">
            <a:avLst/>
          </a:prstGeom>
          <a:noFill/>
        </p:spPr>
        <p:txBody>
          <a:bodyPr wrap="square">
            <a:spAutoFit/>
          </a:bodyPr>
          <a:lstStyle/>
          <a:p>
            <a:r>
              <a:rPr lang="en-US" sz="12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200" err="1">
                <a:solidFill>
                  <a:schemeClr val="tx1">
                    <a:lumMod val="75000"/>
                    <a:lumOff val="25000"/>
                  </a:schemeClr>
                </a:solidFill>
                <a:latin typeface="Segoe UI" panose="020B0502040204020203" pitchFamily="34" charset="0"/>
                <a:cs typeface="Segoe UI" panose="020B0502040204020203" pitchFamily="34" charset="0"/>
              </a:rPr>
              <a:t>ame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elit</a:t>
            </a:r>
            <a:r>
              <a:rPr lang="en-US" sz="1200">
                <a:solidFill>
                  <a:schemeClr val="tx1">
                    <a:lumMod val="75000"/>
                    <a:lumOff val="25000"/>
                  </a:schemeClr>
                </a:solidFill>
                <a:latin typeface="Segoe UI" panose="020B0502040204020203" pitchFamily="34" charset="0"/>
                <a:cs typeface="Segoe UI" panose="020B0502040204020203" pitchFamily="34" charset="0"/>
              </a:rPr>
              <a:t>, sed do </a:t>
            </a:r>
            <a:r>
              <a:rPr lang="en-US" sz="1200" err="1">
                <a:solidFill>
                  <a:schemeClr val="tx1">
                    <a:lumMod val="75000"/>
                    <a:lumOff val="25000"/>
                  </a:schemeClr>
                </a:solidFill>
                <a:latin typeface="Segoe UI" panose="020B0502040204020203" pitchFamily="34" charset="0"/>
                <a:cs typeface="Segoe UI" panose="020B0502040204020203" pitchFamily="34" charset="0"/>
              </a:rPr>
              <a:t>eiusmod</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tempo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t</a:t>
            </a:r>
            <a:r>
              <a:rPr lang="en-US" sz="1200">
                <a:solidFill>
                  <a:schemeClr val="tx1">
                    <a:lumMod val="75000"/>
                    <a:lumOff val="25000"/>
                  </a:schemeClr>
                </a:solidFill>
                <a:latin typeface="Segoe UI" panose="020B0502040204020203" pitchFamily="34" charset="0"/>
                <a:cs typeface="Segoe UI" panose="020B0502040204020203" pitchFamily="34" charset="0"/>
              </a:rPr>
              <a:t> labore et dolore magna </a:t>
            </a:r>
            <a:r>
              <a:rPr lang="en-US" sz="1200" err="1">
                <a:solidFill>
                  <a:schemeClr val="tx1">
                    <a:lumMod val="75000"/>
                    <a:lumOff val="25000"/>
                  </a:schemeClr>
                </a:solidFill>
                <a:latin typeface="Segoe UI" panose="020B0502040204020203" pitchFamily="34" charset="0"/>
                <a:cs typeface="Segoe UI" panose="020B0502040204020203" pitchFamily="34" charset="0"/>
              </a:rPr>
              <a:t>aliqua</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Quis</a:t>
            </a:r>
            <a:r>
              <a:rPr lang="en-US" sz="1200">
                <a:solidFill>
                  <a:schemeClr val="tx1">
                    <a:lumMod val="75000"/>
                    <a:lumOff val="25000"/>
                  </a:schemeClr>
                </a:solidFill>
                <a:latin typeface="Segoe UI" panose="020B0502040204020203" pitchFamily="34" charset="0"/>
                <a:cs typeface="Segoe UI" panose="020B0502040204020203" pitchFamily="34" charset="0"/>
              </a:rPr>
              <a:t> ipsum </a:t>
            </a:r>
            <a:r>
              <a:rPr lang="en-US" sz="1200" err="1">
                <a:solidFill>
                  <a:schemeClr val="tx1">
                    <a:lumMod val="75000"/>
                    <a:lumOff val="25000"/>
                  </a:schemeClr>
                </a:solidFill>
                <a:latin typeface="Segoe UI" panose="020B0502040204020203" pitchFamily="34" charset="0"/>
                <a:cs typeface="Segoe UI" panose="020B0502040204020203" pitchFamily="34" charset="0"/>
              </a:rPr>
              <a:t>suspendisse</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ltrices</a:t>
            </a:r>
            <a:r>
              <a:rPr lang="en-US" sz="1200">
                <a:solidFill>
                  <a:schemeClr val="tx1">
                    <a:lumMod val="75000"/>
                    <a:lumOff val="25000"/>
                  </a:schemeClr>
                </a:solidFill>
                <a:latin typeface="Segoe UI" panose="020B0502040204020203" pitchFamily="34" charset="0"/>
                <a:cs typeface="Segoe UI" panose="020B0502040204020203" pitchFamily="34" charset="0"/>
              </a:rPr>
              <a:t> gravida. </a:t>
            </a:r>
            <a:r>
              <a:rPr lang="en-US" sz="1200" err="1">
                <a:solidFill>
                  <a:schemeClr val="tx1">
                    <a:lumMod val="75000"/>
                    <a:lumOff val="25000"/>
                  </a:schemeClr>
                </a:solidFill>
                <a:latin typeface="Segoe UI" panose="020B0502040204020203" pitchFamily="34" charset="0"/>
                <a:cs typeface="Segoe UI" panose="020B0502040204020203" pitchFamily="34" charset="0"/>
              </a:rPr>
              <a:t>Risus</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mmodo</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viverra</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maecenas</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ccumsan</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lacus</a:t>
            </a:r>
            <a:r>
              <a:rPr lang="en-US" sz="1200">
                <a:solidFill>
                  <a:schemeClr val="tx1">
                    <a:lumMod val="75000"/>
                    <a:lumOff val="25000"/>
                  </a:schemeClr>
                </a:solidFill>
                <a:latin typeface="Segoe UI" panose="020B0502040204020203" pitchFamily="34" charset="0"/>
                <a:cs typeface="Segoe UI" panose="020B0502040204020203" pitchFamily="34" charset="0"/>
              </a:rPr>
              <a:t> vel </a:t>
            </a:r>
            <a:r>
              <a:rPr lang="en-US" sz="1200" err="1">
                <a:solidFill>
                  <a:schemeClr val="tx1">
                    <a:lumMod val="75000"/>
                    <a:lumOff val="25000"/>
                  </a:schemeClr>
                </a:solidFill>
                <a:latin typeface="Segoe UI" panose="020B0502040204020203" pitchFamily="34" charset="0"/>
                <a:cs typeface="Segoe UI" panose="020B0502040204020203" pitchFamily="34" charset="0"/>
              </a:rPr>
              <a:t>facilisis</a:t>
            </a:r>
            <a:r>
              <a:rPr lang="en-US" sz="1200">
                <a:solidFill>
                  <a:schemeClr val="tx1">
                    <a:lumMod val="75000"/>
                    <a:lumOff val="25000"/>
                  </a:schemeClr>
                </a:solidFill>
                <a:latin typeface="Segoe UI" panose="020B0502040204020203" pitchFamily="34" charset="0"/>
                <a:cs typeface="Segoe UI" panose="020B0502040204020203" pitchFamily="34" charset="0"/>
              </a:rPr>
              <a:t>. Lorem ipsum dolor sit </a:t>
            </a:r>
            <a:r>
              <a:rPr lang="en-US" sz="1200" err="1">
                <a:solidFill>
                  <a:schemeClr val="tx1">
                    <a:lumMod val="75000"/>
                    <a:lumOff val="25000"/>
                  </a:schemeClr>
                </a:solidFill>
                <a:latin typeface="Segoe UI" panose="020B0502040204020203" pitchFamily="34" charset="0"/>
                <a:cs typeface="Segoe UI" panose="020B0502040204020203" pitchFamily="34" charset="0"/>
              </a:rPr>
              <a:t>ame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elit</a:t>
            </a:r>
            <a:r>
              <a:rPr lang="en-US" sz="1200">
                <a:solidFill>
                  <a:schemeClr val="tx1">
                    <a:lumMod val="75000"/>
                    <a:lumOff val="25000"/>
                  </a:schemeClr>
                </a:solidFill>
                <a:latin typeface="Segoe UI" panose="020B0502040204020203" pitchFamily="34" charset="0"/>
                <a:cs typeface="Segoe UI" panose="020B0502040204020203" pitchFamily="34" charset="0"/>
              </a:rPr>
              <a:t>, sed do </a:t>
            </a:r>
            <a:r>
              <a:rPr lang="en-US" sz="1200" err="1">
                <a:solidFill>
                  <a:schemeClr val="tx1">
                    <a:lumMod val="75000"/>
                    <a:lumOff val="25000"/>
                  </a:schemeClr>
                </a:solidFill>
                <a:latin typeface="Segoe UI" panose="020B0502040204020203" pitchFamily="34" charset="0"/>
                <a:cs typeface="Segoe UI" panose="020B0502040204020203" pitchFamily="34" charset="0"/>
              </a:rPr>
              <a:t>eiusmod</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tempo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t</a:t>
            </a:r>
            <a:r>
              <a:rPr lang="en-US" sz="1200">
                <a:solidFill>
                  <a:schemeClr val="tx1">
                    <a:lumMod val="75000"/>
                    <a:lumOff val="25000"/>
                  </a:schemeClr>
                </a:solidFill>
                <a:latin typeface="Segoe UI" panose="020B0502040204020203" pitchFamily="34" charset="0"/>
                <a:cs typeface="Segoe UI" panose="020B0502040204020203" pitchFamily="34" charset="0"/>
              </a:rPr>
              <a:t> labore et dolore magna. </a:t>
            </a:r>
          </a:p>
        </p:txBody>
      </p:sp>
      <p:sp>
        <p:nvSpPr>
          <p:cNvPr id="39" name="TextBox 38">
            <a:extLst>
              <a:ext uri="{FF2B5EF4-FFF2-40B4-BE49-F238E27FC236}">
                <a16:creationId xmlns:a16="http://schemas.microsoft.com/office/drawing/2014/main" id="{8774A6BC-800F-337F-CF72-0F3DBD2AAA9E}"/>
              </a:ext>
            </a:extLst>
          </p:cNvPr>
          <p:cNvSpPr txBox="1"/>
          <p:nvPr/>
        </p:nvSpPr>
        <p:spPr>
          <a:xfrm>
            <a:off x="334963" y="4541297"/>
            <a:ext cx="3020889" cy="1754326"/>
          </a:xfrm>
          <a:prstGeom prst="rect">
            <a:avLst/>
          </a:prstGeom>
          <a:noFill/>
        </p:spPr>
        <p:txBody>
          <a:bodyPr wrap="square">
            <a:spAutoFit/>
          </a:bodyPr>
          <a:lstStyle/>
          <a:p>
            <a:r>
              <a:rPr lang="en-US" sz="12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200" err="1">
                <a:solidFill>
                  <a:schemeClr val="tx1">
                    <a:lumMod val="75000"/>
                    <a:lumOff val="25000"/>
                  </a:schemeClr>
                </a:solidFill>
                <a:latin typeface="Segoe UI" panose="020B0502040204020203" pitchFamily="34" charset="0"/>
                <a:cs typeface="Segoe UI" panose="020B0502040204020203" pitchFamily="34" charset="0"/>
              </a:rPr>
              <a:t>ame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elit</a:t>
            </a:r>
            <a:r>
              <a:rPr lang="en-US" sz="1200">
                <a:solidFill>
                  <a:schemeClr val="tx1">
                    <a:lumMod val="75000"/>
                    <a:lumOff val="25000"/>
                  </a:schemeClr>
                </a:solidFill>
                <a:latin typeface="Segoe UI" panose="020B0502040204020203" pitchFamily="34" charset="0"/>
                <a:cs typeface="Segoe UI" panose="020B0502040204020203" pitchFamily="34" charset="0"/>
              </a:rPr>
              <a:t>, sed do </a:t>
            </a:r>
            <a:r>
              <a:rPr lang="en-US" sz="1200" err="1">
                <a:solidFill>
                  <a:schemeClr val="tx1">
                    <a:lumMod val="75000"/>
                    <a:lumOff val="25000"/>
                  </a:schemeClr>
                </a:solidFill>
                <a:latin typeface="Segoe UI" panose="020B0502040204020203" pitchFamily="34" charset="0"/>
                <a:cs typeface="Segoe UI" panose="020B0502040204020203" pitchFamily="34" charset="0"/>
              </a:rPr>
              <a:t>eiusmod</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tempo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t</a:t>
            </a:r>
            <a:r>
              <a:rPr lang="en-US" sz="1200">
                <a:solidFill>
                  <a:schemeClr val="tx1">
                    <a:lumMod val="75000"/>
                    <a:lumOff val="25000"/>
                  </a:schemeClr>
                </a:solidFill>
                <a:latin typeface="Segoe UI" panose="020B0502040204020203" pitchFamily="34" charset="0"/>
                <a:cs typeface="Segoe UI" panose="020B0502040204020203" pitchFamily="34" charset="0"/>
              </a:rPr>
              <a:t> labore et dolore magna </a:t>
            </a:r>
            <a:r>
              <a:rPr lang="en-US" sz="1200" err="1">
                <a:solidFill>
                  <a:schemeClr val="tx1">
                    <a:lumMod val="75000"/>
                    <a:lumOff val="25000"/>
                  </a:schemeClr>
                </a:solidFill>
                <a:latin typeface="Segoe UI" panose="020B0502040204020203" pitchFamily="34" charset="0"/>
                <a:cs typeface="Segoe UI" panose="020B0502040204020203" pitchFamily="34" charset="0"/>
              </a:rPr>
              <a:t>aliqua</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Quis</a:t>
            </a:r>
            <a:r>
              <a:rPr lang="en-US" sz="1200">
                <a:solidFill>
                  <a:schemeClr val="tx1">
                    <a:lumMod val="75000"/>
                    <a:lumOff val="25000"/>
                  </a:schemeClr>
                </a:solidFill>
                <a:latin typeface="Segoe UI" panose="020B0502040204020203" pitchFamily="34" charset="0"/>
                <a:cs typeface="Segoe UI" panose="020B0502040204020203" pitchFamily="34" charset="0"/>
              </a:rPr>
              <a:t> ipsum </a:t>
            </a:r>
            <a:r>
              <a:rPr lang="en-US" sz="1200" err="1">
                <a:solidFill>
                  <a:schemeClr val="tx1">
                    <a:lumMod val="75000"/>
                    <a:lumOff val="25000"/>
                  </a:schemeClr>
                </a:solidFill>
                <a:latin typeface="Segoe UI" panose="020B0502040204020203" pitchFamily="34" charset="0"/>
                <a:cs typeface="Segoe UI" panose="020B0502040204020203" pitchFamily="34" charset="0"/>
              </a:rPr>
              <a:t>suspendisse</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ltrices</a:t>
            </a:r>
            <a:r>
              <a:rPr lang="en-US" sz="1200">
                <a:solidFill>
                  <a:schemeClr val="tx1">
                    <a:lumMod val="75000"/>
                    <a:lumOff val="25000"/>
                  </a:schemeClr>
                </a:solidFill>
                <a:latin typeface="Segoe UI" panose="020B0502040204020203" pitchFamily="34" charset="0"/>
                <a:cs typeface="Segoe UI" panose="020B0502040204020203" pitchFamily="34" charset="0"/>
              </a:rPr>
              <a:t> gravida. </a:t>
            </a:r>
            <a:r>
              <a:rPr lang="en-US" sz="1200" err="1">
                <a:solidFill>
                  <a:schemeClr val="tx1">
                    <a:lumMod val="75000"/>
                    <a:lumOff val="25000"/>
                  </a:schemeClr>
                </a:solidFill>
                <a:latin typeface="Segoe UI" panose="020B0502040204020203" pitchFamily="34" charset="0"/>
                <a:cs typeface="Segoe UI" panose="020B0502040204020203" pitchFamily="34" charset="0"/>
              </a:rPr>
              <a:t>Risus</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mmodo</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viverra</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maecenas</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ccumsan</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lacus</a:t>
            </a:r>
            <a:r>
              <a:rPr lang="en-US" sz="1200">
                <a:solidFill>
                  <a:schemeClr val="tx1">
                    <a:lumMod val="75000"/>
                    <a:lumOff val="25000"/>
                  </a:schemeClr>
                </a:solidFill>
                <a:latin typeface="Segoe UI" panose="020B0502040204020203" pitchFamily="34" charset="0"/>
                <a:cs typeface="Segoe UI" panose="020B0502040204020203" pitchFamily="34" charset="0"/>
              </a:rPr>
              <a:t> vel </a:t>
            </a:r>
            <a:r>
              <a:rPr lang="en-US" sz="1200" err="1">
                <a:solidFill>
                  <a:schemeClr val="tx1">
                    <a:lumMod val="75000"/>
                    <a:lumOff val="25000"/>
                  </a:schemeClr>
                </a:solidFill>
                <a:latin typeface="Segoe UI" panose="020B0502040204020203" pitchFamily="34" charset="0"/>
                <a:cs typeface="Segoe UI" panose="020B0502040204020203" pitchFamily="34" charset="0"/>
              </a:rPr>
              <a:t>facilisis</a:t>
            </a:r>
            <a:r>
              <a:rPr lang="en-US" sz="1200">
                <a:solidFill>
                  <a:schemeClr val="tx1">
                    <a:lumMod val="75000"/>
                    <a:lumOff val="25000"/>
                  </a:schemeClr>
                </a:solidFill>
                <a:latin typeface="Segoe UI" panose="020B0502040204020203" pitchFamily="34" charset="0"/>
                <a:cs typeface="Segoe UI" panose="020B0502040204020203" pitchFamily="34" charset="0"/>
              </a:rPr>
              <a:t>. Lorem ipsum dolor sit </a:t>
            </a:r>
            <a:r>
              <a:rPr lang="en-US" sz="1200" err="1">
                <a:solidFill>
                  <a:schemeClr val="tx1">
                    <a:lumMod val="75000"/>
                    <a:lumOff val="25000"/>
                  </a:schemeClr>
                </a:solidFill>
                <a:latin typeface="Segoe UI" panose="020B0502040204020203" pitchFamily="34" charset="0"/>
                <a:cs typeface="Segoe UI" panose="020B0502040204020203" pitchFamily="34" charset="0"/>
              </a:rPr>
              <a:t>ame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elit</a:t>
            </a:r>
            <a:r>
              <a:rPr lang="en-US" sz="1200">
                <a:solidFill>
                  <a:schemeClr val="tx1">
                    <a:lumMod val="75000"/>
                    <a:lumOff val="25000"/>
                  </a:schemeClr>
                </a:solidFill>
                <a:latin typeface="Segoe UI" panose="020B0502040204020203" pitchFamily="34" charset="0"/>
                <a:cs typeface="Segoe UI" panose="020B0502040204020203" pitchFamily="34" charset="0"/>
              </a:rPr>
              <a:t>, sed do </a:t>
            </a:r>
            <a:r>
              <a:rPr lang="en-US" sz="1200" err="1">
                <a:solidFill>
                  <a:schemeClr val="tx1">
                    <a:lumMod val="75000"/>
                    <a:lumOff val="25000"/>
                  </a:schemeClr>
                </a:solidFill>
                <a:latin typeface="Segoe UI" panose="020B0502040204020203" pitchFamily="34" charset="0"/>
                <a:cs typeface="Segoe UI" panose="020B0502040204020203" pitchFamily="34" charset="0"/>
              </a:rPr>
              <a:t>eiusmod</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tempo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t</a:t>
            </a:r>
            <a:r>
              <a:rPr lang="en-US" sz="1200">
                <a:solidFill>
                  <a:schemeClr val="tx1">
                    <a:lumMod val="75000"/>
                    <a:lumOff val="25000"/>
                  </a:schemeClr>
                </a:solidFill>
                <a:latin typeface="Segoe UI" panose="020B0502040204020203" pitchFamily="34" charset="0"/>
                <a:cs typeface="Segoe UI" panose="020B0502040204020203" pitchFamily="34" charset="0"/>
              </a:rPr>
              <a:t> labore et dolore magna. </a:t>
            </a:r>
          </a:p>
        </p:txBody>
      </p:sp>
      <p:cxnSp>
        <p:nvCxnSpPr>
          <p:cNvPr id="43" name="Elbow Connector 42">
            <a:extLst>
              <a:ext uri="{FF2B5EF4-FFF2-40B4-BE49-F238E27FC236}">
                <a16:creationId xmlns:a16="http://schemas.microsoft.com/office/drawing/2014/main" id="{2305CD4F-559A-0E16-A943-7D3ACD45452D}"/>
              </a:ext>
            </a:extLst>
          </p:cNvPr>
          <p:cNvCxnSpPr>
            <a:cxnSpLocks/>
            <a:stCxn id="16" idx="0"/>
          </p:cNvCxnSpPr>
          <p:nvPr/>
        </p:nvCxnSpPr>
        <p:spPr>
          <a:xfrm rot="16200000" flipV="1">
            <a:off x="3703648" y="1535900"/>
            <a:ext cx="1004564" cy="1787352"/>
          </a:xfrm>
          <a:prstGeom prst="bentConnector2">
            <a:avLst/>
          </a:prstGeom>
          <a:ln w="12700">
            <a:solidFill>
              <a:schemeClr val="tx1">
                <a:lumMod val="50000"/>
                <a:lumOff val="50000"/>
              </a:schemeClr>
            </a:solidFill>
            <a:prstDash val="dash"/>
            <a:tailEnd type="oval"/>
          </a:ln>
        </p:spPr>
        <p:style>
          <a:lnRef idx="2">
            <a:schemeClr val="accent1"/>
          </a:lnRef>
          <a:fillRef idx="0">
            <a:schemeClr val="accent1"/>
          </a:fillRef>
          <a:effectRef idx="1">
            <a:schemeClr val="accent1"/>
          </a:effectRef>
          <a:fontRef idx="minor">
            <a:schemeClr val="tx1"/>
          </a:fontRef>
        </p:style>
      </p:cxnSp>
      <p:cxnSp>
        <p:nvCxnSpPr>
          <p:cNvPr id="45" name="Elbow Connector 44">
            <a:extLst>
              <a:ext uri="{FF2B5EF4-FFF2-40B4-BE49-F238E27FC236}">
                <a16:creationId xmlns:a16="http://schemas.microsoft.com/office/drawing/2014/main" id="{EBB0AE99-CD7E-9F34-519B-9119DC183FF1}"/>
              </a:ext>
            </a:extLst>
          </p:cNvPr>
          <p:cNvCxnSpPr>
            <a:cxnSpLocks/>
            <a:stCxn id="17" idx="4"/>
          </p:cNvCxnSpPr>
          <p:nvPr/>
        </p:nvCxnSpPr>
        <p:spPr>
          <a:xfrm rot="16200000" flipH="1">
            <a:off x="7417361" y="4592955"/>
            <a:ext cx="995797" cy="1651011"/>
          </a:xfrm>
          <a:prstGeom prst="bentConnector2">
            <a:avLst/>
          </a:prstGeom>
          <a:ln w="12700">
            <a:solidFill>
              <a:schemeClr val="tx1">
                <a:lumMod val="50000"/>
                <a:lumOff val="50000"/>
              </a:schemeClr>
            </a:solidFill>
            <a:prstDash val="dash"/>
            <a:tailEnd type="oval"/>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89491C0F-9CD0-FE58-8ACD-8B04FCF9904B}"/>
              </a:ext>
            </a:extLst>
          </p:cNvPr>
          <p:cNvSpPr txBox="1"/>
          <p:nvPr/>
        </p:nvSpPr>
        <p:spPr>
          <a:xfrm>
            <a:off x="334963" y="1844284"/>
            <a:ext cx="3020889" cy="1754326"/>
          </a:xfrm>
          <a:prstGeom prst="rect">
            <a:avLst/>
          </a:prstGeom>
          <a:noFill/>
        </p:spPr>
        <p:txBody>
          <a:bodyPr wrap="square">
            <a:spAutoFit/>
          </a:bodyPr>
          <a:lstStyle/>
          <a:p>
            <a:r>
              <a:rPr lang="en-US" sz="12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200" err="1">
                <a:solidFill>
                  <a:schemeClr val="tx1">
                    <a:lumMod val="75000"/>
                    <a:lumOff val="25000"/>
                  </a:schemeClr>
                </a:solidFill>
                <a:latin typeface="Segoe UI" panose="020B0502040204020203" pitchFamily="34" charset="0"/>
                <a:cs typeface="Segoe UI" panose="020B0502040204020203" pitchFamily="34" charset="0"/>
              </a:rPr>
              <a:t>ame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elit</a:t>
            </a:r>
            <a:r>
              <a:rPr lang="en-US" sz="1200">
                <a:solidFill>
                  <a:schemeClr val="tx1">
                    <a:lumMod val="75000"/>
                    <a:lumOff val="25000"/>
                  </a:schemeClr>
                </a:solidFill>
                <a:latin typeface="Segoe UI" panose="020B0502040204020203" pitchFamily="34" charset="0"/>
                <a:cs typeface="Segoe UI" panose="020B0502040204020203" pitchFamily="34" charset="0"/>
              </a:rPr>
              <a:t>, sed do </a:t>
            </a:r>
            <a:r>
              <a:rPr lang="en-US" sz="1200" err="1">
                <a:solidFill>
                  <a:schemeClr val="tx1">
                    <a:lumMod val="75000"/>
                    <a:lumOff val="25000"/>
                  </a:schemeClr>
                </a:solidFill>
                <a:latin typeface="Segoe UI" panose="020B0502040204020203" pitchFamily="34" charset="0"/>
                <a:cs typeface="Segoe UI" panose="020B0502040204020203" pitchFamily="34" charset="0"/>
              </a:rPr>
              <a:t>eiusmod</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tempo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t</a:t>
            </a:r>
            <a:r>
              <a:rPr lang="en-US" sz="1200">
                <a:solidFill>
                  <a:schemeClr val="tx1">
                    <a:lumMod val="75000"/>
                    <a:lumOff val="25000"/>
                  </a:schemeClr>
                </a:solidFill>
                <a:latin typeface="Segoe UI" panose="020B0502040204020203" pitchFamily="34" charset="0"/>
                <a:cs typeface="Segoe UI" panose="020B0502040204020203" pitchFamily="34" charset="0"/>
              </a:rPr>
              <a:t> labore et dolore magna </a:t>
            </a:r>
            <a:r>
              <a:rPr lang="en-US" sz="1200" err="1">
                <a:solidFill>
                  <a:schemeClr val="tx1">
                    <a:lumMod val="75000"/>
                    <a:lumOff val="25000"/>
                  </a:schemeClr>
                </a:solidFill>
                <a:latin typeface="Segoe UI" panose="020B0502040204020203" pitchFamily="34" charset="0"/>
                <a:cs typeface="Segoe UI" panose="020B0502040204020203" pitchFamily="34" charset="0"/>
              </a:rPr>
              <a:t>aliqua</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Quis</a:t>
            </a:r>
            <a:r>
              <a:rPr lang="en-US" sz="1200">
                <a:solidFill>
                  <a:schemeClr val="tx1">
                    <a:lumMod val="75000"/>
                    <a:lumOff val="25000"/>
                  </a:schemeClr>
                </a:solidFill>
                <a:latin typeface="Segoe UI" panose="020B0502040204020203" pitchFamily="34" charset="0"/>
                <a:cs typeface="Segoe UI" panose="020B0502040204020203" pitchFamily="34" charset="0"/>
              </a:rPr>
              <a:t> ipsum </a:t>
            </a:r>
            <a:r>
              <a:rPr lang="en-US" sz="1200" err="1">
                <a:solidFill>
                  <a:schemeClr val="tx1">
                    <a:lumMod val="75000"/>
                    <a:lumOff val="25000"/>
                  </a:schemeClr>
                </a:solidFill>
                <a:latin typeface="Segoe UI" panose="020B0502040204020203" pitchFamily="34" charset="0"/>
                <a:cs typeface="Segoe UI" panose="020B0502040204020203" pitchFamily="34" charset="0"/>
              </a:rPr>
              <a:t>suspendisse</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ltrices</a:t>
            </a:r>
            <a:r>
              <a:rPr lang="en-US" sz="1200">
                <a:solidFill>
                  <a:schemeClr val="tx1">
                    <a:lumMod val="75000"/>
                    <a:lumOff val="25000"/>
                  </a:schemeClr>
                </a:solidFill>
                <a:latin typeface="Segoe UI" panose="020B0502040204020203" pitchFamily="34" charset="0"/>
                <a:cs typeface="Segoe UI" panose="020B0502040204020203" pitchFamily="34" charset="0"/>
              </a:rPr>
              <a:t> gravida. </a:t>
            </a:r>
            <a:r>
              <a:rPr lang="en-US" sz="1200" err="1">
                <a:solidFill>
                  <a:schemeClr val="tx1">
                    <a:lumMod val="75000"/>
                    <a:lumOff val="25000"/>
                  </a:schemeClr>
                </a:solidFill>
                <a:latin typeface="Segoe UI" panose="020B0502040204020203" pitchFamily="34" charset="0"/>
                <a:cs typeface="Segoe UI" panose="020B0502040204020203" pitchFamily="34" charset="0"/>
              </a:rPr>
              <a:t>Risus</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mmodo</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viverra</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maecenas</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ccumsan</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lacus</a:t>
            </a:r>
            <a:r>
              <a:rPr lang="en-US" sz="1200">
                <a:solidFill>
                  <a:schemeClr val="tx1">
                    <a:lumMod val="75000"/>
                    <a:lumOff val="25000"/>
                  </a:schemeClr>
                </a:solidFill>
                <a:latin typeface="Segoe UI" panose="020B0502040204020203" pitchFamily="34" charset="0"/>
                <a:cs typeface="Segoe UI" panose="020B0502040204020203" pitchFamily="34" charset="0"/>
              </a:rPr>
              <a:t> vel </a:t>
            </a:r>
            <a:r>
              <a:rPr lang="en-US" sz="1200" err="1">
                <a:solidFill>
                  <a:schemeClr val="tx1">
                    <a:lumMod val="75000"/>
                    <a:lumOff val="25000"/>
                  </a:schemeClr>
                </a:solidFill>
                <a:latin typeface="Segoe UI" panose="020B0502040204020203" pitchFamily="34" charset="0"/>
                <a:cs typeface="Segoe UI" panose="020B0502040204020203" pitchFamily="34" charset="0"/>
              </a:rPr>
              <a:t>facilisis</a:t>
            </a:r>
            <a:r>
              <a:rPr lang="en-US" sz="1200">
                <a:solidFill>
                  <a:schemeClr val="tx1">
                    <a:lumMod val="75000"/>
                    <a:lumOff val="25000"/>
                  </a:schemeClr>
                </a:solidFill>
                <a:latin typeface="Segoe UI" panose="020B0502040204020203" pitchFamily="34" charset="0"/>
                <a:cs typeface="Segoe UI" panose="020B0502040204020203" pitchFamily="34" charset="0"/>
              </a:rPr>
              <a:t>. Lorem ipsum dolor sit </a:t>
            </a:r>
            <a:r>
              <a:rPr lang="en-US" sz="1200" err="1">
                <a:solidFill>
                  <a:schemeClr val="tx1">
                    <a:lumMod val="75000"/>
                    <a:lumOff val="25000"/>
                  </a:schemeClr>
                </a:solidFill>
                <a:latin typeface="Segoe UI" panose="020B0502040204020203" pitchFamily="34" charset="0"/>
                <a:cs typeface="Segoe UI" panose="020B0502040204020203" pitchFamily="34" charset="0"/>
              </a:rPr>
              <a:t>ame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elit</a:t>
            </a:r>
            <a:r>
              <a:rPr lang="en-US" sz="1200">
                <a:solidFill>
                  <a:schemeClr val="tx1">
                    <a:lumMod val="75000"/>
                    <a:lumOff val="25000"/>
                  </a:schemeClr>
                </a:solidFill>
                <a:latin typeface="Segoe UI" panose="020B0502040204020203" pitchFamily="34" charset="0"/>
                <a:cs typeface="Segoe UI" panose="020B0502040204020203" pitchFamily="34" charset="0"/>
              </a:rPr>
              <a:t>, sed do </a:t>
            </a:r>
            <a:r>
              <a:rPr lang="en-US" sz="1200" err="1">
                <a:solidFill>
                  <a:schemeClr val="tx1">
                    <a:lumMod val="75000"/>
                    <a:lumOff val="25000"/>
                  </a:schemeClr>
                </a:solidFill>
                <a:latin typeface="Segoe UI" panose="020B0502040204020203" pitchFamily="34" charset="0"/>
                <a:cs typeface="Segoe UI" panose="020B0502040204020203" pitchFamily="34" charset="0"/>
              </a:rPr>
              <a:t>eiusmod</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tempo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t</a:t>
            </a:r>
            <a:r>
              <a:rPr lang="en-US" sz="1200">
                <a:solidFill>
                  <a:schemeClr val="tx1">
                    <a:lumMod val="75000"/>
                    <a:lumOff val="25000"/>
                  </a:schemeClr>
                </a:solidFill>
                <a:latin typeface="Segoe UI" panose="020B0502040204020203" pitchFamily="34" charset="0"/>
                <a:cs typeface="Segoe UI" panose="020B0502040204020203" pitchFamily="34" charset="0"/>
              </a:rPr>
              <a:t> labore et dolore magna. </a:t>
            </a:r>
          </a:p>
        </p:txBody>
      </p:sp>
      <p:sp>
        <p:nvSpPr>
          <p:cNvPr id="50" name="TextBox 49">
            <a:extLst>
              <a:ext uri="{FF2B5EF4-FFF2-40B4-BE49-F238E27FC236}">
                <a16:creationId xmlns:a16="http://schemas.microsoft.com/office/drawing/2014/main" id="{235B2252-7AE7-C026-A0EA-73400185FC2A}"/>
              </a:ext>
            </a:extLst>
          </p:cNvPr>
          <p:cNvSpPr txBox="1"/>
          <p:nvPr/>
        </p:nvSpPr>
        <p:spPr>
          <a:xfrm>
            <a:off x="8838834" y="4541297"/>
            <a:ext cx="3018203" cy="1754326"/>
          </a:xfrm>
          <a:prstGeom prst="rect">
            <a:avLst/>
          </a:prstGeom>
          <a:noFill/>
        </p:spPr>
        <p:txBody>
          <a:bodyPr wrap="square">
            <a:spAutoFit/>
          </a:bodyPr>
          <a:lstStyle/>
          <a:p>
            <a:r>
              <a:rPr lang="en-US" sz="120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200" err="1">
                <a:solidFill>
                  <a:schemeClr val="tx1">
                    <a:lumMod val="75000"/>
                    <a:lumOff val="25000"/>
                  </a:schemeClr>
                </a:solidFill>
                <a:latin typeface="Segoe UI" panose="020B0502040204020203" pitchFamily="34" charset="0"/>
                <a:cs typeface="Segoe UI" panose="020B0502040204020203" pitchFamily="34" charset="0"/>
              </a:rPr>
              <a:t>ame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elit</a:t>
            </a:r>
            <a:r>
              <a:rPr lang="en-US" sz="1200">
                <a:solidFill>
                  <a:schemeClr val="tx1">
                    <a:lumMod val="75000"/>
                    <a:lumOff val="25000"/>
                  </a:schemeClr>
                </a:solidFill>
                <a:latin typeface="Segoe UI" panose="020B0502040204020203" pitchFamily="34" charset="0"/>
                <a:cs typeface="Segoe UI" panose="020B0502040204020203" pitchFamily="34" charset="0"/>
              </a:rPr>
              <a:t>, sed do </a:t>
            </a:r>
            <a:r>
              <a:rPr lang="en-US" sz="1200" err="1">
                <a:solidFill>
                  <a:schemeClr val="tx1">
                    <a:lumMod val="75000"/>
                    <a:lumOff val="25000"/>
                  </a:schemeClr>
                </a:solidFill>
                <a:latin typeface="Segoe UI" panose="020B0502040204020203" pitchFamily="34" charset="0"/>
                <a:cs typeface="Segoe UI" panose="020B0502040204020203" pitchFamily="34" charset="0"/>
              </a:rPr>
              <a:t>eiusmod</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tempo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t</a:t>
            </a:r>
            <a:r>
              <a:rPr lang="en-US" sz="1200">
                <a:solidFill>
                  <a:schemeClr val="tx1">
                    <a:lumMod val="75000"/>
                    <a:lumOff val="25000"/>
                  </a:schemeClr>
                </a:solidFill>
                <a:latin typeface="Segoe UI" panose="020B0502040204020203" pitchFamily="34" charset="0"/>
                <a:cs typeface="Segoe UI" panose="020B0502040204020203" pitchFamily="34" charset="0"/>
              </a:rPr>
              <a:t> labore et dolore magna </a:t>
            </a:r>
            <a:r>
              <a:rPr lang="en-US" sz="1200" err="1">
                <a:solidFill>
                  <a:schemeClr val="tx1">
                    <a:lumMod val="75000"/>
                    <a:lumOff val="25000"/>
                  </a:schemeClr>
                </a:solidFill>
                <a:latin typeface="Segoe UI" panose="020B0502040204020203" pitchFamily="34" charset="0"/>
                <a:cs typeface="Segoe UI" panose="020B0502040204020203" pitchFamily="34" charset="0"/>
              </a:rPr>
              <a:t>aliqua</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Quis</a:t>
            </a:r>
            <a:r>
              <a:rPr lang="en-US" sz="1200">
                <a:solidFill>
                  <a:schemeClr val="tx1">
                    <a:lumMod val="75000"/>
                    <a:lumOff val="25000"/>
                  </a:schemeClr>
                </a:solidFill>
                <a:latin typeface="Segoe UI" panose="020B0502040204020203" pitchFamily="34" charset="0"/>
                <a:cs typeface="Segoe UI" panose="020B0502040204020203" pitchFamily="34" charset="0"/>
              </a:rPr>
              <a:t> ipsum </a:t>
            </a:r>
            <a:r>
              <a:rPr lang="en-US" sz="1200" err="1">
                <a:solidFill>
                  <a:schemeClr val="tx1">
                    <a:lumMod val="75000"/>
                    <a:lumOff val="25000"/>
                  </a:schemeClr>
                </a:solidFill>
                <a:latin typeface="Segoe UI" panose="020B0502040204020203" pitchFamily="34" charset="0"/>
                <a:cs typeface="Segoe UI" panose="020B0502040204020203" pitchFamily="34" charset="0"/>
              </a:rPr>
              <a:t>suspendisse</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ltrices</a:t>
            </a:r>
            <a:r>
              <a:rPr lang="en-US" sz="1200">
                <a:solidFill>
                  <a:schemeClr val="tx1">
                    <a:lumMod val="75000"/>
                    <a:lumOff val="25000"/>
                  </a:schemeClr>
                </a:solidFill>
                <a:latin typeface="Segoe UI" panose="020B0502040204020203" pitchFamily="34" charset="0"/>
                <a:cs typeface="Segoe UI" panose="020B0502040204020203" pitchFamily="34" charset="0"/>
              </a:rPr>
              <a:t> gravida. </a:t>
            </a:r>
            <a:r>
              <a:rPr lang="en-US" sz="1200" err="1">
                <a:solidFill>
                  <a:schemeClr val="tx1">
                    <a:lumMod val="75000"/>
                    <a:lumOff val="25000"/>
                  </a:schemeClr>
                </a:solidFill>
                <a:latin typeface="Segoe UI" panose="020B0502040204020203" pitchFamily="34" charset="0"/>
                <a:cs typeface="Segoe UI" panose="020B0502040204020203" pitchFamily="34" charset="0"/>
              </a:rPr>
              <a:t>Risus</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mmodo</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viverra</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maecenas</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ccumsan</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lacus</a:t>
            </a:r>
            <a:r>
              <a:rPr lang="en-US" sz="1200">
                <a:solidFill>
                  <a:schemeClr val="tx1">
                    <a:lumMod val="75000"/>
                    <a:lumOff val="25000"/>
                  </a:schemeClr>
                </a:solidFill>
                <a:latin typeface="Segoe UI" panose="020B0502040204020203" pitchFamily="34" charset="0"/>
                <a:cs typeface="Segoe UI" panose="020B0502040204020203" pitchFamily="34" charset="0"/>
              </a:rPr>
              <a:t> vel </a:t>
            </a:r>
            <a:r>
              <a:rPr lang="en-US" sz="1200" err="1">
                <a:solidFill>
                  <a:schemeClr val="tx1">
                    <a:lumMod val="75000"/>
                    <a:lumOff val="25000"/>
                  </a:schemeClr>
                </a:solidFill>
                <a:latin typeface="Segoe UI" panose="020B0502040204020203" pitchFamily="34" charset="0"/>
                <a:cs typeface="Segoe UI" panose="020B0502040204020203" pitchFamily="34" charset="0"/>
              </a:rPr>
              <a:t>facilisis</a:t>
            </a:r>
            <a:r>
              <a:rPr lang="en-US" sz="1200">
                <a:solidFill>
                  <a:schemeClr val="tx1">
                    <a:lumMod val="75000"/>
                    <a:lumOff val="25000"/>
                  </a:schemeClr>
                </a:solidFill>
                <a:latin typeface="Segoe UI" panose="020B0502040204020203" pitchFamily="34" charset="0"/>
                <a:cs typeface="Segoe UI" panose="020B0502040204020203" pitchFamily="34" charset="0"/>
              </a:rPr>
              <a:t>. Lorem ipsum dolor sit </a:t>
            </a:r>
            <a:r>
              <a:rPr lang="en-US" sz="1200" err="1">
                <a:solidFill>
                  <a:schemeClr val="tx1">
                    <a:lumMod val="75000"/>
                    <a:lumOff val="25000"/>
                  </a:schemeClr>
                </a:solidFill>
                <a:latin typeface="Segoe UI" panose="020B0502040204020203" pitchFamily="34" charset="0"/>
                <a:cs typeface="Segoe UI" panose="020B0502040204020203" pitchFamily="34" charset="0"/>
              </a:rPr>
              <a:t>ame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elit</a:t>
            </a:r>
            <a:r>
              <a:rPr lang="en-US" sz="1200">
                <a:solidFill>
                  <a:schemeClr val="tx1">
                    <a:lumMod val="75000"/>
                    <a:lumOff val="25000"/>
                  </a:schemeClr>
                </a:solidFill>
                <a:latin typeface="Segoe UI" panose="020B0502040204020203" pitchFamily="34" charset="0"/>
                <a:cs typeface="Segoe UI" panose="020B0502040204020203" pitchFamily="34" charset="0"/>
              </a:rPr>
              <a:t>, sed do </a:t>
            </a:r>
            <a:r>
              <a:rPr lang="en-US" sz="1200" err="1">
                <a:solidFill>
                  <a:schemeClr val="tx1">
                    <a:lumMod val="75000"/>
                    <a:lumOff val="25000"/>
                  </a:schemeClr>
                </a:solidFill>
                <a:latin typeface="Segoe UI" panose="020B0502040204020203" pitchFamily="34" charset="0"/>
                <a:cs typeface="Segoe UI" panose="020B0502040204020203" pitchFamily="34" charset="0"/>
              </a:rPr>
              <a:t>eiusmod</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tempor</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incididunt</a:t>
            </a:r>
            <a:r>
              <a:rPr lang="en-US" sz="1200">
                <a:solidFill>
                  <a:schemeClr val="tx1">
                    <a:lumMod val="75000"/>
                    <a:lumOff val="25000"/>
                  </a:schemeClr>
                </a:solidFill>
                <a:latin typeface="Segoe UI" panose="020B0502040204020203" pitchFamily="34" charset="0"/>
                <a:cs typeface="Segoe UI" panose="020B0502040204020203" pitchFamily="34" charset="0"/>
              </a:rPr>
              <a:t> </a:t>
            </a:r>
            <a:r>
              <a:rPr lang="en-US" sz="1200" err="1">
                <a:solidFill>
                  <a:schemeClr val="tx1">
                    <a:lumMod val="75000"/>
                    <a:lumOff val="25000"/>
                  </a:schemeClr>
                </a:solidFill>
                <a:latin typeface="Segoe UI" panose="020B0502040204020203" pitchFamily="34" charset="0"/>
                <a:cs typeface="Segoe UI" panose="020B0502040204020203" pitchFamily="34" charset="0"/>
              </a:rPr>
              <a:t>ut</a:t>
            </a:r>
            <a:r>
              <a:rPr lang="en-US" sz="1200">
                <a:solidFill>
                  <a:schemeClr val="tx1">
                    <a:lumMod val="75000"/>
                    <a:lumOff val="25000"/>
                  </a:schemeClr>
                </a:solidFill>
                <a:latin typeface="Segoe UI" panose="020B0502040204020203" pitchFamily="34" charset="0"/>
                <a:cs typeface="Segoe UI" panose="020B0502040204020203" pitchFamily="34" charset="0"/>
              </a:rPr>
              <a:t> labore et dolore magna. </a:t>
            </a:r>
          </a:p>
        </p:txBody>
      </p:sp>
      <p:sp>
        <p:nvSpPr>
          <p:cNvPr id="52" name="TextBox 51">
            <a:extLst>
              <a:ext uri="{FF2B5EF4-FFF2-40B4-BE49-F238E27FC236}">
                <a16:creationId xmlns:a16="http://schemas.microsoft.com/office/drawing/2014/main" id="{68A32638-7522-31AC-B39A-F42A95CC3ACF}"/>
              </a:ext>
            </a:extLst>
          </p:cNvPr>
          <p:cNvSpPr txBox="1"/>
          <p:nvPr/>
        </p:nvSpPr>
        <p:spPr>
          <a:xfrm>
            <a:off x="334963" y="1577603"/>
            <a:ext cx="1288430" cy="307777"/>
          </a:xfrm>
          <a:prstGeom prst="rect">
            <a:avLst/>
          </a:prstGeom>
          <a:noFill/>
        </p:spPr>
        <p:txBody>
          <a:bodyPr wrap="none" rtlCol="0">
            <a:spAutoFit/>
          </a:bodyPr>
          <a:lstStyle/>
          <a:p>
            <a:r>
              <a:rPr lang="en-BR" sz="1400" b="1">
                <a:solidFill>
                  <a:schemeClr val="tx1">
                    <a:lumMod val="75000"/>
                    <a:lumOff val="25000"/>
                  </a:schemeClr>
                </a:solidFill>
                <a:latin typeface="Segoe UI" panose="020B0502040204020203" pitchFamily="34" charset="0"/>
                <a:cs typeface="Segoe UI" panose="020B0502040204020203" pitchFamily="34" charset="0"/>
              </a:rPr>
              <a:t>Lorem Ipsum</a:t>
            </a:r>
          </a:p>
        </p:txBody>
      </p:sp>
      <p:sp>
        <p:nvSpPr>
          <p:cNvPr id="53" name="TextBox 52">
            <a:extLst>
              <a:ext uri="{FF2B5EF4-FFF2-40B4-BE49-F238E27FC236}">
                <a16:creationId xmlns:a16="http://schemas.microsoft.com/office/drawing/2014/main" id="{C6649FD1-1487-53E2-BB8C-864BF316E557}"/>
              </a:ext>
            </a:extLst>
          </p:cNvPr>
          <p:cNvSpPr txBox="1"/>
          <p:nvPr/>
        </p:nvSpPr>
        <p:spPr>
          <a:xfrm>
            <a:off x="8834951" y="4270220"/>
            <a:ext cx="1288430" cy="307777"/>
          </a:xfrm>
          <a:prstGeom prst="rect">
            <a:avLst/>
          </a:prstGeom>
          <a:noFill/>
        </p:spPr>
        <p:txBody>
          <a:bodyPr wrap="none" rtlCol="0">
            <a:spAutoFit/>
          </a:bodyPr>
          <a:lstStyle/>
          <a:p>
            <a:r>
              <a:rPr lang="en-BR" sz="1400" b="1">
                <a:solidFill>
                  <a:schemeClr val="tx1">
                    <a:lumMod val="75000"/>
                    <a:lumOff val="25000"/>
                  </a:schemeClr>
                </a:solidFill>
                <a:latin typeface="Segoe UI" panose="020B0502040204020203" pitchFamily="34" charset="0"/>
                <a:cs typeface="Segoe UI" panose="020B0502040204020203" pitchFamily="34" charset="0"/>
              </a:rPr>
              <a:t>Lorem Ipsum</a:t>
            </a:r>
          </a:p>
        </p:txBody>
      </p:sp>
      <p:sp>
        <p:nvSpPr>
          <p:cNvPr id="54" name="TextBox 53">
            <a:extLst>
              <a:ext uri="{FF2B5EF4-FFF2-40B4-BE49-F238E27FC236}">
                <a16:creationId xmlns:a16="http://schemas.microsoft.com/office/drawing/2014/main" id="{C27B1AA0-18B8-33C2-0936-CE5933756715}"/>
              </a:ext>
            </a:extLst>
          </p:cNvPr>
          <p:cNvSpPr txBox="1"/>
          <p:nvPr/>
        </p:nvSpPr>
        <p:spPr>
          <a:xfrm>
            <a:off x="8834951" y="1543806"/>
            <a:ext cx="1288430" cy="307777"/>
          </a:xfrm>
          <a:prstGeom prst="rect">
            <a:avLst/>
          </a:prstGeom>
          <a:noFill/>
        </p:spPr>
        <p:txBody>
          <a:bodyPr wrap="none" rtlCol="0">
            <a:spAutoFit/>
          </a:bodyPr>
          <a:lstStyle/>
          <a:p>
            <a:r>
              <a:rPr lang="en-BR" sz="1400" b="1">
                <a:solidFill>
                  <a:srgbClr val="C00000"/>
                </a:solidFill>
                <a:latin typeface="Segoe UI" panose="020B0502040204020203" pitchFamily="34" charset="0"/>
                <a:cs typeface="Segoe UI" panose="020B0502040204020203" pitchFamily="34" charset="0"/>
              </a:rPr>
              <a:t>Lorem Ipsum</a:t>
            </a:r>
          </a:p>
        </p:txBody>
      </p:sp>
      <p:sp>
        <p:nvSpPr>
          <p:cNvPr id="55" name="TextBox 54">
            <a:extLst>
              <a:ext uri="{FF2B5EF4-FFF2-40B4-BE49-F238E27FC236}">
                <a16:creationId xmlns:a16="http://schemas.microsoft.com/office/drawing/2014/main" id="{305F613C-6752-B506-E4B1-8D0A206ADB7E}"/>
              </a:ext>
            </a:extLst>
          </p:cNvPr>
          <p:cNvSpPr txBox="1"/>
          <p:nvPr/>
        </p:nvSpPr>
        <p:spPr>
          <a:xfrm>
            <a:off x="334963" y="4273014"/>
            <a:ext cx="1288430" cy="307777"/>
          </a:xfrm>
          <a:prstGeom prst="rect">
            <a:avLst/>
          </a:prstGeom>
          <a:noFill/>
        </p:spPr>
        <p:txBody>
          <a:bodyPr wrap="none" rtlCol="0">
            <a:spAutoFit/>
          </a:bodyPr>
          <a:lstStyle/>
          <a:p>
            <a:r>
              <a:rPr lang="en-BR" sz="1400" b="1">
                <a:solidFill>
                  <a:srgbClr val="C00000"/>
                </a:solidFill>
                <a:latin typeface="Segoe UI" panose="020B0502040204020203" pitchFamily="34" charset="0"/>
                <a:cs typeface="Segoe UI" panose="020B0502040204020203" pitchFamily="34" charset="0"/>
              </a:rPr>
              <a:t>Lorem Ipsum</a:t>
            </a:r>
          </a:p>
        </p:txBody>
      </p:sp>
    </p:spTree>
    <p:extLst>
      <p:ext uri="{BB962C8B-B14F-4D97-AF65-F5344CB8AC3E}">
        <p14:creationId xmlns:p14="http://schemas.microsoft.com/office/powerpoint/2010/main" val="221433171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B85BF3-D1DF-145F-8509-AD6E4C1390FE}"/>
              </a:ext>
            </a:extLst>
          </p:cNvPr>
          <p:cNvSpPr>
            <a:spLocks noGrp="1"/>
          </p:cNvSpPr>
          <p:nvPr>
            <p:ph type="title"/>
          </p:nvPr>
        </p:nvSpPr>
        <p:spPr/>
        <p:txBody>
          <a:bodyPr/>
          <a:lstStyle/>
          <a:p>
            <a:r>
              <a:rPr lang="en-BR"/>
              <a:t>Other Visuals</a:t>
            </a:r>
          </a:p>
        </p:txBody>
      </p:sp>
      <p:sp>
        <p:nvSpPr>
          <p:cNvPr id="3" name="Footer Placeholder 2">
            <a:extLst>
              <a:ext uri="{FF2B5EF4-FFF2-40B4-BE49-F238E27FC236}">
                <a16:creationId xmlns:a16="http://schemas.microsoft.com/office/drawing/2014/main" id="{6F716D62-ECB4-8ADB-F611-61235584704F}"/>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30F61FDB-4ED8-9644-6465-8059637F630F}"/>
              </a:ext>
            </a:extLst>
          </p:cNvPr>
          <p:cNvSpPr>
            <a:spLocks noGrp="1"/>
          </p:cNvSpPr>
          <p:nvPr>
            <p:ph type="sldNum" sz="quarter" idx="12"/>
          </p:nvPr>
        </p:nvSpPr>
        <p:spPr/>
        <p:txBody>
          <a:bodyPr/>
          <a:lstStyle/>
          <a:p>
            <a:fld id="{A8DDC45B-7265-3747-B738-ED29642119D9}" type="slidenum">
              <a:rPr lang="en-BR" smtClean="0"/>
              <a:pPr/>
              <a:t>62</a:t>
            </a:fld>
            <a:endParaRPr lang="en-BR"/>
          </a:p>
        </p:txBody>
      </p:sp>
      <p:sp>
        <p:nvSpPr>
          <p:cNvPr id="5" name="Text Placeholder 4">
            <a:extLst>
              <a:ext uri="{FF2B5EF4-FFF2-40B4-BE49-F238E27FC236}">
                <a16:creationId xmlns:a16="http://schemas.microsoft.com/office/drawing/2014/main" id="{70E6E480-13F0-17E0-47D4-5C47A3B88B45}"/>
              </a:ext>
            </a:extLst>
          </p:cNvPr>
          <p:cNvSpPr>
            <a:spLocks noGrp="1"/>
          </p:cNvSpPr>
          <p:nvPr>
            <p:ph type="body" sz="quarter" idx="13"/>
          </p:nvPr>
        </p:nvSpPr>
        <p:spPr/>
        <p:txBody>
          <a:bodyPr/>
          <a:lstStyle/>
          <a:p>
            <a:r>
              <a:rPr lang="en-BR"/>
              <a:t>Portfolio</a:t>
            </a:r>
          </a:p>
        </p:txBody>
      </p:sp>
      <p:grpSp>
        <p:nvGrpSpPr>
          <p:cNvPr id="22" name="Group 55">
            <a:extLst>
              <a:ext uri="{FF2B5EF4-FFF2-40B4-BE49-F238E27FC236}">
                <a16:creationId xmlns:a16="http://schemas.microsoft.com/office/drawing/2014/main" id="{06CBDF23-7F3C-127B-EEB0-93BFA3B5906C}"/>
              </a:ext>
            </a:extLst>
          </p:cNvPr>
          <p:cNvGrpSpPr>
            <a:grpSpLocks/>
          </p:cNvGrpSpPr>
          <p:nvPr>
            <p:custDataLst>
              <p:tags r:id="rId1"/>
            </p:custDataLst>
          </p:nvPr>
        </p:nvGrpSpPr>
        <p:grpSpPr bwMode="auto">
          <a:xfrm>
            <a:off x="7339273" y="2205832"/>
            <a:ext cx="3598862" cy="3598862"/>
            <a:chOff x="730" y="1414"/>
            <a:chExt cx="2266" cy="2266"/>
          </a:xfrm>
        </p:grpSpPr>
        <p:sp>
          <p:nvSpPr>
            <p:cNvPr id="23" name="Rectangle 56">
              <a:extLst>
                <a:ext uri="{FF2B5EF4-FFF2-40B4-BE49-F238E27FC236}">
                  <a16:creationId xmlns:a16="http://schemas.microsoft.com/office/drawing/2014/main" id="{0AA6BD8C-FC2C-6A9C-F7F8-06C183D33ACA}"/>
                </a:ext>
              </a:extLst>
            </p:cNvPr>
            <p:cNvSpPr>
              <a:spLocks noChangeArrowheads="1"/>
            </p:cNvSpPr>
            <p:nvPr/>
          </p:nvSpPr>
          <p:spPr bwMode="auto">
            <a:xfrm>
              <a:off x="1863" y="2547"/>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solidFill>
                  <a:schemeClr val="tx1">
                    <a:lumMod val="75000"/>
                    <a:lumOff val="25000"/>
                  </a:schemeClr>
                </a:solidFill>
              </a:endParaRPr>
            </a:p>
          </p:txBody>
        </p:sp>
        <p:sp>
          <p:nvSpPr>
            <p:cNvPr id="24" name="Rectangle 57">
              <a:extLst>
                <a:ext uri="{FF2B5EF4-FFF2-40B4-BE49-F238E27FC236}">
                  <a16:creationId xmlns:a16="http://schemas.microsoft.com/office/drawing/2014/main" id="{B535ADD6-6B4F-0E7F-3A1C-7ACD8380C737}"/>
                </a:ext>
              </a:extLst>
            </p:cNvPr>
            <p:cNvSpPr>
              <a:spLocks noChangeArrowheads="1"/>
            </p:cNvSpPr>
            <p:nvPr/>
          </p:nvSpPr>
          <p:spPr bwMode="auto">
            <a:xfrm>
              <a:off x="730" y="2547"/>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solidFill>
                  <a:schemeClr val="tx1">
                    <a:lumMod val="75000"/>
                    <a:lumOff val="25000"/>
                  </a:schemeClr>
                </a:solidFill>
              </a:endParaRPr>
            </a:p>
          </p:txBody>
        </p:sp>
        <p:sp>
          <p:nvSpPr>
            <p:cNvPr id="25" name="Rectangle 58">
              <a:extLst>
                <a:ext uri="{FF2B5EF4-FFF2-40B4-BE49-F238E27FC236}">
                  <a16:creationId xmlns:a16="http://schemas.microsoft.com/office/drawing/2014/main" id="{C279B754-4733-EE4E-BA93-70CC56395840}"/>
                </a:ext>
              </a:extLst>
            </p:cNvPr>
            <p:cNvSpPr>
              <a:spLocks noChangeArrowheads="1"/>
            </p:cNvSpPr>
            <p:nvPr/>
          </p:nvSpPr>
          <p:spPr bwMode="auto">
            <a:xfrm>
              <a:off x="730" y="1414"/>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solidFill>
                  <a:schemeClr val="tx1">
                    <a:lumMod val="75000"/>
                    <a:lumOff val="25000"/>
                  </a:schemeClr>
                </a:solidFill>
              </a:endParaRPr>
            </a:p>
          </p:txBody>
        </p:sp>
        <p:sp>
          <p:nvSpPr>
            <p:cNvPr id="26" name="Rectangle 59">
              <a:extLst>
                <a:ext uri="{FF2B5EF4-FFF2-40B4-BE49-F238E27FC236}">
                  <a16:creationId xmlns:a16="http://schemas.microsoft.com/office/drawing/2014/main" id="{CA872114-6A71-C60E-C830-67C426240B19}"/>
                </a:ext>
              </a:extLst>
            </p:cNvPr>
            <p:cNvSpPr>
              <a:spLocks noChangeArrowheads="1"/>
            </p:cNvSpPr>
            <p:nvPr/>
          </p:nvSpPr>
          <p:spPr bwMode="auto">
            <a:xfrm>
              <a:off x="1863" y="1414"/>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solidFill>
                  <a:schemeClr val="tx1">
                    <a:lumMod val="75000"/>
                    <a:lumOff val="25000"/>
                  </a:schemeClr>
                </a:solidFill>
              </a:endParaRPr>
            </a:p>
          </p:txBody>
        </p:sp>
      </p:grpSp>
      <p:sp>
        <p:nvSpPr>
          <p:cNvPr id="27" name="Freeform 60">
            <a:extLst>
              <a:ext uri="{FF2B5EF4-FFF2-40B4-BE49-F238E27FC236}">
                <a16:creationId xmlns:a16="http://schemas.microsoft.com/office/drawing/2014/main" id="{EAA4F971-66DE-4C4C-B2E6-493C5409DDAB}"/>
              </a:ext>
            </a:extLst>
          </p:cNvPr>
          <p:cNvSpPr>
            <a:spLocks/>
          </p:cNvSpPr>
          <p:nvPr>
            <p:custDataLst>
              <p:tags r:id="rId2"/>
            </p:custDataLst>
          </p:nvPr>
        </p:nvSpPr>
        <p:spPr bwMode="auto">
          <a:xfrm>
            <a:off x="7339273" y="1919798"/>
            <a:ext cx="3885892" cy="3884898"/>
          </a:xfrm>
          <a:custGeom>
            <a:avLst/>
            <a:gdLst/>
            <a:ahLst/>
            <a:cxnLst>
              <a:cxn ang="0">
                <a:pos x="0" y="0"/>
              </a:cxn>
              <a:cxn ang="0">
                <a:pos x="0" y="2268"/>
              </a:cxn>
              <a:cxn ang="0">
                <a:pos x="2268" y="2268"/>
              </a:cxn>
            </a:cxnLst>
            <a:rect l="0" t="0" r="r" b="b"/>
            <a:pathLst>
              <a:path w="2268" h="2268">
                <a:moveTo>
                  <a:pt x="0" y="0"/>
                </a:moveTo>
                <a:lnTo>
                  <a:pt x="0" y="2268"/>
                </a:lnTo>
                <a:lnTo>
                  <a:pt x="2268" y="2268"/>
                </a:lnTo>
              </a:path>
            </a:pathLst>
          </a:custGeom>
          <a:noFill/>
          <a:ln w="12700" cap="flat" cmpd="sng">
            <a:solidFill>
              <a:schemeClr val="tx1"/>
            </a:solidFill>
            <a:prstDash val="solid"/>
            <a:round/>
            <a:headEnd type="triangle" w="med" len="med"/>
            <a:tailEnd type="triangle" w="med" len="med"/>
          </a:ln>
          <a:effectLst/>
        </p:spPr>
        <p:txBody>
          <a:bodyPr wrap="none" lIns="45720" rIns="45720"/>
          <a:lstStyle/>
          <a:p>
            <a:endParaRPr lang="de-DE">
              <a:solidFill>
                <a:schemeClr val="tx1">
                  <a:lumMod val="75000"/>
                  <a:lumOff val="25000"/>
                </a:schemeClr>
              </a:solidFill>
            </a:endParaRPr>
          </a:p>
        </p:txBody>
      </p:sp>
      <p:sp>
        <p:nvSpPr>
          <p:cNvPr id="28" name="Text Box 61">
            <a:extLst>
              <a:ext uri="{FF2B5EF4-FFF2-40B4-BE49-F238E27FC236}">
                <a16:creationId xmlns:a16="http://schemas.microsoft.com/office/drawing/2014/main" id="{158C4414-DF0F-3E3D-8B5B-CCAFD31B7304}"/>
              </a:ext>
            </a:extLst>
          </p:cNvPr>
          <p:cNvSpPr txBox="1">
            <a:spLocks noChangeArrowheads="1"/>
          </p:cNvSpPr>
          <p:nvPr>
            <p:custDataLst>
              <p:tags r:id="rId3"/>
            </p:custDataLst>
          </p:nvPr>
        </p:nvSpPr>
        <p:spPr bwMode="auto">
          <a:xfrm>
            <a:off x="11036561" y="3025393"/>
            <a:ext cx="731873" cy="160300"/>
          </a:xfrm>
          <a:prstGeom prst="rect">
            <a:avLst/>
          </a:prstGeom>
          <a:noFill/>
          <a:ln w="3175">
            <a:noFill/>
            <a:miter lim="800000"/>
            <a:headEnd/>
            <a:tailEnd/>
          </a:ln>
          <a:effectLst/>
        </p:spPr>
        <p:txBody>
          <a:bodyPr wrap="square" lIns="0" tIns="0" rIns="0" bIns="0" anchor="ctr">
            <a:spAutoFit/>
          </a:bodyPr>
          <a:lstStyle/>
          <a:p>
            <a:pPr algn="l" eaLnBrk="0" hangingPunct="0">
              <a:lnSpc>
                <a:spcPct val="85000"/>
              </a:lnSpc>
              <a:spcBef>
                <a:spcPct val="0"/>
              </a:spcBef>
            </a:pPr>
            <a:r>
              <a:rPr lang="en-US" sz="1200" cap="all">
                <a:solidFill>
                  <a:schemeClr val="tx1">
                    <a:lumMod val="75000"/>
                    <a:lumOff val="25000"/>
                  </a:schemeClr>
                </a:solidFill>
                <a:latin typeface="+mj-lt"/>
              </a:rPr>
              <a:t>High</a:t>
            </a:r>
          </a:p>
        </p:txBody>
      </p:sp>
      <p:sp>
        <p:nvSpPr>
          <p:cNvPr id="29" name="Text Box 62">
            <a:extLst>
              <a:ext uri="{FF2B5EF4-FFF2-40B4-BE49-F238E27FC236}">
                <a16:creationId xmlns:a16="http://schemas.microsoft.com/office/drawing/2014/main" id="{DD618B8D-7494-814A-5676-EBE907418E9C}"/>
              </a:ext>
            </a:extLst>
          </p:cNvPr>
          <p:cNvSpPr txBox="1">
            <a:spLocks noChangeArrowheads="1"/>
          </p:cNvSpPr>
          <p:nvPr>
            <p:custDataLst>
              <p:tags r:id="rId4"/>
            </p:custDataLst>
          </p:nvPr>
        </p:nvSpPr>
        <p:spPr bwMode="auto">
          <a:xfrm>
            <a:off x="11036561" y="4835147"/>
            <a:ext cx="731873" cy="160300"/>
          </a:xfrm>
          <a:prstGeom prst="rect">
            <a:avLst/>
          </a:prstGeom>
          <a:noFill/>
          <a:ln w="3175">
            <a:noFill/>
            <a:miter lim="800000"/>
            <a:headEnd/>
            <a:tailEnd/>
          </a:ln>
          <a:effectLst/>
        </p:spPr>
        <p:txBody>
          <a:bodyPr wrap="square" lIns="0" tIns="0" rIns="0" bIns="0" anchor="ctr">
            <a:spAutoFit/>
          </a:bodyPr>
          <a:lstStyle/>
          <a:p>
            <a:pPr algn="l" eaLnBrk="0" hangingPunct="0">
              <a:lnSpc>
                <a:spcPct val="85000"/>
              </a:lnSpc>
              <a:spcBef>
                <a:spcPct val="0"/>
              </a:spcBef>
            </a:pPr>
            <a:r>
              <a:rPr lang="en-US" sz="1200" cap="all">
                <a:solidFill>
                  <a:schemeClr val="tx1">
                    <a:lumMod val="75000"/>
                    <a:lumOff val="25000"/>
                  </a:schemeClr>
                </a:solidFill>
                <a:latin typeface="+mj-lt"/>
              </a:rPr>
              <a:t>Low</a:t>
            </a:r>
          </a:p>
        </p:txBody>
      </p:sp>
      <p:sp>
        <p:nvSpPr>
          <p:cNvPr id="30" name="Text Box 63">
            <a:extLst>
              <a:ext uri="{FF2B5EF4-FFF2-40B4-BE49-F238E27FC236}">
                <a16:creationId xmlns:a16="http://schemas.microsoft.com/office/drawing/2014/main" id="{9088123B-B0B4-DCB1-1C1B-73F08A44E124}"/>
              </a:ext>
            </a:extLst>
          </p:cNvPr>
          <p:cNvSpPr txBox="1">
            <a:spLocks noChangeArrowheads="1"/>
          </p:cNvSpPr>
          <p:nvPr>
            <p:custDataLst>
              <p:tags r:id="rId5"/>
            </p:custDataLst>
          </p:nvPr>
        </p:nvSpPr>
        <p:spPr bwMode="auto">
          <a:xfrm>
            <a:off x="7970705" y="1946374"/>
            <a:ext cx="536567" cy="196652"/>
          </a:xfrm>
          <a:prstGeom prst="rect">
            <a:avLst/>
          </a:prstGeom>
          <a:noFill/>
          <a:ln w="3175">
            <a:noFill/>
            <a:miter lim="800000"/>
            <a:headEnd/>
            <a:tailEnd/>
          </a:ln>
          <a:effectLst/>
        </p:spPr>
        <p:txBody>
          <a:bodyPr wrap="square" lIns="0" tIns="0" rIns="0" bIns="36000" anchor="ctr">
            <a:spAutoFit/>
          </a:bodyPr>
          <a:lstStyle/>
          <a:p>
            <a:pPr algn="ctr" eaLnBrk="0" hangingPunct="0">
              <a:lnSpc>
                <a:spcPct val="85000"/>
              </a:lnSpc>
              <a:spcBef>
                <a:spcPct val="0"/>
              </a:spcBef>
            </a:pPr>
            <a:r>
              <a:rPr lang="en-US" sz="1200" cap="all">
                <a:solidFill>
                  <a:schemeClr val="tx1">
                    <a:lumMod val="75000"/>
                    <a:lumOff val="25000"/>
                  </a:schemeClr>
                </a:solidFill>
                <a:latin typeface="+mj-lt"/>
              </a:rPr>
              <a:t>Low</a:t>
            </a:r>
          </a:p>
        </p:txBody>
      </p:sp>
      <p:sp>
        <p:nvSpPr>
          <p:cNvPr id="31" name="Text Box 64">
            <a:extLst>
              <a:ext uri="{FF2B5EF4-FFF2-40B4-BE49-F238E27FC236}">
                <a16:creationId xmlns:a16="http://schemas.microsoft.com/office/drawing/2014/main" id="{7432DE80-336A-287C-CB7C-4C76756697BA}"/>
              </a:ext>
            </a:extLst>
          </p:cNvPr>
          <p:cNvSpPr txBox="1">
            <a:spLocks noChangeArrowheads="1"/>
          </p:cNvSpPr>
          <p:nvPr>
            <p:custDataLst>
              <p:tags r:id="rId6"/>
            </p:custDataLst>
          </p:nvPr>
        </p:nvSpPr>
        <p:spPr bwMode="auto">
          <a:xfrm>
            <a:off x="9719325" y="1946374"/>
            <a:ext cx="638191" cy="196652"/>
          </a:xfrm>
          <a:prstGeom prst="rect">
            <a:avLst/>
          </a:prstGeom>
          <a:noFill/>
          <a:ln w="3175">
            <a:noFill/>
            <a:miter lim="800000"/>
            <a:headEnd/>
            <a:tailEnd/>
          </a:ln>
          <a:effectLst/>
        </p:spPr>
        <p:txBody>
          <a:bodyPr wrap="square" lIns="0" tIns="0" rIns="0" bIns="36000" anchor="ctr">
            <a:spAutoFit/>
          </a:bodyPr>
          <a:lstStyle/>
          <a:p>
            <a:pPr algn="ctr" eaLnBrk="0" hangingPunct="0">
              <a:lnSpc>
                <a:spcPct val="85000"/>
              </a:lnSpc>
              <a:spcBef>
                <a:spcPct val="0"/>
              </a:spcBef>
            </a:pPr>
            <a:r>
              <a:rPr lang="en-US" sz="1200" cap="all">
                <a:solidFill>
                  <a:schemeClr val="tx1">
                    <a:lumMod val="75000"/>
                    <a:lumOff val="25000"/>
                  </a:schemeClr>
                </a:solidFill>
                <a:latin typeface="+mj-lt"/>
              </a:rPr>
              <a:t>High</a:t>
            </a:r>
          </a:p>
        </p:txBody>
      </p:sp>
      <p:sp>
        <p:nvSpPr>
          <p:cNvPr id="32" name="Text Box 65">
            <a:extLst>
              <a:ext uri="{FF2B5EF4-FFF2-40B4-BE49-F238E27FC236}">
                <a16:creationId xmlns:a16="http://schemas.microsoft.com/office/drawing/2014/main" id="{190C893F-EA4D-06E6-F28A-620DD2A68729}"/>
              </a:ext>
            </a:extLst>
          </p:cNvPr>
          <p:cNvSpPr txBox="1">
            <a:spLocks noChangeArrowheads="1"/>
          </p:cNvSpPr>
          <p:nvPr>
            <p:custDataLst>
              <p:tags r:id="rId7"/>
            </p:custDataLst>
          </p:nvPr>
        </p:nvSpPr>
        <p:spPr bwMode="auto">
          <a:xfrm>
            <a:off x="6938794" y="5847776"/>
            <a:ext cx="296038" cy="215444"/>
          </a:xfrm>
          <a:prstGeom prst="rect">
            <a:avLst/>
          </a:prstGeom>
          <a:noFill/>
          <a:ln w="3175">
            <a:noFill/>
            <a:miter lim="800000"/>
            <a:headEnd/>
            <a:tailEnd/>
          </a:ln>
          <a:effectLst/>
        </p:spPr>
        <p:txBody>
          <a:bodyPr wrap="square" lIns="0" tIns="0" rIns="0" bIns="0" anchor="t" anchorCtr="0">
            <a:spAutoFit/>
          </a:bodyPr>
          <a:lstStyle/>
          <a:p>
            <a:pPr algn="r" eaLnBrk="0" hangingPunct="0">
              <a:spcBef>
                <a:spcPct val="0"/>
              </a:spcBef>
            </a:pPr>
            <a:r>
              <a:rPr lang="en-US" sz="1400">
                <a:solidFill>
                  <a:schemeClr val="tx1">
                    <a:lumMod val="75000"/>
                    <a:lumOff val="25000"/>
                  </a:schemeClr>
                </a:solidFill>
              </a:rPr>
              <a:t>0%</a:t>
            </a:r>
          </a:p>
        </p:txBody>
      </p:sp>
      <p:sp>
        <p:nvSpPr>
          <p:cNvPr id="33" name="Text Box 66">
            <a:extLst>
              <a:ext uri="{FF2B5EF4-FFF2-40B4-BE49-F238E27FC236}">
                <a16:creationId xmlns:a16="http://schemas.microsoft.com/office/drawing/2014/main" id="{FB78F9D6-31AF-5564-D54E-976293857548}"/>
              </a:ext>
            </a:extLst>
          </p:cNvPr>
          <p:cNvSpPr txBox="1">
            <a:spLocks noChangeArrowheads="1"/>
          </p:cNvSpPr>
          <p:nvPr>
            <p:custDataLst>
              <p:tags r:id="rId8"/>
            </p:custDataLst>
          </p:nvPr>
        </p:nvSpPr>
        <p:spPr bwMode="auto">
          <a:xfrm>
            <a:off x="11036561" y="5858286"/>
            <a:ext cx="458459" cy="215444"/>
          </a:xfrm>
          <a:prstGeom prst="rect">
            <a:avLst/>
          </a:prstGeom>
          <a:noFill/>
          <a:ln w="3175">
            <a:noFill/>
            <a:miter lim="800000"/>
            <a:headEnd/>
            <a:tailEnd/>
          </a:ln>
          <a:effectLst/>
        </p:spPr>
        <p:txBody>
          <a:bodyPr wrap="square" lIns="0" tIns="0" rIns="0" bIns="0" anchor="t" anchorCtr="0">
            <a:spAutoFit/>
          </a:bodyPr>
          <a:lstStyle/>
          <a:p>
            <a:pPr algn="r" eaLnBrk="0" hangingPunct="0">
              <a:spcBef>
                <a:spcPct val="0"/>
              </a:spcBef>
            </a:pPr>
            <a:r>
              <a:rPr lang="en-US" sz="1400">
                <a:solidFill>
                  <a:schemeClr val="tx1">
                    <a:lumMod val="75000"/>
                    <a:lumOff val="25000"/>
                  </a:schemeClr>
                </a:solidFill>
              </a:rPr>
              <a:t>100%</a:t>
            </a:r>
          </a:p>
        </p:txBody>
      </p:sp>
      <p:sp>
        <p:nvSpPr>
          <p:cNvPr id="34" name="Text Box 67">
            <a:extLst>
              <a:ext uri="{FF2B5EF4-FFF2-40B4-BE49-F238E27FC236}">
                <a16:creationId xmlns:a16="http://schemas.microsoft.com/office/drawing/2014/main" id="{B242878C-F236-1DFB-B502-894C7A25965A}"/>
              </a:ext>
            </a:extLst>
          </p:cNvPr>
          <p:cNvSpPr txBox="1">
            <a:spLocks noChangeArrowheads="1"/>
          </p:cNvSpPr>
          <p:nvPr>
            <p:custDataLst>
              <p:tags r:id="rId9"/>
            </p:custDataLst>
          </p:nvPr>
        </p:nvSpPr>
        <p:spPr bwMode="auto">
          <a:xfrm>
            <a:off x="6448742" y="2091454"/>
            <a:ext cx="722349" cy="215444"/>
          </a:xfrm>
          <a:prstGeom prst="rect">
            <a:avLst/>
          </a:prstGeom>
          <a:noFill/>
          <a:ln w="3175">
            <a:noFill/>
            <a:miter lim="800000"/>
            <a:headEnd/>
            <a:tailEnd/>
          </a:ln>
          <a:effectLst/>
        </p:spPr>
        <p:txBody>
          <a:bodyPr wrap="square" lIns="0" tIns="0" rIns="0" bIns="0" anchor="ctr">
            <a:spAutoFit/>
          </a:bodyPr>
          <a:lstStyle/>
          <a:p>
            <a:pPr algn="r" eaLnBrk="0" hangingPunct="0">
              <a:spcBef>
                <a:spcPct val="0"/>
              </a:spcBef>
            </a:pPr>
            <a:r>
              <a:rPr lang="en-US" sz="1400">
                <a:solidFill>
                  <a:schemeClr val="tx1">
                    <a:lumMod val="75000"/>
                    <a:lumOff val="25000"/>
                  </a:schemeClr>
                </a:solidFill>
              </a:rPr>
              <a:t>100%</a:t>
            </a:r>
          </a:p>
        </p:txBody>
      </p:sp>
      <p:sp>
        <p:nvSpPr>
          <p:cNvPr id="35" name="Text Box 68">
            <a:extLst>
              <a:ext uri="{FF2B5EF4-FFF2-40B4-BE49-F238E27FC236}">
                <a16:creationId xmlns:a16="http://schemas.microsoft.com/office/drawing/2014/main" id="{B642CF9C-18D3-AB22-7A49-5853C6549DE4}"/>
              </a:ext>
            </a:extLst>
          </p:cNvPr>
          <p:cNvSpPr txBox="1">
            <a:spLocks noChangeArrowheads="1"/>
          </p:cNvSpPr>
          <p:nvPr>
            <p:custDataLst>
              <p:tags r:id="rId10"/>
            </p:custDataLst>
          </p:nvPr>
        </p:nvSpPr>
        <p:spPr bwMode="auto">
          <a:xfrm rot="16200000">
            <a:off x="5307223" y="3922031"/>
            <a:ext cx="3578218" cy="187103"/>
          </a:xfrm>
          <a:prstGeom prst="rect">
            <a:avLst/>
          </a:prstGeom>
          <a:noFill/>
          <a:ln w="3175">
            <a:noFill/>
            <a:miter lim="800000"/>
            <a:headEnd/>
            <a:tailEnd/>
          </a:ln>
          <a:effectLst/>
        </p:spPr>
        <p:txBody>
          <a:bodyPr wrap="square" lIns="0" tIns="0" rIns="0" bIns="0" anchor="b" anchorCtr="0">
            <a:spAutoFit/>
          </a:bodyPr>
          <a:lstStyle/>
          <a:p>
            <a:pPr algn="ctr" eaLnBrk="0" hangingPunct="0">
              <a:lnSpc>
                <a:spcPct val="85000"/>
              </a:lnSpc>
              <a:spcBef>
                <a:spcPct val="0"/>
              </a:spcBef>
            </a:pPr>
            <a:r>
              <a:rPr lang="en-US" sz="1400" b="1" cap="all">
                <a:solidFill>
                  <a:schemeClr val="tx1">
                    <a:lumMod val="75000"/>
                    <a:lumOff val="25000"/>
                  </a:schemeClr>
                </a:solidFill>
                <a:latin typeface="+mj-lt"/>
              </a:rPr>
              <a:t>Y-Axis</a:t>
            </a:r>
          </a:p>
        </p:txBody>
      </p:sp>
      <p:sp>
        <p:nvSpPr>
          <p:cNvPr id="36" name="Text Box 69">
            <a:extLst>
              <a:ext uri="{FF2B5EF4-FFF2-40B4-BE49-F238E27FC236}">
                <a16:creationId xmlns:a16="http://schemas.microsoft.com/office/drawing/2014/main" id="{847591D6-6843-3B55-E624-7CDB3FB0787F}"/>
              </a:ext>
            </a:extLst>
          </p:cNvPr>
          <p:cNvSpPr txBox="1">
            <a:spLocks noChangeArrowheads="1"/>
          </p:cNvSpPr>
          <p:nvPr>
            <p:custDataLst>
              <p:tags r:id="rId11"/>
            </p:custDataLst>
          </p:nvPr>
        </p:nvSpPr>
        <p:spPr bwMode="auto">
          <a:xfrm>
            <a:off x="7317612" y="5972971"/>
            <a:ext cx="3642184" cy="180000"/>
          </a:xfrm>
          <a:prstGeom prst="rect">
            <a:avLst/>
          </a:prstGeom>
          <a:noFill/>
          <a:ln w="3175">
            <a:noFill/>
            <a:miter lim="800000"/>
            <a:headEnd/>
            <a:tailEnd/>
          </a:ln>
          <a:effectLst/>
        </p:spPr>
        <p:txBody>
          <a:bodyPr wrap="square" lIns="0" tIns="0" rIns="0" bIns="0" anchor="t" anchorCtr="0">
            <a:noAutofit/>
          </a:bodyPr>
          <a:lstStyle/>
          <a:p>
            <a:pPr algn="ctr" eaLnBrk="0" hangingPunct="0">
              <a:lnSpc>
                <a:spcPct val="85000"/>
              </a:lnSpc>
              <a:spcBef>
                <a:spcPct val="0"/>
              </a:spcBef>
            </a:pPr>
            <a:r>
              <a:rPr lang="en-US" sz="1400" b="1" cap="all">
                <a:solidFill>
                  <a:schemeClr val="tx1">
                    <a:lumMod val="75000"/>
                    <a:lumOff val="25000"/>
                  </a:schemeClr>
                </a:solidFill>
                <a:latin typeface="+mj-lt"/>
              </a:rPr>
              <a:t>X-Axis</a:t>
            </a:r>
          </a:p>
        </p:txBody>
      </p:sp>
      <p:graphicFrame>
        <p:nvGraphicFramePr>
          <p:cNvPr id="37" name="Object 3">
            <a:extLst>
              <a:ext uri="{FF2B5EF4-FFF2-40B4-BE49-F238E27FC236}">
                <a16:creationId xmlns:a16="http://schemas.microsoft.com/office/drawing/2014/main" id="{F9E46291-0162-0596-A79E-ED099CE018A0}"/>
              </a:ext>
            </a:extLst>
          </p:cNvPr>
          <p:cNvGraphicFramePr>
            <a:graphicFrameLocks/>
          </p:cNvGraphicFramePr>
          <p:nvPr>
            <p:custDataLst>
              <p:tags r:id="rId12"/>
            </p:custDataLst>
            <p:extLst>
              <p:ext uri="{D42A27DB-BD31-4B8C-83A1-F6EECF244321}">
                <p14:modId xmlns:p14="http://schemas.microsoft.com/office/powerpoint/2010/main" val="329389628"/>
              </p:ext>
            </p:extLst>
          </p:nvPr>
        </p:nvGraphicFramePr>
        <p:xfrm>
          <a:off x="6809916" y="1877923"/>
          <a:ext cx="6632575" cy="4445000"/>
        </p:xfrm>
        <a:graphic>
          <a:graphicData uri="http://schemas.openxmlformats.org/drawingml/2006/chart">
            <c:chart xmlns:c="http://schemas.openxmlformats.org/drawingml/2006/chart" xmlns:r="http://schemas.openxmlformats.org/officeDocument/2006/relationships" r:id="rId27"/>
          </a:graphicData>
        </a:graphic>
      </p:graphicFrame>
      <p:grpSp>
        <p:nvGrpSpPr>
          <p:cNvPr id="40" name="Group 55">
            <a:extLst>
              <a:ext uri="{FF2B5EF4-FFF2-40B4-BE49-F238E27FC236}">
                <a16:creationId xmlns:a16="http://schemas.microsoft.com/office/drawing/2014/main" id="{D5348BF7-3E6B-71DA-3E15-33991D452D6F}"/>
              </a:ext>
            </a:extLst>
          </p:cNvPr>
          <p:cNvGrpSpPr>
            <a:grpSpLocks/>
          </p:cNvGrpSpPr>
          <p:nvPr>
            <p:custDataLst>
              <p:tags r:id="rId13"/>
            </p:custDataLst>
          </p:nvPr>
        </p:nvGrpSpPr>
        <p:grpSpPr bwMode="auto">
          <a:xfrm>
            <a:off x="1228669" y="2128274"/>
            <a:ext cx="3598862" cy="3598862"/>
            <a:chOff x="730" y="1414"/>
            <a:chExt cx="2266" cy="2266"/>
          </a:xfrm>
        </p:grpSpPr>
        <p:sp>
          <p:nvSpPr>
            <p:cNvPr id="41" name="Rectangle 56">
              <a:extLst>
                <a:ext uri="{FF2B5EF4-FFF2-40B4-BE49-F238E27FC236}">
                  <a16:creationId xmlns:a16="http://schemas.microsoft.com/office/drawing/2014/main" id="{6B4EB924-9E5C-4769-2853-306AEF5A1497}"/>
                </a:ext>
              </a:extLst>
            </p:cNvPr>
            <p:cNvSpPr>
              <a:spLocks noChangeArrowheads="1"/>
            </p:cNvSpPr>
            <p:nvPr/>
          </p:nvSpPr>
          <p:spPr bwMode="auto">
            <a:xfrm>
              <a:off x="1863" y="2547"/>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solidFill>
                  <a:schemeClr val="tx1">
                    <a:lumMod val="75000"/>
                    <a:lumOff val="25000"/>
                  </a:schemeClr>
                </a:solidFill>
              </a:endParaRPr>
            </a:p>
          </p:txBody>
        </p:sp>
        <p:sp>
          <p:nvSpPr>
            <p:cNvPr id="42" name="Rectangle 57">
              <a:extLst>
                <a:ext uri="{FF2B5EF4-FFF2-40B4-BE49-F238E27FC236}">
                  <a16:creationId xmlns:a16="http://schemas.microsoft.com/office/drawing/2014/main" id="{8F6B844C-40A0-1A6F-1996-D0C9BF99FE1B}"/>
                </a:ext>
              </a:extLst>
            </p:cNvPr>
            <p:cNvSpPr>
              <a:spLocks noChangeArrowheads="1"/>
            </p:cNvSpPr>
            <p:nvPr/>
          </p:nvSpPr>
          <p:spPr bwMode="auto">
            <a:xfrm>
              <a:off x="730" y="2547"/>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solidFill>
                  <a:schemeClr val="tx1">
                    <a:lumMod val="75000"/>
                    <a:lumOff val="25000"/>
                  </a:schemeClr>
                </a:solidFill>
              </a:endParaRPr>
            </a:p>
          </p:txBody>
        </p:sp>
        <p:sp>
          <p:nvSpPr>
            <p:cNvPr id="43" name="Rectangle 58">
              <a:extLst>
                <a:ext uri="{FF2B5EF4-FFF2-40B4-BE49-F238E27FC236}">
                  <a16:creationId xmlns:a16="http://schemas.microsoft.com/office/drawing/2014/main" id="{4CF32D3E-E85C-2B41-D414-7B5A03A7C61B}"/>
                </a:ext>
              </a:extLst>
            </p:cNvPr>
            <p:cNvSpPr>
              <a:spLocks noChangeArrowheads="1"/>
            </p:cNvSpPr>
            <p:nvPr/>
          </p:nvSpPr>
          <p:spPr bwMode="auto">
            <a:xfrm>
              <a:off x="730" y="1414"/>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solidFill>
                  <a:schemeClr val="tx1">
                    <a:lumMod val="75000"/>
                    <a:lumOff val="25000"/>
                  </a:schemeClr>
                </a:solidFill>
              </a:endParaRPr>
            </a:p>
          </p:txBody>
        </p:sp>
        <p:sp>
          <p:nvSpPr>
            <p:cNvPr id="44" name="Rectangle 59">
              <a:extLst>
                <a:ext uri="{FF2B5EF4-FFF2-40B4-BE49-F238E27FC236}">
                  <a16:creationId xmlns:a16="http://schemas.microsoft.com/office/drawing/2014/main" id="{7A7AB0AE-F81B-C774-3048-1413637351EE}"/>
                </a:ext>
              </a:extLst>
            </p:cNvPr>
            <p:cNvSpPr>
              <a:spLocks noChangeArrowheads="1"/>
            </p:cNvSpPr>
            <p:nvPr/>
          </p:nvSpPr>
          <p:spPr bwMode="auto">
            <a:xfrm>
              <a:off x="1863" y="1414"/>
              <a:ext cx="1133" cy="1133"/>
            </a:xfrm>
            <a:prstGeom prst="rect">
              <a:avLst/>
            </a:prstGeom>
            <a:noFill/>
            <a:ln w="12700">
              <a:solidFill>
                <a:schemeClr val="tx2">
                  <a:lumMod val="60000"/>
                  <a:lumOff val="40000"/>
                </a:schemeClr>
              </a:solidFill>
              <a:prstDash val="solid"/>
              <a:miter lim="800000"/>
              <a:headEnd/>
              <a:tailEnd/>
            </a:ln>
            <a:effectLst/>
          </p:spPr>
          <p:txBody>
            <a:bodyPr wrap="none" lIns="45720" rIns="45720"/>
            <a:lstStyle/>
            <a:p>
              <a:endParaRPr lang="de-DE">
                <a:solidFill>
                  <a:schemeClr val="tx1">
                    <a:lumMod val="75000"/>
                    <a:lumOff val="25000"/>
                  </a:schemeClr>
                </a:solidFill>
              </a:endParaRPr>
            </a:p>
          </p:txBody>
        </p:sp>
      </p:grpSp>
      <p:sp>
        <p:nvSpPr>
          <p:cNvPr id="45" name="Freeform 60">
            <a:extLst>
              <a:ext uri="{FF2B5EF4-FFF2-40B4-BE49-F238E27FC236}">
                <a16:creationId xmlns:a16="http://schemas.microsoft.com/office/drawing/2014/main" id="{51D65B65-5F8B-FC4A-4AD7-3F76B2321EEE}"/>
              </a:ext>
            </a:extLst>
          </p:cNvPr>
          <p:cNvSpPr>
            <a:spLocks/>
          </p:cNvSpPr>
          <p:nvPr>
            <p:custDataLst>
              <p:tags r:id="rId14"/>
            </p:custDataLst>
          </p:nvPr>
        </p:nvSpPr>
        <p:spPr bwMode="auto">
          <a:xfrm>
            <a:off x="1228669" y="1842240"/>
            <a:ext cx="3885892" cy="3884898"/>
          </a:xfrm>
          <a:custGeom>
            <a:avLst/>
            <a:gdLst/>
            <a:ahLst/>
            <a:cxnLst>
              <a:cxn ang="0">
                <a:pos x="0" y="0"/>
              </a:cxn>
              <a:cxn ang="0">
                <a:pos x="0" y="2268"/>
              </a:cxn>
              <a:cxn ang="0">
                <a:pos x="2268" y="2268"/>
              </a:cxn>
            </a:cxnLst>
            <a:rect l="0" t="0" r="r" b="b"/>
            <a:pathLst>
              <a:path w="2268" h="2268">
                <a:moveTo>
                  <a:pt x="0" y="0"/>
                </a:moveTo>
                <a:lnTo>
                  <a:pt x="0" y="2268"/>
                </a:lnTo>
                <a:lnTo>
                  <a:pt x="2268" y="2268"/>
                </a:lnTo>
              </a:path>
            </a:pathLst>
          </a:custGeom>
          <a:noFill/>
          <a:ln w="12700" cap="flat" cmpd="sng">
            <a:solidFill>
              <a:schemeClr val="tx1"/>
            </a:solidFill>
            <a:prstDash val="solid"/>
            <a:round/>
            <a:headEnd type="triangle" w="med" len="med"/>
            <a:tailEnd type="triangle" w="med" len="med"/>
          </a:ln>
          <a:effectLst/>
        </p:spPr>
        <p:txBody>
          <a:bodyPr wrap="none" lIns="45720" rIns="45720"/>
          <a:lstStyle/>
          <a:p>
            <a:endParaRPr lang="de-DE">
              <a:solidFill>
                <a:schemeClr val="tx1">
                  <a:lumMod val="75000"/>
                  <a:lumOff val="25000"/>
                </a:schemeClr>
              </a:solidFill>
            </a:endParaRPr>
          </a:p>
        </p:txBody>
      </p:sp>
      <p:sp>
        <p:nvSpPr>
          <p:cNvPr id="46" name="Text Box 61">
            <a:extLst>
              <a:ext uri="{FF2B5EF4-FFF2-40B4-BE49-F238E27FC236}">
                <a16:creationId xmlns:a16="http://schemas.microsoft.com/office/drawing/2014/main" id="{EB24D793-B643-AF31-3783-1191305833C1}"/>
              </a:ext>
            </a:extLst>
          </p:cNvPr>
          <p:cNvSpPr txBox="1">
            <a:spLocks noChangeArrowheads="1"/>
          </p:cNvSpPr>
          <p:nvPr>
            <p:custDataLst>
              <p:tags r:id="rId15"/>
            </p:custDataLst>
          </p:nvPr>
        </p:nvSpPr>
        <p:spPr bwMode="auto">
          <a:xfrm>
            <a:off x="4925957" y="2947835"/>
            <a:ext cx="731873" cy="160300"/>
          </a:xfrm>
          <a:prstGeom prst="rect">
            <a:avLst/>
          </a:prstGeom>
          <a:noFill/>
          <a:ln w="3175">
            <a:noFill/>
            <a:miter lim="800000"/>
            <a:headEnd/>
            <a:tailEnd/>
          </a:ln>
          <a:effectLst/>
        </p:spPr>
        <p:txBody>
          <a:bodyPr wrap="square" lIns="0" tIns="0" rIns="0" bIns="0" anchor="ctr">
            <a:spAutoFit/>
          </a:bodyPr>
          <a:lstStyle/>
          <a:p>
            <a:pPr algn="l" eaLnBrk="0" hangingPunct="0">
              <a:lnSpc>
                <a:spcPct val="85000"/>
              </a:lnSpc>
              <a:spcBef>
                <a:spcPct val="0"/>
              </a:spcBef>
            </a:pPr>
            <a:r>
              <a:rPr lang="en-US" sz="1200" cap="all">
                <a:solidFill>
                  <a:schemeClr val="tx1">
                    <a:lumMod val="75000"/>
                    <a:lumOff val="25000"/>
                  </a:schemeClr>
                </a:solidFill>
                <a:latin typeface="+mj-lt"/>
              </a:rPr>
              <a:t>High</a:t>
            </a:r>
          </a:p>
        </p:txBody>
      </p:sp>
      <p:sp>
        <p:nvSpPr>
          <p:cNvPr id="47" name="Text Box 62">
            <a:extLst>
              <a:ext uri="{FF2B5EF4-FFF2-40B4-BE49-F238E27FC236}">
                <a16:creationId xmlns:a16="http://schemas.microsoft.com/office/drawing/2014/main" id="{7D60FD14-4E18-14EA-BB2E-B5C27653BC2E}"/>
              </a:ext>
            </a:extLst>
          </p:cNvPr>
          <p:cNvSpPr txBox="1">
            <a:spLocks noChangeArrowheads="1"/>
          </p:cNvSpPr>
          <p:nvPr>
            <p:custDataLst>
              <p:tags r:id="rId16"/>
            </p:custDataLst>
          </p:nvPr>
        </p:nvSpPr>
        <p:spPr bwMode="auto">
          <a:xfrm>
            <a:off x="4925957" y="4757589"/>
            <a:ext cx="731873" cy="160300"/>
          </a:xfrm>
          <a:prstGeom prst="rect">
            <a:avLst/>
          </a:prstGeom>
          <a:noFill/>
          <a:ln w="3175">
            <a:noFill/>
            <a:miter lim="800000"/>
            <a:headEnd/>
            <a:tailEnd/>
          </a:ln>
          <a:effectLst/>
        </p:spPr>
        <p:txBody>
          <a:bodyPr wrap="square" lIns="0" tIns="0" rIns="0" bIns="0" anchor="ctr">
            <a:spAutoFit/>
          </a:bodyPr>
          <a:lstStyle/>
          <a:p>
            <a:pPr algn="l" eaLnBrk="0" hangingPunct="0">
              <a:lnSpc>
                <a:spcPct val="85000"/>
              </a:lnSpc>
              <a:spcBef>
                <a:spcPct val="0"/>
              </a:spcBef>
            </a:pPr>
            <a:r>
              <a:rPr lang="en-US" sz="1200" cap="all">
                <a:solidFill>
                  <a:schemeClr val="tx1">
                    <a:lumMod val="75000"/>
                    <a:lumOff val="25000"/>
                  </a:schemeClr>
                </a:solidFill>
                <a:latin typeface="+mj-lt"/>
              </a:rPr>
              <a:t>Low</a:t>
            </a:r>
          </a:p>
        </p:txBody>
      </p:sp>
      <p:sp>
        <p:nvSpPr>
          <p:cNvPr id="48" name="Text Box 63">
            <a:extLst>
              <a:ext uri="{FF2B5EF4-FFF2-40B4-BE49-F238E27FC236}">
                <a16:creationId xmlns:a16="http://schemas.microsoft.com/office/drawing/2014/main" id="{CD4A8B38-75F5-DEB2-55CD-5DB48B5AF6D0}"/>
              </a:ext>
            </a:extLst>
          </p:cNvPr>
          <p:cNvSpPr txBox="1">
            <a:spLocks noChangeArrowheads="1"/>
          </p:cNvSpPr>
          <p:nvPr>
            <p:custDataLst>
              <p:tags r:id="rId17"/>
            </p:custDataLst>
          </p:nvPr>
        </p:nvSpPr>
        <p:spPr bwMode="auto">
          <a:xfrm>
            <a:off x="1860101" y="1868816"/>
            <a:ext cx="536567" cy="196652"/>
          </a:xfrm>
          <a:prstGeom prst="rect">
            <a:avLst/>
          </a:prstGeom>
          <a:noFill/>
          <a:ln w="3175">
            <a:noFill/>
            <a:miter lim="800000"/>
            <a:headEnd/>
            <a:tailEnd/>
          </a:ln>
          <a:effectLst/>
        </p:spPr>
        <p:txBody>
          <a:bodyPr wrap="square" lIns="0" tIns="0" rIns="0" bIns="36000" anchor="ctr">
            <a:spAutoFit/>
          </a:bodyPr>
          <a:lstStyle/>
          <a:p>
            <a:pPr algn="ctr" eaLnBrk="0" hangingPunct="0">
              <a:lnSpc>
                <a:spcPct val="85000"/>
              </a:lnSpc>
              <a:spcBef>
                <a:spcPct val="0"/>
              </a:spcBef>
            </a:pPr>
            <a:r>
              <a:rPr lang="en-US" sz="1200" cap="all">
                <a:solidFill>
                  <a:schemeClr val="tx1">
                    <a:lumMod val="75000"/>
                    <a:lumOff val="25000"/>
                  </a:schemeClr>
                </a:solidFill>
                <a:latin typeface="+mj-lt"/>
              </a:rPr>
              <a:t>Low</a:t>
            </a:r>
          </a:p>
        </p:txBody>
      </p:sp>
      <p:sp>
        <p:nvSpPr>
          <p:cNvPr id="49" name="Text Box 64">
            <a:extLst>
              <a:ext uri="{FF2B5EF4-FFF2-40B4-BE49-F238E27FC236}">
                <a16:creationId xmlns:a16="http://schemas.microsoft.com/office/drawing/2014/main" id="{4F8D3BC1-C30B-A43D-5F7A-02A2044789FE}"/>
              </a:ext>
            </a:extLst>
          </p:cNvPr>
          <p:cNvSpPr txBox="1">
            <a:spLocks noChangeArrowheads="1"/>
          </p:cNvSpPr>
          <p:nvPr>
            <p:custDataLst>
              <p:tags r:id="rId18"/>
            </p:custDataLst>
          </p:nvPr>
        </p:nvSpPr>
        <p:spPr bwMode="auto">
          <a:xfrm>
            <a:off x="3608721" y="1868816"/>
            <a:ext cx="638191" cy="196652"/>
          </a:xfrm>
          <a:prstGeom prst="rect">
            <a:avLst/>
          </a:prstGeom>
          <a:noFill/>
          <a:ln w="3175">
            <a:noFill/>
            <a:miter lim="800000"/>
            <a:headEnd/>
            <a:tailEnd/>
          </a:ln>
          <a:effectLst/>
        </p:spPr>
        <p:txBody>
          <a:bodyPr wrap="square" lIns="0" tIns="0" rIns="0" bIns="36000" anchor="ctr">
            <a:spAutoFit/>
          </a:bodyPr>
          <a:lstStyle/>
          <a:p>
            <a:pPr algn="ctr" eaLnBrk="0" hangingPunct="0">
              <a:lnSpc>
                <a:spcPct val="85000"/>
              </a:lnSpc>
              <a:spcBef>
                <a:spcPct val="0"/>
              </a:spcBef>
            </a:pPr>
            <a:r>
              <a:rPr lang="en-US" sz="1200" cap="all">
                <a:solidFill>
                  <a:schemeClr val="tx1">
                    <a:lumMod val="75000"/>
                    <a:lumOff val="25000"/>
                  </a:schemeClr>
                </a:solidFill>
                <a:latin typeface="+mj-lt"/>
              </a:rPr>
              <a:t>High</a:t>
            </a:r>
          </a:p>
        </p:txBody>
      </p:sp>
      <p:sp>
        <p:nvSpPr>
          <p:cNvPr id="50" name="Text Box 65">
            <a:extLst>
              <a:ext uri="{FF2B5EF4-FFF2-40B4-BE49-F238E27FC236}">
                <a16:creationId xmlns:a16="http://schemas.microsoft.com/office/drawing/2014/main" id="{C2A594CC-BD60-439E-9AAB-92A2E4F19979}"/>
              </a:ext>
            </a:extLst>
          </p:cNvPr>
          <p:cNvSpPr txBox="1">
            <a:spLocks noChangeArrowheads="1"/>
          </p:cNvSpPr>
          <p:nvPr>
            <p:custDataLst>
              <p:tags r:id="rId19"/>
            </p:custDataLst>
          </p:nvPr>
        </p:nvSpPr>
        <p:spPr bwMode="auto">
          <a:xfrm>
            <a:off x="828190" y="5770218"/>
            <a:ext cx="296038" cy="215444"/>
          </a:xfrm>
          <a:prstGeom prst="rect">
            <a:avLst/>
          </a:prstGeom>
          <a:noFill/>
          <a:ln w="3175">
            <a:noFill/>
            <a:miter lim="800000"/>
            <a:headEnd/>
            <a:tailEnd/>
          </a:ln>
          <a:effectLst/>
        </p:spPr>
        <p:txBody>
          <a:bodyPr wrap="square" lIns="0" tIns="0" rIns="0" bIns="0" anchor="t" anchorCtr="0">
            <a:spAutoFit/>
          </a:bodyPr>
          <a:lstStyle/>
          <a:p>
            <a:pPr algn="r" eaLnBrk="0" hangingPunct="0">
              <a:spcBef>
                <a:spcPct val="0"/>
              </a:spcBef>
            </a:pPr>
            <a:r>
              <a:rPr lang="en-US" sz="1400">
                <a:solidFill>
                  <a:schemeClr val="tx1">
                    <a:lumMod val="75000"/>
                    <a:lumOff val="25000"/>
                  </a:schemeClr>
                </a:solidFill>
              </a:rPr>
              <a:t>0%</a:t>
            </a:r>
          </a:p>
        </p:txBody>
      </p:sp>
      <p:sp>
        <p:nvSpPr>
          <p:cNvPr id="51" name="Text Box 66">
            <a:extLst>
              <a:ext uri="{FF2B5EF4-FFF2-40B4-BE49-F238E27FC236}">
                <a16:creationId xmlns:a16="http://schemas.microsoft.com/office/drawing/2014/main" id="{0708A2D9-B668-FDA0-986A-09961324CB01}"/>
              </a:ext>
            </a:extLst>
          </p:cNvPr>
          <p:cNvSpPr txBox="1">
            <a:spLocks noChangeArrowheads="1"/>
          </p:cNvSpPr>
          <p:nvPr>
            <p:custDataLst>
              <p:tags r:id="rId20"/>
            </p:custDataLst>
          </p:nvPr>
        </p:nvSpPr>
        <p:spPr bwMode="auto">
          <a:xfrm>
            <a:off x="4925957" y="5780728"/>
            <a:ext cx="458459" cy="215444"/>
          </a:xfrm>
          <a:prstGeom prst="rect">
            <a:avLst/>
          </a:prstGeom>
          <a:noFill/>
          <a:ln w="3175">
            <a:noFill/>
            <a:miter lim="800000"/>
            <a:headEnd/>
            <a:tailEnd/>
          </a:ln>
          <a:effectLst/>
        </p:spPr>
        <p:txBody>
          <a:bodyPr wrap="square" lIns="0" tIns="0" rIns="0" bIns="0" anchor="t" anchorCtr="0">
            <a:spAutoFit/>
          </a:bodyPr>
          <a:lstStyle/>
          <a:p>
            <a:pPr algn="r" eaLnBrk="0" hangingPunct="0">
              <a:spcBef>
                <a:spcPct val="0"/>
              </a:spcBef>
            </a:pPr>
            <a:r>
              <a:rPr lang="en-US" sz="1400">
                <a:solidFill>
                  <a:schemeClr val="tx1">
                    <a:lumMod val="75000"/>
                    <a:lumOff val="25000"/>
                  </a:schemeClr>
                </a:solidFill>
              </a:rPr>
              <a:t>100%</a:t>
            </a:r>
          </a:p>
        </p:txBody>
      </p:sp>
      <p:sp>
        <p:nvSpPr>
          <p:cNvPr id="52" name="Text Box 67">
            <a:extLst>
              <a:ext uri="{FF2B5EF4-FFF2-40B4-BE49-F238E27FC236}">
                <a16:creationId xmlns:a16="http://schemas.microsoft.com/office/drawing/2014/main" id="{E5DB1D5D-E1A5-350E-96D1-D4E49BD9A112}"/>
              </a:ext>
            </a:extLst>
          </p:cNvPr>
          <p:cNvSpPr txBox="1">
            <a:spLocks noChangeArrowheads="1"/>
          </p:cNvSpPr>
          <p:nvPr>
            <p:custDataLst>
              <p:tags r:id="rId21"/>
            </p:custDataLst>
          </p:nvPr>
        </p:nvSpPr>
        <p:spPr bwMode="auto">
          <a:xfrm>
            <a:off x="338138" y="2013896"/>
            <a:ext cx="722349" cy="215444"/>
          </a:xfrm>
          <a:prstGeom prst="rect">
            <a:avLst/>
          </a:prstGeom>
          <a:noFill/>
          <a:ln w="3175">
            <a:noFill/>
            <a:miter lim="800000"/>
            <a:headEnd/>
            <a:tailEnd/>
          </a:ln>
          <a:effectLst/>
        </p:spPr>
        <p:txBody>
          <a:bodyPr wrap="square" lIns="0" tIns="0" rIns="0" bIns="0" anchor="ctr">
            <a:spAutoFit/>
          </a:bodyPr>
          <a:lstStyle/>
          <a:p>
            <a:pPr algn="r" eaLnBrk="0" hangingPunct="0">
              <a:spcBef>
                <a:spcPct val="0"/>
              </a:spcBef>
            </a:pPr>
            <a:r>
              <a:rPr lang="en-US" sz="1400">
                <a:solidFill>
                  <a:schemeClr val="tx1">
                    <a:lumMod val="75000"/>
                    <a:lumOff val="25000"/>
                  </a:schemeClr>
                </a:solidFill>
              </a:rPr>
              <a:t>100%</a:t>
            </a:r>
          </a:p>
        </p:txBody>
      </p:sp>
      <p:sp>
        <p:nvSpPr>
          <p:cNvPr id="53" name="Text Box 68">
            <a:extLst>
              <a:ext uri="{FF2B5EF4-FFF2-40B4-BE49-F238E27FC236}">
                <a16:creationId xmlns:a16="http://schemas.microsoft.com/office/drawing/2014/main" id="{D5335694-D860-160F-BB65-0FA10D1BAE74}"/>
              </a:ext>
            </a:extLst>
          </p:cNvPr>
          <p:cNvSpPr txBox="1">
            <a:spLocks noChangeArrowheads="1"/>
          </p:cNvSpPr>
          <p:nvPr>
            <p:custDataLst>
              <p:tags r:id="rId22"/>
            </p:custDataLst>
          </p:nvPr>
        </p:nvSpPr>
        <p:spPr bwMode="auto">
          <a:xfrm rot="16200000">
            <a:off x="-803381" y="3844473"/>
            <a:ext cx="3578218" cy="187103"/>
          </a:xfrm>
          <a:prstGeom prst="rect">
            <a:avLst/>
          </a:prstGeom>
          <a:noFill/>
          <a:ln w="3175">
            <a:noFill/>
            <a:miter lim="800000"/>
            <a:headEnd/>
            <a:tailEnd/>
          </a:ln>
          <a:effectLst/>
        </p:spPr>
        <p:txBody>
          <a:bodyPr wrap="square" lIns="0" tIns="0" rIns="0" bIns="0" anchor="b" anchorCtr="0">
            <a:spAutoFit/>
          </a:bodyPr>
          <a:lstStyle/>
          <a:p>
            <a:pPr algn="ctr" eaLnBrk="0" hangingPunct="0">
              <a:lnSpc>
                <a:spcPct val="85000"/>
              </a:lnSpc>
              <a:spcBef>
                <a:spcPct val="0"/>
              </a:spcBef>
            </a:pPr>
            <a:r>
              <a:rPr lang="en-US" sz="1400" b="1" cap="all">
                <a:solidFill>
                  <a:schemeClr val="tx1">
                    <a:lumMod val="75000"/>
                    <a:lumOff val="25000"/>
                  </a:schemeClr>
                </a:solidFill>
                <a:latin typeface="+mj-lt"/>
              </a:rPr>
              <a:t>Y-Axis</a:t>
            </a:r>
          </a:p>
        </p:txBody>
      </p:sp>
      <p:sp>
        <p:nvSpPr>
          <p:cNvPr id="54" name="Text Box 69">
            <a:extLst>
              <a:ext uri="{FF2B5EF4-FFF2-40B4-BE49-F238E27FC236}">
                <a16:creationId xmlns:a16="http://schemas.microsoft.com/office/drawing/2014/main" id="{DCA0024D-6BA6-12F0-A42B-D3713E5F4AC6}"/>
              </a:ext>
            </a:extLst>
          </p:cNvPr>
          <p:cNvSpPr txBox="1">
            <a:spLocks noChangeArrowheads="1"/>
          </p:cNvSpPr>
          <p:nvPr>
            <p:custDataLst>
              <p:tags r:id="rId23"/>
            </p:custDataLst>
          </p:nvPr>
        </p:nvSpPr>
        <p:spPr bwMode="auto">
          <a:xfrm>
            <a:off x="1207008" y="5895413"/>
            <a:ext cx="3642184" cy="180000"/>
          </a:xfrm>
          <a:prstGeom prst="rect">
            <a:avLst/>
          </a:prstGeom>
          <a:noFill/>
          <a:ln w="3175">
            <a:noFill/>
            <a:miter lim="800000"/>
            <a:headEnd/>
            <a:tailEnd/>
          </a:ln>
          <a:effectLst/>
        </p:spPr>
        <p:txBody>
          <a:bodyPr wrap="square" lIns="0" tIns="0" rIns="0" bIns="0" anchor="t" anchorCtr="0">
            <a:noAutofit/>
          </a:bodyPr>
          <a:lstStyle/>
          <a:p>
            <a:pPr algn="ctr" eaLnBrk="0" hangingPunct="0">
              <a:lnSpc>
                <a:spcPct val="85000"/>
              </a:lnSpc>
              <a:spcBef>
                <a:spcPct val="0"/>
              </a:spcBef>
            </a:pPr>
            <a:r>
              <a:rPr lang="en-US" sz="1400" b="1" cap="all">
                <a:solidFill>
                  <a:schemeClr val="tx1">
                    <a:lumMod val="75000"/>
                    <a:lumOff val="25000"/>
                  </a:schemeClr>
                </a:solidFill>
                <a:latin typeface="+mj-lt"/>
              </a:rPr>
              <a:t>X-Axis</a:t>
            </a:r>
          </a:p>
        </p:txBody>
      </p:sp>
      <p:graphicFrame>
        <p:nvGraphicFramePr>
          <p:cNvPr id="55" name="Object 4">
            <a:extLst>
              <a:ext uri="{FF2B5EF4-FFF2-40B4-BE49-F238E27FC236}">
                <a16:creationId xmlns:a16="http://schemas.microsoft.com/office/drawing/2014/main" id="{CC17F12F-356A-24C9-4EE4-CA97F01DEC2C}"/>
              </a:ext>
            </a:extLst>
          </p:cNvPr>
          <p:cNvGraphicFramePr>
            <a:graphicFrameLocks noChangeAspect="1"/>
          </p:cNvGraphicFramePr>
          <p:nvPr>
            <p:custDataLst>
              <p:tags r:id="rId24"/>
            </p:custDataLst>
            <p:extLst>
              <p:ext uri="{D42A27DB-BD31-4B8C-83A1-F6EECF244321}">
                <p14:modId xmlns:p14="http://schemas.microsoft.com/office/powerpoint/2010/main" val="1414644053"/>
              </p:ext>
            </p:extLst>
          </p:nvPr>
        </p:nvGraphicFramePr>
        <p:xfrm>
          <a:off x="286848" y="1743312"/>
          <a:ext cx="4883150" cy="4275137"/>
        </p:xfrm>
        <a:graphic>
          <a:graphicData uri="http://schemas.openxmlformats.org/drawingml/2006/chart">
            <c:chart xmlns:c="http://schemas.openxmlformats.org/drawingml/2006/chart" xmlns:r="http://schemas.openxmlformats.org/officeDocument/2006/relationships" r:id="rId28"/>
          </a:graphicData>
        </a:graphic>
      </p:graphicFrame>
    </p:spTree>
    <p:extLst>
      <p:ext uri="{BB962C8B-B14F-4D97-AF65-F5344CB8AC3E}">
        <p14:creationId xmlns:p14="http://schemas.microsoft.com/office/powerpoint/2010/main" val="42077572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74A866-6EAB-DBE2-0644-AF3016E525B1}"/>
              </a:ext>
            </a:extLst>
          </p:cNvPr>
          <p:cNvSpPr>
            <a:spLocks noGrp="1"/>
          </p:cNvSpPr>
          <p:nvPr>
            <p:ph type="title"/>
          </p:nvPr>
        </p:nvSpPr>
        <p:spPr/>
        <p:txBody>
          <a:bodyPr/>
          <a:lstStyle/>
          <a:p>
            <a:r>
              <a:rPr lang="en-BR"/>
              <a:t>Other Visuals</a:t>
            </a:r>
          </a:p>
        </p:txBody>
      </p:sp>
      <p:sp>
        <p:nvSpPr>
          <p:cNvPr id="3" name="Footer Placeholder 2">
            <a:extLst>
              <a:ext uri="{FF2B5EF4-FFF2-40B4-BE49-F238E27FC236}">
                <a16:creationId xmlns:a16="http://schemas.microsoft.com/office/drawing/2014/main" id="{CDBED5F0-BEDA-DB8F-1CEB-3CEC9C60EE87}"/>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BD95DD45-61F4-1DA7-15C6-EFE3AC6FBF40}"/>
              </a:ext>
            </a:extLst>
          </p:cNvPr>
          <p:cNvSpPr>
            <a:spLocks noGrp="1"/>
          </p:cNvSpPr>
          <p:nvPr>
            <p:ph type="sldNum" sz="quarter" idx="12"/>
          </p:nvPr>
        </p:nvSpPr>
        <p:spPr/>
        <p:txBody>
          <a:bodyPr/>
          <a:lstStyle/>
          <a:p>
            <a:fld id="{A8DDC45B-7265-3747-B738-ED29642119D9}" type="slidenum">
              <a:rPr lang="en-BR" smtClean="0"/>
              <a:pPr/>
              <a:t>63</a:t>
            </a:fld>
            <a:endParaRPr lang="en-BR"/>
          </a:p>
        </p:txBody>
      </p:sp>
      <p:sp>
        <p:nvSpPr>
          <p:cNvPr id="5" name="Text Placeholder 4">
            <a:extLst>
              <a:ext uri="{FF2B5EF4-FFF2-40B4-BE49-F238E27FC236}">
                <a16:creationId xmlns:a16="http://schemas.microsoft.com/office/drawing/2014/main" id="{1F5C1939-4B31-AC95-3FDD-847489DC5505}"/>
              </a:ext>
            </a:extLst>
          </p:cNvPr>
          <p:cNvSpPr>
            <a:spLocks noGrp="1"/>
          </p:cNvSpPr>
          <p:nvPr>
            <p:ph type="body" sz="quarter" idx="13"/>
          </p:nvPr>
        </p:nvSpPr>
        <p:spPr/>
        <p:txBody>
          <a:bodyPr/>
          <a:lstStyle/>
          <a:p>
            <a:r>
              <a:rPr lang="en-BR"/>
              <a:t>Interaction / Feedback</a:t>
            </a:r>
          </a:p>
        </p:txBody>
      </p:sp>
      <p:sp>
        <p:nvSpPr>
          <p:cNvPr id="6" name="Content Placeholder 1">
            <a:extLst>
              <a:ext uri="{FF2B5EF4-FFF2-40B4-BE49-F238E27FC236}">
                <a16:creationId xmlns:a16="http://schemas.microsoft.com/office/drawing/2014/main" id="{A91AC4F3-5286-99DE-8BE0-51ED561C695C}"/>
              </a:ext>
            </a:extLst>
          </p:cNvPr>
          <p:cNvSpPr txBox="1">
            <a:spLocks/>
          </p:cNvSpPr>
          <p:nvPr/>
        </p:nvSpPr>
        <p:spPr>
          <a:xfrm>
            <a:off x="3826601" y="1757771"/>
            <a:ext cx="389914" cy="193899"/>
          </a:xfrm>
          <a:prstGeom prst="rect">
            <a:avLst/>
          </a:prstGeom>
        </p:spPr>
        <p:txBody>
          <a:bodyPr vert="horz" wrap="none" lIns="0" tIns="0" rIns="0" bIns="0" rtlCol="0" anchor="b">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r>
              <a:rPr lang="en-US" sz="1400" b="0" cap="all">
                <a:solidFill>
                  <a:schemeClr val="tx1">
                    <a:lumMod val="75000"/>
                    <a:lumOff val="25000"/>
                  </a:schemeClr>
                </a:solidFill>
                <a:latin typeface="Segoe UI" panose="020B0502040204020203" pitchFamily="34" charset="0"/>
                <a:cs typeface="Segoe UI" panose="020B0502040204020203" pitchFamily="34" charset="0"/>
              </a:rPr>
              <a:t>Text</a:t>
            </a:r>
          </a:p>
        </p:txBody>
      </p:sp>
      <p:cxnSp>
        <p:nvCxnSpPr>
          <p:cNvPr id="8" name="Straight Connector 7">
            <a:extLst>
              <a:ext uri="{FF2B5EF4-FFF2-40B4-BE49-F238E27FC236}">
                <a16:creationId xmlns:a16="http://schemas.microsoft.com/office/drawing/2014/main" id="{4EBC7CD6-9E69-90E7-B46D-87F9879F0060}"/>
              </a:ext>
            </a:extLst>
          </p:cNvPr>
          <p:cNvCxnSpPr/>
          <p:nvPr/>
        </p:nvCxnSpPr>
        <p:spPr>
          <a:xfrm>
            <a:off x="1278046" y="2321973"/>
            <a:ext cx="6362007" cy="0"/>
          </a:xfrm>
          <a:prstGeom prst="line">
            <a:avLst/>
          </a:prstGeom>
          <a:ln w="635000">
            <a:gradFill flip="none" rotWithShape="1">
              <a:gsLst>
                <a:gs pos="11000">
                  <a:schemeClr val="accent1"/>
                </a:gs>
                <a:gs pos="85000">
                  <a:srgbClr val="C00000"/>
                </a:gs>
              </a:gsLst>
              <a:lin ang="0" scaled="1"/>
              <a:tileRect/>
            </a:gradFill>
            <a:prstDash val="solid"/>
            <a:headEnd type="none" w="sm" len="sm"/>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23FB3299-9EB1-0EAB-1110-B05FA531E5D4}"/>
              </a:ext>
            </a:extLst>
          </p:cNvPr>
          <p:cNvCxnSpPr/>
          <p:nvPr/>
        </p:nvCxnSpPr>
        <p:spPr>
          <a:xfrm>
            <a:off x="2024448" y="2320997"/>
            <a:ext cx="1648636" cy="0"/>
          </a:xfrm>
          <a:prstGeom prst="straightConnector1">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7226E432-5D74-7E4A-A0B1-56B2F7DE4136}"/>
              </a:ext>
            </a:extLst>
          </p:cNvPr>
          <p:cNvCxnSpPr/>
          <p:nvPr/>
        </p:nvCxnSpPr>
        <p:spPr>
          <a:xfrm>
            <a:off x="4366855" y="2320997"/>
            <a:ext cx="1615291" cy="0"/>
          </a:xfrm>
          <a:prstGeom prst="straightConnector1">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A59F21D9-2179-3E33-D47E-6847808A0298}"/>
              </a:ext>
            </a:extLst>
          </p:cNvPr>
          <p:cNvSpPr/>
          <p:nvPr/>
        </p:nvSpPr>
        <p:spPr>
          <a:xfrm>
            <a:off x="3752616" y="2064971"/>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a:solidFill>
                  <a:schemeClr val="bg1"/>
                </a:solidFill>
                <a:latin typeface="Segoe UI" panose="020B0502040204020203" pitchFamily="34" charset="0"/>
                <a:cs typeface="Segoe UI" panose="020B0502040204020203" pitchFamily="34" charset="0"/>
              </a:rPr>
              <a:t>2</a:t>
            </a:r>
            <a:endParaRPr lang="en-GB" sz="2000">
              <a:solidFill>
                <a:schemeClr val="bg1"/>
              </a:solidFill>
              <a:latin typeface="Segoe UI" panose="020B0502040204020203" pitchFamily="34" charset="0"/>
              <a:cs typeface="Segoe UI" panose="020B0502040204020203" pitchFamily="34" charset="0"/>
            </a:endParaRPr>
          </a:p>
        </p:txBody>
      </p:sp>
      <p:sp>
        <p:nvSpPr>
          <p:cNvPr id="12" name="Oval 11">
            <a:extLst>
              <a:ext uri="{FF2B5EF4-FFF2-40B4-BE49-F238E27FC236}">
                <a16:creationId xmlns:a16="http://schemas.microsoft.com/office/drawing/2014/main" id="{CA9162E9-0EBF-FE83-2635-55E39B8C7B84}"/>
              </a:ext>
            </a:extLst>
          </p:cNvPr>
          <p:cNvSpPr/>
          <p:nvPr/>
        </p:nvSpPr>
        <p:spPr>
          <a:xfrm>
            <a:off x="1456822" y="2064972"/>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a:solidFill>
                  <a:schemeClr val="bg1"/>
                </a:solidFill>
                <a:latin typeface="Segoe UI" panose="020B0502040204020203" pitchFamily="34" charset="0"/>
                <a:cs typeface="Segoe UI" panose="020B0502040204020203" pitchFamily="34" charset="0"/>
              </a:rPr>
              <a:t>1</a:t>
            </a:r>
            <a:endParaRPr lang="en-GB" sz="2000">
              <a:solidFill>
                <a:schemeClr val="bg1"/>
              </a:solidFill>
              <a:latin typeface="Segoe UI" panose="020B0502040204020203" pitchFamily="34" charset="0"/>
              <a:cs typeface="Segoe UI" panose="020B0502040204020203" pitchFamily="34" charset="0"/>
            </a:endParaRPr>
          </a:p>
        </p:txBody>
      </p:sp>
      <p:sp>
        <p:nvSpPr>
          <p:cNvPr id="13" name="Content Placeholder 1">
            <a:extLst>
              <a:ext uri="{FF2B5EF4-FFF2-40B4-BE49-F238E27FC236}">
                <a16:creationId xmlns:a16="http://schemas.microsoft.com/office/drawing/2014/main" id="{703B6868-34E5-11BF-BB90-5EDBACF2C52C}"/>
              </a:ext>
            </a:extLst>
          </p:cNvPr>
          <p:cNvSpPr txBox="1">
            <a:spLocks/>
          </p:cNvSpPr>
          <p:nvPr/>
        </p:nvSpPr>
        <p:spPr>
          <a:xfrm>
            <a:off x="1521715" y="1757771"/>
            <a:ext cx="389914" cy="193899"/>
          </a:xfrm>
          <a:prstGeom prst="rect">
            <a:avLst/>
          </a:prstGeom>
        </p:spPr>
        <p:txBody>
          <a:bodyPr vert="horz" wrap="none" lIns="0" tIns="0" rIns="0" bIns="0" rtlCol="0" anchor="b">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r>
              <a:rPr lang="en-US" sz="1400" b="0" cap="all">
                <a:solidFill>
                  <a:schemeClr val="tx1">
                    <a:lumMod val="75000"/>
                    <a:lumOff val="25000"/>
                  </a:schemeClr>
                </a:solidFill>
                <a:latin typeface="Segoe UI" panose="020B0502040204020203" pitchFamily="34" charset="0"/>
                <a:cs typeface="Segoe UI" panose="020B0502040204020203" pitchFamily="34" charset="0"/>
              </a:rPr>
              <a:t>Text</a:t>
            </a:r>
          </a:p>
        </p:txBody>
      </p:sp>
      <p:sp>
        <p:nvSpPr>
          <p:cNvPr id="14" name="Content Placeholder 1">
            <a:extLst>
              <a:ext uri="{FF2B5EF4-FFF2-40B4-BE49-F238E27FC236}">
                <a16:creationId xmlns:a16="http://schemas.microsoft.com/office/drawing/2014/main" id="{350FD468-F625-0047-3A2C-E77F29848C33}"/>
              </a:ext>
            </a:extLst>
          </p:cNvPr>
          <p:cNvSpPr txBox="1">
            <a:spLocks/>
          </p:cNvSpPr>
          <p:nvPr/>
        </p:nvSpPr>
        <p:spPr>
          <a:xfrm>
            <a:off x="7282756" y="1757771"/>
            <a:ext cx="389914" cy="193899"/>
          </a:xfrm>
          <a:prstGeom prst="rect">
            <a:avLst/>
          </a:prstGeom>
        </p:spPr>
        <p:txBody>
          <a:bodyPr vert="horz" wrap="none" lIns="0" tIns="0" rIns="0" bIns="0" rtlCol="0" anchor="b">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r>
              <a:rPr lang="en-US" sz="1400" b="0" cap="all">
                <a:solidFill>
                  <a:schemeClr val="tx1">
                    <a:lumMod val="75000"/>
                    <a:lumOff val="25000"/>
                  </a:schemeClr>
                </a:solidFill>
                <a:latin typeface="Segoe UI" panose="020B0502040204020203" pitchFamily="34" charset="0"/>
                <a:cs typeface="Segoe UI" panose="020B0502040204020203" pitchFamily="34" charset="0"/>
              </a:rPr>
              <a:t>Text</a:t>
            </a:r>
          </a:p>
        </p:txBody>
      </p:sp>
      <p:sp>
        <p:nvSpPr>
          <p:cNvPr id="15" name="TextBox 14">
            <a:extLst>
              <a:ext uri="{FF2B5EF4-FFF2-40B4-BE49-F238E27FC236}">
                <a16:creationId xmlns:a16="http://schemas.microsoft.com/office/drawing/2014/main" id="{7092891F-FA6C-803A-29A1-59C93A5CCDF6}"/>
              </a:ext>
            </a:extLst>
          </p:cNvPr>
          <p:cNvSpPr txBox="1"/>
          <p:nvPr/>
        </p:nvSpPr>
        <p:spPr>
          <a:xfrm>
            <a:off x="7092722" y="3089432"/>
            <a:ext cx="775020" cy="344710"/>
          </a:xfrm>
          <a:prstGeom prst="rect">
            <a:avLst/>
          </a:prstGeom>
        </p:spPr>
        <p:txBody>
          <a:bodyPr vert="horz" wrap="none" lIns="0" tIns="0" rIns="0" bIns="0" rtlCol="0" anchor="ctr">
            <a:spAutoFit/>
          </a:bodyPr>
          <a:lstStyle/>
          <a:p>
            <a:pPr algn="ctr">
              <a:lnSpc>
                <a:spcPct val="80000"/>
              </a:lnSpc>
            </a:pPr>
            <a:r>
              <a:rPr lang="en-AU" sz="2800" cap="all">
                <a:ln w="6350">
                  <a:noFill/>
                </a:ln>
                <a:solidFill>
                  <a:schemeClr val="tx1">
                    <a:lumMod val="75000"/>
                    <a:lumOff val="25000"/>
                  </a:schemeClr>
                </a:solidFill>
                <a:latin typeface="Segoe UI" panose="020B0502040204020203" pitchFamily="34" charset="0"/>
                <a:cs typeface="Segoe UI" panose="020B0502040204020203" pitchFamily="34" charset="0"/>
              </a:rPr>
              <a:t>Text</a:t>
            </a:r>
            <a:endParaRPr lang="en-GB" sz="2800" cap="all" err="1">
              <a:ln w="6350">
                <a:noFill/>
              </a:ln>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6" name="Content Placeholder 1">
            <a:extLst>
              <a:ext uri="{FF2B5EF4-FFF2-40B4-BE49-F238E27FC236}">
                <a16:creationId xmlns:a16="http://schemas.microsoft.com/office/drawing/2014/main" id="{26DA85D9-1603-94B0-DCF5-BA052D90D94C}"/>
              </a:ext>
            </a:extLst>
          </p:cNvPr>
          <p:cNvSpPr txBox="1">
            <a:spLocks/>
          </p:cNvSpPr>
          <p:nvPr/>
        </p:nvSpPr>
        <p:spPr>
          <a:xfrm>
            <a:off x="4807947" y="3980785"/>
            <a:ext cx="389914" cy="193899"/>
          </a:xfrm>
          <a:prstGeom prst="rect">
            <a:avLst/>
          </a:prstGeom>
        </p:spPr>
        <p:txBody>
          <a:bodyPr vert="horz" wrap="none" lIns="0" tIns="0" rIns="0" bIns="0" rtlCol="0">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r"/>
            <a:r>
              <a:rPr lang="en-US" sz="1400" b="0" cap="all">
                <a:solidFill>
                  <a:schemeClr val="tx1">
                    <a:lumMod val="75000"/>
                    <a:lumOff val="25000"/>
                  </a:schemeClr>
                </a:solidFill>
                <a:latin typeface="Segoe UI" panose="020B0502040204020203" pitchFamily="34" charset="0"/>
                <a:cs typeface="Segoe UI" panose="020B0502040204020203" pitchFamily="34" charset="0"/>
              </a:rPr>
              <a:t>Text</a:t>
            </a:r>
          </a:p>
        </p:txBody>
      </p:sp>
      <p:sp>
        <p:nvSpPr>
          <p:cNvPr id="17" name="Content Placeholder 1">
            <a:extLst>
              <a:ext uri="{FF2B5EF4-FFF2-40B4-BE49-F238E27FC236}">
                <a16:creationId xmlns:a16="http://schemas.microsoft.com/office/drawing/2014/main" id="{C76CC2E4-4D24-6EFB-B45D-07D5DB752C50}"/>
              </a:ext>
            </a:extLst>
          </p:cNvPr>
          <p:cNvSpPr txBox="1">
            <a:spLocks/>
          </p:cNvSpPr>
          <p:nvPr/>
        </p:nvSpPr>
        <p:spPr>
          <a:xfrm>
            <a:off x="9744400" y="3980785"/>
            <a:ext cx="389915" cy="193899"/>
          </a:xfrm>
          <a:prstGeom prst="rect">
            <a:avLst/>
          </a:prstGeom>
        </p:spPr>
        <p:txBody>
          <a:bodyPr vert="horz" wrap="none" lIns="0" tIns="0" rIns="0" bIns="0" rtlCol="0">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r>
              <a:rPr lang="en-US" sz="1400" b="0" cap="all">
                <a:solidFill>
                  <a:schemeClr val="tx1">
                    <a:lumMod val="75000"/>
                    <a:lumOff val="25000"/>
                  </a:schemeClr>
                </a:solidFill>
                <a:latin typeface="Segoe UI" panose="020B0502040204020203" pitchFamily="34" charset="0"/>
                <a:cs typeface="Segoe UI" panose="020B0502040204020203" pitchFamily="34" charset="0"/>
              </a:rPr>
              <a:t>Text</a:t>
            </a:r>
          </a:p>
        </p:txBody>
      </p:sp>
      <p:grpSp>
        <p:nvGrpSpPr>
          <p:cNvPr id="18" name="Group 17">
            <a:extLst>
              <a:ext uri="{FF2B5EF4-FFF2-40B4-BE49-F238E27FC236}">
                <a16:creationId xmlns:a16="http://schemas.microsoft.com/office/drawing/2014/main" id="{26FD8EA7-C75B-0BCD-9A4C-0CE19B8836BB}"/>
              </a:ext>
            </a:extLst>
          </p:cNvPr>
          <p:cNvGrpSpPr/>
          <p:nvPr/>
        </p:nvGrpSpPr>
        <p:grpSpPr>
          <a:xfrm>
            <a:off x="5462725" y="2064971"/>
            <a:ext cx="4021325" cy="4036306"/>
            <a:chOff x="5462725" y="1662350"/>
            <a:chExt cx="4021325" cy="4036306"/>
          </a:xfrm>
        </p:grpSpPr>
        <p:sp>
          <p:nvSpPr>
            <p:cNvPr id="19" name="Oval 18">
              <a:extLst>
                <a:ext uri="{FF2B5EF4-FFF2-40B4-BE49-F238E27FC236}">
                  <a16:creationId xmlns:a16="http://schemas.microsoft.com/office/drawing/2014/main" id="{AB4E7240-B948-DBE2-E654-CBA7F2E035A3}"/>
                </a:ext>
              </a:extLst>
            </p:cNvPr>
            <p:cNvSpPr/>
            <p:nvPr/>
          </p:nvSpPr>
          <p:spPr>
            <a:xfrm rot="16200000">
              <a:off x="5720701" y="1919352"/>
              <a:ext cx="3511824" cy="3511824"/>
            </a:xfrm>
            <a:prstGeom prst="ellipse">
              <a:avLst/>
            </a:prstGeom>
            <a:noFill/>
            <a:ln w="635000">
              <a:solidFill>
                <a:srgbClr val="C00000"/>
              </a:solidFill>
              <a:headEnd type="arrow" w="sm" len="sm"/>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grpSp>
          <p:nvGrpSpPr>
            <p:cNvPr id="20" name="Group 19">
              <a:extLst>
                <a:ext uri="{FF2B5EF4-FFF2-40B4-BE49-F238E27FC236}">
                  <a16:creationId xmlns:a16="http://schemas.microsoft.com/office/drawing/2014/main" id="{72DFA6D0-8774-9BD2-EDE0-BBA83669B0CE}"/>
                </a:ext>
              </a:extLst>
            </p:cNvPr>
            <p:cNvGrpSpPr/>
            <p:nvPr/>
          </p:nvGrpSpPr>
          <p:grpSpPr>
            <a:xfrm>
              <a:off x="5740430" y="1939079"/>
              <a:ext cx="3472367" cy="3472367"/>
              <a:chOff x="6111329" y="2422187"/>
              <a:chExt cx="2698028" cy="2698028"/>
            </a:xfrm>
          </p:grpSpPr>
          <p:sp>
            <p:nvSpPr>
              <p:cNvPr id="28" name="Arc 27">
                <a:extLst>
                  <a:ext uri="{FF2B5EF4-FFF2-40B4-BE49-F238E27FC236}">
                    <a16:creationId xmlns:a16="http://schemas.microsoft.com/office/drawing/2014/main" id="{0D2BFC3C-F786-33B6-6385-01C75E1BC266}"/>
                  </a:ext>
                </a:extLst>
              </p:cNvPr>
              <p:cNvSpPr/>
              <p:nvPr/>
            </p:nvSpPr>
            <p:spPr>
              <a:xfrm rot="16200000">
                <a:off x="6111329" y="2422187"/>
                <a:ext cx="2698028" cy="2698028"/>
              </a:xfrm>
              <a:prstGeom prst="arc">
                <a:avLst>
                  <a:gd name="adj1" fmla="val 682328"/>
                  <a:gd name="adj2" fmla="val 4749717"/>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Segoe UI" panose="020B0502040204020203" pitchFamily="34" charset="0"/>
                  <a:cs typeface="Segoe UI" panose="020B0502040204020203" pitchFamily="34" charset="0"/>
                </a:endParaRPr>
              </a:p>
            </p:txBody>
          </p:sp>
          <p:sp>
            <p:nvSpPr>
              <p:cNvPr id="29" name="Arc 28">
                <a:extLst>
                  <a:ext uri="{FF2B5EF4-FFF2-40B4-BE49-F238E27FC236}">
                    <a16:creationId xmlns:a16="http://schemas.microsoft.com/office/drawing/2014/main" id="{C704B279-2C53-DCCD-22C1-761CE4967339}"/>
                  </a:ext>
                </a:extLst>
              </p:cNvPr>
              <p:cNvSpPr/>
              <p:nvPr/>
            </p:nvSpPr>
            <p:spPr>
              <a:xfrm>
                <a:off x="6111329" y="2422187"/>
                <a:ext cx="2698028" cy="2698028"/>
              </a:xfrm>
              <a:prstGeom prst="arc">
                <a:avLst>
                  <a:gd name="adj1" fmla="val 682328"/>
                  <a:gd name="adj2" fmla="val 4749717"/>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Segoe UI" panose="020B0502040204020203" pitchFamily="34" charset="0"/>
                  <a:cs typeface="Segoe UI" panose="020B0502040204020203" pitchFamily="34" charset="0"/>
                </a:endParaRPr>
              </a:p>
            </p:txBody>
          </p:sp>
        </p:grpSp>
        <p:grpSp>
          <p:nvGrpSpPr>
            <p:cNvPr id="21" name="Group 20">
              <a:extLst>
                <a:ext uri="{FF2B5EF4-FFF2-40B4-BE49-F238E27FC236}">
                  <a16:creationId xmlns:a16="http://schemas.microsoft.com/office/drawing/2014/main" id="{9042718C-DE80-762B-9B7A-97E59703A688}"/>
                </a:ext>
              </a:extLst>
            </p:cNvPr>
            <p:cNvGrpSpPr/>
            <p:nvPr/>
          </p:nvGrpSpPr>
          <p:grpSpPr>
            <a:xfrm rot="10800000">
              <a:off x="5740430" y="1939079"/>
              <a:ext cx="3472367" cy="3472367"/>
              <a:chOff x="6111329" y="2422187"/>
              <a:chExt cx="2698028" cy="2698028"/>
            </a:xfrm>
          </p:grpSpPr>
          <p:sp>
            <p:nvSpPr>
              <p:cNvPr id="26" name="Arc 25">
                <a:extLst>
                  <a:ext uri="{FF2B5EF4-FFF2-40B4-BE49-F238E27FC236}">
                    <a16:creationId xmlns:a16="http://schemas.microsoft.com/office/drawing/2014/main" id="{13AFD97D-CDF7-E559-06E1-69F78D28329A}"/>
                  </a:ext>
                </a:extLst>
              </p:cNvPr>
              <p:cNvSpPr/>
              <p:nvPr/>
            </p:nvSpPr>
            <p:spPr>
              <a:xfrm rot="16200000">
                <a:off x="6111329" y="2422187"/>
                <a:ext cx="2698028" cy="2698028"/>
              </a:xfrm>
              <a:prstGeom prst="arc">
                <a:avLst>
                  <a:gd name="adj1" fmla="val 682328"/>
                  <a:gd name="adj2" fmla="val 4749717"/>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Segoe UI" panose="020B0502040204020203" pitchFamily="34" charset="0"/>
                  <a:cs typeface="Segoe UI" panose="020B0502040204020203" pitchFamily="34" charset="0"/>
                </a:endParaRPr>
              </a:p>
            </p:txBody>
          </p:sp>
          <p:sp>
            <p:nvSpPr>
              <p:cNvPr id="27" name="Arc 26">
                <a:extLst>
                  <a:ext uri="{FF2B5EF4-FFF2-40B4-BE49-F238E27FC236}">
                    <a16:creationId xmlns:a16="http://schemas.microsoft.com/office/drawing/2014/main" id="{527C61D3-FE9C-E85B-51B7-4E0D2715BB86}"/>
                  </a:ext>
                </a:extLst>
              </p:cNvPr>
              <p:cNvSpPr/>
              <p:nvPr/>
            </p:nvSpPr>
            <p:spPr>
              <a:xfrm>
                <a:off x="6111329" y="2422187"/>
                <a:ext cx="2698028" cy="2698028"/>
              </a:xfrm>
              <a:prstGeom prst="arc">
                <a:avLst>
                  <a:gd name="adj1" fmla="val 682328"/>
                  <a:gd name="adj2" fmla="val 4749717"/>
                </a:avLst>
              </a:prstGeom>
              <a:ln w="22225">
                <a:solidFill>
                  <a:schemeClr val="bg1"/>
                </a:solidFill>
                <a:prstDash val="solid"/>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Segoe UI" panose="020B0502040204020203" pitchFamily="34" charset="0"/>
                  <a:cs typeface="Segoe UI" panose="020B0502040204020203" pitchFamily="34" charset="0"/>
                </a:endParaRPr>
              </a:p>
            </p:txBody>
          </p:sp>
        </p:grpSp>
        <p:sp>
          <p:nvSpPr>
            <p:cNvPr id="22" name="Oval 21">
              <a:extLst>
                <a:ext uri="{FF2B5EF4-FFF2-40B4-BE49-F238E27FC236}">
                  <a16:creationId xmlns:a16="http://schemas.microsoft.com/office/drawing/2014/main" id="{572EB1ED-5FB2-720A-8E79-A5BBC3911DF9}"/>
                </a:ext>
              </a:extLst>
            </p:cNvPr>
            <p:cNvSpPr/>
            <p:nvPr/>
          </p:nvSpPr>
          <p:spPr>
            <a:xfrm>
              <a:off x="7208772" y="1662350"/>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a:solidFill>
                    <a:schemeClr val="bg1"/>
                  </a:solidFill>
                  <a:latin typeface="Segoe UI" panose="020B0502040204020203" pitchFamily="34" charset="0"/>
                  <a:cs typeface="Segoe UI" panose="020B0502040204020203" pitchFamily="34" charset="0"/>
                </a:rPr>
                <a:t>3</a:t>
              </a:r>
              <a:endParaRPr lang="en-GB" sz="2000">
                <a:solidFill>
                  <a:schemeClr val="bg1"/>
                </a:solidFill>
                <a:latin typeface="Segoe UI" panose="020B0502040204020203" pitchFamily="34" charset="0"/>
                <a:cs typeface="Segoe UI" panose="020B0502040204020203" pitchFamily="34" charset="0"/>
              </a:endParaRPr>
            </a:p>
          </p:txBody>
        </p:sp>
        <p:sp>
          <p:nvSpPr>
            <p:cNvPr id="23" name="Oval 22">
              <a:extLst>
                <a:ext uri="{FF2B5EF4-FFF2-40B4-BE49-F238E27FC236}">
                  <a16:creationId xmlns:a16="http://schemas.microsoft.com/office/drawing/2014/main" id="{31769D0C-928E-23CB-5D8C-84EF5784169C}"/>
                </a:ext>
              </a:extLst>
            </p:cNvPr>
            <p:cNvSpPr/>
            <p:nvPr/>
          </p:nvSpPr>
          <p:spPr>
            <a:xfrm>
              <a:off x="5462725" y="3407421"/>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a:solidFill>
                    <a:schemeClr val="bg1"/>
                  </a:solidFill>
                  <a:latin typeface="Segoe UI" panose="020B0502040204020203" pitchFamily="34" charset="0"/>
                  <a:cs typeface="Segoe UI" panose="020B0502040204020203" pitchFamily="34" charset="0"/>
                </a:rPr>
                <a:t>6</a:t>
              </a:r>
              <a:endParaRPr lang="en-GB" sz="2000">
                <a:solidFill>
                  <a:schemeClr val="bg1"/>
                </a:solidFill>
                <a:latin typeface="Segoe UI" panose="020B0502040204020203" pitchFamily="34" charset="0"/>
                <a:cs typeface="Segoe UI" panose="020B0502040204020203" pitchFamily="34" charset="0"/>
              </a:endParaRPr>
            </a:p>
          </p:txBody>
        </p:sp>
        <p:sp>
          <p:nvSpPr>
            <p:cNvPr id="24" name="Oval 23">
              <a:extLst>
                <a:ext uri="{FF2B5EF4-FFF2-40B4-BE49-F238E27FC236}">
                  <a16:creationId xmlns:a16="http://schemas.microsoft.com/office/drawing/2014/main" id="{94C2158D-070B-11D6-021C-3FFFE9A7981F}"/>
                </a:ext>
              </a:extLst>
            </p:cNvPr>
            <p:cNvSpPr/>
            <p:nvPr/>
          </p:nvSpPr>
          <p:spPr>
            <a:xfrm>
              <a:off x="8948369" y="3407421"/>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a:solidFill>
                    <a:schemeClr val="bg1"/>
                  </a:solidFill>
                  <a:latin typeface="Segoe UI" panose="020B0502040204020203" pitchFamily="34" charset="0"/>
                  <a:cs typeface="Segoe UI" panose="020B0502040204020203" pitchFamily="34" charset="0"/>
                </a:rPr>
                <a:t>4</a:t>
              </a:r>
              <a:endParaRPr lang="en-GB" sz="2000">
                <a:solidFill>
                  <a:schemeClr val="bg1"/>
                </a:solidFill>
                <a:latin typeface="Segoe UI" panose="020B0502040204020203" pitchFamily="34" charset="0"/>
                <a:cs typeface="Segoe UI" panose="020B0502040204020203" pitchFamily="34" charset="0"/>
              </a:endParaRPr>
            </a:p>
          </p:txBody>
        </p:sp>
        <p:sp>
          <p:nvSpPr>
            <p:cNvPr id="25" name="Oval 24">
              <a:extLst>
                <a:ext uri="{FF2B5EF4-FFF2-40B4-BE49-F238E27FC236}">
                  <a16:creationId xmlns:a16="http://schemas.microsoft.com/office/drawing/2014/main" id="{900EF90E-63FA-6F15-CBDF-01BB830EF1DA}"/>
                </a:ext>
              </a:extLst>
            </p:cNvPr>
            <p:cNvSpPr/>
            <p:nvPr/>
          </p:nvSpPr>
          <p:spPr>
            <a:xfrm>
              <a:off x="7208772" y="5162975"/>
              <a:ext cx="535681" cy="535681"/>
            </a:xfrm>
            <a:prstGeom prst="ellipse">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a:solidFill>
                    <a:schemeClr val="bg1"/>
                  </a:solidFill>
                  <a:latin typeface="Segoe UI" panose="020B0502040204020203" pitchFamily="34" charset="0"/>
                  <a:cs typeface="Segoe UI" panose="020B0502040204020203" pitchFamily="34" charset="0"/>
                </a:rPr>
                <a:t>5</a:t>
              </a:r>
              <a:endParaRPr lang="en-GB" sz="2000">
                <a:solidFill>
                  <a:schemeClr val="bg1"/>
                </a:solidFill>
                <a:latin typeface="Segoe UI" panose="020B0502040204020203" pitchFamily="34" charset="0"/>
                <a:cs typeface="Segoe UI" panose="020B0502040204020203" pitchFamily="34" charset="0"/>
              </a:endParaRPr>
            </a:p>
          </p:txBody>
        </p:sp>
      </p:grpSp>
      <p:sp>
        <p:nvSpPr>
          <p:cNvPr id="30" name="Content Placeholder 1">
            <a:extLst>
              <a:ext uri="{FF2B5EF4-FFF2-40B4-BE49-F238E27FC236}">
                <a16:creationId xmlns:a16="http://schemas.microsoft.com/office/drawing/2014/main" id="{8CCAD5DE-FBE0-35F5-8585-4B0B5A2CEC28}"/>
              </a:ext>
            </a:extLst>
          </p:cNvPr>
          <p:cNvSpPr txBox="1">
            <a:spLocks/>
          </p:cNvSpPr>
          <p:nvPr/>
        </p:nvSpPr>
        <p:spPr>
          <a:xfrm>
            <a:off x="7282756" y="6267247"/>
            <a:ext cx="389914" cy="193899"/>
          </a:xfrm>
          <a:prstGeom prst="rect">
            <a:avLst/>
          </a:prstGeom>
        </p:spPr>
        <p:txBody>
          <a:bodyPr vert="horz" wrap="none" lIns="0" tIns="0" rIns="0" bIns="0" rtlCol="0">
            <a:spAutoFit/>
          </a:bodyPr>
          <a:lst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1"/>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r>
              <a:rPr lang="en-US" sz="1400" b="0" cap="all">
                <a:solidFill>
                  <a:schemeClr val="tx1">
                    <a:lumMod val="75000"/>
                    <a:lumOff val="25000"/>
                  </a:schemeClr>
                </a:solidFill>
                <a:latin typeface="Segoe UI" panose="020B0502040204020203" pitchFamily="34" charset="0"/>
                <a:cs typeface="Segoe UI" panose="020B0502040204020203" pitchFamily="34" charset="0"/>
              </a:rPr>
              <a:t>Text</a:t>
            </a:r>
          </a:p>
        </p:txBody>
      </p:sp>
    </p:spTree>
    <p:extLst>
      <p:ext uri="{BB962C8B-B14F-4D97-AF65-F5344CB8AC3E}">
        <p14:creationId xmlns:p14="http://schemas.microsoft.com/office/powerpoint/2010/main" val="27454242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D822D1-ABDB-384A-7063-6F7600268AA1}"/>
              </a:ext>
            </a:extLst>
          </p:cNvPr>
          <p:cNvSpPr>
            <a:spLocks noGrp="1"/>
          </p:cNvSpPr>
          <p:nvPr>
            <p:ph type="title"/>
          </p:nvPr>
        </p:nvSpPr>
        <p:spPr/>
        <p:txBody>
          <a:bodyPr/>
          <a:lstStyle/>
          <a:p>
            <a:r>
              <a:rPr lang="en-BR"/>
              <a:t>Other Visuals</a:t>
            </a:r>
          </a:p>
        </p:txBody>
      </p:sp>
      <p:sp>
        <p:nvSpPr>
          <p:cNvPr id="3" name="Footer Placeholder 2">
            <a:extLst>
              <a:ext uri="{FF2B5EF4-FFF2-40B4-BE49-F238E27FC236}">
                <a16:creationId xmlns:a16="http://schemas.microsoft.com/office/drawing/2014/main" id="{9BBDE91C-9AE2-3A25-9852-CDB17F85D405}"/>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293B23D6-AC28-3B0D-B045-D20D4E6288C0}"/>
              </a:ext>
            </a:extLst>
          </p:cNvPr>
          <p:cNvSpPr>
            <a:spLocks noGrp="1"/>
          </p:cNvSpPr>
          <p:nvPr>
            <p:ph type="sldNum" sz="quarter" idx="12"/>
          </p:nvPr>
        </p:nvSpPr>
        <p:spPr/>
        <p:txBody>
          <a:bodyPr/>
          <a:lstStyle/>
          <a:p>
            <a:fld id="{A8DDC45B-7265-3747-B738-ED29642119D9}" type="slidenum">
              <a:rPr lang="en-BR" smtClean="0"/>
              <a:pPr/>
              <a:t>64</a:t>
            </a:fld>
            <a:endParaRPr lang="en-BR"/>
          </a:p>
        </p:txBody>
      </p:sp>
      <p:sp>
        <p:nvSpPr>
          <p:cNvPr id="5" name="Text Placeholder 4">
            <a:extLst>
              <a:ext uri="{FF2B5EF4-FFF2-40B4-BE49-F238E27FC236}">
                <a16:creationId xmlns:a16="http://schemas.microsoft.com/office/drawing/2014/main" id="{60766745-8242-74D3-AAF2-04F71882832F}"/>
              </a:ext>
            </a:extLst>
          </p:cNvPr>
          <p:cNvSpPr>
            <a:spLocks noGrp="1"/>
          </p:cNvSpPr>
          <p:nvPr>
            <p:ph type="body" sz="quarter" idx="13"/>
          </p:nvPr>
        </p:nvSpPr>
        <p:spPr/>
        <p:txBody>
          <a:bodyPr/>
          <a:lstStyle/>
          <a:p>
            <a:r>
              <a:rPr lang="en-BR"/>
              <a:t>Radar Chart</a:t>
            </a:r>
          </a:p>
        </p:txBody>
      </p:sp>
      <p:graphicFrame>
        <p:nvGraphicFramePr>
          <p:cNvPr id="6" name="Object 2">
            <a:extLst>
              <a:ext uri="{FF2B5EF4-FFF2-40B4-BE49-F238E27FC236}">
                <a16:creationId xmlns:a16="http://schemas.microsoft.com/office/drawing/2014/main" id="{0CB7B340-40CB-F846-E405-B17EF23B28D9}"/>
              </a:ext>
            </a:extLst>
          </p:cNvPr>
          <p:cNvGraphicFramePr>
            <a:graphicFrameLocks/>
          </p:cNvGraphicFramePr>
          <p:nvPr>
            <p:extLst>
              <p:ext uri="{D42A27DB-BD31-4B8C-83A1-F6EECF244321}">
                <p14:modId xmlns:p14="http://schemas.microsoft.com/office/powerpoint/2010/main" val="1787803209"/>
              </p:ext>
            </p:extLst>
          </p:nvPr>
        </p:nvGraphicFramePr>
        <p:xfrm>
          <a:off x="334963" y="1613256"/>
          <a:ext cx="11520487" cy="46222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892301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E7F5D-315D-1147-7A0A-D531BDCB347F}"/>
              </a:ext>
            </a:extLst>
          </p:cNvPr>
          <p:cNvSpPr>
            <a:spLocks noGrp="1"/>
          </p:cNvSpPr>
          <p:nvPr>
            <p:ph type="title"/>
          </p:nvPr>
        </p:nvSpPr>
        <p:spPr/>
        <p:txBody>
          <a:bodyPr/>
          <a:lstStyle/>
          <a:p>
            <a:r>
              <a:rPr lang="en-BR"/>
              <a:t>Other Visuals</a:t>
            </a:r>
          </a:p>
        </p:txBody>
      </p:sp>
      <p:sp>
        <p:nvSpPr>
          <p:cNvPr id="3" name="Footer Placeholder 2">
            <a:extLst>
              <a:ext uri="{FF2B5EF4-FFF2-40B4-BE49-F238E27FC236}">
                <a16:creationId xmlns:a16="http://schemas.microsoft.com/office/drawing/2014/main" id="{7F0891A3-2A2F-CB5A-54F3-03021BEBCD11}"/>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62267D90-E993-0AD7-1B80-F5D58A85CC35}"/>
              </a:ext>
            </a:extLst>
          </p:cNvPr>
          <p:cNvSpPr>
            <a:spLocks noGrp="1"/>
          </p:cNvSpPr>
          <p:nvPr>
            <p:ph type="sldNum" sz="quarter" idx="12"/>
          </p:nvPr>
        </p:nvSpPr>
        <p:spPr/>
        <p:txBody>
          <a:bodyPr/>
          <a:lstStyle/>
          <a:p>
            <a:fld id="{A8DDC45B-7265-3747-B738-ED29642119D9}" type="slidenum">
              <a:rPr lang="en-BR" smtClean="0"/>
              <a:pPr/>
              <a:t>65</a:t>
            </a:fld>
            <a:endParaRPr lang="en-BR"/>
          </a:p>
        </p:txBody>
      </p:sp>
      <p:sp>
        <p:nvSpPr>
          <p:cNvPr id="5" name="Text Placeholder 4">
            <a:extLst>
              <a:ext uri="{FF2B5EF4-FFF2-40B4-BE49-F238E27FC236}">
                <a16:creationId xmlns:a16="http://schemas.microsoft.com/office/drawing/2014/main" id="{731096B8-F356-FC15-A1EA-A876ED3A6FA7}"/>
              </a:ext>
            </a:extLst>
          </p:cNvPr>
          <p:cNvSpPr>
            <a:spLocks noGrp="1"/>
          </p:cNvSpPr>
          <p:nvPr>
            <p:ph type="body" sz="quarter" idx="13"/>
          </p:nvPr>
        </p:nvSpPr>
        <p:spPr/>
        <p:txBody>
          <a:bodyPr/>
          <a:lstStyle/>
          <a:p>
            <a:r>
              <a:rPr lang="en-BR"/>
              <a:t>Process linear flow</a:t>
            </a:r>
          </a:p>
        </p:txBody>
      </p:sp>
      <p:grpSp>
        <p:nvGrpSpPr>
          <p:cNvPr id="23" name="Group 22">
            <a:extLst>
              <a:ext uri="{FF2B5EF4-FFF2-40B4-BE49-F238E27FC236}">
                <a16:creationId xmlns:a16="http://schemas.microsoft.com/office/drawing/2014/main" id="{C10A7467-4A10-0309-EFC2-39DB52C3E3D8}"/>
              </a:ext>
            </a:extLst>
          </p:cNvPr>
          <p:cNvGrpSpPr/>
          <p:nvPr/>
        </p:nvGrpSpPr>
        <p:grpSpPr>
          <a:xfrm>
            <a:off x="881843" y="2116855"/>
            <a:ext cx="10474614" cy="3363256"/>
            <a:chOff x="334963" y="1763713"/>
            <a:chExt cx="11522075" cy="4069540"/>
          </a:xfrm>
        </p:grpSpPr>
        <p:sp>
          <p:nvSpPr>
            <p:cNvPr id="6" name="Arrow: Chevron 10">
              <a:extLst>
                <a:ext uri="{FF2B5EF4-FFF2-40B4-BE49-F238E27FC236}">
                  <a16:creationId xmlns:a16="http://schemas.microsoft.com/office/drawing/2014/main" id="{6A2A5C7F-B80F-6CDB-B601-143538B3EE53}"/>
                </a:ext>
              </a:extLst>
            </p:cNvPr>
            <p:cNvSpPr/>
            <p:nvPr/>
          </p:nvSpPr>
          <p:spPr>
            <a:xfrm>
              <a:off x="334963" y="2329025"/>
              <a:ext cx="2520000" cy="2938916"/>
            </a:xfrm>
            <a:prstGeom prst="chevron">
              <a:avLst>
                <a:gd name="adj" fmla="val 23888"/>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a:solidFill>
                    <a:schemeClr val="tx1">
                      <a:lumMod val="75000"/>
                      <a:lumOff val="25000"/>
                    </a:schemeClr>
                  </a:solidFill>
                </a:rPr>
                <a:t>Text</a:t>
              </a:r>
            </a:p>
          </p:txBody>
        </p:sp>
        <p:sp>
          <p:nvSpPr>
            <p:cNvPr id="7" name="Arrow: Chevron 19">
              <a:extLst>
                <a:ext uri="{FF2B5EF4-FFF2-40B4-BE49-F238E27FC236}">
                  <a16:creationId xmlns:a16="http://schemas.microsoft.com/office/drawing/2014/main" id="{D230085C-3596-2B80-2BB6-67F51BCB9413}"/>
                </a:ext>
              </a:extLst>
            </p:cNvPr>
            <p:cNvSpPr/>
            <p:nvPr/>
          </p:nvSpPr>
          <p:spPr>
            <a:xfrm>
              <a:off x="9337038" y="2329025"/>
              <a:ext cx="2520000" cy="2938916"/>
            </a:xfrm>
            <a:prstGeom prst="chevron">
              <a:avLst>
                <a:gd name="adj" fmla="val 23888"/>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a:solidFill>
                    <a:schemeClr val="tx1">
                      <a:lumMod val="75000"/>
                      <a:lumOff val="25000"/>
                    </a:schemeClr>
                  </a:solidFill>
                </a:rPr>
                <a:t>Text</a:t>
              </a:r>
            </a:p>
          </p:txBody>
        </p:sp>
        <p:sp>
          <p:nvSpPr>
            <p:cNvPr id="8" name="Arrow: Chevron 24">
              <a:extLst>
                <a:ext uri="{FF2B5EF4-FFF2-40B4-BE49-F238E27FC236}">
                  <a16:creationId xmlns:a16="http://schemas.microsoft.com/office/drawing/2014/main" id="{AEE4B8F3-4716-B028-BA75-6198D948ECA3}"/>
                </a:ext>
              </a:extLst>
            </p:cNvPr>
            <p:cNvSpPr/>
            <p:nvPr/>
          </p:nvSpPr>
          <p:spPr>
            <a:xfrm>
              <a:off x="7176347" y="2329025"/>
              <a:ext cx="2520000" cy="2938916"/>
            </a:xfrm>
            <a:prstGeom prst="chevron">
              <a:avLst>
                <a:gd name="adj" fmla="val 23888"/>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a:solidFill>
                    <a:schemeClr val="tx1">
                      <a:lumMod val="75000"/>
                      <a:lumOff val="25000"/>
                    </a:schemeClr>
                  </a:solidFill>
                </a:rPr>
                <a:t>Text</a:t>
              </a:r>
            </a:p>
          </p:txBody>
        </p:sp>
        <p:sp>
          <p:nvSpPr>
            <p:cNvPr id="9" name="Freeform 5">
              <a:extLst>
                <a:ext uri="{FF2B5EF4-FFF2-40B4-BE49-F238E27FC236}">
                  <a16:creationId xmlns:a16="http://schemas.microsoft.com/office/drawing/2014/main" id="{8E279055-5B71-91FD-DCAB-577C9FD623BE}"/>
                </a:ext>
              </a:extLst>
            </p:cNvPr>
            <p:cNvSpPr>
              <a:spLocks/>
            </p:cNvSpPr>
            <p:nvPr/>
          </p:nvSpPr>
          <p:spPr bwMode="auto">
            <a:xfrm>
              <a:off x="2495655" y="2329025"/>
              <a:ext cx="4979960" cy="1379276"/>
            </a:xfrm>
            <a:custGeom>
              <a:avLst/>
              <a:gdLst>
                <a:gd name="T0" fmla="*/ 1901 w 3282"/>
                <a:gd name="T1" fmla="*/ 909 h 909"/>
                <a:gd name="T2" fmla="*/ 3282 w 3282"/>
                <a:gd name="T3" fmla="*/ 909 h 909"/>
                <a:gd name="T4" fmla="*/ 2906 w 3282"/>
                <a:gd name="T5" fmla="*/ 0 h 909"/>
                <a:gd name="T6" fmla="*/ 2544 w 3282"/>
                <a:gd name="T7" fmla="*/ 0 h 909"/>
                <a:gd name="T8" fmla="*/ 1525 w 3282"/>
                <a:gd name="T9" fmla="*/ 0 h 909"/>
                <a:gd name="T10" fmla="*/ 1382 w 3282"/>
                <a:gd name="T11" fmla="*/ 0 h 909"/>
                <a:gd name="T12" fmla="*/ 1149 w 3282"/>
                <a:gd name="T13" fmla="*/ 0 h 909"/>
                <a:gd name="T14" fmla="*/ 0 w 3282"/>
                <a:gd name="T15" fmla="*/ 0 h 909"/>
                <a:gd name="T16" fmla="*/ 376 w 3282"/>
                <a:gd name="T17" fmla="*/ 909 h 909"/>
                <a:gd name="T18" fmla="*/ 1758 w 3282"/>
                <a:gd name="T19" fmla="*/ 909 h 909"/>
                <a:gd name="T20" fmla="*/ 1756 w 3282"/>
                <a:gd name="T21" fmla="*/ 909 h 909"/>
                <a:gd name="T22" fmla="*/ 1901 w 3282"/>
                <a:gd name="T23" fmla="*/ 909 h 909"/>
                <a:gd name="T24" fmla="*/ 1901 w 3282"/>
                <a:gd name="T25" fmla="*/ 909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82" h="909">
                  <a:moveTo>
                    <a:pt x="1901" y="909"/>
                  </a:moveTo>
                  <a:lnTo>
                    <a:pt x="3282" y="909"/>
                  </a:lnTo>
                  <a:lnTo>
                    <a:pt x="2906" y="0"/>
                  </a:lnTo>
                  <a:lnTo>
                    <a:pt x="2544" y="0"/>
                  </a:lnTo>
                  <a:lnTo>
                    <a:pt x="1525" y="0"/>
                  </a:lnTo>
                  <a:lnTo>
                    <a:pt x="1382" y="0"/>
                  </a:lnTo>
                  <a:lnTo>
                    <a:pt x="1149" y="0"/>
                  </a:lnTo>
                  <a:lnTo>
                    <a:pt x="0" y="0"/>
                  </a:lnTo>
                  <a:lnTo>
                    <a:pt x="376" y="909"/>
                  </a:lnTo>
                  <a:lnTo>
                    <a:pt x="1758" y="909"/>
                  </a:lnTo>
                  <a:lnTo>
                    <a:pt x="1756" y="909"/>
                  </a:lnTo>
                  <a:lnTo>
                    <a:pt x="1901" y="909"/>
                  </a:lnTo>
                  <a:lnTo>
                    <a:pt x="1901" y="909"/>
                  </a:lnTo>
                  <a:close/>
                </a:path>
              </a:pathLst>
            </a:custGeom>
            <a:solidFill>
              <a:schemeClr val="accent3">
                <a:lumMod val="60000"/>
                <a:lumOff val="40000"/>
              </a:schemeClr>
            </a:solidFill>
            <a:ln>
              <a:noFill/>
            </a:ln>
          </p:spPr>
          <p:txBody>
            <a:bodyPr vert="horz" wrap="square" lIns="91440" tIns="45720" rIns="91440" bIns="45720" numCol="1" anchor="ctr" anchorCtr="0" compatLnSpc="1">
              <a:prstTxWarp prst="textNoShape">
                <a:avLst/>
              </a:prstTxWarp>
            </a:bodyPr>
            <a:lstStyle/>
            <a:p>
              <a:pPr algn="ctr"/>
              <a:r>
                <a:rPr lang="en-AU">
                  <a:solidFill>
                    <a:schemeClr val="tx1">
                      <a:lumMod val="75000"/>
                      <a:lumOff val="25000"/>
                    </a:schemeClr>
                  </a:solidFill>
                </a:rPr>
                <a:t>Text</a:t>
              </a:r>
            </a:p>
          </p:txBody>
        </p:sp>
        <p:sp>
          <p:nvSpPr>
            <p:cNvPr id="10" name="Freeform 6">
              <a:extLst>
                <a:ext uri="{FF2B5EF4-FFF2-40B4-BE49-F238E27FC236}">
                  <a16:creationId xmlns:a16="http://schemas.microsoft.com/office/drawing/2014/main" id="{0CDA1663-FD72-F0F1-E00F-2CD13A629EA5}"/>
                </a:ext>
              </a:extLst>
            </p:cNvPr>
            <p:cNvSpPr>
              <a:spLocks/>
            </p:cNvSpPr>
            <p:nvPr/>
          </p:nvSpPr>
          <p:spPr bwMode="auto">
            <a:xfrm>
              <a:off x="4809622" y="3887349"/>
              <a:ext cx="2665993" cy="1379276"/>
            </a:xfrm>
            <a:custGeom>
              <a:avLst/>
              <a:gdLst>
                <a:gd name="T0" fmla="*/ 1757 w 1757"/>
                <a:gd name="T1" fmla="*/ 0 h 909"/>
                <a:gd name="T2" fmla="*/ 376 w 1757"/>
                <a:gd name="T3" fmla="*/ 0 h 909"/>
                <a:gd name="T4" fmla="*/ 0 w 1757"/>
                <a:gd name="T5" fmla="*/ 909 h 909"/>
                <a:gd name="T6" fmla="*/ 1381 w 1757"/>
                <a:gd name="T7" fmla="*/ 909 h 909"/>
                <a:gd name="T8" fmla="*/ 1757 w 1757"/>
                <a:gd name="T9" fmla="*/ 0 h 909"/>
              </a:gdLst>
              <a:ahLst/>
              <a:cxnLst>
                <a:cxn ang="0">
                  <a:pos x="T0" y="T1"/>
                </a:cxn>
                <a:cxn ang="0">
                  <a:pos x="T2" y="T3"/>
                </a:cxn>
                <a:cxn ang="0">
                  <a:pos x="T4" y="T5"/>
                </a:cxn>
                <a:cxn ang="0">
                  <a:pos x="T6" y="T7"/>
                </a:cxn>
                <a:cxn ang="0">
                  <a:pos x="T8" y="T9"/>
                </a:cxn>
              </a:cxnLst>
              <a:rect l="0" t="0" r="r" b="b"/>
              <a:pathLst>
                <a:path w="1757" h="909">
                  <a:moveTo>
                    <a:pt x="1757" y="0"/>
                  </a:moveTo>
                  <a:lnTo>
                    <a:pt x="376" y="0"/>
                  </a:lnTo>
                  <a:lnTo>
                    <a:pt x="0" y="909"/>
                  </a:lnTo>
                  <a:lnTo>
                    <a:pt x="1381" y="909"/>
                  </a:lnTo>
                  <a:lnTo>
                    <a:pt x="1757" y="0"/>
                  </a:lnTo>
                  <a:close/>
                </a:path>
              </a:pathLst>
            </a:custGeom>
            <a:solidFill>
              <a:schemeClr val="accent3">
                <a:lumMod val="40000"/>
                <a:lumOff val="60000"/>
              </a:schemeClr>
            </a:solidFill>
            <a:ln>
              <a:noFill/>
            </a:ln>
          </p:spPr>
          <p:txBody>
            <a:bodyPr vert="horz" wrap="square" lIns="91440" tIns="45720" rIns="91440" bIns="45720" numCol="1" anchor="ctr" anchorCtr="0" compatLnSpc="1">
              <a:prstTxWarp prst="textNoShape">
                <a:avLst/>
              </a:prstTxWarp>
            </a:bodyPr>
            <a:lstStyle/>
            <a:p>
              <a:pPr algn="ctr"/>
              <a:r>
                <a:rPr lang="en-AU">
                  <a:solidFill>
                    <a:schemeClr val="tx1">
                      <a:lumMod val="75000"/>
                      <a:lumOff val="25000"/>
                    </a:schemeClr>
                  </a:solidFill>
                </a:rPr>
                <a:t>Text</a:t>
              </a:r>
            </a:p>
          </p:txBody>
        </p:sp>
        <p:sp>
          <p:nvSpPr>
            <p:cNvPr id="11" name="Freeform 7">
              <a:extLst>
                <a:ext uri="{FF2B5EF4-FFF2-40B4-BE49-F238E27FC236}">
                  <a16:creationId xmlns:a16="http://schemas.microsoft.com/office/drawing/2014/main" id="{13522D41-C4BA-0F22-F3A1-5A42DA9DC2B4}"/>
                </a:ext>
              </a:extLst>
            </p:cNvPr>
            <p:cNvSpPr>
              <a:spLocks/>
            </p:cNvSpPr>
            <p:nvPr/>
          </p:nvSpPr>
          <p:spPr bwMode="auto">
            <a:xfrm>
              <a:off x="4809622" y="3887349"/>
              <a:ext cx="2665993" cy="1379276"/>
            </a:xfrm>
            <a:custGeom>
              <a:avLst/>
              <a:gdLst>
                <a:gd name="T0" fmla="*/ 1757 w 1757"/>
                <a:gd name="T1" fmla="*/ 0 h 909"/>
                <a:gd name="T2" fmla="*/ 376 w 1757"/>
                <a:gd name="T3" fmla="*/ 0 h 909"/>
                <a:gd name="T4" fmla="*/ 0 w 1757"/>
                <a:gd name="T5" fmla="*/ 909 h 909"/>
                <a:gd name="T6" fmla="*/ 1381 w 1757"/>
                <a:gd name="T7" fmla="*/ 909 h 909"/>
                <a:gd name="T8" fmla="*/ 1757 w 1757"/>
                <a:gd name="T9" fmla="*/ 0 h 909"/>
              </a:gdLst>
              <a:ahLst/>
              <a:cxnLst>
                <a:cxn ang="0">
                  <a:pos x="T0" y="T1"/>
                </a:cxn>
                <a:cxn ang="0">
                  <a:pos x="T2" y="T3"/>
                </a:cxn>
                <a:cxn ang="0">
                  <a:pos x="T4" y="T5"/>
                </a:cxn>
                <a:cxn ang="0">
                  <a:pos x="T6" y="T7"/>
                </a:cxn>
                <a:cxn ang="0">
                  <a:pos x="T8" y="T9"/>
                </a:cxn>
              </a:cxnLst>
              <a:rect l="0" t="0" r="r" b="b"/>
              <a:pathLst>
                <a:path w="1757" h="909">
                  <a:moveTo>
                    <a:pt x="1757" y="0"/>
                  </a:moveTo>
                  <a:lnTo>
                    <a:pt x="376" y="0"/>
                  </a:lnTo>
                  <a:lnTo>
                    <a:pt x="0" y="909"/>
                  </a:lnTo>
                  <a:lnTo>
                    <a:pt x="1381" y="909"/>
                  </a:lnTo>
                  <a:lnTo>
                    <a:pt x="1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8">
              <a:extLst>
                <a:ext uri="{FF2B5EF4-FFF2-40B4-BE49-F238E27FC236}">
                  <a16:creationId xmlns:a16="http://schemas.microsoft.com/office/drawing/2014/main" id="{3D0EB8AC-88C5-79DB-67B7-9CAD4ED4770D}"/>
                </a:ext>
              </a:extLst>
            </p:cNvPr>
            <p:cNvSpPr>
              <a:spLocks/>
            </p:cNvSpPr>
            <p:nvPr/>
          </p:nvSpPr>
          <p:spPr bwMode="auto">
            <a:xfrm>
              <a:off x="2495655" y="3887349"/>
              <a:ext cx="2667511" cy="1379276"/>
            </a:xfrm>
            <a:custGeom>
              <a:avLst/>
              <a:gdLst>
                <a:gd name="T0" fmla="*/ 1758 w 1758"/>
                <a:gd name="T1" fmla="*/ 0 h 909"/>
                <a:gd name="T2" fmla="*/ 376 w 1758"/>
                <a:gd name="T3" fmla="*/ 0 h 909"/>
                <a:gd name="T4" fmla="*/ 0 w 1758"/>
                <a:gd name="T5" fmla="*/ 909 h 909"/>
                <a:gd name="T6" fmla="*/ 1382 w 1758"/>
                <a:gd name="T7" fmla="*/ 909 h 909"/>
                <a:gd name="T8" fmla="*/ 1758 w 1758"/>
                <a:gd name="T9" fmla="*/ 0 h 909"/>
              </a:gdLst>
              <a:ahLst/>
              <a:cxnLst>
                <a:cxn ang="0">
                  <a:pos x="T0" y="T1"/>
                </a:cxn>
                <a:cxn ang="0">
                  <a:pos x="T2" y="T3"/>
                </a:cxn>
                <a:cxn ang="0">
                  <a:pos x="T4" y="T5"/>
                </a:cxn>
                <a:cxn ang="0">
                  <a:pos x="T6" y="T7"/>
                </a:cxn>
                <a:cxn ang="0">
                  <a:pos x="T8" y="T9"/>
                </a:cxn>
              </a:cxnLst>
              <a:rect l="0" t="0" r="r" b="b"/>
              <a:pathLst>
                <a:path w="1758" h="909">
                  <a:moveTo>
                    <a:pt x="1758" y="0"/>
                  </a:moveTo>
                  <a:lnTo>
                    <a:pt x="376" y="0"/>
                  </a:lnTo>
                  <a:lnTo>
                    <a:pt x="0" y="909"/>
                  </a:lnTo>
                  <a:lnTo>
                    <a:pt x="1382" y="909"/>
                  </a:lnTo>
                  <a:lnTo>
                    <a:pt x="1758" y="0"/>
                  </a:lnTo>
                  <a:close/>
                </a:path>
              </a:pathLst>
            </a:custGeom>
            <a:solidFill>
              <a:schemeClr val="accent3">
                <a:lumMod val="40000"/>
                <a:lumOff val="60000"/>
              </a:schemeClr>
            </a:solidFill>
            <a:ln>
              <a:noFill/>
            </a:ln>
          </p:spPr>
          <p:txBody>
            <a:bodyPr vert="horz" wrap="square" lIns="91440" tIns="45720" rIns="91440" bIns="45720" numCol="1" anchor="ctr" anchorCtr="0" compatLnSpc="1">
              <a:prstTxWarp prst="textNoShape">
                <a:avLst/>
              </a:prstTxWarp>
            </a:bodyPr>
            <a:lstStyle/>
            <a:p>
              <a:pPr algn="ctr"/>
              <a:r>
                <a:rPr lang="en-AU">
                  <a:solidFill>
                    <a:schemeClr val="tx1">
                      <a:lumMod val="75000"/>
                      <a:lumOff val="25000"/>
                    </a:schemeClr>
                  </a:solidFill>
                </a:rPr>
                <a:t>Text</a:t>
              </a:r>
            </a:p>
            <a:p>
              <a:pPr algn="ctr"/>
              <a:endParaRPr lang="en-GB">
                <a:solidFill>
                  <a:schemeClr val="tx1">
                    <a:lumMod val="75000"/>
                    <a:lumOff val="25000"/>
                  </a:schemeClr>
                </a:solidFill>
              </a:endParaRPr>
            </a:p>
          </p:txBody>
        </p:sp>
        <p:sp>
          <p:nvSpPr>
            <p:cNvPr id="13" name="Freeform 9">
              <a:extLst>
                <a:ext uri="{FF2B5EF4-FFF2-40B4-BE49-F238E27FC236}">
                  <a16:creationId xmlns:a16="http://schemas.microsoft.com/office/drawing/2014/main" id="{24017F2C-DE6B-6C70-D037-5F1BDED0F8DF}"/>
                </a:ext>
              </a:extLst>
            </p:cNvPr>
            <p:cNvSpPr>
              <a:spLocks/>
            </p:cNvSpPr>
            <p:nvPr/>
          </p:nvSpPr>
          <p:spPr bwMode="auto">
            <a:xfrm>
              <a:off x="2495655" y="3887349"/>
              <a:ext cx="2667511" cy="1379276"/>
            </a:xfrm>
            <a:custGeom>
              <a:avLst/>
              <a:gdLst>
                <a:gd name="T0" fmla="*/ 1758 w 1758"/>
                <a:gd name="T1" fmla="*/ 0 h 909"/>
                <a:gd name="T2" fmla="*/ 376 w 1758"/>
                <a:gd name="T3" fmla="*/ 0 h 909"/>
                <a:gd name="T4" fmla="*/ 0 w 1758"/>
                <a:gd name="T5" fmla="*/ 909 h 909"/>
                <a:gd name="T6" fmla="*/ 1382 w 1758"/>
                <a:gd name="T7" fmla="*/ 909 h 909"/>
                <a:gd name="T8" fmla="*/ 1758 w 1758"/>
                <a:gd name="T9" fmla="*/ 0 h 909"/>
              </a:gdLst>
              <a:ahLst/>
              <a:cxnLst>
                <a:cxn ang="0">
                  <a:pos x="T0" y="T1"/>
                </a:cxn>
                <a:cxn ang="0">
                  <a:pos x="T2" y="T3"/>
                </a:cxn>
                <a:cxn ang="0">
                  <a:pos x="T4" y="T5"/>
                </a:cxn>
                <a:cxn ang="0">
                  <a:pos x="T6" y="T7"/>
                </a:cxn>
                <a:cxn ang="0">
                  <a:pos x="T8" y="T9"/>
                </a:cxn>
              </a:cxnLst>
              <a:rect l="0" t="0" r="r" b="b"/>
              <a:pathLst>
                <a:path w="1758" h="909">
                  <a:moveTo>
                    <a:pt x="1758" y="0"/>
                  </a:moveTo>
                  <a:lnTo>
                    <a:pt x="376" y="0"/>
                  </a:lnTo>
                  <a:lnTo>
                    <a:pt x="0" y="909"/>
                  </a:lnTo>
                  <a:lnTo>
                    <a:pt x="1382" y="909"/>
                  </a:lnTo>
                  <a:lnTo>
                    <a:pt x="17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11">
              <a:extLst>
                <a:ext uri="{FF2B5EF4-FFF2-40B4-BE49-F238E27FC236}">
                  <a16:creationId xmlns:a16="http://schemas.microsoft.com/office/drawing/2014/main" id="{4A746D77-53B8-5070-489C-3AC620CB8B2E}"/>
                </a:ext>
              </a:extLst>
            </p:cNvPr>
            <p:cNvSpPr>
              <a:spLocks noChangeArrowheads="1"/>
            </p:cNvSpPr>
            <p:nvPr/>
          </p:nvSpPr>
          <p:spPr bwMode="auto">
            <a:xfrm>
              <a:off x="345017" y="1763713"/>
              <a:ext cx="1902423" cy="444125"/>
            </a:xfrm>
            <a:prstGeom prst="rect">
              <a:avLst/>
            </a:prstGeom>
            <a:solidFill>
              <a:schemeClr val="tx2"/>
            </a:solidFill>
            <a:ln w="6350">
              <a:noFill/>
              <a:miter lim="800000"/>
              <a:headEnd/>
              <a:tailEnd/>
            </a:ln>
            <a:effectLst/>
          </p:spPr>
          <p:txBody>
            <a:bodyPr wrap="none" anchor="ctr"/>
            <a:lstStyle/>
            <a:p>
              <a:pPr algn="ctr" eaLnBrk="0" hangingPunct="0"/>
              <a:r>
                <a:rPr lang="en-GB" sz="1400" b="1" cap="all">
                  <a:solidFill>
                    <a:schemeClr val="bg1"/>
                  </a:solidFill>
                  <a:latin typeface="+mj-lt"/>
                </a:rPr>
                <a:t>Text</a:t>
              </a:r>
            </a:p>
          </p:txBody>
        </p:sp>
        <p:sp>
          <p:nvSpPr>
            <p:cNvPr id="15" name="Rectangle 11">
              <a:extLst>
                <a:ext uri="{FF2B5EF4-FFF2-40B4-BE49-F238E27FC236}">
                  <a16:creationId xmlns:a16="http://schemas.microsoft.com/office/drawing/2014/main" id="{0FAA422D-777E-FA35-7B6B-0FCD55ED363B}"/>
                </a:ext>
              </a:extLst>
            </p:cNvPr>
            <p:cNvSpPr>
              <a:spLocks noChangeArrowheads="1"/>
            </p:cNvSpPr>
            <p:nvPr/>
          </p:nvSpPr>
          <p:spPr bwMode="auto">
            <a:xfrm>
              <a:off x="2495655" y="1763713"/>
              <a:ext cx="4422938" cy="444125"/>
            </a:xfrm>
            <a:prstGeom prst="rect">
              <a:avLst/>
            </a:prstGeom>
            <a:solidFill>
              <a:schemeClr val="accent6"/>
            </a:solidFill>
            <a:ln w="6350">
              <a:noFill/>
              <a:miter lim="800000"/>
              <a:headEnd/>
              <a:tailEnd/>
            </a:ln>
            <a:effectLst/>
          </p:spPr>
          <p:txBody>
            <a:bodyPr wrap="none" anchor="ctr"/>
            <a:lstStyle/>
            <a:p>
              <a:pPr algn="ctr" eaLnBrk="0" hangingPunct="0"/>
              <a:r>
                <a:rPr lang="en-GB" sz="1400" b="1" cap="all">
                  <a:solidFill>
                    <a:schemeClr val="bg1"/>
                  </a:solidFill>
                  <a:latin typeface="+mj-lt"/>
                </a:rPr>
                <a:t>Text</a:t>
              </a:r>
            </a:p>
          </p:txBody>
        </p:sp>
        <p:sp>
          <p:nvSpPr>
            <p:cNvPr id="16" name="Rectangle 11">
              <a:extLst>
                <a:ext uri="{FF2B5EF4-FFF2-40B4-BE49-F238E27FC236}">
                  <a16:creationId xmlns:a16="http://schemas.microsoft.com/office/drawing/2014/main" id="{3B3FB8D1-7FA1-70E0-8412-EF134258A82E}"/>
                </a:ext>
              </a:extLst>
            </p:cNvPr>
            <p:cNvSpPr>
              <a:spLocks noChangeArrowheads="1"/>
            </p:cNvSpPr>
            <p:nvPr/>
          </p:nvSpPr>
          <p:spPr bwMode="auto">
            <a:xfrm>
              <a:off x="7166808" y="1763713"/>
              <a:ext cx="1902423" cy="444125"/>
            </a:xfrm>
            <a:prstGeom prst="rect">
              <a:avLst/>
            </a:prstGeom>
            <a:solidFill>
              <a:schemeClr val="tx2"/>
            </a:solidFill>
            <a:ln w="6350">
              <a:noFill/>
              <a:miter lim="800000"/>
              <a:headEnd/>
              <a:tailEnd/>
            </a:ln>
            <a:effectLst/>
          </p:spPr>
          <p:txBody>
            <a:bodyPr wrap="none" anchor="ctr"/>
            <a:lstStyle/>
            <a:p>
              <a:pPr algn="ctr" eaLnBrk="0" hangingPunct="0"/>
              <a:r>
                <a:rPr lang="en-GB" sz="1400" b="1" cap="all">
                  <a:solidFill>
                    <a:schemeClr val="bg1"/>
                  </a:solidFill>
                  <a:latin typeface="+mj-lt"/>
                </a:rPr>
                <a:t>Text</a:t>
              </a:r>
            </a:p>
          </p:txBody>
        </p:sp>
        <p:sp>
          <p:nvSpPr>
            <p:cNvPr id="17" name="Rectangle 11">
              <a:extLst>
                <a:ext uri="{FF2B5EF4-FFF2-40B4-BE49-F238E27FC236}">
                  <a16:creationId xmlns:a16="http://schemas.microsoft.com/office/drawing/2014/main" id="{55A4C873-408E-9C0C-B3CD-2FA6CF0F87AF}"/>
                </a:ext>
              </a:extLst>
            </p:cNvPr>
            <p:cNvSpPr>
              <a:spLocks noChangeArrowheads="1"/>
            </p:cNvSpPr>
            <p:nvPr/>
          </p:nvSpPr>
          <p:spPr bwMode="auto">
            <a:xfrm>
              <a:off x="9317446" y="1763713"/>
              <a:ext cx="1902423" cy="444125"/>
            </a:xfrm>
            <a:prstGeom prst="rect">
              <a:avLst/>
            </a:prstGeom>
            <a:solidFill>
              <a:schemeClr val="tx2"/>
            </a:solidFill>
            <a:ln w="6350">
              <a:noFill/>
              <a:miter lim="800000"/>
              <a:headEnd/>
              <a:tailEnd/>
            </a:ln>
            <a:effectLst/>
          </p:spPr>
          <p:txBody>
            <a:bodyPr wrap="none" anchor="ctr"/>
            <a:lstStyle/>
            <a:p>
              <a:pPr algn="ctr" eaLnBrk="0" hangingPunct="0"/>
              <a:r>
                <a:rPr lang="en-GB" sz="1400" b="1" cap="all">
                  <a:solidFill>
                    <a:schemeClr val="bg1"/>
                  </a:solidFill>
                  <a:latin typeface="+mj-lt"/>
                </a:rPr>
                <a:t>Text</a:t>
              </a:r>
            </a:p>
          </p:txBody>
        </p:sp>
        <p:sp>
          <p:nvSpPr>
            <p:cNvPr id="18" name="Rectangle 11">
              <a:extLst>
                <a:ext uri="{FF2B5EF4-FFF2-40B4-BE49-F238E27FC236}">
                  <a16:creationId xmlns:a16="http://schemas.microsoft.com/office/drawing/2014/main" id="{38EAAA95-675A-5EA3-31D4-7FE244276C5A}"/>
                </a:ext>
              </a:extLst>
            </p:cNvPr>
            <p:cNvSpPr>
              <a:spLocks noChangeArrowheads="1"/>
            </p:cNvSpPr>
            <p:nvPr/>
          </p:nvSpPr>
          <p:spPr bwMode="auto">
            <a:xfrm>
              <a:off x="345017" y="5389128"/>
              <a:ext cx="1902423" cy="444125"/>
            </a:xfrm>
            <a:prstGeom prst="rect">
              <a:avLst/>
            </a:prstGeom>
            <a:solidFill>
              <a:srgbClr val="C00000"/>
            </a:solidFill>
            <a:ln w="6350">
              <a:noFill/>
              <a:miter lim="800000"/>
              <a:headEnd/>
              <a:tailEnd/>
            </a:ln>
            <a:effectLst/>
          </p:spPr>
          <p:txBody>
            <a:bodyPr wrap="none" anchor="ctr"/>
            <a:lstStyle/>
            <a:p>
              <a:pPr algn="ctr" eaLnBrk="0" hangingPunct="0"/>
              <a:r>
                <a:rPr lang="en-GB" sz="1400" b="1" cap="all">
                  <a:solidFill>
                    <a:schemeClr val="bg1"/>
                  </a:solidFill>
                  <a:latin typeface="+mj-lt"/>
                </a:rPr>
                <a:t>Text</a:t>
              </a:r>
            </a:p>
          </p:txBody>
        </p:sp>
        <p:sp>
          <p:nvSpPr>
            <p:cNvPr id="19" name="Rectangle 11">
              <a:extLst>
                <a:ext uri="{FF2B5EF4-FFF2-40B4-BE49-F238E27FC236}">
                  <a16:creationId xmlns:a16="http://schemas.microsoft.com/office/drawing/2014/main" id="{A7B4D6FC-8B46-583C-0DB5-6DF5BC67DA25}"/>
                </a:ext>
              </a:extLst>
            </p:cNvPr>
            <p:cNvSpPr>
              <a:spLocks noChangeArrowheads="1"/>
            </p:cNvSpPr>
            <p:nvPr/>
          </p:nvSpPr>
          <p:spPr bwMode="auto">
            <a:xfrm>
              <a:off x="2495655" y="5389128"/>
              <a:ext cx="2109396" cy="444125"/>
            </a:xfrm>
            <a:prstGeom prst="rect">
              <a:avLst/>
            </a:prstGeom>
            <a:solidFill>
              <a:srgbClr val="C00000"/>
            </a:solidFill>
            <a:ln w="6350">
              <a:noFill/>
              <a:miter lim="800000"/>
              <a:headEnd/>
              <a:tailEnd/>
            </a:ln>
            <a:effectLst/>
          </p:spPr>
          <p:txBody>
            <a:bodyPr wrap="none" anchor="ctr"/>
            <a:lstStyle/>
            <a:p>
              <a:pPr algn="ctr" eaLnBrk="0" hangingPunct="0"/>
              <a:r>
                <a:rPr lang="en-GB" sz="1400" b="1" cap="all">
                  <a:solidFill>
                    <a:schemeClr val="bg1"/>
                  </a:solidFill>
                  <a:latin typeface="+mj-lt"/>
                </a:rPr>
                <a:t>Text</a:t>
              </a:r>
            </a:p>
          </p:txBody>
        </p:sp>
        <p:sp>
          <p:nvSpPr>
            <p:cNvPr id="20" name="Rectangle 11">
              <a:extLst>
                <a:ext uri="{FF2B5EF4-FFF2-40B4-BE49-F238E27FC236}">
                  <a16:creationId xmlns:a16="http://schemas.microsoft.com/office/drawing/2014/main" id="{173AD6C4-28BF-6170-766C-D25EF53A404D}"/>
                </a:ext>
              </a:extLst>
            </p:cNvPr>
            <p:cNvSpPr>
              <a:spLocks noChangeArrowheads="1"/>
            </p:cNvSpPr>
            <p:nvPr/>
          </p:nvSpPr>
          <p:spPr bwMode="auto">
            <a:xfrm>
              <a:off x="4810793" y="5389128"/>
              <a:ext cx="2109396" cy="444125"/>
            </a:xfrm>
            <a:prstGeom prst="rect">
              <a:avLst/>
            </a:prstGeom>
            <a:solidFill>
              <a:srgbClr val="C00000"/>
            </a:solidFill>
            <a:ln w="6350">
              <a:noFill/>
              <a:miter lim="800000"/>
              <a:headEnd/>
              <a:tailEnd/>
            </a:ln>
            <a:effectLst/>
          </p:spPr>
          <p:txBody>
            <a:bodyPr wrap="none" anchor="ctr"/>
            <a:lstStyle/>
            <a:p>
              <a:pPr algn="ctr" eaLnBrk="0" hangingPunct="0"/>
              <a:r>
                <a:rPr lang="en-GB" sz="1400" b="1" cap="all">
                  <a:solidFill>
                    <a:schemeClr val="bg1"/>
                  </a:solidFill>
                  <a:latin typeface="+mj-lt"/>
                </a:rPr>
                <a:t>Text</a:t>
              </a:r>
            </a:p>
          </p:txBody>
        </p:sp>
        <p:sp>
          <p:nvSpPr>
            <p:cNvPr id="21" name="Rectangle 11">
              <a:extLst>
                <a:ext uri="{FF2B5EF4-FFF2-40B4-BE49-F238E27FC236}">
                  <a16:creationId xmlns:a16="http://schemas.microsoft.com/office/drawing/2014/main" id="{93D194BF-3F30-7440-16F5-69E2ACB60ABC}"/>
                </a:ext>
              </a:extLst>
            </p:cNvPr>
            <p:cNvSpPr>
              <a:spLocks noChangeArrowheads="1"/>
            </p:cNvSpPr>
            <p:nvPr/>
          </p:nvSpPr>
          <p:spPr bwMode="auto">
            <a:xfrm>
              <a:off x="7176347" y="5389128"/>
              <a:ext cx="1902423" cy="444125"/>
            </a:xfrm>
            <a:prstGeom prst="rect">
              <a:avLst/>
            </a:prstGeom>
            <a:solidFill>
              <a:srgbClr val="C00000"/>
            </a:solidFill>
            <a:ln w="6350">
              <a:noFill/>
              <a:miter lim="800000"/>
              <a:headEnd/>
              <a:tailEnd/>
            </a:ln>
            <a:effectLst/>
          </p:spPr>
          <p:txBody>
            <a:bodyPr wrap="none" anchor="ctr"/>
            <a:lstStyle/>
            <a:p>
              <a:pPr algn="ctr" eaLnBrk="0" hangingPunct="0"/>
              <a:r>
                <a:rPr lang="en-GB" sz="1400" b="1" cap="all">
                  <a:solidFill>
                    <a:schemeClr val="bg1"/>
                  </a:solidFill>
                  <a:latin typeface="+mj-lt"/>
                </a:rPr>
                <a:t>Text</a:t>
              </a:r>
            </a:p>
          </p:txBody>
        </p:sp>
        <p:sp>
          <p:nvSpPr>
            <p:cNvPr id="22" name="Rectangle 11">
              <a:extLst>
                <a:ext uri="{FF2B5EF4-FFF2-40B4-BE49-F238E27FC236}">
                  <a16:creationId xmlns:a16="http://schemas.microsoft.com/office/drawing/2014/main" id="{5D7BD86E-00B6-C5A2-1207-9D987BF9648C}"/>
                </a:ext>
              </a:extLst>
            </p:cNvPr>
            <p:cNvSpPr>
              <a:spLocks noChangeArrowheads="1"/>
            </p:cNvSpPr>
            <p:nvPr/>
          </p:nvSpPr>
          <p:spPr bwMode="auto">
            <a:xfrm>
              <a:off x="9334928" y="5389128"/>
              <a:ext cx="1902423" cy="444125"/>
            </a:xfrm>
            <a:prstGeom prst="rect">
              <a:avLst/>
            </a:prstGeom>
            <a:solidFill>
              <a:srgbClr val="C00000"/>
            </a:solidFill>
            <a:ln w="6350">
              <a:noFill/>
              <a:miter lim="800000"/>
              <a:headEnd/>
              <a:tailEnd/>
            </a:ln>
            <a:effectLst/>
          </p:spPr>
          <p:txBody>
            <a:bodyPr wrap="none" anchor="ctr"/>
            <a:lstStyle/>
            <a:p>
              <a:pPr algn="ctr" eaLnBrk="0" hangingPunct="0"/>
              <a:r>
                <a:rPr lang="en-GB" sz="1400" b="1" cap="all">
                  <a:solidFill>
                    <a:schemeClr val="bg1"/>
                  </a:solidFill>
                  <a:latin typeface="+mj-lt"/>
                </a:rPr>
                <a:t>Text</a:t>
              </a:r>
            </a:p>
          </p:txBody>
        </p:sp>
      </p:grpSp>
    </p:spTree>
    <p:extLst>
      <p:ext uri="{BB962C8B-B14F-4D97-AF65-F5344CB8AC3E}">
        <p14:creationId xmlns:p14="http://schemas.microsoft.com/office/powerpoint/2010/main" val="198264293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0604E-B2EF-ECC8-12D9-84F5CA917796}"/>
              </a:ext>
            </a:extLst>
          </p:cNvPr>
          <p:cNvSpPr>
            <a:spLocks noGrp="1"/>
          </p:cNvSpPr>
          <p:nvPr>
            <p:ph type="title"/>
          </p:nvPr>
        </p:nvSpPr>
        <p:spPr/>
        <p:txBody>
          <a:bodyPr/>
          <a:lstStyle/>
          <a:p>
            <a:r>
              <a:rPr lang="pt-BR"/>
              <a:t>10</a:t>
            </a:r>
            <a:r>
              <a:rPr lang="en-BR"/>
              <a:t> | Images</a:t>
            </a:r>
          </a:p>
        </p:txBody>
      </p:sp>
      <p:sp>
        <p:nvSpPr>
          <p:cNvPr id="3" name="Footer Placeholder 2">
            <a:extLst>
              <a:ext uri="{FF2B5EF4-FFF2-40B4-BE49-F238E27FC236}">
                <a16:creationId xmlns:a16="http://schemas.microsoft.com/office/drawing/2014/main" id="{1F8EEDC2-E4C5-BE87-9306-F07F48E1DB0A}"/>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21FA8A3D-644F-E0F8-660A-9C89F903D734}"/>
              </a:ext>
            </a:extLst>
          </p:cNvPr>
          <p:cNvSpPr>
            <a:spLocks noGrp="1"/>
          </p:cNvSpPr>
          <p:nvPr>
            <p:ph type="sldNum" sz="quarter" idx="12"/>
          </p:nvPr>
        </p:nvSpPr>
        <p:spPr/>
        <p:txBody>
          <a:bodyPr/>
          <a:lstStyle/>
          <a:p>
            <a:fld id="{A8DDC45B-7265-3747-B738-ED29642119D9}" type="slidenum">
              <a:rPr lang="en-BR" smtClean="0"/>
              <a:pPr/>
              <a:t>66</a:t>
            </a:fld>
            <a:endParaRPr lang="en-BR"/>
          </a:p>
        </p:txBody>
      </p:sp>
      <p:sp>
        <p:nvSpPr>
          <p:cNvPr id="5" name="TextBox 4">
            <a:extLst>
              <a:ext uri="{FF2B5EF4-FFF2-40B4-BE49-F238E27FC236}">
                <a16:creationId xmlns:a16="http://schemas.microsoft.com/office/drawing/2014/main" id="{EF8F6DD4-536E-231F-73B6-96BAB6A75F41}"/>
              </a:ext>
            </a:extLst>
          </p:cNvPr>
          <p:cNvSpPr txBox="1"/>
          <p:nvPr/>
        </p:nvSpPr>
        <p:spPr>
          <a:xfrm>
            <a:off x="388771" y="3840918"/>
            <a:ext cx="6233373" cy="584775"/>
          </a:xfrm>
          <a:prstGeom prst="rect">
            <a:avLst/>
          </a:prstGeom>
          <a:noFill/>
        </p:spPr>
        <p:txBody>
          <a:bodyPr wrap="none" rtlCol="0">
            <a:spAutoFit/>
          </a:bodyPr>
          <a:lstStyle/>
          <a:p>
            <a:r>
              <a:rPr lang="en-US" sz="3200" b="1">
                <a:solidFill>
                  <a:schemeClr val="accent1">
                    <a:lumMod val="20000"/>
                    <a:lumOff val="80000"/>
                  </a:schemeClr>
                </a:solidFill>
                <a:latin typeface="Segoe UI" panose="020B0502040204020203" pitchFamily="34" charset="0"/>
                <a:cs typeface="Segoe UI" panose="020B0502040204020203" pitchFamily="34" charset="0"/>
              </a:rPr>
              <a:t>Mobiz Logos and Backgrounds </a:t>
            </a:r>
            <a:endParaRPr lang="en-BR" sz="3200" b="1">
              <a:solidFill>
                <a:schemeClr val="accent1">
                  <a:lumMod val="20000"/>
                  <a:lumOff val="80000"/>
                </a:schemeClr>
              </a:solidFill>
              <a:latin typeface="Segoe UI" panose="020B0502040204020203" pitchFamily="34" charset="0"/>
              <a:cs typeface="Segoe UI" panose="020B0502040204020203" pitchFamily="34" charset="0"/>
            </a:endParaRPr>
          </a:p>
        </p:txBody>
      </p:sp>
      <p:sp>
        <p:nvSpPr>
          <p:cNvPr id="9" name="TextBox 8">
            <a:hlinkClick r:id="rId2" action="ppaction://hlinksldjump"/>
            <a:extLst>
              <a:ext uri="{FF2B5EF4-FFF2-40B4-BE49-F238E27FC236}">
                <a16:creationId xmlns:a16="http://schemas.microsoft.com/office/drawing/2014/main" id="{616F27E0-8FB2-49B9-EE6F-582CE5FF4012}"/>
              </a:ext>
            </a:extLst>
          </p:cNvPr>
          <p:cNvSpPr txBox="1"/>
          <p:nvPr/>
        </p:nvSpPr>
        <p:spPr>
          <a:xfrm>
            <a:off x="391754" y="780820"/>
            <a:ext cx="543739" cy="246221"/>
          </a:xfrm>
          <a:prstGeom prst="rect">
            <a:avLst/>
          </a:prstGeom>
          <a:noFill/>
        </p:spPr>
        <p:txBody>
          <a:bodyPr wrap="none" rtlCol="0">
            <a:spAutoFit/>
          </a:bodyPr>
          <a:lstStyle/>
          <a:p>
            <a:r>
              <a:rPr lang="en-BR" sz="1000">
                <a:solidFill>
                  <a:schemeClr val="accent3">
                    <a:lumMod val="60000"/>
                    <a:lumOff val="40000"/>
                  </a:schemeClr>
                </a:solidFill>
                <a:latin typeface="Segoe UI" panose="020B0502040204020203" pitchFamily="34" charset="0"/>
                <a:cs typeface="Segoe UI" panose="020B0502040204020203" pitchFamily="34" charset="0"/>
              </a:rPr>
              <a:t>INDEX</a:t>
            </a:r>
          </a:p>
        </p:txBody>
      </p:sp>
      <p:pic>
        <p:nvPicPr>
          <p:cNvPr id="10" name="Graphic 9" descr="Home with solid fill">
            <a:hlinkClick r:id="rId2" action="ppaction://hlinksldjump"/>
            <a:extLst>
              <a:ext uri="{FF2B5EF4-FFF2-40B4-BE49-F238E27FC236}">
                <a16:creationId xmlns:a16="http://schemas.microsoft.com/office/drawing/2014/main" id="{6B611166-8CCC-9016-8804-40257AF00F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1754" y="317458"/>
            <a:ext cx="543739" cy="543739"/>
          </a:xfrm>
          <a:prstGeom prst="rect">
            <a:avLst/>
          </a:prstGeom>
        </p:spPr>
      </p:pic>
    </p:spTree>
    <p:extLst>
      <p:ext uri="{BB962C8B-B14F-4D97-AF65-F5344CB8AC3E}">
        <p14:creationId xmlns:p14="http://schemas.microsoft.com/office/powerpoint/2010/main" val="23818913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92BA076-79EB-9675-9A44-B7C1081F4AC7}"/>
              </a:ext>
            </a:extLst>
          </p:cNvPr>
          <p:cNvSpPr/>
          <p:nvPr/>
        </p:nvSpPr>
        <p:spPr>
          <a:xfrm>
            <a:off x="5758756" y="0"/>
            <a:ext cx="5176466" cy="6858000"/>
          </a:xfrm>
          <a:prstGeom prst="rect">
            <a:avLst/>
          </a:prstGeom>
          <a:solidFill>
            <a:schemeClr val="bg1">
              <a:lumMod val="75000"/>
            </a:schemeClr>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BR"/>
          </a:p>
        </p:txBody>
      </p:sp>
      <p:sp>
        <p:nvSpPr>
          <p:cNvPr id="2" name="Title 1">
            <a:extLst>
              <a:ext uri="{FF2B5EF4-FFF2-40B4-BE49-F238E27FC236}">
                <a16:creationId xmlns:a16="http://schemas.microsoft.com/office/drawing/2014/main" id="{6711F2A5-699F-75D7-894A-A354F78CACCA}"/>
              </a:ext>
            </a:extLst>
          </p:cNvPr>
          <p:cNvSpPr>
            <a:spLocks noGrp="1"/>
          </p:cNvSpPr>
          <p:nvPr>
            <p:ph type="title"/>
          </p:nvPr>
        </p:nvSpPr>
        <p:spPr/>
        <p:txBody>
          <a:bodyPr/>
          <a:lstStyle/>
          <a:p>
            <a:r>
              <a:rPr lang="en-BR"/>
              <a:t>Logos</a:t>
            </a:r>
          </a:p>
        </p:txBody>
      </p:sp>
      <p:pic>
        <p:nvPicPr>
          <p:cNvPr id="5" name="Picture 4" descr="A black and red logo&#10;&#10;Description automatically generated">
            <a:extLst>
              <a:ext uri="{FF2B5EF4-FFF2-40B4-BE49-F238E27FC236}">
                <a16:creationId xmlns:a16="http://schemas.microsoft.com/office/drawing/2014/main" id="{CE2E9FDB-8DCD-8653-937A-8095689AAB9E}"/>
              </a:ext>
            </a:extLst>
          </p:cNvPr>
          <p:cNvPicPr>
            <a:picLocks noChangeAspect="1"/>
          </p:cNvPicPr>
          <p:nvPr/>
        </p:nvPicPr>
        <p:blipFill>
          <a:blip r:embed="rId2"/>
          <a:stretch>
            <a:fillRect/>
          </a:stretch>
        </p:blipFill>
        <p:spPr>
          <a:xfrm>
            <a:off x="981458" y="2647397"/>
            <a:ext cx="4124654" cy="2311400"/>
          </a:xfrm>
          <a:prstGeom prst="rect">
            <a:avLst/>
          </a:prstGeom>
        </p:spPr>
      </p:pic>
      <p:pic>
        <p:nvPicPr>
          <p:cNvPr id="7" name="Picture 6" descr="A white text on a black background&#10;&#10;Description automatically generated">
            <a:extLst>
              <a:ext uri="{FF2B5EF4-FFF2-40B4-BE49-F238E27FC236}">
                <a16:creationId xmlns:a16="http://schemas.microsoft.com/office/drawing/2014/main" id="{4B3CA7D2-7F97-5196-7C0F-50C607CA062A}"/>
              </a:ext>
            </a:extLst>
          </p:cNvPr>
          <p:cNvPicPr>
            <a:picLocks noChangeAspect="1"/>
          </p:cNvPicPr>
          <p:nvPr/>
        </p:nvPicPr>
        <p:blipFill>
          <a:blip r:embed="rId3"/>
          <a:stretch>
            <a:fillRect/>
          </a:stretch>
        </p:blipFill>
        <p:spPr>
          <a:xfrm>
            <a:off x="6096000" y="2647397"/>
            <a:ext cx="4470400" cy="2311400"/>
          </a:xfrm>
          <a:prstGeom prst="rect">
            <a:avLst/>
          </a:prstGeom>
        </p:spPr>
      </p:pic>
      <p:sp>
        <p:nvSpPr>
          <p:cNvPr id="9" name="Footer Placeholder 8">
            <a:extLst>
              <a:ext uri="{FF2B5EF4-FFF2-40B4-BE49-F238E27FC236}">
                <a16:creationId xmlns:a16="http://schemas.microsoft.com/office/drawing/2014/main" id="{DCDE566C-10BA-5676-CB5E-C27D3471E043}"/>
              </a:ext>
            </a:extLst>
          </p:cNvPr>
          <p:cNvSpPr>
            <a:spLocks noGrp="1"/>
          </p:cNvSpPr>
          <p:nvPr>
            <p:ph type="ftr" sz="quarter" idx="11"/>
          </p:nvPr>
        </p:nvSpPr>
        <p:spPr/>
        <p:txBody>
          <a:bodyPr/>
          <a:lstStyle/>
          <a:p>
            <a:r>
              <a:rPr lang="en-US"/>
              <a:t>© 2024 Mobiz. All rights reserved</a:t>
            </a:r>
            <a:endParaRPr lang="en-BR"/>
          </a:p>
        </p:txBody>
      </p:sp>
      <p:sp>
        <p:nvSpPr>
          <p:cNvPr id="10" name="Slide Number Placeholder 9">
            <a:extLst>
              <a:ext uri="{FF2B5EF4-FFF2-40B4-BE49-F238E27FC236}">
                <a16:creationId xmlns:a16="http://schemas.microsoft.com/office/drawing/2014/main" id="{F0677083-D48A-739B-E61C-DC048BE70E0F}"/>
              </a:ext>
            </a:extLst>
          </p:cNvPr>
          <p:cNvSpPr>
            <a:spLocks noGrp="1"/>
          </p:cNvSpPr>
          <p:nvPr>
            <p:ph type="sldNum" sz="quarter" idx="12"/>
          </p:nvPr>
        </p:nvSpPr>
        <p:spPr/>
        <p:txBody>
          <a:bodyPr/>
          <a:lstStyle/>
          <a:p>
            <a:fld id="{A8DDC45B-7265-3747-B738-ED29642119D9}" type="slidenum">
              <a:rPr lang="en-BR" smtClean="0"/>
              <a:pPr/>
              <a:t>67</a:t>
            </a:fld>
            <a:endParaRPr lang="en-BR"/>
          </a:p>
        </p:txBody>
      </p:sp>
      <p:sp>
        <p:nvSpPr>
          <p:cNvPr id="11" name="TextBox 10">
            <a:extLst>
              <a:ext uri="{FF2B5EF4-FFF2-40B4-BE49-F238E27FC236}">
                <a16:creationId xmlns:a16="http://schemas.microsoft.com/office/drawing/2014/main" id="{EEC8448B-43C4-FBEC-30FB-F01D1C627A7B}"/>
              </a:ext>
            </a:extLst>
          </p:cNvPr>
          <p:cNvSpPr txBox="1"/>
          <p:nvPr/>
        </p:nvSpPr>
        <p:spPr>
          <a:xfrm>
            <a:off x="981458" y="2070285"/>
            <a:ext cx="2350643" cy="338554"/>
          </a:xfrm>
          <a:prstGeom prst="rect">
            <a:avLst/>
          </a:prstGeom>
          <a:noFill/>
        </p:spPr>
        <p:txBody>
          <a:bodyPr wrap="none" rtlCol="0">
            <a:spAutoFit/>
          </a:bodyPr>
          <a:lstStyle/>
          <a:p>
            <a:r>
              <a:rPr lang="en-BR" sz="1600" b="1">
                <a:solidFill>
                  <a:schemeClr val="tx1">
                    <a:lumMod val="75000"/>
                    <a:lumOff val="25000"/>
                  </a:schemeClr>
                </a:solidFill>
                <a:latin typeface="Segoe UI" panose="020B0502040204020203" pitchFamily="34" charset="0"/>
                <a:cs typeface="Segoe UI" panose="020B0502040204020203" pitchFamily="34" charset="0"/>
              </a:rPr>
              <a:t>01. Bright Background</a:t>
            </a:r>
          </a:p>
        </p:txBody>
      </p:sp>
      <p:sp>
        <p:nvSpPr>
          <p:cNvPr id="12" name="TextBox 11">
            <a:extLst>
              <a:ext uri="{FF2B5EF4-FFF2-40B4-BE49-F238E27FC236}">
                <a16:creationId xmlns:a16="http://schemas.microsoft.com/office/drawing/2014/main" id="{04ECCD62-2E1F-FB97-4711-C6EF8A2AF309}"/>
              </a:ext>
            </a:extLst>
          </p:cNvPr>
          <p:cNvSpPr txBox="1"/>
          <p:nvPr/>
        </p:nvSpPr>
        <p:spPr>
          <a:xfrm>
            <a:off x="6233786" y="2070285"/>
            <a:ext cx="2207143" cy="338554"/>
          </a:xfrm>
          <a:prstGeom prst="rect">
            <a:avLst/>
          </a:prstGeom>
          <a:noFill/>
        </p:spPr>
        <p:txBody>
          <a:bodyPr wrap="none" rtlCol="0">
            <a:spAutoFit/>
          </a:bodyPr>
          <a:lstStyle/>
          <a:p>
            <a:r>
              <a:rPr lang="en-BR" sz="1600" b="1">
                <a:solidFill>
                  <a:schemeClr val="tx1">
                    <a:lumMod val="75000"/>
                    <a:lumOff val="25000"/>
                  </a:schemeClr>
                </a:solidFill>
                <a:latin typeface="Segoe UI" panose="020B0502040204020203" pitchFamily="34" charset="0"/>
                <a:cs typeface="Segoe UI" panose="020B0502040204020203" pitchFamily="34" charset="0"/>
              </a:rPr>
              <a:t>02. Dark Background</a:t>
            </a:r>
          </a:p>
        </p:txBody>
      </p:sp>
    </p:spTree>
    <p:extLst>
      <p:ext uri="{BB962C8B-B14F-4D97-AF65-F5344CB8AC3E}">
        <p14:creationId xmlns:p14="http://schemas.microsoft.com/office/powerpoint/2010/main" val="272832992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ross-section of a city&#10;&#10;Description automatically generated">
            <a:extLst>
              <a:ext uri="{FF2B5EF4-FFF2-40B4-BE49-F238E27FC236}">
                <a16:creationId xmlns:a16="http://schemas.microsoft.com/office/drawing/2014/main" id="{834C0151-065F-6DEE-C1C9-F7737F750250}"/>
              </a:ext>
            </a:extLst>
          </p:cNvPr>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5300"/>
                    </a14:imgEffect>
                  </a14:imgLayer>
                </a14:imgProps>
              </a:ext>
            </a:extLst>
          </a:blip>
          <a:srcRect t="-1" b="1563"/>
          <a:stretch/>
        </p:blipFill>
        <p:spPr>
          <a:xfrm>
            <a:off x="0" y="0"/>
            <a:ext cx="12192000" cy="6858000"/>
          </a:xfrm>
          <a:prstGeom prst="rect">
            <a:avLst/>
          </a:prstGeom>
        </p:spPr>
      </p:pic>
      <p:sp>
        <p:nvSpPr>
          <p:cNvPr id="5" name="Rectangle 4">
            <a:extLst>
              <a:ext uri="{FF2B5EF4-FFF2-40B4-BE49-F238E27FC236}">
                <a16:creationId xmlns:a16="http://schemas.microsoft.com/office/drawing/2014/main" id="{915C0F40-57EF-CA3E-881B-CA1629DA82C0}"/>
              </a:ext>
            </a:extLst>
          </p:cNvPr>
          <p:cNvSpPr/>
          <p:nvPr/>
        </p:nvSpPr>
        <p:spPr>
          <a:xfrm>
            <a:off x="0" y="2404997"/>
            <a:ext cx="12192000" cy="4453003"/>
          </a:xfrm>
          <a:prstGeom prst="rect">
            <a:avLst/>
          </a:prstGeom>
          <a:solidFill>
            <a:schemeClr val="tx1">
              <a:lumMod val="85000"/>
              <a:lumOff val="15000"/>
              <a:alpha val="69804"/>
            </a:schemeClr>
          </a:solidFill>
          <a:ln>
            <a:noFill/>
          </a:ln>
          <a:effectLst>
            <a:outerShdw blurRad="50800" dist="38100" dir="16200000" rotWithShape="0">
              <a:prstClr val="black">
                <a:alpha val="40000"/>
              </a:prstClr>
            </a:outerShdw>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BR"/>
          </a:p>
        </p:txBody>
      </p:sp>
      <p:pic>
        <p:nvPicPr>
          <p:cNvPr id="6" name="Picture 5" descr="A white text on a black background&#10;&#10;Description automatically generated">
            <a:extLst>
              <a:ext uri="{FF2B5EF4-FFF2-40B4-BE49-F238E27FC236}">
                <a16:creationId xmlns:a16="http://schemas.microsoft.com/office/drawing/2014/main" id="{A95CB81E-6D77-411D-0111-E3AAA8039F94}"/>
              </a:ext>
            </a:extLst>
          </p:cNvPr>
          <p:cNvPicPr>
            <a:picLocks noChangeAspect="1"/>
          </p:cNvPicPr>
          <p:nvPr/>
        </p:nvPicPr>
        <p:blipFill>
          <a:blip r:embed="rId4"/>
          <a:stretch>
            <a:fillRect/>
          </a:stretch>
        </p:blipFill>
        <p:spPr>
          <a:xfrm>
            <a:off x="9167597" y="5099137"/>
            <a:ext cx="2689441" cy="1390563"/>
          </a:xfrm>
          <a:prstGeom prst="rect">
            <a:avLst/>
          </a:prstGeom>
        </p:spPr>
      </p:pic>
      <p:sp>
        <p:nvSpPr>
          <p:cNvPr id="2" name="Title 1">
            <a:extLst>
              <a:ext uri="{FF2B5EF4-FFF2-40B4-BE49-F238E27FC236}">
                <a16:creationId xmlns:a16="http://schemas.microsoft.com/office/drawing/2014/main" id="{7D7E7CB2-E7DC-872C-24B8-388D9B9DEDFB}"/>
              </a:ext>
            </a:extLst>
          </p:cNvPr>
          <p:cNvSpPr>
            <a:spLocks noGrp="1"/>
          </p:cNvSpPr>
          <p:nvPr>
            <p:ph type="title"/>
          </p:nvPr>
        </p:nvSpPr>
        <p:spPr>
          <a:xfrm>
            <a:off x="338667" y="2824085"/>
            <a:ext cx="11518371" cy="615950"/>
          </a:xfrm>
        </p:spPr>
        <p:txBody>
          <a:bodyPr/>
          <a:lstStyle/>
          <a:p>
            <a:endParaRPr lang="en-BR">
              <a:solidFill>
                <a:schemeClr val="bg1"/>
              </a:solidFill>
            </a:endParaRPr>
          </a:p>
        </p:txBody>
      </p:sp>
      <p:sp>
        <p:nvSpPr>
          <p:cNvPr id="3" name="Text Placeholder 2">
            <a:extLst>
              <a:ext uri="{FF2B5EF4-FFF2-40B4-BE49-F238E27FC236}">
                <a16:creationId xmlns:a16="http://schemas.microsoft.com/office/drawing/2014/main" id="{DE99FDF6-AF0C-F7B3-4A91-A079E3C0CB48}"/>
              </a:ext>
            </a:extLst>
          </p:cNvPr>
          <p:cNvSpPr>
            <a:spLocks noGrp="1"/>
          </p:cNvSpPr>
          <p:nvPr>
            <p:ph type="body" sz="quarter" idx="13"/>
          </p:nvPr>
        </p:nvSpPr>
        <p:spPr>
          <a:xfrm>
            <a:off x="338138" y="3448150"/>
            <a:ext cx="11518900" cy="615950"/>
          </a:xfrm>
        </p:spPr>
        <p:txBody>
          <a:bodyPr/>
          <a:lstStyle/>
          <a:p>
            <a:endParaRPr lang="en-BR">
              <a:solidFill>
                <a:schemeClr val="bg1">
                  <a:lumMod val="85000"/>
                </a:schemeClr>
              </a:solidFill>
            </a:endParaRPr>
          </a:p>
        </p:txBody>
      </p:sp>
      <p:sp>
        <p:nvSpPr>
          <p:cNvPr id="7" name="Footer Placeholder 6">
            <a:extLst>
              <a:ext uri="{FF2B5EF4-FFF2-40B4-BE49-F238E27FC236}">
                <a16:creationId xmlns:a16="http://schemas.microsoft.com/office/drawing/2014/main" id="{6B5AF4AD-F821-BBA9-A81A-83BCF4B35CF7}"/>
              </a:ext>
            </a:extLst>
          </p:cNvPr>
          <p:cNvSpPr>
            <a:spLocks noGrp="1"/>
          </p:cNvSpPr>
          <p:nvPr>
            <p:ph type="ftr" sz="quarter" idx="11"/>
          </p:nvPr>
        </p:nvSpPr>
        <p:spPr/>
        <p:txBody>
          <a:bodyPr/>
          <a:lstStyle/>
          <a:p>
            <a:r>
              <a:rPr lang="en-US"/>
              <a:t>© 2024 Mobiz. All rights reserved</a:t>
            </a:r>
            <a:endParaRPr lang="en-BR"/>
          </a:p>
        </p:txBody>
      </p:sp>
      <p:sp>
        <p:nvSpPr>
          <p:cNvPr id="8" name="Slide Number Placeholder 7">
            <a:extLst>
              <a:ext uri="{FF2B5EF4-FFF2-40B4-BE49-F238E27FC236}">
                <a16:creationId xmlns:a16="http://schemas.microsoft.com/office/drawing/2014/main" id="{EFF717DC-FFA3-EAAB-EC1B-547E6B977B98}"/>
              </a:ext>
            </a:extLst>
          </p:cNvPr>
          <p:cNvSpPr>
            <a:spLocks noGrp="1"/>
          </p:cNvSpPr>
          <p:nvPr>
            <p:ph type="sldNum" sz="quarter" idx="12"/>
          </p:nvPr>
        </p:nvSpPr>
        <p:spPr/>
        <p:txBody>
          <a:bodyPr/>
          <a:lstStyle/>
          <a:p>
            <a:fld id="{A8DDC45B-7265-3747-B738-ED29642119D9}" type="slidenum">
              <a:rPr lang="en-BR" smtClean="0"/>
              <a:pPr/>
              <a:t>68</a:t>
            </a:fld>
            <a:endParaRPr lang="en-BR"/>
          </a:p>
        </p:txBody>
      </p:sp>
    </p:spTree>
    <p:extLst>
      <p:ext uri="{BB962C8B-B14F-4D97-AF65-F5344CB8AC3E}">
        <p14:creationId xmlns:p14="http://schemas.microsoft.com/office/powerpoint/2010/main" val="24050980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ross-section of a city&#10;&#10;Description automatically generated">
            <a:extLst>
              <a:ext uri="{FF2B5EF4-FFF2-40B4-BE49-F238E27FC236}">
                <a16:creationId xmlns:a16="http://schemas.microsoft.com/office/drawing/2014/main" id="{834C0151-065F-6DEE-C1C9-F7737F750250}"/>
              </a:ext>
            </a:extLst>
          </p:cNvPr>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5300"/>
                    </a14:imgEffect>
                  </a14:imgLayer>
                </a14:imgProps>
              </a:ext>
            </a:extLst>
          </a:blip>
          <a:srcRect t="-1" b="1563"/>
          <a:stretch/>
        </p:blipFill>
        <p:spPr>
          <a:xfrm>
            <a:off x="0" y="0"/>
            <a:ext cx="12192000" cy="6858000"/>
          </a:xfrm>
          <a:prstGeom prst="rect">
            <a:avLst/>
          </a:prstGeom>
        </p:spPr>
      </p:pic>
      <p:sp>
        <p:nvSpPr>
          <p:cNvPr id="5" name="Rectangle 4">
            <a:extLst>
              <a:ext uri="{FF2B5EF4-FFF2-40B4-BE49-F238E27FC236}">
                <a16:creationId xmlns:a16="http://schemas.microsoft.com/office/drawing/2014/main" id="{915C0F40-57EF-CA3E-881B-CA1629DA82C0}"/>
              </a:ext>
            </a:extLst>
          </p:cNvPr>
          <p:cNvSpPr/>
          <p:nvPr/>
        </p:nvSpPr>
        <p:spPr>
          <a:xfrm>
            <a:off x="0" y="1"/>
            <a:ext cx="12192000" cy="6858000"/>
          </a:xfrm>
          <a:prstGeom prst="rect">
            <a:avLst/>
          </a:prstGeom>
          <a:gradFill>
            <a:gsLst>
              <a:gs pos="48000">
                <a:srgbClr val="000000">
                  <a:alpha val="60000"/>
                </a:srgbClr>
              </a:gs>
              <a:gs pos="0">
                <a:schemeClr val="tx1"/>
              </a:gs>
              <a:gs pos="100000">
                <a:schemeClr val="tx1">
                  <a:alpha val="0"/>
                </a:schemeClr>
              </a:gs>
            </a:gsLst>
            <a:lin ang="1200000" scaled="0"/>
          </a:gradFill>
          <a:ln>
            <a:noFill/>
          </a:ln>
          <a:effectLst>
            <a:outerShdw blurRad="50800" dist="38100" dir="16200000" rotWithShape="0">
              <a:prstClr val="black">
                <a:alpha val="40000"/>
              </a:prstClr>
            </a:outerShdw>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BR"/>
          </a:p>
        </p:txBody>
      </p:sp>
      <p:pic>
        <p:nvPicPr>
          <p:cNvPr id="6" name="Picture 5" descr="A white text on a black background&#10;&#10;Description automatically generated">
            <a:extLst>
              <a:ext uri="{FF2B5EF4-FFF2-40B4-BE49-F238E27FC236}">
                <a16:creationId xmlns:a16="http://schemas.microsoft.com/office/drawing/2014/main" id="{A95CB81E-6D77-411D-0111-E3AAA8039F94}"/>
              </a:ext>
            </a:extLst>
          </p:cNvPr>
          <p:cNvPicPr>
            <a:picLocks noChangeAspect="1"/>
          </p:cNvPicPr>
          <p:nvPr/>
        </p:nvPicPr>
        <p:blipFill>
          <a:blip r:embed="rId4"/>
          <a:stretch>
            <a:fillRect/>
          </a:stretch>
        </p:blipFill>
        <p:spPr>
          <a:xfrm>
            <a:off x="338138" y="5715088"/>
            <a:ext cx="1490878" cy="770852"/>
          </a:xfrm>
          <a:prstGeom prst="rect">
            <a:avLst/>
          </a:prstGeom>
        </p:spPr>
      </p:pic>
      <p:sp>
        <p:nvSpPr>
          <p:cNvPr id="2" name="Title 1">
            <a:extLst>
              <a:ext uri="{FF2B5EF4-FFF2-40B4-BE49-F238E27FC236}">
                <a16:creationId xmlns:a16="http://schemas.microsoft.com/office/drawing/2014/main" id="{7D7E7CB2-E7DC-872C-24B8-388D9B9DEDFB}"/>
              </a:ext>
            </a:extLst>
          </p:cNvPr>
          <p:cNvSpPr>
            <a:spLocks noGrp="1"/>
          </p:cNvSpPr>
          <p:nvPr>
            <p:ph type="title"/>
          </p:nvPr>
        </p:nvSpPr>
        <p:spPr>
          <a:xfrm>
            <a:off x="338667" y="2279737"/>
            <a:ext cx="11518371" cy="1160298"/>
          </a:xfrm>
        </p:spPr>
        <p:txBody>
          <a:bodyPr>
            <a:normAutofit/>
          </a:bodyPr>
          <a:lstStyle/>
          <a:p>
            <a:endParaRPr lang="en-BR" sz="5400">
              <a:solidFill>
                <a:schemeClr val="bg1"/>
              </a:solidFill>
            </a:endParaRPr>
          </a:p>
        </p:txBody>
      </p:sp>
      <p:sp>
        <p:nvSpPr>
          <p:cNvPr id="3" name="Text Placeholder 2">
            <a:extLst>
              <a:ext uri="{FF2B5EF4-FFF2-40B4-BE49-F238E27FC236}">
                <a16:creationId xmlns:a16="http://schemas.microsoft.com/office/drawing/2014/main" id="{DE99FDF6-AF0C-F7B3-4A91-A079E3C0CB48}"/>
              </a:ext>
            </a:extLst>
          </p:cNvPr>
          <p:cNvSpPr>
            <a:spLocks noGrp="1"/>
          </p:cNvSpPr>
          <p:nvPr>
            <p:ph type="body" sz="quarter" idx="13"/>
          </p:nvPr>
        </p:nvSpPr>
        <p:spPr>
          <a:xfrm>
            <a:off x="338138" y="3448150"/>
            <a:ext cx="11518900" cy="615950"/>
          </a:xfrm>
        </p:spPr>
        <p:txBody>
          <a:bodyPr>
            <a:normAutofit/>
          </a:bodyPr>
          <a:lstStyle/>
          <a:p>
            <a:endParaRPr lang="en-BR" sz="2400">
              <a:solidFill>
                <a:schemeClr val="bg1">
                  <a:lumMod val="85000"/>
                </a:schemeClr>
              </a:solidFill>
            </a:endParaRPr>
          </a:p>
        </p:txBody>
      </p:sp>
      <p:sp>
        <p:nvSpPr>
          <p:cNvPr id="11" name="Footer Placeholder 10">
            <a:extLst>
              <a:ext uri="{FF2B5EF4-FFF2-40B4-BE49-F238E27FC236}">
                <a16:creationId xmlns:a16="http://schemas.microsoft.com/office/drawing/2014/main" id="{BBDE8470-7B9C-952A-82B8-512F625B679B}"/>
              </a:ext>
            </a:extLst>
          </p:cNvPr>
          <p:cNvSpPr>
            <a:spLocks noGrp="1"/>
          </p:cNvSpPr>
          <p:nvPr>
            <p:ph type="ftr" sz="quarter" idx="11"/>
          </p:nvPr>
        </p:nvSpPr>
        <p:spPr/>
        <p:txBody>
          <a:bodyPr/>
          <a:lstStyle/>
          <a:p>
            <a:r>
              <a:rPr lang="en-US"/>
              <a:t>© 2024 Mobiz. All rights reserved</a:t>
            </a:r>
            <a:endParaRPr lang="en-BR"/>
          </a:p>
        </p:txBody>
      </p:sp>
      <p:sp>
        <p:nvSpPr>
          <p:cNvPr id="12" name="Slide Number Placeholder 11">
            <a:extLst>
              <a:ext uri="{FF2B5EF4-FFF2-40B4-BE49-F238E27FC236}">
                <a16:creationId xmlns:a16="http://schemas.microsoft.com/office/drawing/2014/main" id="{9C17F0D5-BB31-6253-48E5-475039B067D3}"/>
              </a:ext>
            </a:extLst>
          </p:cNvPr>
          <p:cNvSpPr>
            <a:spLocks noGrp="1"/>
          </p:cNvSpPr>
          <p:nvPr>
            <p:ph type="sldNum" sz="quarter" idx="12"/>
          </p:nvPr>
        </p:nvSpPr>
        <p:spPr/>
        <p:txBody>
          <a:bodyPr/>
          <a:lstStyle/>
          <a:p>
            <a:fld id="{A8DDC45B-7265-3747-B738-ED29642119D9}" type="slidenum">
              <a:rPr lang="en-BR" smtClean="0"/>
              <a:pPr/>
              <a:t>69</a:t>
            </a:fld>
            <a:endParaRPr lang="en-BR"/>
          </a:p>
        </p:txBody>
      </p:sp>
    </p:spTree>
    <p:extLst>
      <p:ext uri="{BB962C8B-B14F-4D97-AF65-F5344CB8AC3E}">
        <p14:creationId xmlns:p14="http://schemas.microsoft.com/office/powerpoint/2010/main" val="20912793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2154E-9121-AB56-4DBA-A28FEF9ABA3A}"/>
              </a:ext>
            </a:extLst>
          </p:cNvPr>
          <p:cNvSpPr>
            <a:spLocks noGrp="1"/>
          </p:cNvSpPr>
          <p:nvPr>
            <p:ph type="title"/>
          </p:nvPr>
        </p:nvSpPr>
        <p:spPr/>
        <p:txBody>
          <a:bodyPr/>
          <a:lstStyle/>
          <a:p>
            <a:r>
              <a:rPr lang="en-BR"/>
              <a:t>Text Displays</a:t>
            </a:r>
          </a:p>
        </p:txBody>
      </p:sp>
      <p:sp>
        <p:nvSpPr>
          <p:cNvPr id="3" name="Footer Placeholder 2">
            <a:extLst>
              <a:ext uri="{FF2B5EF4-FFF2-40B4-BE49-F238E27FC236}">
                <a16:creationId xmlns:a16="http://schemas.microsoft.com/office/drawing/2014/main" id="{40E0803E-838D-4F2D-A17E-20F0EA8961E8}"/>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CE616DCF-A17B-71D6-7198-0BF6D1F8BCD9}"/>
              </a:ext>
            </a:extLst>
          </p:cNvPr>
          <p:cNvSpPr>
            <a:spLocks noGrp="1"/>
          </p:cNvSpPr>
          <p:nvPr>
            <p:ph type="sldNum" sz="quarter" idx="12"/>
          </p:nvPr>
        </p:nvSpPr>
        <p:spPr/>
        <p:txBody>
          <a:bodyPr/>
          <a:lstStyle/>
          <a:p>
            <a:fld id="{A8DDC45B-7265-3747-B738-ED29642119D9}" type="slidenum">
              <a:rPr lang="en-BR" smtClean="0"/>
              <a:pPr/>
              <a:t>7</a:t>
            </a:fld>
            <a:endParaRPr lang="en-BR"/>
          </a:p>
        </p:txBody>
      </p:sp>
      <p:sp>
        <p:nvSpPr>
          <p:cNvPr id="5" name="Text Placeholder 4">
            <a:extLst>
              <a:ext uri="{FF2B5EF4-FFF2-40B4-BE49-F238E27FC236}">
                <a16:creationId xmlns:a16="http://schemas.microsoft.com/office/drawing/2014/main" id="{9A74AE8D-35A1-77E7-D32B-758BBA8E0F3B}"/>
              </a:ext>
            </a:extLst>
          </p:cNvPr>
          <p:cNvSpPr>
            <a:spLocks noGrp="1"/>
          </p:cNvSpPr>
          <p:nvPr>
            <p:ph type="body" sz="quarter" idx="13"/>
          </p:nvPr>
        </p:nvSpPr>
        <p:spPr/>
        <p:txBody>
          <a:bodyPr/>
          <a:lstStyle/>
          <a:p>
            <a:r>
              <a:rPr lang="en-BR"/>
              <a:t>Four Points </a:t>
            </a:r>
          </a:p>
        </p:txBody>
      </p:sp>
      <p:sp>
        <p:nvSpPr>
          <p:cNvPr id="6" name="TextBox 5">
            <a:extLst>
              <a:ext uri="{FF2B5EF4-FFF2-40B4-BE49-F238E27FC236}">
                <a16:creationId xmlns:a16="http://schemas.microsoft.com/office/drawing/2014/main" id="{A5F9333F-2358-9A7C-E9C9-0F58E052F1AA}"/>
              </a:ext>
            </a:extLst>
          </p:cNvPr>
          <p:cNvSpPr txBox="1"/>
          <p:nvPr/>
        </p:nvSpPr>
        <p:spPr>
          <a:xfrm>
            <a:off x="334961" y="1418824"/>
            <a:ext cx="11518371" cy="584775"/>
          </a:xfrm>
          <a:prstGeom prst="rect">
            <a:avLst/>
          </a:prstGeom>
          <a:noFill/>
        </p:spPr>
        <p:txBody>
          <a:bodyPr wrap="square">
            <a:spAutoFit/>
          </a:bodyPr>
          <a:lstStyle/>
          <a:p>
            <a:r>
              <a:rPr lang="en-US" sz="1600">
                <a:latin typeface="Segoe UI" panose="020B0502040204020203" pitchFamily="34" charset="0"/>
                <a:cs typeface="Segoe UI" panose="020B0502040204020203" pitchFamily="34" charset="0"/>
              </a:rPr>
              <a:t>Lorem ipsum dolor sit </a:t>
            </a:r>
            <a:r>
              <a:rPr lang="en-US" sz="1600" err="1">
                <a:latin typeface="Segoe UI" panose="020B0502040204020203" pitchFamily="34" charset="0"/>
                <a:cs typeface="Segoe UI" panose="020B0502040204020203" pitchFamily="34" charset="0"/>
              </a:rPr>
              <a:t>amet</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consectetur</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adipiscing</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elit</a:t>
            </a:r>
            <a:r>
              <a:rPr lang="en-US" sz="1600">
                <a:latin typeface="Segoe UI" panose="020B0502040204020203" pitchFamily="34" charset="0"/>
                <a:cs typeface="Segoe UI" panose="020B0502040204020203" pitchFamily="34" charset="0"/>
              </a:rPr>
              <a:t>, sed do </a:t>
            </a:r>
            <a:r>
              <a:rPr lang="en-US" sz="1600" err="1">
                <a:latin typeface="Segoe UI" panose="020B0502040204020203" pitchFamily="34" charset="0"/>
                <a:cs typeface="Segoe UI" panose="020B0502040204020203" pitchFamily="34" charset="0"/>
              </a:rPr>
              <a:t>eiusmod</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tempor</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incididunt</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ut</a:t>
            </a:r>
            <a:r>
              <a:rPr lang="en-US" sz="1600">
                <a:latin typeface="Segoe UI" panose="020B0502040204020203" pitchFamily="34" charset="0"/>
                <a:cs typeface="Segoe UI" panose="020B0502040204020203" pitchFamily="34" charset="0"/>
              </a:rPr>
              <a:t> labore et dolore magna </a:t>
            </a:r>
            <a:r>
              <a:rPr lang="en-US" sz="1600" err="1">
                <a:latin typeface="Segoe UI" panose="020B0502040204020203" pitchFamily="34" charset="0"/>
                <a:cs typeface="Segoe UI" panose="020B0502040204020203" pitchFamily="34" charset="0"/>
              </a:rPr>
              <a:t>aliqua</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Quis</a:t>
            </a:r>
            <a:r>
              <a:rPr lang="en-US" sz="1600">
                <a:latin typeface="Segoe UI" panose="020B0502040204020203" pitchFamily="34" charset="0"/>
                <a:cs typeface="Segoe UI" panose="020B0502040204020203" pitchFamily="34" charset="0"/>
              </a:rPr>
              <a:t> ipsum </a:t>
            </a:r>
            <a:r>
              <a:rPr lang="en-US" sz="1600" err="1">
                <a:latin typeface="Segoe UI" panose="020B0502040204020203" pitchFamily="34" charset="0"/>
                <a:cs typeface="Segoe UI" panose="020B0502040204020203" pitchFamily="34" charset="0"/>
              </a:rPr>
              <a:t>suspendisse</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ultrices</a:t>
            </a:r>
            <a:r>
              <a:rPr lang="en-US" sz="1600">
                <a:latin typeface="Segoe UI" panose="020B0502040204020203" pitchFamily="34" charset="0"/>
                <a:cs typeface="Segoe UI" panose="020B0502040204020203" pitchFamily="34" charset="0"/>
              </a:rPr>
              <a:t> gravida. </a:t>
            </a:r>
            <a:r>
              <a:rPr lang="en-US" sz="1600" err="1">
                <a:latin typeface="Segoe UI" panose="020B0502040204020203" pitchFamily="34" charset="0"/>
                <a:cs typeface="Segoe UI" panose="020B0502040204020203" pitchFamily="34" charset="0"/>
              </a:rPr>
              <a:t>Risus</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commodo</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viverra</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maecenas</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accumsan</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lacus</a:t>
            </a:r>
            <a:r>
              <a:rPr lang="en-US" sz="1600">
                <a:latin typeface="Segoe UI" panose="020B0502040204020203" pitchFamily="34" charset="0"/>
                <a:cs typeface="Segoe UI" panose="020B0502040204020203" pitchFamily="34" charset="0"/>
              </a:rPr>
              <a:t> vel </a:t>
            </a:r>
            <a:r>
              <a:rPr lang="en-US" sz="1600" err="1">
                <a:latin typeface="Segoe UI" panose="020B0502040204020203" pitchFamily="34" charset="0"/>
                <a:cs typeface="Segoe UI" panose="020B0502040204020203" pitchFamily="34" charset="0"/>
              </a:rPr>
              <a:t>facilisis</a:t>
            </a:r>
            <a:r>
              <a:rPr lang="en-US" sz="1600">
                <a:latin typeface="Segoe UI" panose="020B0502040204020203" pitchFamily="34" charset="0"/>
                <a:cs typeface="Segoe UI" panose="020B0502040204020203" pitchFamily="34" charset="0"/>
              </a:rPr>
              <a:t>.</a:t>
            </a:r>
          </a:p>
        </p:txBody>
      </p:sp>
      <p:sp>
        <p:nvSpPr>
          <p:cNvPr id="9" name="Rectangle 8">
            <a:extLst>
              <a:ext uri="{FF2B5EF4-FFF2-40B4-BE49-F238E27FC236}">
                <a16:creationId xmlns:a16="http://schemas.microsoft.com/office/drawing/2014/main" id="{42825EF5-E584-0A3E-2686-A31F2BA280FA}"/>
              </a:ext>
            </a:extLst>
          </p:cNvPr>
          <p:cNvSpPr/>
          <p:nvPr/>
        </p:nvSpPr>
        <p:spPr>
          <a:xfrm>
            <a:off x="9180002" y="4124972"/>
            <a:ext cx="2645999" cy="499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1994" tIns="71994" rIns="71994" bIns="71994" anchor="ctr">
            <a:noAutofit/>
          </a:bodyPr>
          <a:lstStyle/>
          <a:p>
            <a:pPr algn="ctr" fontAlgn="auto">
              <a:lnSpc>
                <a:spcPct val="90000"/>
              </a:lnSpc>
              <a:spcBef>
                <a:spcPts val="0"/>
              </a:spcBef>
              <a:spcAft>
                <a:spcPts val="0"/>
              </a:spcAft>
              <a:defRPr/>
            </a:pPr>
            <a:r>
              <a:rPr lang="en-US" sz="2000" b="1" cap="all">
                <a:solidFill>
                  <a:schemeClr val="tx1">
                    <a:lumMod val="65000"/>
                    <a:lumOff val="35000"/>
                  </a:schemeClr>
                </a:solidFill>
                <a:latin typeface="Segoe UI" panose="020B0502040204020203" pitchFamily="34" charset="0"/>
                <a:cs typeface="Segoe UI" panose="020B0502040204020203" pitchFamily="34" charset="0"/>
              </a:rPr>
              <a:t>Lorem ipsum</a:t>
            </a:r>
          </a:p>
        </p:txBody>
      </p:sp>
      <p:cxnSp>
        <p:nvCxnSpPr>
          <p:cNvPr id="10" name="Straight Connector 9">
            <a:extLst>
              <a:ext uri="{FF2B5EF4-FFF2-40B4-BE49-F238E27FC236}">
                <a16:creationId xmlns:a16="http://schemas.microsoft.com/office/drawing/2014/main" id="{35610538-A509-CBEA-A6FE-CD14433564C6}"/>
              </a:ext>
            </a:extLst>
          </p:cNvPr>
          <p:cNvCxnSpPr/>
          <p:nvPr/>
        </p:nvCxnSpPr>
        <p:spPr>
          <a:xfrm>
            <a:off x="9180002" y="4741418"/>
            <a:ext cx="2645999" cy="0"/>
          </a:xfrm>
          <a:prstGeom prst="line">
            <a:avLst/>
          </a:prstGeom>
          <a:ln w="12700" cmpd="sng">
            <a:solidFill>
              <a:srgbClr val="C00000">
                <a:alpha val="50196"/>
              </a:srgbClr>
            </a:solidFill>
          </a:ln>
          <a:effectLst/>
        </p:spPr>
        <p:style>
          <a:lnRef idx="2">
            <a:schemeClr val="accent1"/>
          </a:lnRef>
          <a:fillRef idx="0">
            <a:schemeClr val="accent1"/>
          </a:fillRef>
          <a:effectRef idx="1">
            <a:schemeClr val="accent1"/>
          </a:effectRef>
          <a:fontRef idx="minor">
            <a:schemeClr val="tx1"/>
          </a:fontRef>
        </p:style>
      </p:cxnSp>
      <p:sp>
        <p:nvSpPr>
          <p:cNvPr id="11" name="Rectangle 10">
            <a:extLst>
              <a:ext uri="{FF2B5EF4-FFF2-40B4-BE49-F238E27FC236}">
                <a16:creationId xmlns:a16="http://schemas.microsoft.com/office/drawing/2014/main" id="{0376B316-7B79-795A-91A1-5C5AD683A311}"/>
              </a:ext>
            </a:extLst>
          </p:cNvPr>
          <p:cNvSpPr/>
          <p:nvPr/>
        </p:nvSpPr>
        <p:spPr>
          <a:xfrm>
            <a:off x="585213" y="3254109"/>
            <a:ext cx="2186776" cy="609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b">
            <a:noAutofit/>
          </a:bodyPr>
          <a:lstStyle/>
          <a:p>
            <a:pPr algn="ctr" fontAlgn="auto">
              <a:lnSpc>
                <a:spcPct val="110000"/>
              </a:lnSpc>
              <a:spcBef>
                <a:spcPts val="0"/>
              </a:spcBef>
              <a:spcAft>
                <a:spcPts val="0"/>
              </a:spcAft>
              <a:defRPr/>
            </a:pPr>
            <a:r>
              <a:rPr lang="en-US" sz="1200" b="1" kern="0">
                <a:solidFill>
                  <a:srgbClr val="C00000"/>
                </a:solidFill>
                <a:latin typeface="Segoe UI" panose="020B0502040204020203" pitchFamily="34" charset="0"/>
                <a:cs typeface="Segoe UI" panose="020B0502040204020203" pitchFamily="34" charset="0"/>
              </a:rPr>
              <a:t>Lorem ipsum dolor sit </a:t>
            </a:r>
            <a:r>
              <a:rPr lang="en-US" sz="1200" b="1" kern="0" err="1">
                <a:solidFill>
                  <a:srgbClr val="C00000"/>
                </a:solidFill>
                <a:latin typeface="Segoe UI" panose="020B0502040204020203" pitchFamily="34" charset="0"/>
                <a:cs typeface="Segoe UI" panose="020B0502040204020203" pitchFamily="34" charset="0"/>
              </a:rPr>
              <a:t>amet</a:t>
            </a:r>
            <a:r>
              <a:rPr lang="en-US" sz="1200" b="1" kern="0">
                <a:solidFill>
                  <a:srgbClr val="C00000"/>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nsectetu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dipiscing</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lit</a:t>
            </a:r>
            <a:r>
              <a:rPr lang="en-US" sz="1200" kern="0">
                <a:solidFill>
                  <a:schemeClr val="tx1">
                    <a:lumMod val="65000"/>
                    <a:lumOff val="35000"/>
                  </a:schemeClr>
                </a:solidFill>
                <a:latin typeface="Segoe UI" panose="020B0502040204020203" pitchFamily="34" charset="0"/>
                <a:cs typeface="Segoe UI" panose="020B0502040204020203" pitchFamily="34" charset="0"/>
              </a:rPr>
              <a:t>, sed do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iusmod</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tempo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incididun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t</a:t>
            </a:r>
            <a:r>
              <a:rPr lang="en-US" sz="1200" kern="0">
                <a:solidFill>
                  <a:schemeClr val="tx1">
                    <a:lumMod val="65000"/>
                    <a:lumOff val="35000"/>
                  </a:schemeClr>
                </a:solidFill>
                <a:latin typeface="Segoe UI" panose="020B0502040204020203" pitchFamily="34" charset="0"/>
                <a:cs typeface="Segoe UI" panose="020B0502040204020203" pitchFamily="34" charset="0"/>
              </a:rPr>
              <a:t> labore et dolore</a:t>
            </a:r>
            <a:endParaRPr lang="en-US" sz="1200">
              <a:solidFill>
                <a:schemeClr val="tx1"/>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E7C113FF-42A1-7AB6-F3FD-9DA7F3AC5410}"/>
              </a:ext>
            </a:extLst>
          </p:cNvPr>
          <p:cNvSpPr/>
          <p:nvPr/>
        </p:nvSpPr>
        <p:spPr>
          <a:xfrm>
            <a:off x="355602" y="4875740"/>
            <a:ext cx="2645999" cy="1613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1994" tIns="0" rIns="71994" bIns="0" anchor="t" anchorCtr="0">
            <a:noAutofit/>
          </a:bodyPr>
          <a:lstStyle/>
          <a:p>
            <a:pPr algn="ctr" fontAlgn="base">
              <a:spcBef>
                <a:spcPct val="20000"/>
              </a:spcBef>
              <a:spcAft>
                <a:spcPct val="0"/>
              </a:spcAft>
              <a:buClr>
                <a:schemeClr val="tx1"/>
              </a:buClr>
              <a:defRPr/>
            </a:pPr>
            <a:r>
              <a:rPr lang="en-US" sz="1200" kern="0">
                <a:solidFill>
                  <a:schemeClr val="tx1">
                    <a:lumMod val="65000"/>
                    <a:lumOff val="35000"/>
                  </a:schemeClr>
                </a:solidFill>
                <a:latin typeface="Segoe UI" panose="020B0502040204020203" pitchFamily="34" charset="0"/>
                <a:cs typeface="Segoe UI" panose="020B0502040204020203" pitchFamily="34" charset="0"/>
              </a:rPr>
              <a:t>Lorem ipsum dolor si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me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nsectetu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dipiscing</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lit</a:t>
            </a:r>
            <a:r>
              <a:rPr lang="en-US" sz="1200" kern="0">
                <a:solidFill>
                  <a:schemeClr val="tx1">
                    <a:lumMod val="65000"/>
                    <a:lumOff val="35000"/>
                  </a:schemeClr>
                </a:solidFill>
                <a:latin typeface="Segoe UI" panose="020B0502040204020203" pitchFamily="34" charset="0"/>
                <a:cs typeface="Segoe UI" panose="020B0502040204020203" pitchFamily="34" charset="0"/>
              </a:rPr>
              <a:t>, sed do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iusmod</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tempo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incididun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t</a:t>
            </a:r>
            <a:r>
              <a:rPr lang="en-US" sz="1200" kern="0">
                <a:solidFill>
                  <a:schemeClr val="tx1">
                    <a:lumMod val="65000"/>
                    <a:lumOff val="35000"/>
                  </a:schemeClr>
                </a:solidFill>
                <a:latin typeface="Segoe UI" panose="020B0502040204020203" pitchFamily="34" charset="0"/>
                <a:cs typeface="Segoe UI" panose="020B0502040204020203" pitchFamily="34" charset="0"/>
              </a:rPr>
              <a:t> labore et dolore magn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liqu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Quis</a:t>
            </a:r>
            <a:r>
              <a:rPr lang="en-US" sz="1200" kern="0">
                <a:solidFill>
                  <a:schemeClr val="tx1">
                    <a:lumMod val="65000"/>
                    <a:lumOff val="35000"/>
                  </a:schemeClr>
                </a:solidFill>
                <a:latin typeface="Segoe UI" panose="020B0502040204020203" pitchFamily="34" charset="0"/>
                <a:cs typeface="Segoe UI" panose="020B0502040204020203" pitchFamily="34" charset="0"/>
              </a:rPr>
              <a:t> ipsum </a:t>
            </a:r>
            <a:r>
              <a:rPr lang="en-US" sz="1200" kern="0" err="1">
                <a:solidFill>
                  <a:schemeClr val="tx1">
                    <a:lumMod val="65000"/>
                    <a:lumOff val="35000"/>
                  </a:schemeClr>
                </a:solidFill>
                <a:latin typeface="Segoe UI" panose="020B0502040204020203" pitchFamily="34" charset="0"/>
                <a:cs typeface="Segoe UI" panose="020B0502040204020203" pitchFamily="34" charset="0"/>
              </a:rPr>
              <a:t>suspendisse</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ltrices</a:t>
            </a:r>
            <a:r>
              <a:rPr lang="en-US" sz="1200" kern="0">
                <a:solidFill>
                  <a:schemeClr val="tx1">
                    <a:lumMod val="65000"/>
                    <a:lumOff val="35000"/>
                  </a:schemeClr>
                </a:solidFill>
                <a:latin typeface="Segoe UI" panose="020B0502040204020203" pitchFamily="34" charset="0"/>
                <a:cs typeface="Segoe UI" panose="020B0502040204020203" pitchFamily="34" charset="0"/>
              </a:rPr>
              <a:t> gravid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Risu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mmodo</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viverr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maecena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ccumsan</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lacus</a:t>
            </a:r>
            <a:r>
              <a:rPr lang="en-US" sz="1200" kern="0">
                <a:solidFill>
                  <a:schemeClr val="tx1">
                    <a:lumMod val="65000"/>
                    <a:lumOff val="35000"/>
                  </a:schemeClr>
                </a:solidFill>
                <a:latin typeface="Segoe UI" panose="020B0502040204020203" pitchFamily="34" charset="0"/>
                <a:cs typeface="Segoe UI" panose="020B0502040204020203" pitchFamily="34" charset="0"/>
              </a:rPr>
              <a:t> vel </a:t>
            </a:r>
            <a:r>
              <a:rPr lang="en-US" sz="1200" kern="0" err="1">
                <a:solidFill>
                  <a:schemeClr val="tx1">
                    <a:lumMod val="65000"/>
                    <a:lumOff val="35000"/>
                  </a:schemeClr>
                </a:solidFill>
                <a:latin typeface="Segoe UI" panose="020B0502040204020203" pitchFamily="34" charset="0"/>
                <a:cs typeface="Segoe UI" panose="020B0502040204020203" pitchFamily="34" charset="0"/>
              </a:rPr>
              <a:t>facilisi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p>
        </p:txBody>
      </p:sp>
      <p:sp>
        <p:nvSpPr>
          <p:cNvPr id="13" name="Rectangle 12">
            <a:extLst>
              <a:ext uri="{FF2B5EF4-FFF2-40B4-BE49-F238E27FC236}">
                <a16:creationId xmlns:a16="http://schemas.microsoft.com/office/drawing/2014/main" id="{81D75E1A-EF19-F58F-6EC7-7B8CA7217556}"/>
              </a:ext>
            </a:extLst>
          </p:cNvPr>
          <p:cNvSpPr/>
          <p:nvPr/>
        </p:nvSpPr>
        <p:spPr>
          <a:xfrm>
            <a:off x="355602" y="4124972"/>
            <a:ext cx="2645999" cy="499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1994" tIns="71994" rIns="71994" bIns="71994" anchor="ctr">
            <a:noAutofit/>
          </a:bodyPr>
          <a:lstStyle/>
          <a:p>
            <a:pPr algn="ctr" fontAlgn="auto">
              <a:lnSpc>
                <a:spcPct val="90000"/>
              </a:lnSpc>
              <a:spcBef>
                <a:spcPts val="0"/>
              </a:spcBef>
              <a:spcAft>
                <a:spcPts val="0"/>
              </a:spcAft>
              <a:defRPr/>
            </a:pPr>
            <a:r>
              <a:rPr lang="en-US" sz="2000" b="1" cap="all">
                <a:solidFill>
                  <a:schemeClr val="tx1">
                    <a:lumMod val="65000"/>
                    <a:lumOff val="35000"/>
                  </a:schemeClr>
                </a:solidFill>
                <a:latin typeface="Segoe UI" panose="020B0502040204020203" pitchFamily="34" charset="0"/>
                <a:cs typeface="Segoe UI" panose="020B0502040204020203" pitchFamily="34" charset="0"/>
              </a:rPr>
              <a:t>Lorem ipsum</a:t>
            </a:r>
          </a:p>
        </p:txBody>
      </p:sp>
      <p:cxnSp>
        <p:nvCxnSpPr>
          <p:cNvPr id="14" name="Straight Connector 13">
            <a:extLst>
              <a:ext uri="{FF2B5EF4-FFF2-40B4-BE49-F238E27FC236}">
                <a16:creationId xmlns:a16="http://schemas.microsoft.com/office/drawing/2014/main" id="{732493DE-6BC9-25E7-25C6-4912F5EB535A}"/>
              </a:ext>
            </a:extLst>
          </p:cNvPr>
          <p:cNvCxnSpPr/>
          <p:nvPr/>
        </p:nvCxnSpPr>
        <p:spPr>
          <a:xfrm>
            <a:off x="355602" y="4741418"/>
            <a:ext cx="2645999" cy="0"/>
          </a:xfrm>
          <a:prstGeom prst="line">
            <a:avLst/>
          </a:prstGeom>
          <a:ln w="12700" cmpd="sng">
            <a:solidFill>
              <a:srgbClr val="C00000">
                <a:alpha val="50196"/>
              </a:srgbClr>
            </a:solidFill>
          </a:ln>
          <a:effectLst/>
        </p:spPr>
        <p:style>
          <a:lnRef idx="2">
            <a:schemeClr val="accent1"/>
          </a:lnRef>
          <a:fillRef idx="0">
            <a:schemeClr val="accent1"/>
          </a:fillRef>
          <a:effectRef idx="1">
            <a:schemeClr val="accent1"/>
          </a:effectRef>
          <a:fontRef idx="minor">
            <a:schemeClr val="tx1"/>
          </a:fontRef>
        </p:style>
      </p:cxnSp>
      <p:sp>
        <p:nvSpPr>
          <p:cNvPr id="17" name="Rectangle 16">
            <a:extLst>
              <a:ext uri="{FF2B5EF4-FFF2-40B4-BE49-F238E27FC236}">
                <a16:creationId xmlns:a16="http://schemas.microsoft.com/office/drawing/2014/main" id="{81D811DC-60D3-B475-0850-3DECA7BBEC95}"/>
              </a:ext>
            </a:extLst>
          </p:cNvPr>
          <p:cNvSpPr/>
          <p:nvPr/>
        </p:nvSpPr>
        <p:spPr>
          <a:xfrm>
            <a:off x="3297070" y="4124972"/>
            <a:ext cx="2645999" cy="499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1994" tIns="71994" rIns="71994" bIns="71994" anchor="ctr">
            <a:noAutofit/>
          </a:bodyPr>
          <a:lstStyle/>
          <a:p>
            <a:pPr algn="ctr" fontAlgn="auto">
              <a:lnSpc>
                <a:spcPct val="90000"/>
              </a:lnSpc>
              <a:spcBef>
                <a:spcPts val="0"/>
              </a:spcBef>
              <a:spcAft>
                <a:spcPts val="0"/>
              </a:spcAft>
              <a:defRPr/>
            </a:pPr>
            <a:r>
              <a:rPr lang="en-US" sz="2000" b="1" cap="all">
                <a:solidFill>
                  <a:schemeClr val="tx1">
                    <a:lumMod val="65000"/>
                    <a:lumOff val="35000"/>
                  </a:schemeClr>
                </a:solidFill>
                <a:latin typeface="Segoe UI" panose="020B0502040204020203" pitchFamily="34" charset="0"/>
                <a:cs typeface="Segoe UI" panose="020B0502040204020203" pitchFamily="34" charset="0"/>
              </a:rPr>
              <a:t>Lorem ipsum</a:t>
            </a:r>
          </a:p>
        </p:txBody>
      </p:sp>
      <p:cxnSp>
        <p:nvCxnSpPr>
          <p:cNvPr id="18" name="Straight Connector 17">
            <a:extLst>
              <a:ext uri="{FF2B5EF4-FFF2-40B4-BE49-F238E27FC236}">
                <a16:creationId xmlns:a16="http://schemas.microsoft.com/office/drawing/2014/main" id="{495A85E4-C1F0-0963-02DE-BE781677B297}"/>
              </a:ext>
            </a:extLst>
          </p:cNvPr>
          <p:cNvCxnSpPr/>
          <p:nvPr/>
        </p:nvCxnSpPr>
        <p:spPr>
          <a:xfrm>
            <a:off x="3297070" y="4741418"/>
            <a:ext cx="2645999" cy="0"/>
          </a:xfrm>
          <a:prstGeom prst="line">
            <a:avLst/>
          </a:prstGeom>
          <a:ln w="12700" cmpd="sng">
            <a:solidFill>
              <a:srgbClr val="C00000">
                <a:alpha val="50196"/>
              </a:srgbClr>
            </a:solidFill>
          </a:ln>
          <a:effectLst/>
        </p:spPr>
        <p:style>
          <a:lnRef idx="2">
            <a:schemeClr val="accent1"/>
          </a:lnRef>
          <a:fillRef idx="0">
            <a:schemeClr val="accent1"/>
          </a:fillRef>
          <a:effectRef idx="1">
            <a:schemeClr val="accent1"/>
          </a:effectRef>
          <a:fontRef idx="minor">
            <a:schemeClr val="tx1"/>
          </a:fontRef>
        </p:style>
      </p:cxnSp>
      <p:sp>
        <p:nvSpPr>
          <p:cNvPr id="21" name="Rectangle 20">
            <a:extLst>
              <a:ext uri="{FF2B5EF4-FFF2-40B4-BE49-F238E27FC236}">
                <a16:creationId xmlns:a16="http://schemas.microsoft.com/office/drawing/2014/main" id="{99807FDD-81DC-A7DC-CBFE-B0FBE3CDFB7A}"/>
              </a:ext>
            </a:extLst>
          </p:cNvPr>
          <p:cNvSpPr/>
          <p:nvPr/>
        </p:nvSpPr>
        <p:spPr>
          <a:xfrm>
            <a:off x="6238537" y="4124972"/>
            <a:ext cx="2645999" cy="499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1994" tIns="71994" rIns="71994" bIns="71994" anchor="ctr">
            <a:noAutofit/>
          </a:bodyPr>
          <a:lstStyle/>
          <a:p>
            <a:pPr algn="ctr" fontAlgn="auto">
              <a:lnSpc>
                <a:spcPct val="90000"/>
              </a:lnSpc>
              <a:spcBef>
                <a:spcPts val="0"/>
              </a:spcBef>
              <a:spcAft>
                <a:spcPts val="0"/>
              </a:spcAft>
              <a:defRPr/>
            </a:pPr>
            <a:r>
              <a:rPr lang="en-US" sz="2000" b="1" cap="all">
                <a:solidFill>
                  <a:schemeClr val="tx1">
                    <a:lumMod val="65000"/>
                    <a:lumOff val="35000"/>
                  </a:schemeClr>
                </a:solidFill>
                <a:latin typeface="Segoe UI" panose="020B0502040204020203" pitchFamily="34" charset="0"/>
                <a:cs typeface="Segoe UI" panose="020B0502040204020203" pitchFamily="34" charset="0"/>
              </a:rPr>
              <a:t>Lorem ipsum</a:t>
            </a:r>
          </a:p>
        </p:txBody>
      </p:sp>
      <p:cxnSp>
        <p:nvCxnSpPr>
          <p:cNvPr id="22" name="Straight Connector 21">
            <a:extLst>
              <a:ext uri="{FF2B5EF4-FFF2-40B4-BE49-F238E27FC236}">
                <a16:creationId xmlns:a16="http://schemas.microsoft.com/office/drawing/2014/main" id="{D878FE88-17FA-3027-A8AB-0B2687745CE4}"/>
              </a:ext>
            </a:extLst>
          </p:cNvPr>
          <p:cNvCxnSpPr/>
          <p:nvPr/>
        </p:nvCxnSpPr>
        <p:spPr>
          <a:xfrm>
            <a:off x="6238537" y="4741418"/>
            <a:ext cx="2645999" cy="0"/>
          </a:xfrm>
          <a:prstGeom prst="line">
            <a:avLst/>
          </a:prstGeom>
          <a:ln w="12700" cmpd="sng">
            <a:solidFill>
              <a:srgbClr val="C00000">
                <a:alpha val="50196"/>
              </a:srgbClr>
            </a:solidFill>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8859FA10-5E7A-C040-9D9C-80B513140647}"/>
              </a:ext>
            </a:extLst>
          </p:cNvPr>
          <p:cNvCxnSpPr/>
          <p:nvPr/>
        </p:nvCxnSpPr>
        <p:spPr>
          <a:xfrm flipH="1">
            <a:off x="364052" y="3980609"/>
            <a:ext cx="11465998" cy="0"/>
          </a:xfrm>
          <a:prstGeom prst="straightConnector1">
            <a:avLst/>
          </a:prstGeom>
          <a:ln w="22225">
            <a:solidFill>
              <a:srgbClr val="C00000"/>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4" name="Rectangle 23">
            <a:extLst>
              <a:ext uri="{FF2B5EF4-FFF2-40B4-BE49-F238E27FC236}">
                <a16:creationId xmlns:a16="http://schemas.microsoft.com/office/drawing/2014/main" id="{A836E5BB-ED65-1D45-A358-4DC172F4AF09}"/>
              </a:ext>
            </a:extLst>
          </p:cNvPr>
          <p:cNvSpPr/>
          <p:nvPr/>
        </p:nvSpPr>
        <p:spPr>
          <a:xfrm>
            <a:off x="3297069" y="4875740"/>
            <a:ext cx="2645999" cy="1613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1994" tIns="0" rIns="71994" bIns="0" anchor="t" anchorCtr="0">
            <a:noAutofit/>
          </a:bodyPr>
          <a:lstStyle/>
          <a:p>
            <a:pPr algn="ctr" fontAlgn="base">
              <a:spcBef>
                <a:spcPct val="20000"/>
              </a:spcBef>
              <a:spcAft>
                <a:spcPct val="0"/>
              </a:spcAft>
              <a:buClr>
                <a:schemeClr val="tx1"/>
              </a:buClr>
              <a:defRPr/>
            </a:pPr>
            <a:r>
              <a:rPr lang="en-US" sz="1200" kern="0">
                <a:solidFill>
                  <a:schemeClr val="tx1">
                    <a:lumMod val="65000"/>
                    <a:lumOff val="35000"/>
                  </a:schemeClr>
                </a:solidFill>
                <a:latin typeface="Segoe UI" panose="020B0502040204020203" pitchFamily="34" charset="0"/>
                <a:cs typeface="Segoe UI" panose="020B0502040204020203" pitchFamily="34" charset="0"/>
              </a:rPr>
              <a:t>Lorem ipsum dolor si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me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nsectetu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dipiscing</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lit</a:t>
            </a:r>
            <a:r>
              <a:rPr lang="en-US" sz="1200" kern="0">
                <a:solidFill>
                  <a:schemeClr val="tx1">
                    <a:lumMod val="65000"/>
                    <a:lumOff val="35000"/>
                  </a:schemeClr>
                </a:solidFill>
                <a:latin typeface="Segoe UI" panose="020B0502040204020203" pitchFamily="34" charset="0"/>
                <a:cs typeface="Segoe UI" panose="020B0502040204020203" pitchFamily="34" charset="0"/>
              </a:rPr>
              <a:t>, sed do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iusmod</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tempo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incididun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t</a:t>
            </a:r>
            <a:r>
              <a:rPr lang="en-US" sz="1200" kern="0">
                <a:solidFill>
                  <a:schemeClr val="tx1">
                    <a:lumMod val="65000"/>
                    <a:lumOff val="35000"/>
                  </a:schemeClr>
                </a:solidFill>
                <a:latin typeface="Segoe UI" panose="020B0502040204020203" pitchFamily="34" charset="0"/>
                <a:cs typeface="Segoe UI" panose="020B0502040204020203" pitchFamily="34" charset="0"/>
              </a:rPr>
              <a:t> labore et dolore magn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liqu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Quis</a:t>
            </a:r>
            <a:r>
              <a:rPr lang="en-US" sz="1200" kern="0">
                <a:solidFill>
                  <a:schemeClr val="tx1">
                    <a:lumMod val="65000"/>
                    <a:lumOff val="35000"/>
                  </a:schemeClr>
                </a:solidFill>
                <a:latin typeface="Segoe UI" panose="020B0502040204020203" pitchFamily="34" charset="0"/>
                <a:cs typeface="Segoe UI" panose="020B0502040204020203" pitchFamily="34" charset="0"/>
              </a:rPr>
              <a:t> ipsum </a:t>
            </a:r>
            <a:r>
              <a:rPr lang="en-US" sz="1200" kern="0" err="1">
                <a:solidFill>
                  <a:schemeClr val="tx1">
                    <a:lumMod val="65000"/>
                    <a:lumOff val="35000"/>
                  </a:schemeClr>
                </a:solidFill>
                <a:latin typeface="Segoe UI" panose="020B0502040204020203" pitchFamily="34" charset="0"/>
                <a:cs typeface="Segoe UI" panose="020B0502040204020203" pitchFamily="34" charset="0"/>
              </a:rPr>
              <a:t>suspendisse</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ltrices</a:t>
            </a:r>
            <a:r>
              <a:rPr lang="en-US" sz="1200" kern="0">
                <a:solidFill>
                  <a:schemeClr val="tx1">
                    <a:lumMod val="65000"/>
                    <a:lumOff val="35000"/>
                  </a:schemeClr>
                </a:solidFill>
                <a:latin typeface="Segoe UI" panose="020B0502040204020203" pitchFamily="34" charset="0"/>
                <a:cs typeface="Segoe UI" panose="020B0502040204020203" pitchFamily="34" charset="0"/>
              </a:rPr>
              <a:t> gravid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Risu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mmodo</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viverr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maecena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ccumsan</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lacus</a:t>
            </a:r>
            <a:r>
              <a:rPr lang="en-US" sz="1200" kern="0">
                <a:solidFill>
                  <a:schemeClr val="tx1">
                    <a:lumMod val="65000"/>
                    <a:lumOff val="35000"/>
                  </a:schemeClr>
                </a:solidFill>
                <a:latin typeface="Segoe UI" panose="020B0502040204020203" pitchFamily="34" charset="0"/>
                <a:cs typeface="Segoe UI" panose="020B0502040204020203" pitchFamily="34" charset="0"/>
              </a:rPr>
              <a:t> vel </a:t>
            </a:r>
            <a:r>
              <a:rPr lang="en-US" sz="1200" kern="0" err="1">
                <a:solidFill>
                  <a:schemeClr val="tx1">
                    <a:lumMod val="65000"/>
                    <a:lumOff val="35000"/>
                  </a:schemeClr>
                </a:solidFill>
                <a:latin typeface="Segoe UI" panose="020B0502040204020203" pitchFamily="34" charset="0"/>
                <a:cs typeface="Segoe UI" panose="020B0502040204020203" pitchFamily="34" charset="0"/>
              </a:rPr>
              <a:t>facilisi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p>
        </p:txBody>
      </p:sp>
      <p:sp>
        <p:nvSpPr>
          <p:cNvPr id="25" name="Rectangle 24">
            <a:extLst>
              <a:ext uri="{FF2B5EF4-FFF2-40B4-BE49-F238E27FC236}">
                <a16:creationId xmlns:a16="http://schemas.microsoft.com/office/drawing/2014/main" id="{1131EB1B-27C9-2C3D-6623-50CB1E26FCAF}"/>
              </a:ext>
            </a:extLst>
          </p:cNvPr>
          <p:cNvSpPr/>
          <p:nvPr/>
        </p:nvSpPr>
        <p:spPr>
          <a:xfrm>
            <a:off x="6238536" y="4875740"/>
            <a:ext cx="2645999" cy="1613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1994" tIns="0" rIns="71994" bIns="0" anchor="t" anchorCtr="0">
            <a:noAutofit/>
          </a:bodyPr>
          <a:lstStyle/>
          <a:p>
            <a:pPr algn="ctr" fontAlgn="base">
              <a:spcBef>
                <a:spcPct val="20000"/>
              </a:spcBef>
              <a:spcAft>
                <a:spcPct val="0"/>
              </a:spcAft>
              <a:buClr>
                <a:schemeClr val="tx1"/>
              </a:buClr>
              <a:defRPr/>
            </a:pPr>
            <a:r>
              <a:rPr lang="en-US" sz="1200" kern="0">
                <a:solidFill>
                  <a:schemeClr val="tx1">
                    <a:lumMod val="65000"/>
                    <a:lumOff val="35000"/>
                  </a:schemeClr>
                </a:solidFill>
                <a:latin typeface="Segoe UI" panose="020B0502040204020203" pitchFamily="34" charset="0"/>
                <a:cs typeface="Segoe UI" panose="020B0502040204020203" pitchFamily="34" charset="0"/>
              </a:rPr>
              <a:t>Lorem ipsum dolor si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me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nsectetu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dipiscing</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lit</a:t>
            </a:r>
            <a:r>
              <a:rPr lang="en-US" sz="1200" kern="0">
                <a:solidFill>
                  <a:schemeClr val="tx1">
                    <a:lumMod val="65000"/>
                    <a:lumOff val="35000"/>
                  </a:schemeClr>
                </a:solidFill>
                <a:latin typeface="Segoe UI" panose="020B0502040204020203" pitchFamily="34" charset="0"/>
                <a:cs typeface="Segoe UI" panose="020B0502040204020203" pitchFamily="34" charset="0"/>
              </a:rPr>
              <a:t>, sed do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iusmod</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tempo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incididun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t</a:t>
            </a:r>
            <a:r>
              <a:rPr lang="en-US" sz="1200" kern="0">
                <a:solidFill>
                  <a:schemeClr val="tx1">
                    <a:lumMod val="65000"/>
                    <a:lumOff val="35000"/>
                  </a:schemeClr>
                </a:solidFill>
                <a:latin typeface="Segoe UI" panose="020B0502040204020203" pitchFamily="34" charset="0"/>
                <a:cs typeface="Segoe UI" panose="020B0502040204020203" pitchFamily="34" charset="0"/>
              </a:rPr>
              <a:t> labore et dolore magn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liqu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Quis</a:t>
            </a:r>
            <a:r>
              <a:rPr lang="en-US" sz="1200" kern="0">
                <a:solidFill>
                  <a:schemeClr val="tx1">
                    <a:lumMod val="65000"/>
                    <a:lumOff val="35000"/>
                  </a:schemeClr>
                </a:solidFill>
                <a:latin typeface="Segoe UI" panose="020B0502040204020203" pitchFamily="34" charset="0"/>
                <a:cs typeface="Segoe UI" panose="020B0502040204020203" pitchFamily="34" charset="0"/>
              </a:rPr>
              <a:t> ipsum </a:t>
            </a:r>
            <a:r>
              <a:rPr lang="en-US" sz="1200" kern="0" err="1">
                <a:solidFill>
                  <a:schemeClr val="tx1">
                    <a:lumMod val="65000"/>
                    <a:lumOff val="35000"/>
                  </a:schemeClr>
                </a:solidFill>
                <a:latin typeface="Segoe UI" panose="020B0502040204020203" pitchFamily="34" charset="0"/>
                <a:cs typeface="Segoe UI" panose="020B0502040204020203" pitchFamily="34" charset="0"/>
              </a:rPr>
              <a:t>suspendisse</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ltrices</a:t>
            </a:r>
            <a:r>
              <a:rPr lang="en-US" sz="1200" kern="0">
                <a:solidFill>
                  <a:schemeClr val="tx1">
                    <a:lumMod val="65000"/>
                    <a:lumOff val="35000"/>
                  </a:schemeClr>
                </a:solidFill>
                <a:latin typeface="Segoe UI" panose="020B0502040204020203" pitchFamily="34" charset="0"/>
                <a:cs typeface="Segoe UI" panose="020B0502040204020203" pitchFamily="34" charset="0"/>
              </a:rPr>
              <a:t> gravid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Risu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mmodo</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viverr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maecena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ccumsan</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lacus</a:t>
            </a:r>
            <a:r>
              <a:rPr lang="en-US" sz="1200" kern="0">
                <a:solidFill>
                  <a:schemeClr val="tx1">
                    <a:lumMod val="65000"/>
                    <a:lumOff val="35000"/>
                  </a:schemeClr>
                </a:solidFill>
                <a:latin typeface="Segoe UI" panose="020B0502040204020203" pitchFamily="34" charset="0"/>
                <a:cs typeface="Segoe UI" panose="020B0502040204020203" pitchFamily="34" charset="0"/>
              </a:rPr>
              <a:t> vel </a:t>
            </a:r>
            <a:r>
              <a:rPr lang="en-US" sz="1200" kern="0" err="1">
                <a:solidFill>
                  <a:schemeClr val="tx1">
                    <a:lumMod val="65000"/>
                    <a:lumOff val="35000"/>
                  </a:schemeClr>
                </a:solidFill>
                <a:latin typeface="Segoe UI" panose="020B0502040204020203" pitchFamily="34" charset="0"/>
                <a:cs typeface="Segoe UI" panose="020B0502040204020203" pitchFamily="34" charset="0"/>
              </a:rPr>
              <a:t>facilisi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p>
        </p:txBody>
      </p:sp>
      <p:sp>
        <p:nvSpPr>
          <p:cNvPr id="26" name="Rectangle 25">
            <a:extLst>
              <a:ext uri="{FF2B5EF4-FFF2-40B4-BE49-F238E27FC236}">
                <a16:creationId xmlns:a16="http://schemas.microsoft.com/office/drawing/2014/main" id="{0AEB44E3-F337-A767-0EFE-272842BCC799}"/>
              </a:ext>
            </a:extLst>
          </p:cNvPr>
          <p:cNvSpPr/>
          <p:nvPr/>
        </p:nvSpPr>
        <p:spPr>
          <a:xfrm>
            <a:off x="9180001" y="4875740"/>
            <a:ext cx="2645999" cy="1613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1994" tIns="0" rIns="71994" bIns="0" anchor="t" anchorCtr="0">
            <a:noAutofit/>
          </a:bodyPr>
          <a:lstStyle/>
          <a:p>
            <a:pPr algn="ctr" fontAlgn="base">
              <a:spcBef>
                <a:spcPct val="20000"/>
              </a:spcBef>
              <a:spcAft>
                <a:spcPct val="0"/>
              </a:spcAft>
              <a:buClr>
                <a:schemeClr val="tx1"/>
              </a:buClr>
              <a:defRPr/>
            </a:pPr>
            <a:r>
              <a:rPr lang="en-US" sz="1200" kern="0">
                <a:solidFill>
                  <a:schemeClr val="tx1">
                    <a:lumMod val="65000"/>
                    <a:lumOff val="35000"/>
                  </a:schemeClr>
                </a:solidFill>
                <a:latin typeface="Segoe UI" panose="020B0502040204020203" pitchFamily="34" charset="0"/>
                <a:cs typeface="Segoe UI" panose="020B0502040204020203" pitchFamily="34" charset="0"/>
              </a:rPr>
              <a:t>Lorem ipsum dolor si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me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nsectetu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dipiscing</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lit</a:t>
            </a:r>
            <a:r>
              <a:rPr lang="en-US" sz="1200" kern="0">
                <a:solidFill>
                  <a:schemeClr val="tx1">
                    <a:lumMod val="65000"/>
                    <a:lumOff val="35000"/>
                  </a:schemeClr>
                </a:solidFill>
                <a:latin typeface="Segoe UI" panose="020B0502040204020203" pitchFamily="34" charset="0"/>
                <a:cs typeface="Segoe UI" panose="020B0502040204020203" pitchFamily="34" charset="0"/>
              </a:rPr>
              <a:t>, sed do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iusmod</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tempo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incididun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t</a:t>
            </a:r>
            <a:r>
              <a:rPr lang="en-US" sz="1200" kern="0">
                <a:solidFill>
                  <a:schemeClr val="tx1">
                    <a:lumMod val="65000"/>
                    <a:lumOff val="35000"/>
                  </a:schemeClr>
                </a:solidFill>
                <a:latin typeface="Segoe UI" panose="020B0502040204020203" pitchFamily="34" charset="0"/>
                <a:cs typeface="Segoe UI" panose="020B0502040204020203" pitchFamily="34" charset="0"/>
              </a:rPr>
              <a:t> labore et dolore magn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liqu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Quis</a:t>
            </a:r>
            <a:r>
              <a:rPr lang="en-US" sz="1200" kern="0">
                <a:solidFill>
                  <a:schemeClr val="tx1">
                    <a:lumMod val="65000"/>
                    <a:lumOff val="35000"/>
                  </a:schemeClr>
                </a:solidFill>
                <a:latin typeface="Segoe UI" panose="020B0502040204020203" pitchFamily="34" charset="0"/>
                <a:cs typeface="Segoe UI" panose="020B0502040204020203" pitchFamily="34" charset="0"/>
              </a:rPr>
              <a:t> ipsum </a:t>
            </a:r>
            <a:r>
              <a:rPr lang="en-US" sz="1200" kern="0" err="1">
                <a:solidFill>
                  <a:schemeClr val="tx1">
                    <a:lumMod val="65000"/>
                    <a:lumOff val="35000"/>
                  </a:schemeClr>
                </a:solidFill>
                <a:latin typeface="Segoe UI" panose="020B0502040204020203" pitchFamily="34" charset="0"/>
                <a:cs typeface="Segoe UI" panose="020B0502040204020203" pitchFamily="34" charset="0"/>
              </a:rPr>
              <a:t>suspendisse</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ltrices</a:t>
            </a:r>
            <a:r>
              <a:rPr lang="en-US" sz="1200" kern="0">
                <a:solidFill>
                  <a:schemeClr val="tx1">
                    <a:lumMod val="65000"/>
                    <a:lumOff val="35000"/>
                  </a:schemeClr>
                </a:solidFill>
                <a:latin typeface="Segoe UI" panose="020B0502040204020203" pitchFamily="34" charset="0"/>
                <a:cs typeface="Segoe UI" panose="020B0502040204020203" pitchFamily="34" charset="0"/>
              </a:rPr>
              <a:t> gravid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Risu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mmodo</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viverr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maecena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ccumsan</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lacus</a:t>
            </a:r>
            <a:r>
              <a:rPr lang="en-US" sz="1200" kern="0">
                <a:solidFill>
                  <a:schemeClr val="tx1">
                    <a:lumMod val="65000"/>
                    <a:lumOff val="35000"/>
                  </a:schemeClr>
                </a:solidFill>
                <a:latin typeface="Segoe UI" panose="020B0502040204020203" pitchFamily="34" charset="0"/>
                <a:cs typeface="Segoe UI" panose="020B0502040204020203" pitchFamily="34" charset="0"/>
              </a:rPr>
              <a:t> vel </a:t>
            </a:r>
            <a:r>
              <a:rPr lang="en-US" sz="1200" kern="0" err="1">
                <a:solidFill>
                  <a:schemeClr val="tx1">
                    <a:lumMod val="65000"/>
                    <a:lumOff val="35000"/>
                  </a:schemeClr>
                </a:solidFill>
                <a:latin typeface="Segoe UI" panose="020B0502040204020203" pitchFamily="34" charset="0"/>
                <a:cs typeface="Segoe UI" panose="020B0502040204020203" pitchFamily="34" charset="0"/>
              </a:rPr>
              <a:t>facilisi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p>
        </p:txBody>
      </p:sp>
      <p:sp>
        <p:nvSpPr>
          <p:cNvPr id="27" name="Rectangle 26">
            <a:extLst>
              <a:ext uri="{FF2B5EF4-FFF2-40B4-BE49-F238E27FC236}">
                <a16:creationId xmlns:a16="http://schemas.microsoft.com/office/drawing/2014/main" id="{7854A409-F086-9C96-785C-803CADC16F11}"/>
              </a:ext>
            </a:extLst>
          </p:cNvPr>
          <p:cNvSpPr/>
          <p:nvPr/>
        </p:nvSpPr>
        <p:spPr>
          <a:xfrm>
            <a:off x="3526680" y="3254109"/>
            <a:ext cx="2186776" cy="609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b">
            <a:noAutofit/>
          </a:bodyPr>
          <a:lstStyle/>
          <a:p>
            <a:pPr algn="ctr" fontAlgn="auto">
              <a:lnSpc>
                <a:spcPct val="110000"/>
              </a:lnSpc>
              <a:spcBef>
                <a:spcPts val="0"/>
              </a:spcBef>
              <a:spcAft>
                <a:spcPts val="0"/>
              </a:spcAft>
              <a:defRPr/>
            </a:pPr>
            <a:r>
              <a:rPr lang="en-US" sz="1200" b="1" kern="0">
                <a:solidFill>
                  <a:srgbClr val="C00000"/>
                </a:solidFill>
                <a:latin typeface="Segoe UI" panose="020B0502040204020203" pitchFamily="34" charset="0"/>
                <a:cs typeface="Segoe UI" panose="020B0502040204020203" pitchFamily="34" charset="0"/>
              </a:rPr>
              <a:t>Lorem ipsum dolor sit </a:t>
            </a:r>
            <a:r>
              <a:rPr lang="en-US" sz="1200" b="1" kern="0" err="1">
                <a:solidFill>
                  <a:srgbClr val="C00000"/>
                </a:solidFill>
                <a:latin typeface="Segoe UI" panose="020B0502040204020203" pitchFamily="34" charset="0"/>
                <a:cs typeface="Segoe UI" panose="020B0502040204020203" pitchFamily="34" charset="0"/>
              </a:rPr>
              <a:t>amet</a:t>
            </a:r>
            <a:r>
              <a:rPr lang="en-US" sz="1200" b="1" kern="0">
                <a:solidFill>
                  <a:srgbClr val="C00000"/>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nsectetu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dipiscing</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lit</a:t>
            </a:r>
            <a:r>
              <a:rPr lang="en-US" sz="1200" kern="0">
                <a:solidFill>
                  <a:schemeClr val="tx1">
                    <a:lumMod val="65000"/>
                    <a:lumOff val="35000"/>
                  </a:schemeClr>
                </a:solidFill>
                <a:latin typeface="Segoe UI" panose="020B0502040204020203" pitchFamily="34" charset="0"/>
                <a:cs typeface="Segoe UI" panose="020B0502040204020203" pitchFamily="34" charset="0"/>
              </a:rPr>
              <a:t>, sed do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iusmod</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tempo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incididun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t</a:t>
            </a:r>
            <a:r>
              <a:rPr lang="en-US" sz="1200" kern="0">
                <a:solidFill>
                  <a:schemeClr val="tx1">
                    <a:lumMod val="65000"/>
                    <a:lumOff val="35000"/>
                  </a:schemeClr>
                </a:solidFill>
                <a:latin typeface="Segoe UI" panose="020B0502040204020203" pitchFamily="34" charset="0"/>
                <a:cs typeface="Segoe UI" panose="020B0502040204020203" pitchFamily="34" charset="0"/>
              </a:rPr>
              <a:t> labore et dolore</a:t>
            </a:r>
            <a:endParaRPr lang="en-US" sz="1200">
              <a:solidFill>
                <a:schemeClr val="tx1"/>
              </a:solidFill>
              <a:latin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7ABA4EF1-66F8-D1E3-C253-03D0C125B11E}"/>
              </a:ext>
            </a:extLst>
          </p:cNvPr>
          <p:cNvSpPr/>
          <p:nvPr/>
        </p:nvSpPr>
        <p:spPr>
          <a:xfrm>
            <a:off x="6468147" y="3254109"/>
            <a:ext cx="2186776" cy="609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b">
            <a:noAutofit/>
          </a:bodyPr>
          <a:lstStyle/>
          <a:p>
            <a:pPr algn="ctr" fontAlgn="auto">
              <a:lnSpc>
                <a:spcPct val="110000"/>
              </a:lnSpc>
              <a:spcBef>
                <a:spcPts val="0"/>
              </a:spcBef>
              <a:spcAft>
                <a:spcPts val="0"/>
              </a:spcAft>
              <a:defRPr/>
            </a:pPr>
            <a:r>
              <a:rPr lang="en-US" sz="1200" b="1" kern="0">
                <a:solidFill>
                  <a:srgbClr val="C00000"/>
                </a:solidFill>
                <a:latin typeface="Segoe UI" panose="020B0502040204020203" pitchFamily="34" charset="0"/>
                <a:cs typeface="Segoe UI" panose="020B0502040204020203" pitchFamily="34" charset="0"/>
              </a:rPr>
              <a:t>Lorem ipsum dolor sit </a:t>
            </a:r>
            <a:r>
              <a:rPr lang="en-US" sz="1200" b="1" kern="0" err="1">
                <a:solidFill>
                  <a:srgbClr val="C00000"/>
                </a:solidFill>
                <a:latin typeface="Segoe UI" panose="020B0502040204020203" pitchFamily="34" charset="0"/>
                <a:cs typeface="Segoe UI" panose="020B0502040204020203" pitchFamily="34" charset="0"/>
              </a:rPr>
              <a:t>amet</a:t>
            </a:r>
            <a:r>
              <a:rPr lang="en-US" sz="1200" b="1" kern="0">
                <a:solidFill>
                  <a:srgbClr val="C00000"/>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nsectetu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dipiscing</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lit</a:t>
            </a:r>
            <a:r>
              <a:rPr lang="en-US" sz="1200" kern="0">
                <a:solidFill>
                  <a:schemeClr val="tx1">
                    <a:lumMod val="65000"/>
                    <a:lumOff val="35000"/>
                  </a:schemeClr>
                </a:solidFill>
                <a:latin typeface="Segoe UI" panose="020B0502040204020203" pitchFamily="34" charset="0"/>
                <a:cs typeface="Segoe UI" panose="020B0502040204020203" pitchFamily="34" charset="0"/>
              </a:rPr>
              <a:t>, sed do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iusmod</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tempo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incididun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t</a:t>
            </a:r>
            <a:r>
              <a:rPr lang="en-US" sz="1200" kern="0">
                <a:solidFill>
                  <a:schemeClr val="tx1">
                    <a:lumMod val="65000"/>
                    <a:lumOff val="35000"/>
                  </a:schemeClr>
                </a:solidFill>
                <a:latin typeface="Segoe UI" panose="020B0502040204020203" pitchFamily="34" charset="0"/>
                <a:cs typeface="Segoe UI" panose="020B0502040204020203" pitchFamily="34" charset="0"/>
              </a:rPr>
              <a:t> labore et dolore</a:t>
            </a:r>
            <a:endParaRPr lang="en-US" sz="1200">
              <a:solidFill>
                <a:schemeClr val="tx1"/>
              </a:solidFill>
              <a:latin typeface="Segoe UI" panose="020B0502040204020203" pitchFamily="34" charset="0"/>
              <a:cs typeface="Segoe UI" panose="020B0502040204020203" pitchFamily="34" charset="0"/>
            </a:endParaRPr>
          </a:p>
        </p:txBody>
      </p:sp>
      <p:sp>
        <p:nvSpPr>
          <p:cNvPr id="29" name="Rectangle 28">
            <a:extLst>
              <a:ext uri="{FF2B5EF4-FFF2-40B4-BE49-F238E27FC236}">
                <a16:creationId xmlns:a16="http://schemas.microsoft.com/office/drawing/2014/main" id="{1C5845CA-5871-1D8E-D549-4216902EA1BF}"/>
              </a:ext>
            </a:extLst>
          </p:cNvPr>
          <p:cNvSpPr/>
          <p:nvPr/>
        </p:nvSpPr>
        <p:spPr>
          <a:xfrm>
            <a:off x="9409612" y="3254109"/>
            <a:ext cx="2186776" cy="609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b">
            <a:noAutofit/>
          </a:bodyPr>
          <a:lstStyle/>
          <a:p>
            <a:pPr algn="ctr" fontAlgn="auto">
              <a:lnSpc>
                <a:spcPct val="110000"/>
              </a:lnSpc>
              <a:spcBef>
                <a:spcPts val="0"/>
              </a:spcBef>
              <a:spcAft>
                <a:spcPts val="0"/>
              </a:spcAft>
              <a:defRPr/>
            </a:pPr>
            <a:r>
              <a:rPr lang="en-US" sz="1200" b="1" kern="0">
                <a:solidFill>
                  <a:srgbClr val="C00000"/>
                </a:solidFill>
                <a:latin typeface="Segoe UI" panose="020B0502040204020203" pitchFamily="34" charset="0"/>
                <a:cs typeface="Segoe UI" panose="020B0502040204020203" pitchFamily="34" charset="0"/>
              </a:rPr>
              <a:t>Lorem ipsum dolor sit </a:t>
            </a:r>
            <a:r>
              <a:rPr lang="en-US" sz="1200" b="1" kern="0" err="1">
                <a:solidFill>
                  <a:srgbClr val="C00000"/>
                </a:solidFill>
                <a:latin typeface="Segoe UI" panose="020B0502040204020203" pitchFamily="34" charset="0"/>
                <a:cs typeface="Segoe UI" panose="020B0502040204020203" pitchFamily="34" charset="0"/>
              </a:rPr>
              <a:t>amet</a:t>
            </a:r>
            <a:r>
              <a:rPr lang="en-US" sz="1200" b="1" kern="0">
                <a:solidFill>
                  <a:srgbClr val="C00000"/>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nsectetu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dipiscing</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lit</a:t>
            </a:r>
            <a:r>
              <a:rPr lang="en-US" sz="1200" kern="0">
                <a:solidFill>
                  <a:schemeClr val="tx1">
                    <a:lumMod val="65000"/>
                    <a:lumOff val="35000"/>
                  </a:schemeClr>
                </a:solidFill>
                <a:latin typeface="Segoe UI" panose="020B0502040204020203" pitchFamily="34" charset="0"/>
                <a:cs typeface="Segoe UI" panose="020B0502040204020203" pitchFamily="34" charset="0"/>
              </a:rPr>
              <a:t>, sed do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iusmod</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tempo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incididun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t</a:t>
            </a:r>
            <a:r>
              <a:rPr lang="en-US" sz="1200" kern="0">
                <a:solidFill>
                  <a:schemeClr val="tx1">
                    <a:lumMod val="65000"/>
                    <a:lumOff val="35000"/>
                  </a:schemeClr>
                </a:solidFill>
                <a:latin typeface="Segoe UI" panose="020B0502040204020203" pitchFamily="34" charset="0"/>
                <a:cs typeface="Segoe UI" panose="020B0502040204020203" pitchFamily="34" charset="0"/>
              </a:rPr>
              <a:t> labore et dolore</a:t>
            </a:r>
            <a:endParaRPr lang="en-US" sz="1200">
              <a:solidFill>
                <a:schemeClr val="tx1"/>
              </a:solidFill>
              <a:latin typeface="Segoe UI" panose="020B0502040204020203" pitchFamily="34" charset="0"/>
              <a:cs typeface="Segoe UI" panose="020B0502040204020203" pitchFamily="34" charset="0"/>
            </a:endParaRPr>
          </a:p>
        </p:txBody>
      </p:sp>
      <p:sp>
        <p:nvSpPr>
          <p:cNvPr id="30" name="Oval 29">
            <a:extLst>
              <a:ext uri="{FF2B5EF4-FFF2-40B4-BE49-F238E27FC236}">
                <a16:creationId xmlns:a16="http://schemas.microsoft.com/office/drawing/2014/main" id="{C96E3BBC-A946-0A0B-4B33-6D01A9D83DFB}"/>
              </a:ext>
            </a:extLst>
          </p:cNvPr>
          <p:cNvSpPr/>
          <p:nvPr/>
        </p:nvSpPr>
        <p:spPr>
          <a:xfrm>
            <a:off x="1328673" y="2293381"/>
            <a:ext cx="699854" cy="699854"/>
          </a:xfrm>
          <a:prstGeom prst="ellipse">
            <a:avLst/>
          </a:prstGeom>
          <a:solidFill>
            <a:srgbClr val="C00000"/>
          </a:solidFill>
          <a:ln w="762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10000"/>
              </a:lnSpc>
            </a:pPr>
            <a:endParaRPr lang="en-US">
              <a:solidFill>
                <a:srgbClr val="FFFFFF"/>
              </a:solidFill>
              <a:latin typeface="+mj-lt"/>
            </a:endParaRPr>
          </a:p>
        </p:txBody>
      </p:sp>
      <p:sp>
        <p:nvSpPr>
          <p:cNvPr id="31" name="Oval 30">
            <a:extLst>
              <a:ext uri="{FF2B5EF4-FFF2-40B4-BE49-F238E27FC236}">
                <a16:creationId xmlns:a16="http://schemas.microsoft.com/office/drawing/2014/main" id="{458EC2E9-0D62-88FF-2529-521B7355A7EB}"/>
              </a:ext>
            </a:extLst>
          </p:cNvPr>
          <p:cNvSpPr/>
          <p:nvPr/>
        </p:nvSpPr>
        <p:spPr>
          <a:xfrm>
            <a:off x="4270140" y="2293381"/>
            <a:ext cx="699854" cy="699854"/>
          </a:xfrm>
          <a:prstGeom prst="ellipse">
            <a:avLst/>
          </a:prstGeom>
          <a:solidFill>
            <a:srgbClr val="C00000"/>
          </a:solidFill>
          <a:ln w="762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10000"/>
              </a:lnSpc>
            </a:pPr>
            <a:endParaRPr lang="en-US">
              <a:solidFill>
                <a:srgbClr val="FFFFFF"/>
              </a:solidFill>
              <a:latin typeface="+mj-lt"/>
            </a:endParaRPr>
          </a:p>
        </p:txBody>
      </p:sp>
      <p:sp>
        <p:nvSpPr>
          <p:cNvPr id="32" name="Oval 31">
            <a:extLst>
              <a:ext uri="{FF2B5EF4-FFF2-40B4-BE49-F238E27FC236}">
                <a16:creationId xmlns:a16="http://schemas.microsoft.com/office/drawing/2014/main" id="{420C2C32-FD0F-E847-6567-1E34D8D519E4}"/>
              </a:ext>
            </a:extLst>
          </p:cNvPr>
          <p:cNvSpPr/>
          <p:nvPr/>
        </p:nvSpPr>
        <p:spPr>
          <a:xfrm>
            <a:off x="7211607" y="2293381"/>
            <a:ext cx="699854" cy="699854"/>
          </a:xfrm>
          <a:prstGeom prst="ellipse">
            <a:avLst/>
          </a:prstGeom>
          <a:solidFill>
            <a:srgbClr val="C00000"/>
          </a:solidFill>
          <a:ln w="762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10000"/>
              </a:lnSpc>
            </a:pPr>
            <a:endParaRPr lang="en-US">
              <a:solidFill>
                <a:srgbClr val="FFFFFF"/>
              </a:solidFill>
              <a:latin typeface="+mj-lt"/>
            </a:endParaRPr>
          </a:p>
        </p:txBody>
      </p:sp>
      <p:sp>
        <p:nvSpPr>
          <p:cNvPr id="33" name="Oval 32">
            <a:extLst>
              <a:ext uri="{FF2B5EF4-FFF2-40B4-BE49-F238E27FC236}">
                <a16:creationId xmlns:a16="http://schemas.microsoft.com/office/drawing/2014/main" id="{F4E73D7A-7DC1-035A-6D34-993C9DA35C9F}"/>
              </a:ext>
            </a:extLst>
          </p:cNvPr>
          <p:cNvSpPr/>
          <p:nvPr/>
        </p:nvSpPr>
        <p:spPr>
          <a:xfrm>
            <a:off x="10255749" y="2293381"/>
            <a:ext cx="699854" cy="699854"/>
          </a:xfrm>
          <a:prstGeom prst="ellipse">
            <a:avLst/>
          </a:prstGeom>
          <a:solidFill>
            <a:srgbClr val="C00000"/>
          </a:solidFill>
          <a:ln w="762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10000"/>
              </a:lnSpc>
            </a:pPr>
            <a:endParaRPr lang="en-US">
              <a:solidFill>
                <a:srgbClr val="FFFFFF"/>
              </a:solidFill>
              <a:latin typeface="+mj-lt"/>
            </a:endParaRPr>
          </a:p>
        </p:txBody>
      </p:sp>
      <p:pic>
        <p:nvPicPr>
          <p:cNvPr id="35" name="Graphic 34" descr="Statistics with solid fill">
            <a:extLst>
              <a:ext uri="{FF2B5EF4-FFF2-40B4-BE49-F238E27FC236}">
                <a16:creationId xmlns:a16="http://schemas.microsoft.com/office/drawing/2014/main" id="{A33FD34E-5708-3F78-CDAD-88AF842028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1059" y="2407754"/>
            <a:ext cx="469232" cy="469232"/>
          </a:xfrm>
          <a:prstGeom prst="rect">
            <a:avLst/>
          </a:prstGeom>
        </p:spPr>
      </p:pic>
      <p:pic>
        <p:nvPicPr>
          <p:cNvPr id="37" name="Graphic 36" descr="Cloud with solid fill">
            <a:extLst>
              <a:ext uri="{FF2B5EF4-FFF2-40B4-BE49-F238E27FC236}">
                <a16:creationId xmlns:a16="http://schemas.microsoft.com/office/drawing/2014/main" id="{7DA39423-35B6-985D-E17A-B975E38F75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77649" y="2334094"/>
            <a:ext cx="567771" cy="567771"/>
          </a:xfrm>
          <a:prstGeom prst="rect">
            <a:avLst/>
          </a:prstGeom>
        </p:spPr>
      </p:pic>
      <p:pic>
        <p:nvPicPr>
          <p:cNvPr id="39" name="Graphic 38" descr="Database with solid fill">
            <a:extLst>
              <a:ext uri="{FF2B5EF4-FFF2-40B4-BE49-F238E27FC236}">
                <a16:creationId xmlns:a16="http://schemas.microsoft.com/office/drawing/2014/main" id="{5FA7A7C1-CBE2-E78D-0B30-049FC860B43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52459" y="2407870"/>
            <a:ext cx="469232" cy="469232"/>
          </a:xfrm>
          <a:prstGeom prst="rect">
            <a:avLst/>
          </a:prstGeom>
        </p:spPr>
      </p:pic>
      <p:pic>
        <p:nvPicPr>
          <p:cNvPr id="41" name="Graphic 40" descr="Document with solid fill">
            <a:extLst>
              <a:ext uri="{FF2B5EF4-FFF2-40B4-BE49-F238E27FC236}">
                <a16:creationId xmlns:a16="http://schemas.microsoft.com/office/drawing/2014/main" id="{659D374D-9AC8-1193-9E23-0CD4D95D0C8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03897" y="2395603"/>
            <a:ext cx="469232" cy="469232"/>
          </a:xfrm>
          <a:prstGeom prst="rect">
            <a:avLst/>
          </a:prstGeom>
        </p:spPr>
      </p:pic>
    </p:spTree>
    <p:extLst>
      <p:ext uri="{BB962C8B-B14F-4D97-AF65-F5344CB8AC3E}">
        <p14:creationId xmlns:p14="http://schemas.microsoft.com/office/powerpoint/2010/main" val="79543575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long shot of a road&#10;&#10;Description automatically generated">
            <a:extLst>
              <a:ext uri="{FF2B5EF4-FFF2-40B4-BE49-F238E27FC236}">
                <a16:creationId xmlns:a16="http://schemas.microsoft.com/office/drawing/2014/main" id="{A14B91B2-3810-3610-9FA7-DF6B8576F74F}"/>
              </a:ext>
            </a:extLst>
          </p:cNvPr>
          <p:cNvPicPr>
            <a:picLocks noChangeAspect="1"/>
          </p:cNvPicPr>
          <p:nvPr/>
        </p:nvPicPr>
        <p:blipFill rotWithShape="1">
          <a:blip r:embed="rId2"/>
          <a:srcRect t="-1" b="1563"/>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62A79782-04AE-83BC-C621-28C7622D2D54}"/>
              </a:ext>
            </a:extLst>
          </p:cNvPr>
          <p:cNvSpPr/>
          <p:nvPr/>
        </p:nvSpPr>
        <p:spPr>
          <a:xfrm>
            <a:off x="0" y="0"/>
            <a:ext cx="12192000" cy="6858000"/>
          </a:xfrm>
          <a:prstGeom prst="rect">
            <a:avLst/>
          </a:prstGeom>
          <a:solidFill>
            <a:srgbClr val="000000">
              <a:alpha val="50196"/>
            </a:srgbClr>
          </a:solidFill>
          <a:ln>
            <a:noFill/>
          </a:ln>
          <a:effectLst>
            <a:outerShdw blurRad="50800" dist="38100" dir="16200000" rotWithShape="0">
              <a:prstClr val="black">
                <a:alpha val="40000"/>
              </a:prstClr>
            </a:outerShdw>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BR"/>
          </a:p>
        </p:txBody>
      </p:sp>
      <p:sp>
        <p:nvSpPr>
          <p:cNvPr id="2" name="Title 1">
            <a:extLst>
              <a:ext uri="{FF2B5EF4-FFF2-40B4-BE49-F238E27FC236}">
                <a16:creationId xmlns:a16="http://schemas.microsoft.com/office/drawing/2014/main" id="{341CEB17-E451-8C4D-E636-625AAF102A80}"/>
              </a:ext>
            </a:extLst>
          </p:cNvPr>
          <p:cNvSpPr>
            <a:spLocks noGrp="1"/>
          </p:cNvSpPr>
          <p:nvPr>
            <p:ph type="title"/>
          </p:nvPr>
        </p:nvSpPr>
        <p:spPr>
          <a:xfrm>
            <a:off x="338667" y="2091847"/>
            <a:ext cx="11518371" cy="1337153"/>
          </a:xfrm>
        </p:spPr>
        <p:txBody>
          <a:bodyPr>
            <a:normAutofit/>
          </a:bodyPr>
          <a:lstStyle/>
          <a:p>
            <a:endParaRPr lang="en-BR" sz="5400">
              <a:solidFill>
                <a:schemeClr val="bg1"/>
              </a:solidFill>
            </a:endParaRPr>
          </a:p>
        </p:txBody>
      </p:sp>
      <p:sp>
        <p:nvSpPr>
          <p:cNvPr id="3" name="Text Placeholder 2">
            <a:extLst>
              <a:ext uri="{FF2B5EF4-FFF2-40B4-BE49-F238E27FC236}">
                <a16:creationId xmlns:a16="http://schemas.microsoft.com/office/drawing/2014/main" id="{599B74F0-71ED-0F5B-97F4-FB112622938E}"/>
              </a:ext>
            </a:extLst>
          </p:cNvPr>
          <p:cNvSpPr>
            <a:spLocks noGrp="1"/>
          </p:cNvSpPr>
          <p:nvPr>
            <p:ph type="body" sz="quarter" idx="13"/>
          </p:nvPr>
        </p:nvSpPr>
        <p:spPr>
          <a:xfrm>
            <a:off x="338138" y="3437115"/>
            <a:ext cx="11518900" cy="615950"/>
          </a:xfrm>
        </p:spPr>
        <p:txBody>
          <a:bodyPr/>
          <a:lstStyle/>
          <a:p>
            <a:endParaRPr lang="en-BR">
              <a:solidFill>
                <a:schemeClr val="bg1">
                  <a:lumMod val="85000"/>
                </a:schemeClr>
              </a:solidFill>
            </a:endParaRPr>
          </a:p>
        </p:txBody>
      </p:sp>
      <p:pic>
        <p:nvPicPr>
          <p:cNvPr id="7" name="Picture 6" descr="A white text on a black background&#10;&#10;Description automatically generated">
            <a:extLst>
              <a:ext uri="{FF2B5EF4-FFF2-40B4-BE49-F238E27FC236}">
                <a16:creationId xmlns:a16="http://schemas.microsoft.com/office/drawing/2014/main" id="{EAB5868F-D098-1EE4-DB78-2E2D9E2C7708}"/>
              </a:ext>
            </a:extLst>
          </p:cNvPr>
          <p:cNvPicPr>
            <a:picLocks noChangeAspect="1"/>
          </p:cNvPicPr>
          <p:nvPr/>
        </p:nvPicPr>
        <p:blipFill>
          <a:blip r:embed="rId3"/>
          <a:stretch>
            <a:fillRect/>
          </a:stretch>
        </p:blipFill>
        <p:spPr>
          <a:xfrm>
            <a:off x="9167597" y="5099137"/>
            <a:ext cx="2689441" cy="1390563"/>
          </a:xfrm>
          <a:prstGeom prst="rect">
            <a:avLst/>
          </a:prstGeom>
        </p:spPr>
      </p:pic>
      <p:sp>
        <p:nvSpPr>
          <p:cNvPr id="12" name="Footer Placeholder 11">
            <a:extLst>
              <a:ext uri="{FF2B5EF4-FFF2-40B4-BE49-F238E27FC236}">
                <a16:creationId xmlns:a16="http://schemas.microsoft.com/office/drawing/2014/main" id="{D6F0049F-BB19-230D-927B-AA68E525C78D}"/>
              </a:ext>
            </a:extLst>
          </p:cNvPr>
          <p:cNvSpPr>
            <a:spLocks noGrp="1"/>
          </p:cNvSpPr>
          <p:nvPr>
            <p:ph type="ftr" sz="quarter" idx="11"/>
          </p:nvPr>
        </p:nvSpPr>
        <p:spPr/>
        <p:txBody>
          <a:bodyPr/>
          <a:lstStyle/>
          <a:p>
            <a:r>
              <a:rPr lang="en-US"/>
              <a:t>© 2024 Mobiz. All rights reserved</a:t>
            </a:r>
            <a:endParaRPr lang="en-BR"/>
          </a:p>
        </p:txBody>
      </p:sp>
      <p:sp>
        <p:nvSpPr>
          <p:cNvPr id="13" name="Slide Number Placeholder 12">
            <a:extLst>
              <a:ext uri="{FF2B5EF4-FFF2-40B4-BE49-F238E27FC236}">
                <a16:creationId xmlns:a16="http://schemas.microsoft.com/office/drawing/2014/main" id="{2D9EF823-54ED-13E8-16DE-AA1D4950590A}"/>
              </a:ext>
            </a:extLst>
          </p:cNvPr>
          <p:cNvSpPr>
            <a:spLocks noGrp="1"/>
          </p:cNvSpPr>
          <p:nvPr>
            <p:ph type="sldNum" sz="quarter" idx="12"/>
          </p:nvPr>
        </p:nvSpPr>
        <p:spPr/>
        <p:txBody>
          <a:bodyPr/>
          <a:lstStyle/>
          <a:p>
            <a:fld id="{A8DDC45B-7265-3747-B738-ED29642119D9}" type="slidenum">
              <a:rPr lang="en-BR" smtClean="0"/>
              <a:pPr/>
              <a:t>70</a:t>
            </a:fld>
            <a:endParaRPr lang="en-BR"/>
          </a:p>
        </p:txBody>
      </p:sp>
    </p:spTree>
    <p:extLst>
      <p:ext uri="{BB962C8B-B14F-4D97-AF65-F5344CB8AC3E}">
        <p14:creationId xmlns:p14="http://schemas.microsoft.com/office/powerpoint/2010/main" val="12862563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long shot of a road&#10;&#10;Description automatically generated">
            <a:extLst>
              <a:ext uri="{FF2B5EF4-FFF2-40B4-BE49-F238E27FC236}">
                <a16:creationId xmlns:a16="http://schemas.microsoft.com/office/drawing/2014/main" id="{A14B91B2-3810-3610-9FA7-DF6B8576F74F}"/>
              </a:ext>
            </a:extLst>
          </p:cNvPr>
          <p:cNvPicPr>
            <a:picLocks noChangeAspect="1"/>
          </p:cNvPicPr>
          <p:nvPr/>
        </p:nvPicPr>
        <p:blipFill rotWithShape="1">
          <a:blip r:embed="rId2"/>
          <a:srcRect t="-1" b="1563"/>
          <a:stretch/>
        </p:blipFill>
        <p:spPr>
          <a:xfrm>
            <a:off x="0" y="0"/>
            <a:ext cx="12192000" cy="6858000"/>
          </a:xfrm>
          <a:prstGeom prst="rect">
            <a:avLst/>
          </a:prstGeom>
        </p:spPr>
      </p:pic>
      <p:sp>
        <p:nvSpPr>
          <p:cNvPr id="8" name="Rectangle 7">
            <a:extLst>
              <a:ext uri="{FF2B5EF4-FFF2-40B4-BE49-F238E27FC236}">
                <a16:creationId xmlns:a16="http://schemas.microsoft.com/office/drawing/2014/main" id="{7F06BCC0-CC72-A3AC-D4C1-1F6A80263D26}"/>
              </a:ext>
            </a:extLst>
          </p:cNvPr>
          <p:cNvSpPr/>
          <p:nvPr/>
        </p:nvSpPr>
        <p:spPr>
          <a:xfrm>
            <a:off x="0" y="1"/>
            <a:ext cx="12192000" cy="6858000"/>
          </a:xfrm>
          <a:prstGeom prst="rect">
            <a:avLst/>
          </a:prstGeom>
          <a:gradFill>
            <a:gsLst>
              <a:gs pos="48000">
                <a:srgbClr val="000000">
                  <a:alpha val="60000"/>
                </a:srgbClr>
              </a:gs>
              <a:gs pos="0">
                <a:schemeClr val="tx1"/>
              </a:gs>
              <a:gs pos="100000">
                <a:schemeClr val="tx1">
                  <a:alpha val="0"/>
                </a:schemeClr>
              </a:gs>
            </a:gsLst>
            <a:lin ang="1200000" scaled="0"/>
          </a:gradFill>
          <a:ln>
            <a:noFill/>
          </a:ln>
          <a:effectLst>
            <a:outerShdw blurRad="50800" dist="38100" dir="16200000" rotWithShape="0">
              <a:prstClr val="black">
                <a:alpha val="40000"/>
              </a:prstClr>
            </a:outerShdw>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BR"/>
          </a:p>
        </p:txBody>
      </p:sp>
      <p:sp>
        <p:nvSpPr>
          <p:cNvPr id="2" name="Title 1">
            <a:extLst>
              <a:ext uri="{FF2B5EF4-FFF2-40B4-BE49-F238E27FC236}">
                <a16:creationId xmlns:a16="http://schemas.microsoft.com/office/drawing/2014/main" id="{341CEB17-E451-8C4D-E636-625AAF102A80}"/>
              </a:ext>
            </a:extLst>
          </p:cNvPr>
          <p:cNvSpPr>
            <a:spLocks noGrp="1"/>
          </p:cNvSpPr>
          <p:nvPr>
            <p:ph type="title"/>
          </p:nvPr>
        </p:nvSpPr>
        <p:spPr>
          <a:xfrm>
            <a:off x="338667" y="2091847"/>
            <a:ext cx="11518371" cy="1337153"/>
          </a:xfrm>
        </p:spPr>
        <p:txBody>
          <a:bodyPr>
            <a:normAutofit/>
          </a:bodyPr>
          <a:lstStyle/>
          <a:p>
            <a:endParaRPr lang="en-BR" sz="5400">
              <a:solidFill>
                <a:schemeClr val="bg1"/>
              </a:solidFill>
            </a:endParaRPr>
          </a:p>
        </p:txBody>
      </p:sp>
      <p:sp>
        <p:nvSpPr>
          <p:cNvPr id="3" name="Text Placeholder 2">
            <a:extLst>
              <a:ext uri="{FF2B5EF4-FFF2-40B4-BE49-F238E27FC236}">
                <a16:creationId xmlns:a16="http://schemas.microsoft.com/office/drawing/2014/main" id="{599B74F0-71ED-0F5B-97F4-FB112622938E}"/>
              </a:ext>
            </a:extLst>
          </p:cNvPr>
          <p:cNvSpPr>
            <a:spLocks noGrp="1"/>
          </p:cNvSpPr>
          <p:nvPr>
            <p:ph type="body" sz="quarter" idx="13"/>
          </p:nvPr>
        </p:nvSpPr>
        <p:spPr>
          <a:xfrm>
            <a:off x="338138" y="3437115"/>
            <a:ext cx="11518900" cy="615950"/>
          </a:xfrm>
        </p:spPr>
        <p:txBody>
          <a:bodyPr/>
          <a:lstStyle/>
          <a:p>
            <a:endParaRPr lang="en-BR">
              <a:solidFill>
                <a:schemeClr val="bg1">
                  <a:lumMod val="85000"/>
                </a:schemeClr>
              </a:solidFill>
            </a:endParaRPr>
          </a:p>
        </p:txBody>
      </p:sp>
      <p:pic>
        <p:nvPicPr>
          <p:cNvPr id="7" name="Picture 6" descr="A white text on a black background&#10;&#10;Description automatically generated">
            <a:extLst>
              <a:ext uri="{FF2B5EF4-FFF2-40B4-BE49-F238E27FC236}">
                <a16:creationId xmlns:a16="http://schemas.microsoft.com/office/drawing/2014/main" id="{EAB5868F-D098-1EE4-DB78-2E2D9E2C7708}"/>
              </a:ext>
            </a:extLst>
          </p:cNvPr>
          <p:cNvPicPr>
            <a:picLocks noChangeAspect="1"/>
          </p:cNvPicPr>
          <p:nvPr/>
        </p:nvPicPr>
        <p:blipFill>
          <a:blip r:embed="rId3"/>
          <a:stretch>
            <a:fillRect/>
          </a:stretch>
        </p:blipFill>
        <p:spPr>
          <a:xfrm>
            <a:off x="9167597" y="5099137"/>
            <a:ext cx="2689441" cy="1390563"/>
          </a:xfrm>
          <a:prstGeom prst="rect">
            <a:avLst/>
          </a:prstGeom>
        </p:spPr>
      </p:pic>
      <p:sp>
        <p:nvSpPr>
          <p:cNvPr id="4" name="Footer Placeholder 3">
            <a:extLst>
              <a:ext uri="{FF2B5EF4-FFF2-40B4-BE49-F238E27FC236}">
                <a16:creationId xmlns:a16="http://schemas.microsoft.com/office/drawing/2014/main" id="{52DA61F2-86AF-5100-A359-3C507D36BA45}"/>
              </a:ext>
            </a:extLst>
          </p:cNvPr>
          <p:cNvSpPr>
            <a:spLocks noGrp="1"/>
          </p:cNvSpPr>
          <p:nvPr>
            <p:ph type="ftr" sz="quarter" idx="11"/>
          </p:nvPr>
        </p:nvSpPr>
        <p:spPr/>
        <p:txBody>
          <a:bodyPr/>
          <a:lstStyle/>
          <a:p>
            <a:r>
              <a:rPr lang="en-US"/>
              <a:t>© 2024 Mobiz. All rights reserved</a:t>
            </a:r>
            <a:endParaRPr lang="en-BR"/>
          </a:p>
        </p:txBody>
      </p:sp>
      <p:sp>
        <p:nvSpPr>
          <p:cNvPr id="6" name="Slide Number Placeholder 5">
            <a:extLst>
              <a:ext uri="{FF2B5EF4-FFF2-40B4-BE49-F238E27FC236}">
                <a16:creationId xmlns:a16="http://schemas.microsoft.com/office/drawing/2014/main" id="{810D1B04-D527-B58C-F71E-45492AD17F01}"/>
              </a:ext>
            </a:extLst>
          </p:cNvPr>
          <p:cNvSpPr>
            <a:spLocks noGrp="1"/>
          </p:cNvSpPr>
          <p:nvPr>
            <p:ph type="sldNum" sz="quarter" idx="12"/>
          </p:nvPr>
        </p:nvSpPr>
        <p:spPr/>
        <p:txBody>
          <a:bodyPr/>
          <a:lstStyle/>
          <a:p>
            <a:fld id="{A8DDC45B-7265-3747-B738-ED29642119D9}" type="slidenum">
              <a:rPr lang="en-BR" smtClean="0"/>
              <a:pPr/>
              <a:t>71</a:t>
            </a:fld>
            <a:endParaRPr lang="en-BR"/>
          </a:p>
        </p:txBody>
      </p:sp>
    </p:spTree>
    <p:extLst>
      <p:ext uri="{BB962C8B-B14F-4D97-AF65-F5344CB8AC3E}">
        <p14:creationId xmlns:p14="http://schemas.microsoft.com/office/powerpoint/2010/main" val="3700112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D177A5-7085-5D0A-38C7-14D84F3B56D7}"/>
              </a:ext>
            </a:extLst>
          </p:cNvPr>
          <p:cNvSpPr>
            <a:spLocks noGrp="1"/>
          </p:cNvSpPr>
          <p:nvPr>
            <p:ph type="title"/>
          </p:nvPr>
        </p:nvSpPr>
        <p:spPr/>
        <p:txBody>
          <a:bodyPr/>
          <a:lstStyle/>
          <a:p>
            <a:endParaRPr lang="en-BR"/>
          </a:p>
        </p:txBody>
      </p:sp>
      <p:sp>
        <p:nvSpPr>
          <p:cNvPr id="3" name="Text Placeholder 2">
            <a:extLst>
              <a:ext uri="{FF2B5EF4-FFF2-40B4-BE49-F238E27FC236}">
                <a16:creationId xmlns:a16="http://schemas.microsoft.com/office/drawing/2014/main" id="{36899DE3-5D62-198B-0B96-0A0C76B7C3E0}"/>
              </a:ext>
            </a:extLst>
          </p:cNvPr>
          <p:cNvSpPr>
            <a:spLocks noGrp="1"/>
          </p:cNvSpPr>
          <p:nvPr>
            <p:ph type="body" sz="quarter" idx="13"/>
          </p:nvPr>
        </p:nvSpPr>
        <p:spPr/>
        <p:txBody>
          <a:bodyPr/>
          <a:lstStyle/>
          <a:p>
            <a:endParaRPr lang="en-BR"/>
          </a:p>
        </p:txBody>
      </p:sp>
      <p:pic>
        <p:nvPicPr>
          <p:cNvPr id="4" name="Picture 3" descr="A cross-section of a city&#10;&#10;Description automatically generated">
            <a:extLst>
              <a:ext uri="{FF2B5EF4-FFF2-40B4-BE49-F238E27FC236}">
                <a16:creationId xmlns:a16="http://schemas.microsoft.com/office/drawing/2014/main" id="{C4435673-765D-CDE4-72D7-94C196927AB7}"/>
              </a:ext>
            </a:extLst>
          </p:cNvPr>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5300"/>
                    </a14:imgEffect>
                    <a14:imgEffect>
                      <a14:brightnessContrast bright="-40000" contrast="-40000"/>
                    </a14:imgEffect>
                  </a14:imgLayer>
                </a14:imgProps>
              </a:ext>
            </a:extLst>
          </a:blip>
          <a:srcRect t="-1" b="1563"/>
          <a:stretch/>
        </p:blipFill>
        <p:spPr>
          <a:xfrm>
            <a:off x="0" y="0"/>
            <a:ext cx="12192000" cy="6858000"/>
          </a:xfrm>
          <a:prstGeom prst="rect">
            <a:avLst/>
          </a:prstGeom>
        </p:spPr>
      </p:pic>
      <p:sp>
        <p:nvSpPr>
          <p:cNvPr id="5" name="Footer Placeholder 4">
            <a:extLst>
              <a:ext uri="{FF2B5EF4-FFF2-40B4-BE49-F238E27FC236}">
                <a16:creationId xmlns:a16="http://schemas.microsoft.com/office/drawing/2014/main" id="{2C965869-421C-25E3-44FF-E9A393994A07}"/>
              </a:ext>
            </a:extLst>
          </p:cNvPr>
          <p:cNvSpPr>
            <a:spLocks noGrp="1"/>
          </p:cNvSpPr>
          <p:nvPr>
            <p:ph type="ftr" sz="quarter" idx="11"/>
          </p:nvPr>
        </p:nvSpPr>
        <p:spPr/>
        <p:txBody>
          <a:bodyPr/>
          <a:lstStyle/>
          <a:p>
            <a:r>
              <a:rPr lang="en-US"/>
              <a:t>© 2024 Mobiz. All rights reserved</a:t>
            </a:r>
            <a:endParaRPr lang="en-BR"/>
          </a:p>
        </p:txBody>
      </p:sp>
      <p:sp>
        <p:nvSpPr>
          <p:cNvPr id="6" name="Slide Number Placeholder 5">
            <a:extLst>
              <a:ext uri="{FF2B5EF4-FFF2-40B4-BE49-F238E27FC236}">
                <a16:creationId xmlns:a16="http://schemas.microsoft.com/office/drawing/2014/main" id="{565595E5-3F65-33DF-45C9-44DE52A29177}"/>
              </a:ext>
            </a:extLst>
          </p:cNvPr>
          <p:cNvSpPr>
            <a:spLocks noGrp="1"/>
          </p:cNvSpPr>
          <p:nvPr>
            <p:ph type="sldNum" sz="quarter" idx="12"/>
          </p:nvPr>
        </p:nvSpPr>
        <p:spPr/>
        <p:txBody>
          <a:bodyPr/>
          <a:lstStyle/>
          <a:p>
            <a:fld id="{A8DDC45B-7265-3747-B738-ED29642119D9}" type="slidenum">
              <a:rPr lang="en-BR" smtClean="0"/>
              <a:pPr/>
              <a:t>72</a:t>
            </a:fld>
            <a:endParaRPr lang="en-BR"/>
          </a:p>
        </p:txBody>
      </p:sp>
    </p:spTree>
    <p:extLst>
      <p:ext uri="{BB962C8B-B14F-4D97-AF65-F5344CB8AC3E}">
        <p14:creationId xmlns:p14="http://schemas.microsoft.com/office/powerpoint/2010/main" val="407538079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166EC1-8F01-1BEF-0F4A-61F3F8453657}"/>
              </a:ext>
            </a:extLst>
          </p:cNvPr>
          <p:cNvSpPr>
            <a:spLocks noGrp="1"/>
          </p:cNvSpPr>
          <p:nvPr>
            <p:ph type="title"/>
          </p:nvPr>
        </p:nvSpPr>
        <p:spPr/>
        <p:txBody>
          <a:bodyPr/>
          <a:lstStyle/>
          <a:p>
            <a:endParaRPr lang="en-BR"/>
          </a:p>
        </p:txBody>
      </p:sp>
      <p:sp>
        <p:nvSpPr>
          <p:cNvPr id="3" name="Text Placeholder 2">
            <a:extLst>
              <a:ext uri="{FF2B5EF4-FFF2-40B4-BE49-F238E27FC236}">
                <a16:creationId xmlns:a16="http://schemas.microsoft.com/office/drawing/2014/main" id="{60597552-47E6-38D8-D002-C8178ACEA4C1}"/>
              </a:ext>
            </a:extLst>
          </p:cNvPr>
          <p:cNvSpPr>
            <a:spLocks noGrp="1"/>
          </p:cNvSpPr>
          <p:nvPr>
            <p:ph type="body" sz="quarter" idx="13"/>
          </p:nvPr>
        </p:nvSpPr>
        <p:spPr/>
        <p:txBody>
          <a:bodyPr/>
          <a:lstStyle/>
          <a:p>
            <a:endParaRPr lang="en-BR"/>
          </a:p>
        </p:txBody>
      </p:sp>
      <p:pic>
        <p:nvPicPr>
          <p:cNvPr id="4" name="Picture 3" descr="A long shot of a road&#10;&#10;Description automatically generated">
            <a:extLst>
              <a:ext uri="{FF2B5EF4-FFF2-40B4-BE49-F238E27FC236}">
                <a16:creationId xmlns:a16="http://schemas.microsoft.com/office/drawing/2014/main" id="{06A825BE-6746-499E-7567-E2FAD78AAF66}"/>
              </a:ext>
            </a:extLst>
          </p:cNvPr>
          <p:cNvPicPr>
            <a:picLocks noChangeAspect="1"/>
          </p:cNvPicPr>
          <p:nvPr/>
        </p:nvPicPr>
        <p:blipFill rotWithShape="1">
          <a:blip r:embed="rId2">
            <a:extLst>
              <a:ext uri="{BEBA8EAE-BF5A-486C-A8C5-ECC9F3942E4B}">
                <a14:imgProps xmlns:a14="http://schemas.microsoft.com/office/drawing/2010/main">
                  <a14:imgLayer r:embed="rId3">
                    <a14:imgEffect>
                      <a14:brightnessContrast bright="-40000" contrast="-40000"/>
                    </a14:imgEffect>
                  </a14:imgLayer>
                </a14:imgProps>
              </a:ext>
            </a:extLst>
          </a:blip>
          <a:srcRect t="-1" b="1563"/>
          <a:stretch/>
        </p:blipFill>
        <p:spPr>
          <a:xfrm>
            <a:off x="0" y="0"/>
            <a:ext cx="12192000" cy="6858000"/>
          </a:xfrm>
          <a:prstGeom prst="rect">
            <a:avLst/>
          </a:prstGeom>
        </p:spPr>
      </p:pic>
      <p:sp>
        <p:nvSpPr>
          <p:cNvPr id="5" name="Footer Placeholder 4">
            <a:extLst>
              <a:ext uri="{FF2B5EF4-FFF2-40B4-BE49-F238E27FC236}">
                <a16:creationId xmlns:a16="http://schemas.microsoft.com/office/drawing/2014/main" id="{BB5CF5CD-24A1-3693-DF88-B23551950B5F}"/>
              </a:ext>
            </a:extLst>
          </p:cNvPr>
          <p:cNvSpPr>
            <a:spLocks noGrp="1"/>
          </p:cNvSpPr>
          <p:nvPr>
            <p:ph type="ftr" sz="quarter" idx="11"/>
          </p:nvPr>
        </p:nvSpPr>
        <p:spPr/>
        <p:txBody>
          <a:bodyPr/>
          <a:lstStyle/>
          <a:p>
            <a:r>
              <a:rPr lang="en-US"/>
              <a:t>© 2024 Mobiz. All rights reserved</a:t>
            </a:r>
            <a:endParaRPr lang="en-BR"/>
          </a:p>
        </p:txBody>
      </p:sp>
      <p:sp>
        <p:nvSpPr>
          <p:cNvPr id="6" name="Slide Number Placeholder 5">
            <a:extLst>
              <a:ext uri="{FF2B5EF4-FFF2-40B4-BE49-F238E27FC236}">
                <a16:creationId xmlns:a16="http://schemas.microsoft.com/office/drawing/2014/main" id="{F04B6E31-3E0B-514D-E022-CF41E2BF49A5}"/>
              </a:ext>
            </a:extLst>
          </p:cNvPr>
          <p:cNvSpPr>
            <a:spLocks noGrp="1"/>
          </p:cNvSpPr>
          <p:nvPr>
            <p:ph type="sldNum" sz="quarter" idx="12"/>
          </p:nvPr>
        </p:nvSpPr>
        <p:spPr/>
        <p:txBody>
          <a:bodyPr/>
          <a:lstStyle/>
          <a:p>
            <a:fld id="{A8DDC45B-7265-3747-B738-ED29642119D9}" type="slidenum">
              <a:rPr lang="en-BR" smtClean="0"/>
              <a:pPr/>
              <a:t>73</a:t>
            </a:fld>
            <a:endParaRPr lang="en-BR"/>
          </a:p>
        </p:txBody>
      </p:sp>
    </p:spTree>
    <p:extLst>
      <p:ext uri="{BB962C8B-B14F-4D97-AF65-F5344CB8AC3E}">
        <p14:creationId xmlns:p14="http://schemas.microsoft.com/office/powerpoint/2010/main" val="150232388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computer generated image of a city&#10;&#10;Description automatically generated">
            <a:extLst>
              <a:ext uri="{FF2B5EF4-FFF2-40B4-BE49-F238E27FC236}">
                <a16:creationId xmlns:a16="http://schemas.microsoft.com/office/drawing/2014/main" id="{F7CD128A-F7A5-66DB-FA17-917BB8118B9C}"/>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33000"/>
                    </a14:imgEffect>
                  </a14:imgLayer>
                </a14:imgProps>
              </a:ext>
            </a:extLst>
          </a:blip>
          <a:srcRect t="-1" r="1991" b="3522"/>
          <a:stretch/>
        </p:blipFill>
        <p:spPr>
          <a:xfrm>
            <a:off x="-1" y="0"/>
            <a:ext cx="12192001" cy="6858000"/>
          </a:xfrm>
          <a:prstGeom prst="rect">
            <a:avLst/>
          </a:prstGeom>
        </p:spPr>
      </p:pic>
      <p:sp>
        <p:nvSpPr>
          <p:cNvPr id="6" name="Rectangle 5">
            <a:extLst>
              <a:ext uri="{FF2B5EF4-FFF2-40B4-BE49-F238E27FC236}">
                <a16:creationId xmlns:a16="http://schemas.microsoft.com/office/drawing/2014/main" id="{31DD54B6-C428-FC14-6E3E-10F49229106F}"/>
              </a:ext>
            </a:extLst>
          </p:cNvPr>
          <p:cNvSpPr/>
          <p:nvPr/>
        </p:nvSpPr>
        <p:spPr>
          <a:xfrm>
            <a:off x="0" y="-1"/>
            <a:ext cx="12192000" cy="6858000"/>
          </a:xfrm>
          <a:prstGeom prst="rect">
            <a:avLst/>
          </a:prstGeom>
          <a:gradFill>
            <a:gsLst>
              <a:gs pos="48000">
                <a:srgbClr val="000000">
                  <a:alpha val="60000"/>
                </a:srgbClr>
              </a:gs>
              <a:gs pos="0">
                <a:schemeClr val="tx1"/>
              </a:gs>
              <a:gs pos="100000">
                <a:schemeClr val="tx1">
                  <a:alpha val="0"/>
                </a:schemeClr>
              </a:gs>
            </a:gsLst>
            <a:lin ang="1200000" scaled="0"/>
          </a:gradFill>
          <a:ln>
            <a:noFill/>
          </a:ln>
          <a:effectLst>
            <a:outerShdw blurRad="50800" dist="38100" dir="16200000" rotWithShape="0">
              <a:prstClr val="black">
                <a:alpha val="40000"/>
              </a:prstClr>
            </a:outerShdw>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BR"/>
          </a:p>
        </p:txBody>
      </p:sp>
      <p:pic>
        <p:nvPicPr>
          <p:cNvPr id="7" name="Picture 6" descr="A white text on a black background&#10;&#10;Description automatically generated">
            <a:extLst>
              <a:ext uri="{FF2B5EF4-FFF2-40B4-BE49-F238E27FC236}">
                <a16:creationId xmlns:a16="http://schemas.microsoft.com/office/drawing/2014/main" id="{E21D10EF-36F7-5D9F-02B7-20BFD63E545D}"/>
              </a:ext>
            </a:extLst>
          </p:cNvPr>
          <p:cNvPicPr>
            <a:picLocks noChangeAspect="1"/>
          </p:cNvPicPr>
          <p:nvPr/>
        </p:nvPicPr>
        <p:blipFill>
          <a:blip r:embed="rId4"/>
          <a:stretch>
            <a:fillRect/>
          </a:stretch>
        </p:blipFill>
        <p:spPr>
          <a:xfrm>
            <a:off x="762632" y="989191"/>
            <a:ext cx="4811450" cy="2487738"/>
          </a:xfrm>
          <a:prstGeom prst="rect">
            <a:avLst/>
          </a:prstGeom>
        </p:spPr>
      </p:pic>
      <p:sp>
        <p:nvSpPr>
          <p:cNvPr id="2" name="Title 1">
            <a:extLst>
              <a:ext uri="{FF2B5EF4-FFF2-40B4-BE49-F238E27FC236}">
                <a16:creationId xmlns:a16="http://schemas.microsoft.com/office/drawing/2014/main" id="{75250637-695A-DCF8-FD59-72EC7CBD748C}"/>
              </a:ext>
            </a:extLst>
          </p:cNvPr>
          <p:cNvSpPr>
            <a:spLocks noGrp="1"/>
          </p:cNvSpPr>
          <p:nvPr>
            <p:ph type="ctrTitle"/>
          </p:nvPr>
        </p:nvSpPr>
        <p:spPr>
          <a:xfrm>
            <a:off x="1227551" y="3428999"/>
            <a:ext cx="10625782" cy="1325923"/>
          </a:xfrm>
        </p:spPr>
        <p:txBody>
          <a:bodyPr>
            <a:normAutofit/>
          </a:bodyPr>
          <a:lstStyle/>
          <a:p>
            <a:pPr algn="r"/>
            <a:endParaRPr lang="en-BR" sz="5400">
              <a:solidFill>
                <a:schemeClr val="bg1"/>
              </a:solidFill>
            </a:endParaRPr>
          </a:p>
        </p:txBody>
      </p:sp>
      <p:sp>
        <p:nvSpPr>
          <p:cNvPr id="3" name="Subtitle 2">
            <a:extLst>
              <a:ext uri="{FF2B5EF4-FFF2-40B4-BE49-F238E27FC236}">
                <a16:creationId xmlns:a16="http://schemas.microsoft.com/office/drawing/2014/main" id="{22593D3B-D44F-1667-AB48-4AB8207AF478}"/>
              </a:ext>
            </a:extLst>
          </p:cNvPr>
          <p:cNvSpPr>
            <a:spLocks noGrp="1"/>
          </p:cNvSpPr>
          <p:nvPr>
            <p:ph type="subTitle" idx="1"/>
          </p:nvPr>
        </p:nvSpPr>
        <p:spPr>
          <a:xfrm>
            <a:off x="1227551" y="4846998"/>
            <a:ext cx="10625782" cy="1021811"/>
          </a:xfrm>
        </p:spPr>
        <p:txBody>
          <a:bodyPr>
            <a:normAutofit/>
          </a:bodyPr>
          <a:lstStyle/>
          <a:p>
            <a:pPr algn="r"/>
            <a:endParaRPr lang="en-BR" sz="2000">
              <a:solidFill>
                <a:schemeClr val="bg1"/>
              </a:solidFill>
            </a:endParaRPr>
          </a:p>
        </p:txBody>
      </p:sp>
      <p:sp>
        <p:nvSpPr>
          <p:cNvPr id="4" name="Footer Placeholder 3">
            <a:extLst>
              <a:ext uri="{FF2B5EF4-FFF2-40B4-BE49-F238E27FC236}">
                <a16:creationId xmlns:a16="http://schemas.microsoft.com/office/drawing/2014/main" id="{542638A8-C832-89B3-759C-3FA49364B755}"/>
              </a:ext>
            </a:extLst>
          </p:cNvPr>
          <p:cNvSpPr>
            <a:spLocks noGrp="1"/>
          </p:cNvSpPr>
          <p:nvPr>
            <p:ph type="ftr" sz="quarter" idx="11"/>
          </p:nvPr>
        </p:nvSpPr>
        <p:spPr/>
        <p:txBody>
          <a:bodyPr/>
          <a:lstStyle/>
          <a:p>
            <a:r>
              <a:rPr lang="en-US"/>
              <a:t>© 2024 Mobiz. All rights reserved</a:t>
            </a:r>
            <a:endParaRPr lang="en-BR"/>
          </a:p>
        </p:txBody>
      </p:sp>
      <p:sp>
        <p:nvSpPr>
          <p:cNvPr id="5" name="Slide Number Placeholder 4">
            <a:extLst>
              <a:ext uri="{FF2B5EF4-FFF2-40B4-BE49-F238E27FC236}">
                <a16:creationId xmlns:a16="http://schemas.microsoft.com/office/drawing/2014/main" id="{8540930A-A1A5-66D7-6E08-58008A691655}"/>
              </a:ext>
            </a:extLst>
          </p:cNvPr>
          <p:cNvSpPr>
            <a:spLocks noGrp="1"/>
          </p:cNvSpPr>
          <p:nvPr>
            <p:ph type="sldNum" sz="quarter" idx="12"/>
          </p:nvPr>
        </p:nvSpPr>
        <p:spPr/>
        <p:txBody>
          <a:bodyPr/>
          <a:lstStyle/>
          <a:p>
            <a:fld id="{A8DDC45B-7265-3747-B738-ED29642119D9}" type="slidenum">
              <a:rPr lang="en-BR" smtClean="0"/>
              <a:pPr/>
              <a:t>74</a:t>
            </a:fld>
            <a:endParaRPr lang="en-BR"/>
          </a:p>
        </p:txBody>
      </p:sp>
    </p:spTree>
    <p:extLst>
      <p:ext uri="{BB962C8B-B14F-4D97-AF65-F5344CB8AC3E}">
        <p14:creationId xmlns:p14="http://schemas.microsoft.com/office/powerpoint/2010/main" val="86043741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5ED3F-B570-99EC-C99E-AFE58C47DA03}"/>
              </a:ext>
            </a:extLst>
          </p:cNvPr>
          <p:cNvSpPr>
            <a:spLocks noGrp="1"/>
          </p:cNvSpPr>
          <p:nvPr>
            <p:ph type="ctrTitle"/>
          </p:nvPr>
        </p:nvSpPr>
        <p:spPr/>
        <p:txBody>
          <a:bodyPr/>
          <a:lstStyle/>
          <a:p>
            <a:endParaRPr lang="en-BR"/>
          </a:p>
        </p:txBody>
      </p:sp>
      <p:sp>
        <p:nvSpPr>
          <p:cNvPr id="3" name="Subtitle 2">
            <a:extLst>
              <a:ext uri="{FF2B5EF4-FFF2-40B4-BE49-F238E27FC236}">
                <a16:creationId xmlns:a16="http://schemas.microsoft.com/office/drawing/2014/main" id="{D9A1C43C-2482-33E9-6E0D-F1A07C19ABB5}"/>
              </a:ext>
            </a:extLst>
          </p:cNvPr>
          <p:cNvSpPr>
            <a:spLocks noGrp="1"/>
          </p:cNvSpPr>
          <p:nvPr>
            <p:ph type="subTitle" idx="1"/>
          </p:nvPr>
        </p:nvSpPr>
        <p:spPr/>
        <p:txBody>
          <a:bodyPr/>
          <a:lstStyle/>
          <a:p>
            <a:endParaRPr lang="en-BR"/>
          </a:p>
        </p:txBody>
      </p:sp>
      <p:sp>
        <p:nvSpPr>
          <p:cNvPr id="4" name="Footer Placeholder 3">
            <a:extLst>
              <a:ext uri="{FF2B5EF4-FFF2-40B4-BE49-F238E27FC236}">
                <a16:creationId xmlns:a16="http://schemas.microsoft.com/office/drawing/2014/main" id="{DEEA8098-8DC9-4CED-26A1-806720A7B8B1}"/>
              </a:ext>
            </a:extLst>
          </p:cNvPr>
          <p:cNvSpPr>
            <a:spLocks noGrp="1"/>
          </p:cNvSpPr>
          <p:nvPr>
            <p:ph type="ftr" sz="quarter" idx="11"/>
          </p:nvPr>
        </p:nvSpPr>
        <p:spPr/>
        <p:txBody>
          <a:bodyPr/>
          <a:lstStyle/>
          <a:p>
            <a:r>
              <a:rPr lang="en-US"/>
              <a:t>© 2024 Mobiz. All rights reserved</a:t>
            </a:r>
            <a:endParaRPr lang="en-BR"/>
          </a:p>
        </p:txBody>
      </p:sp>
      <p:sp>
        <p:nvSpPr>
          <p:cNvPr id="5" name="Slide Number Placeholder 4">
            <a:extLst>
              <a:ext uri="{FF2B5EF4-FFF2-40B4-BE49-F238E27FC236}">
                <a16:creationId xmlns:a16="http://schemas.microsoft.com/office/drawing/2014/main" id="{C1361E3E-726D-B7D3-EBED-DA7A27FCE181}"/>
              </a:ext>
            </a:extLst>
          </p:cNvPr>
          <p:cNvSpPr>
            <a:spLocks noGrp="1"/>
          </p:cNvSpPr>
          <p:nvPr>
            <p:ph type="sldNum" sz="quarter" idx="12"/>
          </p:nvPr>
        </p:nvSpPr>
        <p:spPr/>
        <p:txBody>
          <a:bodyPr/>
          <a:lstStyle/>
          <a:p>
            <a:fld id="{A8DDC45B-7265-3747-B738-ED29642119D9}" type="slidenum">
              <a:rPr lang="en-BR" smtClean="0"/>
              <a:pPr/>
              <a:t>75</a:t>
            </a:fld>
            <a:endParaRPr lang="en-BR"/>
          </a:p>
        </p:txBody>
      </p:sp>
      <p:pic>
        <p:nvPicPr>
          <p:cNvPr id="7" name="Picture 6" descr="A group of people sitting in chairs in a room with computers&#10;&#10;Description automatically generated">
            <a:extLst>
              <a:ext uri="{FF2B5EF4-FFF2-40B4-BE49-F238E27FC236}">
                <a16:creationId xmlns:a16="http://schemas.microsoft.com/office/drawing/2014/main" id="{2961ACD7-2785-BFA6-B6E5-003CF96C3109}"/>
              </a:ext>
            </a:extLst>
          </p:cNvPr>
          <p:cNvPicPr>
            <a:picLocks noChangeAspect="1"/>
          </p:cNvPicPr>
          <p:nvPr/>
        </p:nvPicPr>
        <p:blipFill rotWithShape="1">
          <a:blip r:embed="rId2"/>
          <a:srcRect t="-1" b="1563"/>
          <a:stretch/>
        </p:blipFill>
        <p:spPr>
          <a:xfrm>
            <a:off x="0" y="0"/>
            <a:ext cx="12192000" cy="6858000"/>
          </a:xfrm>
          <a:prstGeom prst="rect">
            <a:avLst/>
          </a:prstGeom>
        </p:spPr>
      </p:pic>
      <p:pic>
        <p:nvPicPr>
          <p:cNvPr id="10" name="Picture 9" descr="A white text on a black background&#10;&#10;Description automatically generated">
            <a:extLst>
              <a:ext uri="{FF2B5EF4-FFF2-40B4-BE49-F238E27FC236}">
                <a16:creationId xmlns:a16="http://schemas.microsoft.com/office/drawing/2014/main" id="{93C2247D-983C-6EF8-9CC6-20164F2985E9}"/>
              </a:ext>
            </a:extLst>
          </p:cNvPr>
          <p:cNvPicPr>
            <a:picLocks noChangeAspect="1"/>
          </p:cNvPicPr>
          <p:nvPr/>
        </p:nvPicPr>
        <p:blipFill>
          <a:blip r:embed="rId3"/>
          <a:stretch>
            <a:fillRect/>
          </a:stretch>
        </p:blipFill>
        <p:spPr>
          <a:xfrm>
            <a:off x="9167597" y="5099137"/>
            <a:ext cx="2689441" cy="1390563"/>
          </a:xfrm>
          <a:prstGeom prst="rect">
            <a:avLst/>
          </a:prstGeom>
        </p:spPr>
      </p:pic>
    </p:spTree>
    <p:extLst>
      <p:ext uri="{BB962C8B-B14F-4D97-AF65-F5344CB8AC3E}">
        <p14:creationId xmlns:p14="http://schemas.microsoft.com/office/powerpoint/2010/main" val="312858841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225D8-121D-90D9-EC8A-BAC5FA599069}"/>
              </a:ext>
            </a:extLst>
          </p:cNvPr>
          <p:cNvSpPr>
            <a:spLocks noGrp="1"/>
          </p:cNvSpPr>
          <p:nvPr>
            <p:ph type="ctrTitle"/>
          </p:nvPr>
        </p:nvSpPr>
        <p:spPr/>
        <p:txBody>
          <a:bodyPr/>
          <a:lstStyle/>
          <a:p>
            <a:endParaRPr lang="en-BR"/>
          </a:p>
        </p:txBody>
      </p:sp>
      <p:sp>
        <p:nvSpPr>
          <p:cNvPr id="3" name="Subtitle 2">
            <a:extLst>
              <a:ext uri="{FF2B5EF4-FFF2-40B4-BE49-F238E27FC236}">
                <a16:creationId xmlns:a16="http://schemas.microsoft.com/office/drawing/2014/main" id="{54B98F00-C00B-70B0-9B53-4243FA5A3923}"/>
              </a:ext>
            </a:extLst>
          </p:cNvPr>
          <p:cNvSpPr>
            <a:spLocks noGrp="1"/>
          </p:cNvSpPr>
          <p:nvPr>
            <p:ph type="subTitle" idx="1"/>
          </p:nvPr>
        </p:nvSpPr>
        <p:spPr/>
        <p:txBody>
          <a:bodyPr/>
          <a:lstStyle/>
          <a:p>
            <a:endParaRPr lang="en-BR"/>
          </a:p>
        </p:txBody>
      </p:sp>
      <p:sp>
        <p:nvSpPr>
          <p:cNvPr id="4" name="Footer Placeholder 3">
            <a:extLst>
              <a:ext uri="{FF2B5EF4-FFF2-40B4-BE49-F238E27FC236}">
                <a16:creationId xmlns:a16="http://schemas.microsoft.com/office/drawing/2014/main" id="{27119FC0-00BD-D044-62A2-E1956393BF85}"/>
              </a:ext>
            </a:extLst>
          </p:cNvPr>
          <p:cNvSpPr>
            <a:spLocks noGrp="1"/>
          </p:cNvSpPr>
          <p:nvPr>
            <p:ph type="ftr" sz="quarter" idx="11"/>
          </p:nvPr>
        </p:nvSpPr>
        <p:spPr/>
        <p:txBody>
          <a:bodyPr/>
          <a:lstStyle/>
          <a:p>
            <a:r>
              <a:rPr lang="en-US"/>
              <a:t>© 2024 Mobiz. All rights reserved</a:t>
            </a:r>
            <a:endParaRPr lang="en-BR"/>
          </a:p>
        </p:txBody>
      </p:sp>
      <p:sp>
        <p:nvSpPr>
          <p:cNvPr id="5" name="Slide Number Placeholder 4">
            <a:extLst>
              <a:ext uri="{FF2B5EF4-FFF2-40B4-BE49-F238E27FC236}">
                <a16:creationId xmlns:a16="http://schemas.microsoft.com/office/drawing/2014/main" id="{AD6852E1-CDFA-32A0-0719-3BFF319E9515}"/>
              </a:ext>
            </a:extLst>
          </p:cNvPr>
          <p:cNvSpPr>
            <a:spLocks noGrp="1"/>
          </p:cNvSpPr>
          <p:nvPr>
            <p:ph type="sldNum" sz="quarter" idx="12"/>
          </p:nvPr>
        </p:nvSpPr>
        <p:spPr/>
        <p:txBody>
          <a:bodyPr/>
          <a:lstStyle/>
          <a:p>
            <a:fld id="{A8DDC45B-7265-3747-B738-ED29642119D9}" type="slidenum">
              <a:rPr lang="en-BR" smtClean="0"/>
              <a:pPr/>
              <a:t>76</a:t>
            </a:fld>
            <a:endParaRPr lang="en-BR"/>
          </a:p>
        </p:txBody>
      </p:sp>
      <p:pic>
        <p:nvPicPr>
          <p:cNvPr id="6" name="Picture 5" descr="A computer generated image of a city&#10;&#10;Description automatically generated">
            <a:extLst>
              <a:ext uri="{FF2B5EF4-FFF2-40B4-BE49-F238E27FC236}">
                <a16:creationId xmlns:a16="http://schemas.microsoft.com/office/drawing/2014/main" id="{A5DA4ADF-5CBE-D204-3420-46212D180831}"/>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33000"/>
                    </a14:imgEffect>
                  </a14:imgLayer>
                </a14:imgProps>
              </a:ext>
            </a:extLst>
          </a:blip>
          <a:srcRect t="-1" r="1991" b="3522"/>
          <a:stretch/>
        </p:blipFill>
        <p:spPr>
          <a:xfrm>
            <a:off x="-1" y="0"/>
            <a:ext cx="12192001" cy="6858000"/>
          </a:xfrm>
          <a:prstGeom prst="rect">
            <a:avLst/>
          </a:prstGeom>
        </p:spPr>
      </p:pic>
    </p:spTree>
    <p:extLst>
      <p:ext uri="{BB962C8B-B14F-4D97-AF65-F5344CB8AC3E}">
        <p14:creationId xmlns:p14="http://schemas.microsoft.com/office/powerpoint/2010/main" val="289731126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1EDBD9-3914-0806-BFF1-B5434ADF85A3}"/>
              </a:ext>
            </a:extLst>
          </p:cNvPr>
          <p:cNvSpPr>
            <a:spLocks noGrp="1"/>
          </p:cNvSpPr>
          <p:nvPr>
            <p:ph type="ctrTitle"/>
          </p:nvPr>
        </p:nvSpPr>
        <p:spPr/>
        <p:txBody>
          <a:bodyPr/>
          <a:lstStyle/>
          <a:p>
            <a:endParaRPr lang="en-BR"/>
          </a:p>
        </p:txBody>
      </p:sp>
      <p:sp>
        <p:nvSpPr>
          <p:cNvPr id="3" name="Subtitle 2">
            <a:extLst>
              <a:ext uri="{FF2B5EF4-FFF2-40B4-BE49-F238E27FC236}">
                <a16:creationId xmlns:a16="http://schemas.microsoft.com/office/drawing/2014/main" id="{D24CD6E5-5C90-1D43-B701-4C8952EE8A55}"/>
              </a:ext>
            </a:extLst>
          </p:cNvPr>
          <p:cNvSpPr>
            <a:spLocks noGrp="1"/>
          </p:cNvSpPr>
          <p:nvPr>
            <p:ph type="subTitle" idx="1"/>
          </p:nvPr>
        </p:nvSpPr>
        <p:spPr/>
        <p:txBody>
          <a:bodyPr/>
          <a:lstStyle/>
          <a:p>
            <a:endParaRPr lang="en-BR"/>
          </a:p>
        </p:txBody>
      </p:sp>
      <p:sp>
        <p:nvSpPr>
          <p:cNvPr id="4" name="Footer Placeholder 3">
            <a:extLst>
              <a:ext uri="{FF2B5EF4-FFF2-40B4-BE49-F238E27FC236}">
                <a16:creationId xmlns:a16="http://schemas.microsoft.com/office/drawing/2014/main" id="{B051E1E7-F013-EAA8-CEA5-81B3A132279B}"/>
              </a:ext>
            </a:extLst>
          </p:cNvPr>
          <p:cNvSpPr>
            <a:spLocks noGrp="1"/>
          </p:cNvSpPr>
          <p:nvPr>
            <p:ph type="ftr" sz="quarter" idx="11"/>
          </p:nvPr>
        </p:nvSpPr>
        <p:spPr/>
        <p:txBody>
          <a:bodyPr/>
          <a:lstStyle/>
          <a:p>
            <a:r>
              <a:rPr lang="en-US"/>
              <a:t>© 2024 Mobiz. All rights reserved</a:t>
            </a:r>
            <a:endParaRPr lang="en-BR"/>
          </a:p>
        </p:txBody>
      </p:sp>
      <p:sp>
        <p:nvSpPr>
          <p:cNvPr id="5" name="Slide Number Placeholder 4">
            <a:extLst>
              <a:ext uri="{FF2B5EF4-FFF2-40B4-BE49-F238E27FC236}">
                <a16:creationId xmlns:a16="http://schemas.microsoft.com/office/drawing/2014/main" id="{440C5040-A52C-0F61-F6B9-EA1EF33A2146}"/>
              </a:ext>
            </a:extLst>
          </p:cNvPr>
          <p:cNvSpPr>
            <a:spLocks noGrp="1"/>
          </p:cNvSpPr>
          <p:nvPr>
            <p:ph type="sldNum" sz="quarter" idx="12"/>
          </p:nvPr>
        </p:nvSpPr>
        <p:spPr/>
        <p:txBody>
          <a:bodyPr/>
          <a:lstStyle/>
          <a:p>
            <a:fld id="{A8DDC45B-7265-3747-B738-ED29642119D9}" type="slidenum">
              <a:rPr lang="en-BR" smtClean="0"/>
              <a:pPr/>
              <a:t>77</a:t>
            </a:fld>
            <a:endParaRPr lang="en-BR"/>
          </a:p>
        </p:txBody>
      </p:sp>
      <p:pic>
        <p:nvPicPr>
          <p:cNvPr id="7" name="Picture 6">
            <a:extLst>
              <a:ext uri="{FF2B5EF4-FFF2-40B4-BE49-F238E27FC236}">
                <a16:creationId xmlns:a16="http://schemas.microsoft.com/office/drawing/2014/main" id="{DA608D5A-3C9E-89DD-A649-EDDAEF0936B7}"/>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b="972"/>
          <a:stretch/>
        </p:blipFill>
        <p:spPr>
          <a:xfrm flipH="1">
            <a:off x="0" y="0"/>
            <a:ext cx="12192000" cy="6858000"/>
          </a:xfrm>
          <a:prstGeom prst="rect">
            <a:avLst/>
          </a:prstGeom>
        </p:spPr>
      </p:pic>
      <p:sp>
        <p:nvSpPr>
          <p:cNvPr id="8" name="Rectangle 7">
            <a:extLst>
              <a:ext uri="{FF2B5EF4-FFF2-40B4-BE49-F238E27FC236}">
                <a16:creationId xmlns:a16="http://schemas.microsoft.com/office/drawing/2014/main" id="{0A03D712-A1A3-B5B6-5529-9F101D2D79C5}"/>
              </a:ext>
            </a:extLst>
          </p:cNvPr>
          <p:cNvSpPr/>
          <p:nvPr/>
        </p:nvSpPr>
        <p:spPr>
          <a:xfrm>
            <a:off x="0" y="-1"/>
            <a:ext cx="12192000" cy="6858000"/>
          </a:xfrm>
          <a:prstGeom prst="rect">
            <a:avLst/>
          </a:prstGeom>
          <a:gradFill>
            <a:gsLst>
              <a:gs pos="48000">
                <a:srgbClr val="000000">
                  <a:alpha val="60000"/>
                </a:srgbClr>
              </a:gs>
              <a:gs pos="0">
                <a:schemeClr val="tx1"/>
              </a:gs>
              <a:gs pos="100000">
                <a:schemeClr val="tx1">
                  <a:alpha val="0"/>
                </a:schemeClr>
              </a:gs>
            </a:gsLst>
            <a:lin ang="1200000" scaled="0"/>
          </a:gradFill>
          <a:ln>
            <a:noFill/>
          </a:ln>
          <a:effectLst>
            <a:outerShdw blurRad="50800" dist="38100" dir="16200000" rotWithShape="0">
              <a:prstClr val="black">
                <a:alpha val="40000"/>
              </a:prstClr>
            </a:outerShdw>
          </a:effectLst>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BR"/>
          </a:p>
        </p:txBody>
      </p:sp>
    </p:spTree>
    <p:extLst>
      <p:ext uri="{BB962C8B-B14F-4D97-AF65-F5344CB8AC3E}">
        <p14:creationId xmlns:p14="http://schemas.microsoft.com/office/powerpoint/2010/main" val="40343626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0CF01-1307-FD27-B8BC-8818623428DA}"/>
              </a:ext>
            </a:extLst>
          </p:cNvPr>
          <p:cNvSpPr>
            <a:spLocks noGrp="1"/>
          </p:cNvSpPr>
          <p:nvPr>
            <p:ph type="title"/>
          </p:nvPr>
        </p:nvSpPr>
        <p:spPr/>
        <p:txBody>
          <a:bodyPr/>
          <a:lstStyle/>
          <a:p>
            <a:r>
              <a:rPr lang="en-BR"/>
              <a:t>Text Displays</a:t>
            </a:r>
          </a:p>
        </p:txBody>
      </p:sp>
      <p:sp>
        <p:nvSpPr>
          <p:cNvPr id="3" name="Footer Placeholder 2">
            <a:extLst>
              <a:ext uri="{FF2B5EF4-FFF2-40B4-BE49-F238E27FC236}">
                <a16:creationId xmlns:a16="http://schemas.microsoft.com/office/drawing/2014/main" id="{6E711B1A-4C9D-4F1C-375A-D42219E483D1}"/>
              </a:ext>
            </a:extLst>
          </p:cNvPr>
          <p:cNvSpPr>
            <a:spLocks noGrp="1"/>
          </p:cNvSpPr>
          <p:nvPr>
            <p:ph type="ftr" sz="quarter" idx="11"/>
          </p:nvPr>
        </p:nvSpPr>
        <p:spPr/>
        <p:txBody>
          <a:bodyPr/>
          <a:lstStyle/>
          <a:p>
            <a:r>
              <a:rPr lang="en-US"/>
              <a:t>© 2024 Mobiz. All rights reserved</a:t>
            </a:r>
            <a:endParaRPr lang="en-BR"/>
          </a:p>
        </p:txBody>
      </p:sp>
      <p:sp>
        <p:nvSpPr>
          <p:cNvPr id="4" name="Slide Number Placeholder 3">
            <a:extLst>
              <a:ext uri="{FF2B5EF4-FFF2-40B4-BE49-F238E27FC236}">
                <a16:creationId xmlns:a16="http://schemas.microsoft.com/office/drawing/2014/main" id="{2BCA26C9-0A0C-DAE7-1F56-72841419BF49}"/>
              </a:ext>
            </a:extLst>
          </p:cNvPr>
          <p:cNvSpPr>
            <a:spLocks noGrp="1"/>
          </p:cNvSpPr>
          <p:nvPr>
            <p:ph type="sldNum" sz="quarter" idx="12"/>
          </p:nvPr>
        </p:nvSpPr>
        <p:spPr/>
        <p:txBody>
          <a:bodyPr/>
          <a:lstStyle/>
          <a:p>
            <a:fld id="{A8DDC45B-7265-3747-B738-ED29642119D9}" type="slidenum">
              <a:rPr lang="en-BR" smtClean="0"/>
              <a:pPr/>
              <a:t>8</a:t>
            </a:fld>
            <a:endParaRPr lang="en-BR"/>
          </a:p>
        </p:txBody>
      </p:sp>
      <p:sp>
        <p:nvSpPr>
          <p:cNvPr id="5" name="Text Placeholder 4">
            <a:extLst>
              <a:ext uri="{FF2B5EF4-FFF2-40B4-BE49-F238E27FC236}">
                <a16:creationId xmlns:a16="http://schemas.microsoft.com/office/drawing/2014/main" id="{0E199829-C4A8-7E68-B46C-A5DFA01EE32F}"/>
              </a:ext>
            </a:extLst>
          </p:cNvPr>
          <p:cNvSpPr>
            <a:spLocks noGrp="1"/>
          </p:cNvSpPr>
          <p:nvPr>
            <p:ph type="body" sz="quarter" idx="13"/>
          </p:nvPr>
        </p:nvSpPr>
        <p:spPr/>
        <p:txBody>
          <a:bodyPr/>
          <a:lstStyle/>
          <a:p>
            <a:r>
              <a:rPr lang="en-BR"/>
              <a:t>Text and Pictures</a:t>
            </a:r>
          </a:p>
        </p:txBody>
      </p:sp>
      <p:sp>
        <p:nvSpPr>
          <p:cNvPr id="6" name="TextBox 5">
            <a:extLst>
              <a:ext uri="{FF2B5EF4-FFF2-40B4-BE49-F238E27FC236}">
                <a16:creationId xmlns:a16="http://schemas.microsoft.com/office/drawing/2014/main" id="{F8D53C59-371B-6767-2B6D-3431267790B5}"/>
              </a:ext>
            </a:extLst>
          </p:cNvPr>
          <p:cNvSpPr txBox="1"/>
          <p:nvPr/>
        </p:nvSpPr>
        <p:spPr>
          <a:xfrm>
            <a:off x="334961" y="1418824"/>
            <a:ext cx="11518371" cy="830997"/>
          </a:xfrm>
          <a:prstGeom prst="rect">
            <a:avLst/>
          </a:prstGeom>
          <a:noFill/>
        </p:spPr>
        <p:txBody>
          <a:bodyPr wrap="square">
            <a:spAutoFit/>
          </a:bodyPr>
          <a:lstStyle/>
          <a:p>
            <a:r>
              <a:rPr lang="en-US" sz="1600">
                <a:latin typeface="Segoe UI" panose="020B0502040204020203" pitchFamily="34" charset="0"/>
                <a:cs typeface="Segoe UI" panose="020B0502040204020203" pitchFamily="34" charset="0"/>
              </a:rPr>
              <a:t>Lorem ipsum dolor sit </a:t>
            </a:r>
            <a:r>
              <a:rPr lang="en-US" sz="1600" err="1">
                <a:latin typeface="Segoe UI" panose="020B0502040204020203" pitchFamily="34" charset="0"/>
                <a:cs typeface="Segoe UI" panose="020B0502040204020203" pitchFamily="34" charset="0"/>
              </a:rPr>
              <a:t>amet</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consectetur</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adipiscing</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elit</a:t>
            </a:r>
            <a:r>
              <a:rPr lang="en-US" sz="1600">
                <a:latin typeface="Segoe UI" panose="020B0502040204020203" pitchFamily="34" charset="0"/>
                <a:cs typeface="Segoe UI" panose="020B0502040204020203" pitchFamily="34" charset="0"/>
              </a:rPr>
              <a:t>, sed do </a:t>
            </a:r>
            <a:r>
              <a:rPr lang="en-US" sz="1600" err="1">
                <a:latin typeface="Segoe UI" panose="020B0502040204020203" pitchFamily="34" charset="0"/>
                <a:cs typeface="Segoe UI" panose="020B0502040204020203" pitchFamily="34" charset="0"/>
              </a:rPr>
              <a:t>eiusmod</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tempor</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incididunt</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ut</a:t>
            </a:r>
            <a:r>
              <a:rPr lang="en-US" sz="1600">
                <a:latin typeface="Segoe UI" panose="020B0502040204020203" pitchFamily="34" charset="0"/>
                <a:cs typeface="Segoe UI" panose="020B0502040204020203" pitchFamily="34" charset="0"/>
              </a:rPr>
              <a:t> labore et dolore magna </a:t>
            </a:r>
            <a:r>
              <a:rPr lang="en-US" sz="1600" err="1">
                <a:latin typeface="Segoe UI" panose="020B0502040204020203" pitchFamily="34" charset="0"/>
                <a:cs typeface="Segoe UI" panose="020B0502040204020203" pitchFamily="34" charset="0"/>
              </a:rPr>
              <a:t>aliqua</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Quis</a:t>
            </a:r>
            <a:r>
              <a:rPr lang="en-US" sz="1600">
                <a:latin typeface="Segoe UI" panose="020B0502040204020203" pitchFamily="34" charset="0"/>
                <a:cs typeface="Segoe UI" panose="020B0502040204020203" pitchFamily="34" charset="0"/>
              </a:rPr>
              <a:t> ipsum </a:t>
            </a:r>
            <a:r>
              <a:rPr lang="en-US" sz="1600" err="1">
                <a:latin typeface="Segoe UI" panose="020B0502040204020203" pitchFamily="34" charset="0"/>
                <a:cs typeface="Segoe UI" panose="020B0502040204020203" pitchFamily="34" charset="0"/>
              </a:rPr>
              <a:t>suspendisse</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ultrices</a:t>
            </a:r>
            <a:r>
              <a:rPr lang="en-US" sz="1600">
                <a:latin typeface="Segoe UI" panose="020B0502040204020203" pitchFamily="34" charset="0"/>
                <a:cs typeface="Segoe UI" panose="020B0502040204020203" pitchFamily="34" charset="0"/>
              </a:rPr>
              <a:t> gravida. </a:t>
            </a:r>
            <a:r>
              <a:rPr lang="en-US" sz="1600" err="1">
                <a:latin typeface="Segoe UI" panose="020B0502040204020203" pitchFamily="34" charset="0"/>
                <a:cs typeface="Segoe UI" panose="020B0502040204020203" pitchFamily="34" charset="0"/>
              </a:rPr>
              <a:t>Risus</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commodo</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viverra</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maecenas</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accumsan</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lacus</a:t>
            </a:r>
            <a:r>
              <a:rPr lang="en-US" sz="1600">
                <a:latin typeface="Segoe UI" panose="020B0502040204020203" pitchFamily="34" charset="0"/>
                <a:cs typeface="Segoe UI" panose="020B0502040204020203" pitchFamily="34" charset="0"/>
              </a:rPr>
              <a:t> vel </a:t>
            </a:r>
            <a:r>
              <a:rPr lang="en-US" sz="1600" err="1">
                <a:latin typeface="Segoe UI" panose="020B0502040204020203" pitchFamily="34" charset="0"/>
                <a:cs typeface="Segoe UI" panose="020B0502040204020203" pitchFamily="34" charset="0"/>
              </a:rPr>
              <a:t>facilisis</a:t>
            </a:r>
            <a:r>
              <a:rPr lang="en-US" sz="1600">
                <a:latin typeface="Segoe UI" panose="020B0502040204020203" pitchFamily="34" charset="0"/>
                <a:cs typeface="Segoe UI" panose="020B0502040204020203" pitchFamily="34" charset="0"/>
              </a:rPr>
              <a:t>. Lorem ipsum dolor sit </a:t>
            </a:r>
            <a:r>
              <a:rPr lang="en-US" sz="1600" err="1">
                <a:latin typeface="Segoe UI" panose="020B0502040204020203" pitchFamily="34" charset="0"/>
                <a:cs typeface="Segoe UI" panose="020B0502040204020203" pitchFamily="34" charset="0"/>
              </a:rPr>
              <a:t>amet</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consectetur</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adipiscing</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elit</a:t>
            </a:r>
            <a:r>
              <a:rPr lang="en-US" sz="1600">
                <a:latin typeface="Segoe UI" panose="020B0502040204020203" pitchFamily="34" charset="0"/>
                <a:cs typeface="Segoe UI" panose="020B0502040204020203" pitchFamily="34" charset="0"/>
              </a:rPr>
              <a:t>, sed do </a:t>
            </a:r>
            <a:r>
              <a:rPr lang="en-US" sz="1600" err="1">
                <a:latin typeface="Segoe UI" panose="020B0502040204020203" pitchFamily="34" charset="0"/>
                <a:cs typeface="Segoe UI" panose="020B0502040204020203" pitchFamily="34" charset="0"/>
              </a:rPr>
              <a:t>eiusmod</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tempor</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incididunt</a:t>
            </a:r>
            <a:r>
              <a:rPr lang="en-US" sz="1600">
                <a:latin typeface="Segoe UI" panose="020B0502040204020203" pitchFamily="34" charset="0"/>
                <a:cs typeface="Segoe UI" panose="020B0502040204020203" pitchFamily="34" charset="0"/>
              </a:rPr>
              <a:t> </a:t>
            </a:r>
            <a:r>
              <a:rPr lang="en-US" sz="1600" err="1">
                <a:latin typeface="Segoe UI" panose="020B0502040204020203" pitchFamily="34" charset="0"/>
                <a:cs typeface="Segoe UI" panose="020B0502040204020203" pitchFamily="34" charset="0"/>
              </a:rPr>
              <a:t>ut</a:t>
            </a:r>
            <a:r>
              <a:rPr lang="en-US" sz="1600">
                <a:latin typeface="Segoe UI" panose="020B0502040204020203" pitchFamily="34" charset="0"/>
                <a:cs typeface="Segoe UI" panose="020B0502040204020203" pitchFamily="34" charset="0"/>
              </a:rPr>
              <a:t> labore et dolore magna </a:t>
            </a:r>
            <a:r>
              <a:rPr lang="en-US" sz="1600" err="1">
                <a:latin typeface="Segoe UI" panose="020B0502040204020203" pitchFamily="34" charset="0"/>
                <a:cs typeface="Segoe UI" panose="020B0502040204020203" pitchFamily="34" charset="0"/>
              </a:rPr>
              <a:t>aliqua</a:t>
            </a:r>
            <a:r>
              <a:rPr lang="en-US" sz="1600">
                <a:latin typeface="Segoe UI" panose="020B0502040204020203" pitchFamily="34" charset="0"/>
                <a:cs typeface="Segoe UI" panose="020B0502040204020203" pitchFamily="34" charset="0"/>
              </a:rPr>
              <a:t>.</a:t>
            </a:r>
          </a:p>
        </p:txBody>
      </p:sp>
      <p:cxnSp>
        <p:nvCxnSpPr>
          <p:cNvPr id="29" name="Straight Arrow Connector 28">
            <a:extLst>
              <a:ext uri="{FF2B5EF4-FFF2-40B4-BE49-F238E27FC236}">
                <a16:creationId xmlns:a16="http://schemas.microsoft.com/office/drawing/2014/main" id="{673F4B50-02E3-BFC4-886E-27DE81CD2500}"/>
              </a:ext>
            </a:extLst>
          </p:cNvPr>
          <p:cNvCxnSpPr/>
          <p:nvPr/>
        </p:nvCxnSpPr>
        <p:spPr>
          <a:xfrm>
            <a:off x="355603" y="3969337"/>
            <a:ext cx="2016000" cy="0"/>
          </a:xfrm>
          <a:prstGeom prst="straightConnector1">
            <a:avLst/>
          </a:prstGeom>
          <a:ln w="22225">
            <a:solidFill>
              <a:srgbClr val="C00000"/>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1" name="Text Placeholder 1">
            <a:extLst>
              <a:ext uri="{FF2B5EF4-FFF2-40B4-BE49-F238E27FC236}">
                <a16:creationId xmlns:a16="http://schemas.microsoft.com/office/drawing/2014/main" id="{D662F0CA-D879-5643-91E7-F241773B1FDB}"/>
              </a:ext>
            </a:extLst>
          </p:cNvPr>
          <p:cNvSpPr txBox="1">
            <a:spLocks/>
          </p:cNvSpPr>
          <p:nvPr/>
        </p:nvSpPr>
        <p:spPr>
          <a:xfrm>
            <a:off x="355602" y="4089413"/>
            <a:ext cx="2016000" cy="664797"/>
          </a:xfrm>
          <a:prstGeom prst="rect">
            <a:avLst/>
          </a:prstGeom>
        </p:spPr>
        <p:txBody>
          <a:bodyPr vert="horz" wrap="square" lIns="0" tIns="0" rIns="0" bIns="0" rtlCol="0" anchor="t" anchorCtr="0">
            <a:noAutofit/>
          </a:bodyPr>
          <a:lstStyle>
            <a:defPPr>
              <a:defRPr lang="en-BR"/>
            </a:defPPr>
            <a:lvl1pPr indent="0" defTabSz="912700" fontAlgn="base">
              <a:lnSpc>
                <a:spcPct val="90000"/>
              </a:lnSpc>
              <a:spcBef>
                <a:spcPts val="0"/>
              </a:spcBef>
              <a:spcAft>
                <a:spcPct val="0"/>
              </a:spcAft>
              <a:buFont typeface="Arial" pitchFamily="34" charset="0"/>
              <a:buNone/>
              <a:defRPr sz="1400" b="1" i="0" cap="all">
                <a:solidFill>
                  <a:srgbClr val="C00000"/>
                </a:solidFill>
                <a:latin typeface="Segoe UI" panose="020B0502040204020203" pitchFamily="34" charset="0"/>
                <a:ea typeface="Roboto Medium" panose="02000000000000000000" pitchFamily="2" charset="0"/>
                <a:cs typeface="Segoe UI" panose="020B0502040204020203" pitchFamily="34" charset="0"/>
              </a:defRPr>
            </a:lvl1pPr>
            <a:lvl2pPr marL="361950" indent="-185738" fontAlgn="base">
              <a:spcBef>
                <a:spcPts val="600"/>
              </a:spcBef>
              <a:spcAft>
                <a:spcPct val="0"/>
              </a:spcAft>
              <a:buFont typeface="Arial" pitchFamily="34" charset="0"/>
              <a:buChar char="–"/>
              <a:defRPr sz="2600">
                <a:latin typeface="Arial" pitchFamily="34" charset="0"/>
                <a:ea typeface="Arial" pitchFamily="-105" charset="-52"/>
                <a:cs typeface="Arial" pitchFamily="34" charset="0"/>
              </a:defRPr>
            </a:lvl2pPr>
            <a:lvl3pPr marL="538163" indent="-176213" fontAlgn="base">
              <a:spcBef>
                <a:spcPts val="600"/>
              </a:spcBef>
              <a:spcAft>
                <a:spcPct val="0"/>
              </a:spcAft>
              <a:buFont typeface="Arial" pitchFamily="34" charset="0"/>
              <a:buChar char="•"/>
              <a:defRPr sz="2400">
                <a:latin typeface="Arial" pitchFamily="34" charset="0"/>
                <a:ea typeface="Arial" pitchFamily="-105" charset="-52"/>
                <a:cs typeface="Arial" pitchFamily="34" charset="0"/>
              </a:defRPr>
            </a:lvl3pPr>
            <a:lvl4pPr marL="715963" indent="-177800" fontAlgn="base">
              <a:spcBef>
                <a:spcPts val="600"/>
              </a:spcBef>
              <a:spcAft>
                <a:spcPct val="0"/>
              </a:spcAft>
              <a:buFont typeface="Arial" pitchFamily="34" charset="0"/>
              <a:buChar char="–"/>
              <a:defRPr sz="2200">
                <a:latin typeface="Arial" pitchFamily="34" charset="0"/>
                <a:ea typeface="Arial" pitchFamily="-105" charset="-52"/>
                <a:cs typeface="Arial" pitchFamily="34" charset="0"/>
              </a:defRPr>
            </a:lvl4pPr>
            <a:lvl5pPr marL="900113" indent="-184150" fontAlgn="base">
              <a:spcBef>
                <a:spcPts val="600"/>
              </a:spcBef>
              <a:spcAft>
                <a:spcPct val="0"/>
              </a:spcAft>
              <a:buFont typeface="Arial" pitchFamily="34" charset="0"/>
              <a:buChar char="•"/>
              <a:defRPr sz="2000">
                <a:latin typeface="Arial" pitchFamily="34" charset="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a:t>Lorem ipsum dolor sit, </a:t>
            </a:r>
            <a:r>
              <a:rPr lang="en-US" err="1"/>
              <a:t>consectetur</a:t>
            </a:r>
            <a:r>
              <a:rPr lang="en-US"/>
              <a:t> </a:t>
            </a:r>
            <a:r>
              <a:rPr lang="en-US" err="1"/>
              <a:t>adipiscing</a:t>
            </a:r>
            <a:r>
              <a:rPr lang="en-US"/>
              <a:t> </a:t>
            </a:r>
            <a:r>
              <a:rPr lang="en-US" err="1"/>
              <a:t>elit</a:t>
            </a:r>
            <a:endParaRPr lang="en-US"/>
          </a:p>
        </p:txBody>
      </p:sp>
      <p:cxnSp>
        <p:nvCxnSpPr>
          <p:cNvPr id="45" name="Straight Arrow Connector 44">
            <a:extLst>
              <a:ext uri="{FF2B5EF4-FFF2-40B4-BE49-F238E27FC236}">
                <a16:creationId xmlns:a16="http://schemas.microsoft.com/office/drawing/2014/main" id="{BB7A7EAA-C193-88C4-B843-26ACF7005824}"/>
              </a:ext>
            </a:extLst>
          </p:cNvPr>
          <p:cNvCxnSpPr/>
          <p:nvPr/>
        </p:nvCxnSpPr>
        <p:spPr>
          <a:xfrm>
            <a:off x="2719202" y="3969337"/>
            <a:ext cx="2016000" cy="0"/>
          </a:xfrm>
          <a:prstGeom prst="straightConnector1">
            <a:avLst/>
          </a:prstGeom>
          <a:ln w="22225">
            <a:solidFill>
              <a:srgbClr val="C00000"/>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6" name="Straight Arrow Connector 45">
            <a:extLst>
              <a:ext uri="{FF2B5EF4-FFF2-40B4-BE49-F238E27FC236}">
                <a16:creationId xmlns:a16="http://schemas.microsoft.com/office/drawing/2014/main" id="{6D11B7CA-34D5-EFD9-B115-B399DE9FA697}"/>
              </a:ext>
            </a:extLst>
          </p:cNvPr>
          <p:cNvCxnSpPr/>
          <p:nvPr/>
        </p:nvCxnSpPr>
        <p:spPr>
          <a:xfrm>
            <a:off x="5082800" y="3969337"/>
            <a:ext cx="2016000" cy="0"/>
          </a:xfrm>
          <a:prstGeom prst="straightConnector1">
            <a:avLst/>
          </a:prstGeom>
          <a:ln w="22225">
            <a:solidFill>
              <a:srgbClr val="C00000"/>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7" name="Straight Arrow Connector 46">
            <a:extLst>
              <a:ext uri="{FF2B5EF4-FFF2-40B4-BE49-F238E27FC236}">
                <a16:creationId xmlns:a16="http://schemas.microsoft.com/office/drawing/2014/main" id="{37D8478E-01BE-FADE-CC4F-BE7C89A9C336}"/>
              </a:ext>
            </a:extLst>
          </p:cNvPr>
          <p:cNvCxnSpPr/>
          <p:nvPr/>
        </p:nvCxnSpPr>
        <p:spPr>
          <a:xfrm>
            <a:off x="7441453" y="3969337"/>
            <a:ext cx="2016000" cy="0"/>
          </a:xfrm>
          <a:prstGeom prst="straightConnector1">
            <a:avLst/>
          </a:prstGeom>
          <a:ln w="22225">
            <a:solidFill>
              <a:srgbClr val="C00000"/>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D3B1998B-20BC-D5AA-81DB-B43245D26253}"/>
              </a:ext>
            </a:extLst>
          </p:cNvPr>
          <p:cNvCxnSpPr/>
          <p:nvPr/>
        </p:nvCxnSpPr>
        <p:spPr>
          <a:xfrm>
            <a:off x="9810001" y="3969337"/>
            <a:ext cx="2016000" cy="0"/>
          </a:xfrm>
          <a:prstGeom prst="straightConnector1">
            <a:avLst/>
          </a:prstGeom>
          <a:ln w="22225">
            <a:solidFill>
              <a:srgbClr val="C00000"/>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9" name="Rectangle 48">
            <a:extLst>
              <a:ext uri="{FF2B5EF4-FFF2-40B4-BE49-F238E27FC236}">
                <a16:creationId xmlns:a16="http://schemas.microsoft.com/office/drawing/2014/main" id="{3A74985B-0BC9-40D5-1A6B-F086617D07DD}"/>
              </a:ext>
            </a:extLst>
          </p:cNvPr>
          <p:cNvSpPr/>
          <p:nvPr/>
        </p:nvSpPr>
        <p:spPr>
          <a:xfrm>
            <a:off x="355601" y="2608789"/>
            <a:ext cx="2015999" cy="1213179"/>
          </a:xfrm>
          <a:prstGeom prst="rect">
            <a:avLst/>
          </a:prstGeom>
          <a:solidFill>
            <a:schemeClr val="tx2">
              <a:lumMod val="20000"/>
              <a:lumOff val="80000"/>
            </a:schemeClr>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lIns="0" rIns="0" rtlCol="0" anchor="ctr"/>
          <a:lstStyle/>
          <a:p>
            <a:pPr algn="ctr"/>
            <a:endParaRPr lang="en-US" sz="800"/>
          </a:p>
        </p:txBody>
      </p:sp>
      <p:sp>
        <p:nvSpPr>
          <p:cNvPr id="50" name="Rectangle 49">
            <a:extLst>
              <a:ext uri="{FF2B5EF4-FFF2-40B4-BE49-F238E27FC236}">
                <a16:creationId xmlns:a16="http://schemas.microsoft.com/office/drawing/2014/main" id="{D9D8486A-A039-6D90-F6D9-C167528F7E2A}"/>
              </a:ext>
            </a:extLst>
          </p:cNvPr>
          <p:cNvSpPr/>
          <p:nvPr/>
        </p:nvSpPr>
        <p:spPr>
          <a:xfrm>
            <a:off x="2719201" y="2608789"/>
            <a:ext cx="2015999" cy="1213179"/>
          </a:xfrm>
          <a:prstGeom prst="rect">
            <a:avLst/>
          </a:prstGeom>
          <a:solidFill>
            <a:schemeClr val="tx2">
              <a:lumMod val="20000"/>
              <a:lumOff val="80000"/>
            </a:schemeClr>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lIns="0" rIns="0" rtlCol="0" anchor="ctr"/>
          <a:lstStyle/>
          <a:p>
            <a:pPr algn="ctr"/>
            <a:endParaRPr lang="en-US" sz="800"/>
          </a:p>
        </p:txBody>
      </p:sp>
      <p:sp>
        <p:nvSpPr>
          <p:cNvPr id="51" name="Rectangle 50">
            <a:extLst>
              <a:ext uri="{FF2B5EF4-FFF2-40B4-BE49-F238E27FC236}">
                <a16:creationId xmlns:a16="http://schemas.microsoft.com/office/drawing/2014/main" id="{EE8BD5F4-D066-F47A-7E0C-07B6A4B3E20C}"/>
              </a:ext>
            </a:extLst>
          </p:cNvPr>
          <p:cNvSpPr/>
          <p:nvPr/>
        </p:nvSpPr>
        <p:spPr>
          <a:xfrm>
            <a:off x="5082799" y="2608789"/>
            <a:ext cx="2015999" cy="1213179"/>
          </a:xfrm>
          <a:prstGeom prst="rect">
            <a:avLst/>
          </a:prstGeom>
          <a:solidFill>
            <a:schemeClr val="tx2">
              <a:lumMod val="20000"/>
              <a:lumOff val="80000"/>
            </a:schemeClr>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lIns="0" rIns="0" rtlCol="0" anchor="ctr"/>
          <a:lstStyle/>
          <a:p>
            <a:pPr algn="ctr"/>
            <a:endParaRPr lang="en-US" sz="800"/>
          </a:p>
        </p:txBody>
      </p:sp>
      <p:sp>
        <p:nvSpPr>
          <p:cNvPr id="52" name="Rectangle 51">
            <a:extLst>
              <a:ext uri="{FF2B5EF4-FFF2-40B4-BE49-F238E27FC236}">
                <a16:creationId xmlns:a16="http://schemas.microsoft.com/office/drawing/2014/main" id="{895E84F8-E63C-35E9-66D2-DA0151C21ACE}"/>
              </a:ext>
            </a:extLst>
          </p:cNvPr>
          <p:cNvSpPr/>
          <p:nvPr/>
        </p:nvSpPr>
        <p:spPr>
          <a:xfrm>
            <a:off x="7441452" y="2608789"/>
            <a:ext cx="2015999" cy="1213179"/>
          </a:xfrm>
          <a:prstGeom prst="rect">
            <a:avLst/>
          </a:prstGeom>
          <a:solidFill>
            <a:schemeClr val="tx2">
              <a:lumMod val="20000"/>
              <a:lumOff val="80000"/>
            </a:schemeClr>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lIns="0" rIns="0" rtlCol="0" anchor="ctr"/>
          <a:lstStyle/>
          <a:p>
            <a:pPr algn="ctr"/>
            <a:endParaRPr lang="en-US" sz="800"/>
          </a:p>
        </p:txBody>
      </p:sp>
      <p:sp>
        <p:nvSpPr>
          <p:cNvPr id="53" name="Rectangle 52">
            <a:extLst>
              <a:ext uri="{FF2B5EF4-FFF2-40B4-BE49-F238E27FC236}">
                <a16:creationId xmlns:a16="http://schemas.microsoft.com/office/drawing/2014/main" id="{BB62766D-1893-8D9A-5FC9-BCD2E007F230}"/>
              </a:ext>
            </a:extLst>
          </p:cNvPr>
          <p:cNvSpPr/>
          <p:nvPr/>
        </p:nvSpPr>
        <p:spPr>
          <a:xfrm>
            <a:off x="9825379" y="2608789"/>
            <a:ext cx="2015999" cy="1213179"/>
          </a:xfrm>
          <a:prstGeom prst="rect">
            <a:avLst/>
          </a:prstGeom>
          <a:solidFill>
            <a:schemeClr val="tx2">
              <a:lumMod val="20000"/>
              <a:lumOff val="80000"/>
            </a:schemeClr>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lIns="0" rIns="0" rtlCol="0" anchor="ctr"/>
          <a:lstStyle/>
          <a:p>
            <a:pPr algn="ctr"/>
            <a:endParaRPr lang="en-US" sz="800"/>
          </a:p>
        </p:txBody>
      </p:sp>
      <p:grpSp>
        <p:nvGrpSpPr>
          <p:cNvPr id="54" name="Group 4">
            <a:extLst>
              <a:ext uri="{FF2B5EF4-FFF2-40B4-BE49-F238E27FC236}">
                <a16:creationId xmlns:a16="http://schemas.microsoft.com/office/drawing/2014/main" id="{81453D5D-CEF0-9705-43CB-E0F1ADFAB832}"/>
              </a:ext>
            </a:extLst>
          </p:cNvPr>
          <p:cNvGrpSpPr>
            <a:grpSpLocks noChangeAspect="1"/>
          </p:cNvGrpSpPr>
          <p:nvPr/>
        </p:nvGrpSpPr>
        <p:grpSpPr bwMode="auto">
          <a:xfrm>
            <a:off x="1055475" y="2928777"/>
            <a:ext cx="616249" cy="618002"/>
            <a:chOff x="3489" y="1808"/>
            <a:chExt cx="703" cy="705"/>
          </a:xfrm>
          <a:solidFill>
            <a:schemeClr val="bg1"/>
          </a:solidFill>
        </p:grpSpPr>
        <p:sp>
          <p:nvSpPr>
            <p:cNvPr id="55" name="Freeform 5">
              <a:extLst>
                <a:ext uri="{FF2B5EF4-FFF2-40B4-BE49-F238E27FC236}">
                  <a16:creationId xmlns:a16="http://schemas.microsoft.com/office/drawing/2014/main" id="{6232D731-91DC-7859-4BFA-F37369F7FDE0}"/>
                </a:ext>
              </a:extLst>
            </p:cNvPr>
            <p:cNvSpPr>
              <a:spLocks noEditPoints="1"/>
            </p:cNvSpPr>
            <p:nvPr/>
          </p:nvSpPr>
          <p:spPr bwMode="auto">
            <a:xfrm>
              <a:off x="3489" y="1808"/>
              <a:ext cx="703" cy="705"/>
            </a:xfrm>
            <a:custGeom>
              <a:avLst/>
              <a:gdLst>
                <a:gd name="T0" fmla="*/ 340 w 342"/>
                <a:gd name="T1" fmla="*/ 2 h 342"/>
                <a:gd name="T2" fmla="*/ 335 w 342"/>
                <a:gd name="T3" fmla="*/ 0 h 342"/>
                <a:gd name="T4" fmla="*/ 7 w 342"/>
                <a:gd name="T5" fmla="*/ 0 h 342"/>
                <a:gd name="T6" fmla="*/ 2 w 342"/>
                <a:gd name="T7" fmla="*/ 2 h 342"/>
                <a:gd name="T8" fmla="*/ 0 w 342"/>
                <a:gd name="T9" fmla="*/ 7 h 342"/>
                <a:gd name="T10" fmla="*/ 0 w 342"/>
                <a:gd name="T11" fmla="*/ 335 h 342"/>
                <a:gd name="T12" fmla="*/ 2 w 342"/>
                <a:gd name="T13" fmla="*/ 340 h 342"/>
                <a:gd name="T14" fmla="*/ 7 w 342"/>
                <a:gd name="T15" fmla="*/ 342 h 342"/>
                <a:gd name="T16" fmla="*/ 335 w 342"/>
                <a:gd name="T17" fmla="*/ 342 h 342"/>
                <a:gd name="T18" fmla="*/ 340 w 342"/>
                <a:gd name="T19" fmla="*/ 340 h 342"/>
                <a:gd name="T20" fmla="*/ 342 w 342"/>
                <a:gd name="T21" fmla="*/ 335 h 342"/>
                <a:gd name="T22" fmla="*/ 342 w 342"/>
                <a:gd name="T23" fmla="*/ 7 h 342"/>
                <a:gd name="T24" fmla="*/ 340 w 342"/>
                <a:gd name="T25" fmla="*/ 2 h 342"/>
                <a:gd name="T26" fmla="*/ 328 w 342"/>
                <a:gd name="T27" fmla="*/ 14 h 342"/>
                <a:gd name="T28" fmla="*/ 328 w 342"/>
                <a:gd name="T29" fmla="*/ 242 h 342"/>
                <a:gd name="T30" fmla="*/ 318 w 342"/>
                <a:gd name="T31" fmla="*/ 242 h 342"/>
                <a:gd name="T32" fmla="*/ 269 w 342"/>
                <a:gd name="T33" fmla="*/ 145 h 342"/>
                <a:gd name="T34" fmla="*/ 242 w 342"/>
                <a:gd name="T35" fmla="*/ 128 h 342"/>
                <a:gd name="T36" fmla="*/ 215 w 342"/>
                <a:gd name="T37" fmla="*/ 143 h 342"/>
                <a:gd name="T38" fmla="*/ 177 w 342"/>
                <a:gd name="T39" fmla="*/ 208 h 342"/>
                <a:gd name="T40" fmla="*/ 164 w 342"/>
                <a:gd name="T41" fmla="*/ 194 h 342"/>
                <a:gd name="T42" fmla="*/ 114 w 342"/>
                <a:gd name="T43" fmla="*/ 171 h 342"/>
                <a:gd name="T44" fmla="*/ 84 w 342"/>
                <a:gd name="T45" fmla="*/ 184 h 342"/>
                <a:gd name="T46" fmla="*/ 54 w 342"/>
                <a:gd name="T47" fmla="*/ 223 h 342"/>
                <a:gd name="T48" fmla="*/ 45 w 342"/>
                <a:gd name="T49" fmla="*/ 242 h 342"/>
                <a:gd name="T50" fmla="*/ 14 w 342"/>
                <a:gd name="T51" fmla="*/ 242 h 342"/>
                <a:gd name="T52" fmla="*/ 14 w 342"/>
                <a:gd name="T53" fmla="*/ 14 h 342"/>
                <a:gd name="T54" fmla="*/ 328 w 342"/>
                <a:gd name="T55" fmla="*/ 14 h 342"/>
                <a:gd name="T56" fmla="*/ 172 w 342"/>
                <a:gd name="T57" fmla="*/ 225 h 342"/>
                <a:gd name="T58" fmla="*/ 178 w 342"/>
                <a:gd name="T59" fmla="*/ 228 h 342"/>
                <a:gd name="T60" fmla="*/ 184 w 342"/>
                <a:gd name="T61" fmla="*/ 224 h 342"/>
                <a:gd name="T62" fmla="*/ 227 w 342"/>
                <a:gd name="T63" fmla="*/ 151 h 342"/>
                <a:gd name="T64" fmla="*/ 242 w 342"/>
                <a:gd name="T65" fmla="*/ 142 h 342"/>
                <a:gd name="T66" fmla="*/ 257 w 342"/>
                <a:gd name="T67" fmla="*/ 152 h 342"/>
                <a:gd name="T68" fmla="*/ 302 w 342"/>
                <a:gd name="T69" fmla="*/ 242 h 342"/>
                <a:gd name="T70" fmla="*/ 61 w 342"/>
                <a:gd name="T71" fmla="*/ 242 h 342"/>
                <a:gd name="T72" fmla="*/ 79 w 342"/>
                <a:gd name="T73" fmla="*/ 211 h 342"/>
                <a:gd name="T74" fmla="*/ 96 w 342"/>
                <a:gd name="T75" fmla="*/ 192 h 342"/>
                <a:gd name="T76" fmla="*/ 114 w 342"/>
                <a:gd name="T77" fmla="*/ 185 h 342"/>
                <a:gd name="T78" fmla="*/ 154 w 342"/>
                <a:gd name="T79" fmla="*/ 205 h 342"/>
                <a:gd name="T80" fmla="*/ 167 w 342"/>
                <a:gd name="T81" fmla="*/ 218 h 342"/>
                <a:gd name="T82" fmla="*/ 171 w 342"/>
                <a:gd name="T83" fmla="*/ 223 h 342"/>
                <a:gd name="T84" fmla="*/ 172 w 342"/>
                <a:gd name="T85" fmla="*/ 224 h 342"/>
                <a:gd name="T86" fmla="*/ 172 w 342"/>
                <a:gd name="T87" fmla="*/ 225 h 342"/>
                <a:gd name="T88" fmla="*/ 14 w 342"/>
                <a:gd name="T89" fmla="*/ 256 h 342"/>
                <a:gd name="T90" fmla="*/ 328 w 342"/>
                <a:gd name="T91" fmla="*/ 256 h 342"/>
                <a:gd name="T92" fmla="*/ 328 w 342"/>
                <a:gd name="T93" fmla="*/ 328 h 342"/>
                <a:gd name="T94" fmla="*/ 14 w 342"/>
                <a:gd name="T95" fmla="*/ 328 h 342"/>
                <a:gd name="T96" fmla="*/ 14 w 342"/>
                <a:gd name="T97" fmla="*/ 256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2" h="342">
                  <a:moveTo>
                    <a:pt x="340" y="2"/>
                  </a:moveTo>
                  <a:cubicBezTo>
                    <a:pt x="339" y="0"/>
                    <a:pt x="337" y="0"/>
                    <a:pt x="335" y="0"/>
                  </a:cubicBezTo>
                  <a:cubicBezTo>
                    <a:pt x="7" y="0"/>
                    <a:pt x="7" y="0"/>
                    <a:pt x="7" y="0"/>
                  </a:cubicBezTo>
                  <a:cubicBezTo>
                    <a:pt x="5" y="0"/>
                    <a:pt x="3" y="0"/>
                    <a:pt x="2" y="2"/>
                  </a:cubicBezTo>
                  <a:cubicBezTo>
                    <a:pt x="0" y="3"/>
                    <a:pt x="0" y="5"/>
                    <a:pt x="0" y="7"/>
                  </a:cubicBezTo>
                  <a:cubicBezTo>
                    <a:pt x="0" y="335"/>
                    <a:pt x="0" y="335"/>
                    <a:pt x="0" y="335"/>
                  </a:cubicBezTo>
                  <a:cubicBezTo>
                    <a:pt x="0" y="337"/>
                    <a:pt x="0" y="339"/>
                    <a:pt x="2" y="340"/>
                  </a:cubicBezTo>
                  <a:cubicBezTo>
                    <a:pt x="3" y="341"/>
                    <a:pt x="5" y="342"/>
                    <a:pt x="7" y="342"/>
                  </a:cubicBezTo>
                  <a:cubicBezTo>
                    <a:pt x="335" y="342"/>
                    <a:pt x="335" y="342"/>
                    <a:pt x="335" y="342"/>
                  </a:cubicBezTo>
                  <a:cubicBezTo>
                    <a:pt x="337" y="342"/>
                    <a:pt x="339" y="341"/>
                    <a:pt x="340" y="340"/>
                  </a:cubicBezTo>
                  <a:cubicBezTo>
                    <a:pt x="341" y="339"/>
                    <a:pt x="342" y="337"/>
                    <a:pt x="342" y="335"/>
                  </a:cubicBezTo>
                  <a:cubicBezTo>
                    <a:pt x="342" y="7"/>
                    <a:pt x="342" y="7"/>
                    <a:pt x="342" y="7"/>
                  </a:cubicBezTo>
                  <a:cubicBezTo>
                    <a:pt x="342" y="5"/>
                    <a:pt x="341" y="3"/>
                    <a:pt x="340" y="2"/>
                  </a:cubicBezTo>
                  <a:close/>
                  <a:moveTo>
                    <a:pt x="328" y="14"/>
                  </a:moveTo>
                  <a:cubicBezTo>
                    <a:pt x="328" y="242"/>
                    <a:pt x="328" y="242"/>
                    <a:pt x="328" y="242"/>
                  </a:cubicBezTo>
                  <a:cubicBezTo>
                    <a:pt x="318" y="242"/>
                    <a:pt x="318" y="242"/>
                    <a:pt x="318" y="242"/>
                  </a:cubicBezTo>
                  <a:cubicBezTo>
                    <a:pt x="269" y="145"/>
                    <a:pt x="269" y="145"/>
                    <a:pt x="269" y="145"/>
                  </a:cubicBezTo>
                  <a:cubicBezTo>
                    <a:pt x="264" y="135"/>
                    <a:pt x="253" y="128"/>
                    <a:pt x="242" y="128"/>
                  </a:cubicBezTo>
                  <a:cubicBezTo>
                    <a:pt x="231" y="128"/>
                    <a:pt x="220" y="134"/>
                    <a:pt x="215" y="143"/>
                  </a:cubicBezTo>
                  <a:cubicBezTo>
                    <a:pt x="177" y="208"/>
                    <a:pt x="177" y="208"/>
                    <a:pt x="177" y="208"/>
                  </a:cubicBezTo>
                  <a:cubicBezTo>
                    <a:pt x="174" y="204"/>
                    <a:pt x="169" y="199"/>
                    <a:pt x="164" y="194"/>
                  </a:cubicBezTo>
                  <a:cubicBezTo>
                    <a:pt x="152" y="183"/>
                    <a:pt x="135" y="171"/>
                    <a:pt x="114" y="171"/>
                  </a:cubicBezTo>
                  <a:cubicBezTo>
                    <a:pt x="102" y="171"/>
                    <a:pt x="92" y="176"/>
                    <a:pt x="84" y="184"/>
                  </a:cubicBezTo>
                  <a:cubicBezTo>
                    <a:pt x="71" y="195"/>
                    <a:pt x="61" y="210"/>
                    <a:pt x="54" y="223"/>
                  </a:cubicBezTo>
                  <a:cubicBezTo>
                    <a:pt x="50" y="231"/>
                    <a:pt x="47" y="238"/>
                    <a:pt x="45" y="242"/>
                  </a:cubicBezTo>
                  <a:cubicBezTo>
                    <a:pt x="14" y="242"/>
                    <a:pt x="14" y="242"/>
                    <a:pt x="14" y="242"/>
                  </a:cubicBezTo>
                  <a:cubicBezTo>
                    <a:pt x="14" y="14"/>
                    <a:pt x="14" y="14"/>
                    <a:pt x="14" y="14"/>
                  </a:cubicBezTo>
                  <a:lnTo>
                    <a:pt x="328" y="14"/>
                  </a:lnTo>
                  <a:close/>
                  <a:moveTo>
                    <a:pt x="172" y="225"/>
                  </a:moveTo>
                  <a:cubicBezTo>
                    <a:pt x="173" y="227"/>
                    <a:pt x="176" y="228"/>
                    <a:pt x="178" y="228"/>
                  </a:cubicBezTo>
                  <a:cubicBezTo>
                    <a:pt x="181" y="228"/>
                    <a:pt x="183" y="226"/>
                    <a:pt x="184" y="224"/>
                  </a:cubicBezTo>
                  <a:cubicBezTo>
                    <a:pt x="227" y="151"/>
                    <a:pt x="227" y="151"/>
                    <a:pt x="227" y="151"/>
                  </a:cubicBezTo>
                  <a:cubicBezTo>
                    <a:pt x="230" y="145"/>
                    <a:pt x="236" y="142"/>
                    <a:pt x="242" y="142"/>
                  </a:cubicBezTo>
                  <a:cubicBezTo>
                    <a:pt x="248" y="142"/>
                    <a:pt x="254" y="146"/>
                    <a:pt x="257" y="152"/>
                  </a:cubicBezTo>
                  <a:cubicBezTo>
                    <a:pt x="302" y="242"/>
                    <a:pt x="302" y="242"/>
                    <a:pt x="302" y="242"/>
                  </a:cubicBezTo>
                  <a:cubicBezTo>
                    <a:pt x="61" y="242"/>
                    <a:pt x="61" y="242"/>
                    <a:pt x="61" y="242"/>
                  </a:cubicBezTo>
                  <a:cubicBezTo>
                    <a:pt x="65" y="234"/>
                    <a:pt x="71" y="222"/>
                    <a:pt x="79" y="211"/>
                  </a:cubicBezTo>
                  <a:cubicBezTo>
                    <a:pt x="84" y="204"/>
                    <a:pt x="90" y="197"/>
                    <a:pt x="96" y="192"/>
                  </a:cubicBezTo>
                  <a:cubicBezTo>
                    <a:pt x="102" y="188"/>
                    <a:pt x="108" y="185"/>
                    <a:pt x="114" y="185"/>
                  </a:cubicBezTo>
                  <a:cubicBezTo>
                    <a:pt x="129" y="185"/>
                    <a:pt x="143" y="194"/>
                    <a:pt x="154" y="205"/>
                  </a:cubicBezTo>
                  <a:cubicBezTo>
                    <a:pt x="160" y="210"/>
                    <a:pt x="164" y="215"/>
                    <a:pt x="167" y="218"/>
                  </a:cubicBezTo>
                  <a:cubicBezTo>
                    <a:pt x="169" y="220"/>
                    <a:pt x="170" y="222"/>
                    <a:pt x="171" y="223"/>
                  </a:cubicBezTo>
                  <a:cubicBezTo>
                    <a:pt x="172" y="224"/>
                    <a:pt x="172" y="224"/>
                    <a:pt x="172" y="224"/>
                  </a:cubicBezTo>
                  <a:lnTo>
                    <a:pt x="172" y="225"/>
                  </a:lnTo>
                  <a:close/>
                  <a:moveTo>
                    <a:pt x="14" y="256"/>
                  </a:moveTo>
                  <a:cubicBezTo>
                    <a:pt x="328" y="256"/>
                    <a:pt x="328" y="256"/>
                    <a:pt x="328" y="256"/>
                  </a:cubicBezTo>
                  <a:cubicBezTo>
                    <a:pt x="328" y="328"/>
                    <a:pt x="328" y="328"/>
                    <a:pt x="328" y="328"/>
                  </a:cubicBezTo>
                  <a:cubicBezTo>
                    <a:pt x="14" y="328"/>
                    <a:pt x="14" y="328"/>
                    <a:pt x="14" y="328"/>
                  </a:cubicBezTo>
                  <a:lnTo>
                    <a:pt x="14"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6" name="Freeform 6">
              <a:extLst>
                <a:ext uri="{FF2B5EF4-FFF2-40B4-BE49-F238E27FC236}">
                  <a16:creationId xmlns:a16="http://schemas.microsoft.com/office/drawing/2014/main" id="{E9905B49-925C-6736-9878-9DB12048C4C4}"/>
                </a:ext>
              </a:extLst>
            </p:cNvPr>
            <p:cNvSpPr>
              <a:spLocks noEditPoints="1"/>
            </p:cNvSpPr>
            <p:nvPr/>
          </p:nvSpPr>
          <p:spPr bwMode="auto">
            <a:xfrm>
              <a:off x="3621" y="1895"/>
              <a:ext cx="234" cy="177"/>
            </a:xfrm>
            <a:custGeom>
              <a:avLst/>
              <a:gdLst>
                <a:gd name="T0" fmla="*/ 28 w 114"/>
                <a:gd name="T1" fmla="*/ 86 h 86"/>
                <a:gd name="T2" fmla="*/ 71 w 114"/>
                <a:gd name="T3" fmla="*/ 86 h 86"/>
                <a:gd name="T4" fmla="*/ 114 w 114"/>
                <a:gd name="T5" fmla="*/ 43 h 86"/>
                <a:gd name="T6" fmla="*/ 71 w 114"/>
                <a:gd name="T7" fmla="*/ 0 h 86"/>
                <a:gd name="T8" fmla="*/ 31 w 114"/>
                <a:gd name="T9" fmla="*/ 29 h 86"/>
                <a:gd name="T10" fmla="*/ 28 w 114"/>
                <a:gd name="T11" fmla="*/ 29 h 86"/>
                <a:gd name="T12" fmla="*/ 0 w 114"/>
                <a:gd name="T13" fmla="*/ 57 h 86"/>
                <a:gd name="T14" fmla="*/ 28 w 114"/>
                <a:gd name="T15" fmla="*/ 86 h 86"/>
                <a:gd name="T16" fmla="*/ 28 w 114"/>
                <a:gd name="T17" fmla="*/ 43 h 86"/>
                <a:gd name="T18" fmla="*/ 34 w 114"/>
                <a:gd name="T19" fmla="*/ 44 h 86"/>
                <a:gd name="T20" fmla="*/ 40 w 114"/>
                <a:gd name="T21" fmla="*/ 44 h 86"/>
                <a:gd name="T22" fmla="*/ 43 w 114"/>
                <a:gd name="T23" fmla="*/ 39 h 86"/>
                <a:gd name="T24" fmla="*/ 71 w 114"/>
                <a:gd name="T25" fmla="*/ 15 h 86"/>
                <a:gd name="T26" fmla="*/ 100 w 114"/>
                <a:gd name="T27" fmla="*/ 43 h 86"/>
                <a:gd name="T28" fmla="*/ 71 w 114"/>
                <a:gd name="T29" fmla="*/ 72 h 86"/>
                <a:gd name="T30" fmla="*/ 28 w 114"/>
                <a:gd name="T31" fmla="*/ 72 h 86"/>
                <a:gd name="T32" fmla="*/ 14 w 114"/>
                <a:gd name="T33" fmla="*/ 57 h 86"/>
                <a:gd name="T34" fmla="*/ 28 w 114"/>
                <a:gd name="T35"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4" h="86">
                  <a:moveTo>
                    <a:pt x="28" y="86"/>
                  </a:moveTo>
                  <a:cubicBezTo>
                    <a:pt x="71" y="86"/>
                    <a:pt x="71" y="86"/>
                    <a:pt x="71" y="86"/>
                  </a:cubicBezTo>
                  <a:cubicBezTo>
                    <a:pt x="95" y="86"/>
                    <a:pt x="114" y="67"/>
                    <a:pt x="114" y="43"/>
                  </a:cubicBezTo>
                  <a:cubicBezTo>
                    <a:pt x="114" y="20"/>
                    <a:pt x="95" y="0"/>
                    <a:pt x="71" y="0"/>
                  </a:cubicBezTo>
                  <a:cubicBezTo>
                    <a:pt x="53" y="0"/>
                    <a:pt x="37" y="12"/>
                    <a:pt x="31" y="29"/>
                  </a:cubicBezTo>
                  <a:cubicBezTo>
                    <a:pt x="30" y="29"/>
                    <a:pt x="29" y="29"/>
                    <a:pt x="28" y="29"/>
                  </a:cubicBezTo>
                  <a:cubicBezTo>
                    <a:pt x="13" y="29"/>
                    <a:pt x="0" y="42"/>
                    <a:pt x="0" y="57"/>
                  </a:cubicBezTo>
                  <a:cubicBezTo>
                    <a:pt x="0" y="73"/>
                    <a:pt x="13" y="86"/>
                    <a:pt x="28" y="86"/>
                  </a:cubicBezTo>
                  <a:close/>
                  <a:moveTo>
                    <a:pt x="28" y="43"/>
                  </a:moveTo>
                  <a:cubicBezTo>
                    <a:pt x="30" y="43"/>
                    <a:pt x="32" y="44"/>
                    <a:pt x="34" y="44"/>
                  </a:cubicBezTo>
                  <a:cubicBezTo>
                    <a:pt x="36" y="45"/>
                    <a:pt x="38" y="45"/>
                    <a:pt x="40" y="44"/>
                  </a:cubicBezTo>
                  <a:cubicBezTo>
                    <a:pt x="42" y="43"/>
                    <a:pt x="43" y="41"/>
                    <a:pt x="43" y="39"/>
                  </a:cubicBezTo>
                  <a:cubicBezTo>
                    <a:pt x="45" y="25"/>
                    <a:pt x="57" y="15"/>
                    <a:pt x="71" y="15"/>
                  </a:cubicBezTo>
                  <a:cubicBezTo>
                    <a:pt x="87" y="15"/>
                    <a:pt x="100" y="27"/>
                    <a:pt x="100" y="43"/>
                  </a:cubicBezTo>
                  <a:cubicBezTo>
                    <a:pt x="100" y="59"/>
                    <a:pt x="87" y="72"/>
                    <a:pt x="71" y="72"/>
                  </a:cubicBezTo>
                  <a:cubicBezTo>
                    <a:pt x="28" y="72"/>
                    <a:pt x="28" y="72"/>
                    <a:pt x="28" y="72"/>
                  </a:cubicBezTo>
                  <a:cubicBezTo>
                    <a:pt x="21" y="72"/>
                    <a:pt x="14" y="65"/>
                    <a:pt x="14" y="57"/>
                  </a:cubicBezTo>
                  <a:cubicBezTo>
                    <a:pt x="14" y="50"/>
                    <a:pt x="21" y="43"/>
                    <a:pt x="28"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57" name="Group 4">
            <a:extLst>
              <a:ext uri="{FF2B5EF4-FFF2-40B4-BE49-F238E27FC236}">
                <a16:creationId xmlns:a16="http://schemas.microsoft.com/office/drawing/2014/main" id="{E3E8D609-6B21-75B3-3A42-776F78A13A31}"/>
              </a:ext>
            </a:extLst>
          </p:cNvPr>
          <p:cNvGrpSpPr>
            <a:grpSpLocks noChangeAspect="1"/>
          </p:cNvGrpSpPr>
          <p:nvPr/>
        </p:nvGrpSpPr>
        <p:grpSpPr bwMode="auto">
          <a:xfrm>
            <a:off x="3419075" y="2928777"/>
            <a:ext cx="616249" cy="618002"/>
            <a:chOff x="3489" y="1808"/>
            <a:chExt cx="703" cy="705"/>
          </a:xfrm>
          <a:solidFill>
            <a:schemeClr val="bg1"/>
          </a:solidFill>
        </p:grpSpPr>
        <p:sp>
          <p:nvSpPr>
            <p:cNvPr id="58" name="Freeform 5">
              <a:extLst>
                <a:ext uri="{FF2B5EF4-FFF2-40B4-BE49-F238E27FC236}">
                  <a16:creationId xmlns:a16="http://schemas.microsoft.com/office/drawing/2014/main" id="{6BE14BE4-345B-4EE5-A384-E2B8141A069F}"/>
                </a:ext>
              </a:extLst>
            </p:cNvPr>
            <p:cNvSpPr>
              <a:spLocks noEditPoints="1"/>
            </p:cNvSpPr>
            <p:nvPr/>
          </p:nvSpPr>
          <p:spPr bwMode="auto">
            <a:xfrm>
              <a:off x="3489" y="1808"/>
              <a:ext cx="703" cy="705"/>
            </a:xfrm>
            <a:custGeom>
              <a:avLst/>
              <a:gdLst>
                <a:gd name="T0" fmla="*/ 340 w 342"/>
                <a:gd name="T1" fmla="*/ 2 h 342"/>
                <a:gd name="T2" fmla="*/ 335 w 342"/>
                <a:gd name="T3" fmla="*/ 0 h 342"/>
                <a:gd name="T4" fmla="*/ 7 w 342"/>
                <a:gd name="T5" fmla="*/ 0 h 342"/>
                <a:gd name="T6" fmla="*/ 2 w 342"/>
                <a:gd name="T7" fmla="*/ 2 h 342"/>
                <a:gd name="T8" fmla="*/ 0 w 342"/>
                <a:gd name="T9" fmla="*/ 7 h 342"/>
                <a:gd name="T10" fmla="*/ 0 w 342"/>
                <a:gd name="T11" fmla="*/ 335 h 342"/>
                <a:gd name="T12" fmla="*/ 2 w 342"/>
                <a:gd name="T13" fmla="*/ 340 h 342"/>
                <a:gd name="T14" fmla="*/ 7 w 342"/>
                <a:gd name="T15" fmla="*/ 342 h 342"/>
                <a:gd name="T16" fmla="*/ 335 w 342"/>
                <a:gd name="T17" fmla="*/ 342 h 342"/>
                <a:gd name="T18" fmla="*/ 340 w 342"/>
                <a:gd name="T19" fmla="*/ 340 h 342"/>
                <a:gd name="T20" fmla="*/ 342 w 342"/>
                <a:gd name="T21" fmla="*/ 335 h 342"/>
                <a:gd name="T22" fmla="*/ 342 w 342"/>
                <a:gd name="T23" fmla="*/ 7 h 342"/>
                <a:gd name="T24" fmla="*/ 340 w 342"/>
                <a:gd name="T25" fmla="*/ 2 h 342"/>
                <a:gd name="T26" fmla="*/ 328 w 342"/>
                <a:gd name="T27" fmla="*/ 14 h 342"/>
                <a:gd name="T28" fmla="*/ 328 w 342"/>
                <a:gd name="T29" fmla="*/ 242 h 342"/>
                <a:gd name="T30" fmla="*/ 318 w 342"/>
                <a:gd name="T31" fmla="*/ 242 h 342"/>
                <a:gd name="T32" fmla="*/ 269 w 342"/>
                <a:gd name="T33" fmla="*/ 145 h 342"/>
                <a:gd name="T34" fmla="*/ 242 w 342"/>
                <a:gd name="T35" fmla="*/ 128 h 342"/>
                <a:gd name="T36" fmla="*/ 215 w 342"/>
                <a:gd name="T37" fmla="*/ 143 h 342"/>
                <a:gd name="T38" fmla="*/ 177 w 342"/>
                <a:gd name="T39" fmla="*/ 208 h 342"/>
                <a:gd name="T40" fmla="*/ 164 w 342"/>
                <a:gd name="T41" fmla="*/ 194 h 342"/>
                <a:gd name="T42" fmla="*/ 114 w 342"/>
                <a:gd name="T43" fmla="*/ 171 h 342"/>
                <a:gd name="T44" fmla="*/ 84 w 342"/>
                <a:gd name="T45" fmla="*/ 184 h 342"/>
                <a:gd name="T46" fmla="*/ 54 w 342"/>
                <a:gd name="T47" fmla="*/ 223 h 342"/>
                <a:gd name="T48" fmla="*/ 45 w 342"/>
                <a:gd name="T49" fmla="*/ 242 h 342"/>
                <a:gd name="T50" fmla="*/ 14 w 342"/>
                <a:gd name="T51" fmla="*/ 242 h 342"/>
                <a:gd name="T52" fmla="*/ 14 w 342"/>
                <a:gd name="T53" fmla="*/ 14 h 342"/>
                <a:gd name="T54" fmla="*/ 328 w 342"/>
                <a:gd name="T55" fmla="*/ 14 h 342"/>
                <a:gd name="T56" fmla="*/ 172 w 342"/>
                <a:gd name="T57" fmla="*/ 225 h 342"/>
                <a:gd name="T58" fmla="*/ 178 w 342"/>
                <a:gd name="T59" fmla="*/ 228 h 342"/>
                <a:gd name="T60" fmla="*/ 184 w 342"/>
                <a:gd name="T61" fmla="*/ 224 h 342"/>
                <a:gd name="T62" fmla="*/ 227 w 342"/>
                <a:gd name="T63" fmla="*/ 151 h 342"/>
                <a:gd name="T64" fmla="*/ 242 w 342"/>
                <a:gd name="T65" fmla="*/ 142 h 342"/>
                <a:gd name="T66" fmla="*/ 257 w 342"/>
                <a:gd name="T67" fmla="*/ 152 h 342"/>
                <a:gd name="T68" fmla="*/ 302 w 342"/>
                <a:gd name="T69" fmla="*/ 242 h 342"/>
                <a:gd name="T70" fmla="*/ 61 w 342"/>
                <a:gd name="T71" fmla="*/ 242 h 342"/>
                <a:gd name="T72" fmla="*/ 79 w 342"/>
                <a:gd name="T73" fmla="*/ 211 h 342"/>
                <a:gd name="T74" fmla="*/ 96 w 342"/>
                <a:gd name="T75" fmla="*/ 192 h 342"/>
                <a:gd name="T76" fmla="*/ 114 w 342"/>
                <a:gd name="T77" fmla="*/ 185 h 342"/>
                <a:gd name="T78" fmla="*/ 154 w 342"/>
                <a:gd name="T79" fmla="*/ 205 h 342"/>
                <a:gd name="T80" fmla="*/ 167 w 342"/>
                <a:gd name="T81" fmla="*/ 218 h 342"/>
                <a:gd name="T82" fmla="*/ 171 w 342"/>
                <a:gd name="T83" fmla="*/ 223 h 342"/>
                <a:gd name="T84" fmla="*/ 172 w 342"/>
                <a:gd name="T85" fmla="*/ 224 h 342"/>
                <a:gd name="T86" fmla="*/ 172 w 342"/>
                <a:gd name="T87" fmla="*/ 225 h 342"/>
                <a:gd name="T88" fmla="*/ 14 w 342"/>
                <a:gd name="T89" fmla="*/ 256 h 342"/>
                <a:gd name="T90" fmla="*/ 328 w 342"/>
                <a:gd name="T91" fmla="*/ 256 h 342"/>
                <a:gd name="T92" fmla="*/ 328 w 342"/>
                <a:gd name="T93" fmla="*/ 328 h 342"/>
                <a:gd name="T94" fmla="*/ 14 w 342"/>
                <a:gd name="T95" fmla="*/ 328 h 342"/>
                <a:gd name="T96" fmla="*/ 14 w 342"/>
                <a:gd name="T97" fmla="*/ 256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2" h="342">
                  <a:moveTo>
                    <a:pt x="340" y="2"/>
                  </a:moveTo>
                  <a:cubicBezTo>
                    <a:pt x="339" y="0"/>
                    <a:pt x="337" y="0"/>
                    <a:pt x="335" y="0"/>
                  </a:cubicBezTo>
                  <a:cubicBezTo>
                    <a:pt x="7" y="0"/>
                    <a:pt x="7" y="0"/>
                    <a:pt x="7" y="0"/>
                  </a:cubicBezTo>
                  <a:cubicBezTo>
                    <a:pt x="5" y="0"/>
                    <a:pt x="3" y="0"/>
                    <a:pt x="2" y="2"/>
                  </a:cubicBezTo>
                  <a:cubicBezTo>
                    <a:pt x="0" y="3"/>
                    <a:pt x="0" y="5"/>
                    <a:pt x="0" y="7"/>
                  </a:cubicBezTo>
                  <a:cubicBezTo>
                    <a:pt x="0" y="335"/>
                    <a:pt x="0" y="335"/>
                    <a:pt x="0" y="335"/>
                  </a:cubicBezTo>
                  <a:cubicBezTo>
                    <a:pt x="0" y="337"/>
                    <a:pt x="0" y="339"/>
                    <a:pt x="2" y="340"/>
                  </a:cubicBezTo>
                  <a:cubicBezTo>
                    <a:pt x="3" y="341"/>
                    <a:pt x="5" y="342"/>
                    <a:pt x="7" y="342"/>
                  </a:cubicBezTo>
                  <a:cubicBezTo>
                    <a:pt x="335" y="342"/>
                    <a:pt x="335" y="342"/>
                    <a:pt x="335" y="342"/>
                  </a:cubicBezTo>
                  <a:cubicBezTo>
                    <a:pt x="337" y="342"/>
                    <a:pt x="339" y="341"/>
                    <a:pt x="340" y="340"/>
                  </a:cubicBezTo>
                  <a:cubicBezTo>
                    <a:pt x="341" y="339"/>
                    <a:pt x="342" y="337"/>
                    <a:pt x="342" y="335"/>
                  </a:cubicBezTo>
                  <a:cubicBezTo>
                    <a:pt x="342" y="7"/>
                    <a:pt x="342" y="7"/>
                    <a:pt x="342" y="7"/>
                  </a:cubicBezTo>
                  <a:cubicBezTo>
                    <a:pt x="342" y="5"/>
                    <a:pt x="341" y="3"/>
                    <a:pt x="340" y="2"/>
                  </a:cubicBezTo>
                  <a:close/>
                  <a:moveTo>
                    <a:pt x="328" y="14"/>
                  </a:moveTo>
                  <a:cubicBezTo>
                    <a:pt x="328" y="242"/>
                    <a:pt x="328" y="242"/>
                    <a:pt x="328" y="242"/>
                  </a:cubicBezTo>
                  <a:cubicBezTo>
                    <a:pt x="318" y="242"/>
                    <a:pt x="318" y="242"/>
                    <a:pt x="318" y="242"/>
                  </a:cubicBezTo>
                  <a:cubicBezTo>
                    <a:pt x="269" y="145"/>
                    <a:pt x="269" y="145"/>
                    <a:pt x="269" y="145"/>
                  </a:cubicBezTo>
                  <a:cubicBezTo>
                    <a:pt x="264" y="135"/>
                    <a:pt x="253" y="128"/>
                    <a:pt x="242" y="128"/>
                  </a:cubicBezTo>
                  <a:cubicBezTo>
                    <a:pt x="231" y="128"/>
                    <a:pt x="220" y="134"/>
                    <a:pt x="215" y="143"/>
                  </a:cubicBezTo>
                  <a:cubicBezTo>
                    <a:pt x="177" y="208"/>
                    <a:pt x="177" y="208"/>
                    <a:pt x="177" y="208"/>
                  </a:cubicBezTo>
                  <a:cubicBezTo>
                    <a:pt x="174" y="204"/>
                    <a:pt x="169" y="199"/>
                    <a:pt x="164" y="194"/>
                  </a:cubicBezTo>
                  <a:cubicBezTo>
                    <a:pt x="152" y="183"/>
                    <a:pt x="135" y="171"/>
                    <a:pt x="114" y="171"/>
                  </a:cubicBezTo>
                  <a:cubicBezTo>
                    <a:pt x="102" y="171"/>
                    <a:pt x="92" y="176"/>
                    <a:pt x="84" y="184"/>
                  </a:cubicBezTo>
                  <a:cubicBezTo>
                    <a:pt x="71" y="195"/>
                    <a:pt x="61" y="210"/>
                    <a:pt x="54" y="223"/>
                  </a:cubicBezTo>
                  <a:cubicBezTo>
                    <a:pt x="50" y="231"/>
                    <a:pt x="47" y="238"/>
                    <a:pt x="45" y="242"/>
                  </a:cubicBezTo>
                  <a:cubicBezTo>
                    <a:pt x="14" y="242"/>
                    <a:pt x="14" y="242"/>
                    <a:pt x="14" y="242"/>
                  </a:cubicBezTo>
                  <a:cubicBezTo>
                    <a:pt x="14" y="14"/>
                    <a:pt x="14" y="14"/>
                    <a:pt x="14" y="14"/>
                  </a:cubicBezTo>
                  <a:lnTo>
                    <a:pt x="328" y="14"/>
                  </a:lnTo>
                  <a:close/>
                  <a:moveTo>
                    <a:pt x="172" y="225"/>
                  </a:moveTo>
                  <a:cubicBezTo>
                    <a:pt x="173" y="227"/>
                    <a:pt x="176" y="228"/>
                    <a:pt x="178" y="228"/>
                  </a:cubicBezTo>
                  <a:cubicBezTo>
                    <a:pt x="181" y="228"/>
                    <a:pt x="183" y="226"/>
                    <a:pt x="184" y="224"/>
                  </a:cubicBezTo>
                  <a:cubicBezTo>
                    <a:pt x="227" y="151"/>
                    <a:pt x="227" y="151"/>
                    <a:pt x="227" y="151"/>
                  </a:cubicBezTo>
                  <a:cubicBezTo>
                    <a:pt x="230" y="145"/>
                    <a:pt x="236" y="142"/>
                    <a:pt x="242" y="142"/>
                  </a:cubicBezTo>
                  <a:cubicBezTo>
                    <a:pt x="248" y="142"/>
                    <a:pt x="254" y="146"/>
                    <a:pt x="257" y="152"/>
                  </a:cubicBezTo>
                  <a:cubicBezTo>
                    <a:pt x="302" y="242"/>
                    <a:pt x="302" y="242"/>
                    <a:pt x="302" y="242"/>
                  </a:cubicBezTo>
                  <a:cubicBezTo>
                    <a:pt x="61" y="242"/>
                    <a:pt x="61" y="242"/>
                    <a:pt x="61" y="242"/>
                  </a:cubicBezTo>
                  <a:cubicBezTo>
                    <a:pt x="65" y="234"/>
                    <a:pt x="71" y="222"/>
                    <a:pt x="79" y="211"/>
                  </a:cubicBezTo>
                  <a:cubicBezTo>
                    <a:pt x="84" y="204"/>
                    <a:pt x="90" y="197"/>
                    <a:pt x="96" y="192"/>
                  </a:cubicBezTo>
                  <a:cubicBezTo>
                    <a:pt x="102" y="188"/>
                    <a:pt x="108" y="185"/>
                    <a:pt x="114" y="185"/>
                  </a:cubicBezTo>
                  <a:cubicBezTo>
                    <a:pt x="129" y="185"/>
                    <a:pt x="143" y="194"/>
                    <a:pt x="154" y="205"/>
                  </a:cubicBezTo>
                  <a:cubicBezTo>
                    <a:pt x="160" y="210"/>
                    <a:pt x="164" y="215"/>
                    <a:pt x="167" y="218"/>
                  </a:cubicBezTo>
                  <a:cubicBezTo>
                    <a:pt x="169" y="220"/>
                    <a:pt x="170" y="222"/>
                    <a:pt x="171" y="223"/>
                  </a:cubicBezTo>
                  <a:cubicBezTo>
                    <a:pt x="172" y="224"/>
                    <a:pt x="172" y="224"/>
                    <a:pt x="172" y="224"/>
                  </a:cubicBezTo>
                  <a:lnTo>
                    <a:pt x="172" y="225"/>
                  </a:lnTo>
                  <a:close/>
                  <a:moveTo>
                    <a:pt x="14" y="256"/>
                  </a:moveTo>
                  <a:cubicBezTo>
                    <a:pt x="328" y="256"/>
                    <a:pt x="328" y="256"/>
                    <a:pt x="328" y="256"/>
                  </a:cubicBezTo>
                  <a:cubicBezTo>
                    <a:pt x="328" y="328"/>
                    <a:pt x="328" y="328"/>
                    <a:pt x="328" y="328"/>
                  </a:cubicBezTo>
                  <a:cubicBezTo>
                    <a:pt x="14" y="328"/>
                    <a:pt x="14" y="328"/>
                    <a:pt x="14" y="328"/>
                  </a:cubicBezTo>
                  <a:lnTo>
                    <a:pt x="14"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9" name="Freeform 6">
              <a:extLst>
                <a:ext uri="{FF2B5EF4-FFF2-40B4-BE49-F238E27FC236}">
                  <a16:creationId xmlns:a16="http://schemas.microsoft.com/office/drawing/2014/main" id="{C4616535-662E-220F-C7D6-C5BE1F925808}"/>
                </a:ext>
              </a:extLst>
            </p:cNvPr>
            <p:cNvSpPr>
              <a:spLocks noEditPoints="1"/>
            </p:cNvSpPr>
            <p:nvPr/>
          </p:nvSpPr>
          <p:spPr bwMode="auto">
            <a:xfrm>
              <a:off x="3621" y="1895"/>
              <a:ext cx="234" cy="177"/>
            </a:xfrm>
            <a:custGeom>
              <a:avLst/>
              <a:gdLst>
                <a:gd name="T0" fmla="*/ 28 w 114"/>
                <a:gd name="T1" fmla="*/ 86 h 86"/>
                <a:gd name="T2" fmla="*/ 71 w 114"/>
                <a:gd name="T3" fmla="*/ 86 h 86"/>
                <a:gd name="T4" fmla="*/ 114 w 114"/>
                <a:gd name="T5" fmla="*/ 43 h 86"/>
                <a:gd name="T6" fmla="*/ 71 w 114"/>
                <a:gd name="T7" fmla="*/ 0 h 86"/>
                <a:gd name="T8" fmla="*/ 31 w 114"/>
                <a:gd name="T9" fmla="*/ 29 h 86"/>
                <a:gd name="T10" fmla="*/ 28 w 114"/>
                <a:gd name="T11" fmla="*/ 29 h 86"/>
                <a:gd name="T12" fmla="*/ 0 w 114"/>
                <a:gd name="T13" fmla="*/ 57 h 86"/>
                <a:gd name="T14" fmla="*/ 28 w 114"/>
                <a:gd name="T15" fmla="*/ 86 h 86"/>
                <a:gd name="T16" fmla="*/ 28 w 114"/>
                <a:gd name="T17" fmla="*/ 43 h 86"/>
                <a:gd name="T18" fmla="*/ 34 w 114"/>
                <a:gd name="T19" fmla="*/ 44 h 86"/>
                <a:gd name="T20" fmla="*/ 40 w 114"/>
                <a:gd name="T21" fmla="*/ 44 h 86"/>
                <a:gd name="T22" fmla="*/ 43 w 114"/>
                <a:gd name="T23" fmla="*/ 39 h 86"/>
                <a:gd name="T24" fmla="*/ 71 w 114"/>
                <a:gd name="T25" fmla="*/ 15 h 86"/>
                <a:gd name="T26" fmla="*/ 100 w 114"/>
                <a:gd name="T27" fmla="*/ 43 h 86"/>
                <a:gd name="T28" fmla="*/ 71 w 114"/>
                <a:gd name="T29" fmla="*/ 72 h 86"/>
                <a:gd name="T30" fmla="*/ 28 w 114"/>
                <a:gd name="T31" fmla="*/ 72 h 86"/>
                <a:gd name="T32" fmla="*/ 14 w 114"/>
                <a:gd name="T33" fmla="*/ 57 h 86"/>
                <a:gd name="T34" fmla="*/ 28 w 114"/>
                <a:gd name="T35"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4" h="86">
                  <a:moveTo>
                    <a:pt x="28" y="86"/>
                  </a:moveTo>
                  <a:cubicBezTo>
                    <a:pt x="71" y="86"/>
                    <a:pt x="71" y="86"/>
                    <a:pt x="71" y="86"/>
                  </a:cubicBezTo>
                  <a:cubicBezTo>
                    <a:pt x="95" y="86"/>
                    <a:pt x="114" y="67"/>
                    <a:pt x="114" y="43"/>
                  </a:cubicBezTo>
                  <a:cubicBezTo>
                    <a:pt x="114" y="20"/>
                    <a:pt x="95" y="0"/>
                    <a:pt x="71" y="0"/>
                  </a:cubicBezTo>
                  <a:cubicBezTo>
                    <a:pt x="53" y="0"/>
                    <a:pt x="37" y="12"/>
                    <a:pt x="31" y="29"/>
                  </a:cubicBezTo>
                  <a:cubicBezTo>
                    <a:pt x="30" y="29"/>
                    <a:pt x="29" y="29"/>
                    <a:pt x="28" y="29"/>
                  </a:cubicBezTo>
                  <a:cubicBezTo>
                    <a:pt x="13" y="29"/>
                    <a:pt x="0" y="42"/>
                    <a:pt x="0" y="57"/>
                  </a:cubicBezTo>
                  <a:cubicBezTo>
                    <a:pt x="0" y="73"/>
                    <a:pt x="13" y="86"/>
                    <a:pt x="28" y="86"/>
                  </a:cubicBezTo>
                  <a:close/>
                  <a:moveTo>
                    <a:pt x="28" y="43"/>
                  </a:moveTo>
                  <a:cubicBezTo>
                    <a:pt x="30" y="43"/>
                    <a:pt x="32" y="44"/>
                    <a:pt x="34" y="44"/>
                  </a:cubicBezTo>
                  <a:cubicBezTo>
                    <a:pt x="36" y="45"/>
                    <a:pt x="38" y="45"/>
                    <a:pt x="40" y="44"/>
                  </a:cubicBezTo>
                  <a:cubicBezTo>
                    <a:pt x="42" y="43"/>
                    <a:pt x="43" y="41"/>
                    <a:pt x="43" y="39"/>
                  </a:cubicBezTo>
                  <a:cubicBezTo>
                    <a:pt x="45" y="25"/>
                    <a:pt x="57" y="15"/>
                    <a:pt x="71" y="15"/>
                  </a:cubicBezTo>
                  <a:cubicBezTo>
                    <a:pt x="87" y="15"/>
                    <a:pt x="100" y="27"/>
                    <a:pt x="100" y="43"/>
                  </a:cubicBezTo>
                  <a:cubicBezTo>
                    <a:pt x="100" y="59"/>
                    <a:pt x="87" y="72"/>
                    <a:pt x="71" y="72"/>
                  </a:cubicBezTo>
                  <a:cubicBezTo>
                    <a:pt x="28" y="72"/>
                    <a:pt x="28" y="72"/>
                    <a:pt x="28" y="72"/>
                  </a:cubicBezTo>
                  <a:cubicBezTo>
                    <a:pt x="21" y="72"/>
                    <a:pt x="14" y="65"/>
                    <a:pt x="14" y="57"/>
                  </a:cubicBezTo>
                  <a:cubicBezTo>
                    <a:pt x="14" y="50"/>
                    <a:pt x="21" y="43"/>
                    <a:pt x="28"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60" name="Group 4">
            <a:extLst>
              <a:ext uri="{FF2B5EF4-FFF2-40B4-BE49-F238E27FC236}">
                <a16:creationId xmlns:a16="http://schemas.microsoft.com/office/drawing/2014/main" id="{1AFB0333-84B6-A7E0-2FA9-4CECD8E2726C}"/>
              </a:ext>
            </a:extLst>
          </p:cNvPr>
          <p:cNvGrpSpPr>
            <a:grpSpLocks noChangeAspect="1"/>
          </p:cNvGrpSpPr>
          <p:nvPr/>
        </p:nvGrpSpPr>
        <p:grpSpPr bwMode="auto">
          <a:xfrm>
            <a:off x="5782673" y="2928777"/>
            <a:ext cx="616249" cy="618002"/>
            <a:chOff x="3489" y="1808"/>
            <a:chExt cx="703" cy="705"/>
          </a:xfrm>
          <a:solidFill>
            <a:schemeClr val="bg1"/>
          </a:solidFill>
        </p:grpSpPr>
        <p:sp>
          <p:nvSpPr>
            <p:cNvPr id="61" name="Freeform 5">
              <a:extLst>
                <a:ext uri="{FF2B5EF4-FFF2-40B4-BE49-F238E27FC236}">
                  <a16:creationId xmlns:a16="http://schemas.microsoft.com/office/drawing/2014/main" id="{71E31C1E-6302-735A-E16B-656C1285D631}"/>
                </a:ext>
              </a:extLst>
            </p:cNvPr>
            <p:cNvSpPr>
              <a:spLocks noEditPoints="1"/>
            </p:cNvSpPr>
            <p:nvPr/>
          </p:nvSpPr>
          <p:spPr bwMode="auto">
            <a:xfrm>
              <a:off x="3489" y="1808"/>
              <a:ext cx="703" cy="705"/>
            </a:xfrm>
            <a:custGeom>
              <a:avLst/>
              <a:gdLst>
                <a:gd name="T0" fmla="*/ 340 w 342"/>
                <a:gd name="T1" fmla="*/ 2 h 342"/>
                <a:gd name="T2" fmla="*/ 335 w 342"/>
                <a:gd name="T3" fmla="*/ 0 h 342"/>
                <a:gd name="T4" fmla="*/ 7 w 342"/>
                <a:gd name="T5" fmla="*/ 0 h 342"/>
                <a:gd name="T6" fmla="*/ 2 w 342"/>
                <a:gd name="T7" fmla="*/ 2 h 342"/>
                <a:gd name="T8" fmla="*/ 0 w 342"/>
                <a:gd name="T9" fmla="*/ 7 h 342"/>
                <a:gd name="T10" fmla="*/ 0 w 342"/>
                <a:gd name="T11" fmla="*/ 335 h 342"/>
                <a:gd name="T12" fmla="*/ 2 w 342"/>
                <a:gd name="T13" fmla="*/ 340 h 342"/>
                <a:gd name="T14" fmla="*/ 7 w 342"/>
                <a:gd name="T15" fmla="*/ 342 h 342"/>
                <a:gd name="T16" fmla="*/ 335 w 342"/>
                <a:gd name="T17" fmla="*/ 342 h 342"/>
                <a:gd name="T18" fmla="*/ 340 w 342"/>
                <a:gd name="T19" fmla="*/ 340 h 342"/>
                <a:gd name="T20" fmla="*/ 342 w 342"/>
                <a:gd name="T21" fmla="*/ 335 h 342"/>
                <a:gd name="T22" fmla="*/ 342 w 342"/>
                <a:gd name="T23" fmla="*/ 7 h 342"/>
                <a:gd name="T24" fmla="*/ 340 w 342"/>
                <a:gd name="T25" fmla="*/ 2 h 342"/>
                <a:gd name="T26" fmla="*/ 328 w 342"/>
                <a:gd name="T27" fmla="*/ 14 h 342"/>
                <a:gd name="T28" fmla="*/ 328 w 342"/>
                <a:gd name="T29" fmla="*/ 242 h 342"/>
                <a:gd name="T30" fmla="*/ 318 w 342"/>
                <a:gd name="T31" fmla="*/ 242 h 342"/>
                <a:gd name="T32" fmla="*/ 269 w 342"/>
                <a:gd name="T33" fmla="*/ 145 h 342"/>
                <a:gd name="T34" fmla="*/ 242 w 342"/>
                <a:gd name="T35" fmla="*/ 128 h 342"/>
                <a:gd name="T36" fmla="*/ 215 w 342"/>
                <a:gd name="T37" fmla="*/ 143 h 342"/>
                <a:gd name="T38" fmla="*/ 177 w 342"/>
                <a:gd name="T39" fmla="*/ 208 h 342"/>
                <a:gd name="T40" fmla="*/ 164 w 342"/>
                <a:gd name="T41" fmla="*/ 194 h 342"/>
                <a:gd name="T42" fmla="*/ 114 w 342"/>
                <a:gd name="T43" fmla="*/ 171 h 342"/>
                <a:gd name="T44" fmla="*/ 84 w 342"/>
                <a:gd name="T45" fmla="*/ 184 h 342"/>
                <a:gd name="T46" fmla="*/ 54 w 342"/>
                <a:gd name="T47" fmla="*/ 223 h 342"/>
                <a:gd name="T48" fmla="*/ 45 w 342"/>
                <a:gd name="T49" fmla="*/ 242 h 342"/>
                <a:gd name="T50" fmla="*/ 14 w 342"/>
                <a:gd name="T51" fmla="*/ 242 h 342"/>
                <a:gd name="T52" fmla="*/ 14 w 342"/>
                <a:gd name="T53" fmla="*/ 14 h 342"/>
                <a:gd name="T54" fmla="*/ 328 w 342"/>
                <a:gd name="T55" fmla="*/ 14 h 342"/>
                <a:gd name="T56" fmla="*/ 172 w 342"/>
                <a:gd name="T57" fmla="*/ 225 h 342"/>
                <a:gd name="T58" fmla="*/ 178 w 342"/>
                <a:gd name="T59" fmla="*/ 228 h 342"/>
                <a:gd name="T60" fmla="*/ 184 w 342"/>
                <a:gd name="T61" fmla="*/ 224 h 342"/>
                <a:gd name="T62" fmla="*/ 227 w 342"/>
                <a:gd name="T63" fmla="*/ 151 h 342"/>
                <a:gd name="T64" fmla="*/ 242 w 342"/>
                <a:gd name="T65" fmla="*/ 142 h 342"/>
                <a:gd name="T66" fmla="*/ 257 w 342"/>
                <a:gd name="T67" fmla="*/ 152 h 342"/>
                <a:gd name="T68" fmla="*/ 302 w 342"/>
                <a:gd name="T69" fmla="*/ 242 h 342"/>
                <a:gd name="T70" fmla="*/ 61 w 342"/>
                <a:gd name="T71" fmla="*/ 242 h 342"/>
                <a:gd name="T72" fmla="*/ 79 w 342"/>
                <a:gd name="T73" fmla="*/ 211 h 342"/>
                <a:gd name="T74" fmla="*/ 96 w 342"/>
                <a:gd name="T75" fmla="*/ 192 h 342"/>
                <a:gd name="T76" fmla="*/ 114 w 342"/>
                <a:gd name="T77" fmla="*/ 185 h 342"/>
                <a:gd name="T78" fmla="*/ 154 w 342"/>
                <a:gd name="T79" fmla="*/ 205 h 342"/>
                <a:gd name="T80" fmla="*/ 167 w 342"/>
                <a:gd name="T81" fmla="*/ 218 h 342"/>
                <a:gd name="T82" fmla="*/ 171 w 342"/>
                <a:gd name="T83" fmla="*/ 223 h 342"/>
                <a:gd name="T84" fmla="*/ 172 w 342"/>
                <a:gd name="T85" fmla="*/ 224 h 342"/>
                <a:gd name="T86" fmla="*/ 172 w 342"/>
                <a:gd name="T87" fmla="*/ 225 h 342"/>
                <a:gd name="T88" fmla="*/ 14 w 342"/>
                <a:gd name="T89" fmla="*/ 256 h 342"/>
                <a:gd name="T90" fmla="*/ 328 w 342"/>
                <a:gd name="T91" fmla="*/ 256 h 342"/>
                <a:gd name="T92" fmla="*/ 328 w 342"/>
                <a:gd name="T93" fmla="*/ 328 h 342"/>
                <a:gd name="T94" fmla="*/ 14 w 342"/>
                <a:gd name="T95" fmla="*/ 328 h 342"/>
                <a:gd name="T96" fmla="*/ 14 w 342"/>
                <a:gd name="T97" fmla="*/ 256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2" h="342">
                  <a:moveTo>
                    <a:pt x="340" y="2"/>
                  </a:moveTo>
                  <a:cubicBezTo>
                    <a:pt x="339" y="0"/>
                    <a:pt x="337" y="0"/>
                    <a:pt x="335" y="0"/>
                  </a:cubicBezTo>
                  <a:cubicBezTo>
                    <a:pt x="7" y="0"/>
                    <a:pt x="7" y="0"/>
                    <a:pt x="7" y="0"/>
                  </a:cubicBezTo>
                  <a:cubicBezTo>
                    <a:pt x="5" y="0"/>
                    <a:pt x="3" y="0"/>
                    <a:pt x="2" y="2"/>
                  </a:cubicBezTo>
                  <a:cubicBezTo>
                    <a:pt x="0" y="3"/>
                    <a:pt x="0" y="5"/>
                    <a:pt x="0" y="7"/>
                  </a:cubicBezTo>
                  <a:cubicBezTo>
                    <a:pt x="0" y="335"/>
                    <a:pt x="0" y="335"/>
                    <a:pt x="0" y="335"/>
                  </a:cubicBezTo>
                  <a:cubicBezTo>
                    <a:pt x="0" y="337"/>
                    <a:pt x="0" y="339"/>
                    <a:pt x="2" y="340"/>
                  </a:cubicBezTo>
                  <a:cubicBezTo>
                    <a:pt x="3" y="341"/>
                    <a:pt x="5" y="342"/>
                    <a:pt x="7" y="342"/>
                  </a:cubicBezTo>
                  <a:cubicBezTo>
                    <a:pt x="335" y="342"/>
                    <a:pt x="335" y="342"/>
                    <a:pt x="335" y="342"/>
                  </a:cubicBezTo>
                  <a:cubicBezTo>
                    <a:pt x="337" y="342"/>
                    <a:pt x="339" y="341"/>
                    <a:pt x="340" y="340"/>
                  </a:cubicBezTo>
                  <a:cubicBezTo>
                    <a:pt x="341" y="339"/>
                    <a:pt x="342" y="337"/>
                    <a:pt x="342" y="335"/>
                  </a:cubicBezTo>
                  <a:cubicBezTo>
                    <a:pt x="342" y="7"/>
                    <a:pt x="342" y="7"/>
                    <a:pt x="342" y="7"/>
                  </a:cubicBezTo>
                  <a:cubicBezTo>
                    <a:pt x="342" y="5"/>
                    <a:pt x="341" y="3"/>
                    <a:pt x="340" y="2"/>
                  </a:cubicBezTo>
                  <a:close/>
                  <a:moveTo>
                    <a:pt x="328" y="14"/>
                  </a:moveTo>
                  <a:cubicBezTo>
                    <a:pt x="328" y="242"/>
                    <a:pt x="328" y="242"/>
                    <a:pt x="328" y="242"/>
                  </a:cubicBezTo>
                  <a:cubicBezTo>
                    <a:pt x="318" y="242"/>
                    <a:pt x="318" y="242"/>
                    <a:pt x="318" y="242"/>
                  </a:cubicBezTo>
                  <a:cubicBezTo>
                    <a:pt x="269" y="145"/>
                    <a:pt x="269" y="145"/>
                    <a:pt x="269" y="145"/>
                  </a:cubicBezTo>
                  <a:cubicBezTo>
                    <a:pt x="264" y="135"/>
                    <a:pt x="253" y="128"/>
                    <a:pt x="242" y="128"/>
                  </a:cubicBezTo>
                  <a:cubicBezTo>
                    <a:pt x="231" y="128"/>
                    <a:pt x="220" y="134"/>
                    <a:pt x="215" y="143"/>
                  </a:cubicBezTo>
                  <a:cubicBezTo>
                    <a:pt x="177" y="208"/>
                    <a:pt x="177" y="208"/>
                    <a:pt x="177" y="208"/>
                  </a:cubicBezTo>
                  <a:cubicBezTo>
                    <a:pt x="174" y="204"/>
                    <a:pt x="169" y="199"/>
                    <a:pt x="164" y="194"/>
                  </a:cubicBezTo>
                  <a:cubicBezTo>
                    <a:pt x="152" y="183"/>
                    <a:pt x="135" y="171"/>
                    <a:pt x="114" y="171"/>
                  </a:cubicBezTo>
                  <a:cubicBezTo>
                    <a:pt x="102" y="171"/>
                    <a:pt x="92" y="176"/>
                    <a:pt x="84" y="184"/>
                  </a:cubicBezTo>
                  <a:cubicBezTo>
                    <a:pt x="71" y="195"/>
                    <a:pt x="61" y="210"/>
                    <a:pt x="54" y="223"/>
                  </a:cubicBezTo>
                  <a:cubicBezTo>
                    <a:pt x="50" y="231"/>
                    <a:pt x="47" y="238"/>
                    <a:pt x="45" y="242"/>
                  </a:cubicBezTo>
                  <a:cubicBezTo>
                    <a:pt x="14" y="242"/>
                    <a:pt x="14" y="242"/>
                    <a:pt x="14" y="242"/>
                  </a:cubicBezTo>
                  <a:cubicBezTo>
                    <a:pt x="14" y="14"/>
                    <a:pt x="14" y="14"/>
                    <a:pt x="14" y="14"/>
                  </a:cubicBezTo>
                  <a:lnTo>
                    <a:pt x="328" y="14"/>
                  </a:lnTo>
                  <a:close/>
                  <a:moveTo>
                    <a:pt x="172" y="225"/>
                  </a:moveTo>
                  <a:cubicBezTo>
                    <a:pt x="173" y="227"/>
                    <a:pt x="176" y="228"/>
                    <a:pt x="178" y="228"/>
                  </a:cubicBezTo>
                  <a:cubicBezTo>
                    <a:pt x="181" y="228"/>
                    <a:pt x="183" y="226"/>
                    <a:pt x="184" y="224"/>
                  </a:cubicBezTo>
                  <a:cubicBezTo>
                    <a:pt x="227" y="151"/>
                    <a:pt x="227" y="151"/>
                    <a:pt x="227" y="151"/>
                  </a:cubicBezTo>
                  <a:cubicBezTo>
                    <a:pt x="230" y="145"/>
                    <a:pt x="236" y="142"/>
                    <a:pt x="242" y="142"/>
                  </a:cubicBezTo>
                  <a:cubicBezTo>
                    <a:pt x="248" y="142"/>
                    <a:pt x="254" y="146"/>
                    <a:pt x="257" y="152"/>
                  </a:cubicBezTo>
                  <a:cubicBezTo>
                    <a:pt x="302" y="242"/>
                    <a:pt x="302" y="242"/>
                    <a:pt x="302" y="242"/>
                  </a:cubicBezTo>
                  <a:cubicBezTo>
                    <a:pt x="61" y="242"/>
                    <a:pt x="61" y="242"/>
                    <a:pt x="61" y="242"/>
                  </a:cubicBezTo>
                  <a:cubicBezTo>
                    <a:pt x="65" y="234"/>
                    <a:pt x="71" y="222"/>
                    <a:pt x="79" y="211"/>
                  </a:cubicBezTo>
                  <a:cubicBezTo>
                    <a:pt x="84" y="204"/>
                    <a:pt x="90" y="197"/>
                    <a:pt x="96" y="192"/>
                  </a:cubicBezTo>
                  <a:cubicBezTo>
                    <a:pt x="102" y="188"/>
                    <a:pt x="108" y="185"/>
                    <a:pt x="114" y="185"/>
                  </a:cubicBezTo>
                  <a:cubicBezTo>
                    <a:pt x="129" y="185"/>
                    <a:pt x="143" y="194"/>
                    <a:pt x="154" y="205"/>
                  </a:cubicBezTo>
                  <a:cubicBezTo>
                    <a:pt x="160" y="210"/>
                    <a:pt x="164" y="215"/>
                    <a:pt x="167" y="218"/>
                  </a:cubicBezTo>
                  <a:cubicBezTo>
                    <a:pt x="169" y="220"/>
                    <a:pt x="170" y="222"/>
                    <a:pt x="171" y="223"/>
                  </a:cubicBezTo>
                  <a:cubicBezTo>
                    <a:pt x="172" y="224"/>
                    <a:pt x="172" y="224"/>
                    <a:pt x="172" y="224"/>
                  </a:cubicBezTo>
                  <a:lnTo>
                    <a:pt x="172" y="225"/>
                  </a:lnTo>
                  <a:close/>
                  <a:moveTo>
                    <a:pt x="14" y="256"/>
                  </a:moveTo>
                  <a:cubicBezTo>
                    <a:pt x="328" y="256"/>
                    <a:pt x="328" y="256"/>
                    <a:pt x="328" y="256"/>
                  </a:cubicBezTo>
                  <a:cubicBezTo>
                    <a:pt x="328" y="328"/>
                    <a:pt x="328" y="328"/>
                    <a:pt x="328" y="328"/>
                  </a:cubicBezTo>
                  <a:cubicBezTo>
                    <a:pt x="14" y="328"/>
                    <a:pt x="14" y="328"/>
                    <a:pt x="14" y="328"/>
                  </a:cubicBezTo>
                  <a:lnTo>
                    <a:pt x="14"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2" name="Freeform 6">
              <a:extLst>
                <a:ext uri="{FF2B5EF4-FFF2-40B4-BE49-F238E27FC236}">
                  <a16:creationId xmlns:a16="http://schemas.microsoft.com/office/drawing/2014/main" id="{C16C8757-EC1F-F83F-B019-12AD5A895146}"/>
                </a:ext>
              </a:extLst>
            </p:cNvPr>
            <p:cNvSpPr>
              <a:spLocks noEditPoints="1"/>
            </p:cNvSpPr>
            <p:nvPr/>
          </p:nvSpPr>
          <p:spPr bwMode="auto">
            <a:xfrm>
              <a:off x="3621" y="1895"/>
              <a:ext cx="234" cy="177"/>
            </a:xfrm>
            <a:custGeom>
              <a:avLst/>
              <a:gdLst>
                <a:gd name="T0" fmla="*/ 28 w 114"/>
                <a:gd name="T1" fmla="*/ 86 h 86"/>
                <a:gd name="T2" fmla="*/ 71 w 114"/>
                <a:gd name="T3" fmla="*/ 86 h 86"/>
                <a:gd name="T4" fmla="*/ 114 w 114"/>
                <a:gd name="T5" fmla="*/ 43 h 86"/>
                <a:gd name="T6" fmla="*/ 71 w 114"/>
                <a:gd name="T7" fmla="*/ 0 h 86"/>
                <a:gd name="T8" fmla="*/ 31 w 114"/>
                <a:gd name="T9" fmla="*/ 29 h 86"/>
                <a:gd name="T10" fmla="*/ 28 w 114"/>
                <a:gd name="T11" fmla="*/ 29 h 86"/>
                <a:gd name="T12" fmla="*/ 0 w 114"/>
                <a:gd name="T13" fmla="*/ 57 h 86"/>
                <a:gd name="T14" fmla="*/ 28 w 114"/>
                <a:gd name="T15" fmla="*/ 86 h 86"/>
                <a:gd name="T16" fmla="*/ 28 w 114"/>
                <a:gd name="T17" fmla="*/ 43 h 86"/>
                <a:gd name="T18" fmla="*/ 34 w 114"/>
                <a:gd name="T19" fmla="*/ 44 h 86"/>
                <a:gd name="T20" fmla="*/ 40 w 114"/>
                <a:gd name="T21" fmla="*/ 44 h 86"/>
                <a:gd name="T22" fmla="*/ 43 w 114"/>
                <a:gd name="T23" fmla="*/ 39 h 86"/>
                <a:gd name="T24" fmla="*/ 71 w 114"/>
                <a:gd name="T25" fmla="*/ 15 h 86"/>
                <a:gd name="T26" fmla="*/ 100 w 114"/>
                <a:gd name="T27" fmla="*/ 43 h 86"/>
                <a:gd name="T28" fmla="*/ 71 w 114"/>
                <a:gd name="T29" fmla="*/ 72 h 86"/>
                <a:gd name="T30" fmla="*/ 28 w 114"/>
                <a:gd name="T31" fmla="*/ 72 h 86"/>
                <a:gd name="T32" fmla="*/ 14 w 114"/>
                <a:gd name="T33" fmla="*/ 57 h 86"/>
                <a:gd name="T34" fmla="*/ 28 w 114"/>
                <a:gd name="T35"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4" h="86">
                  <a:moveTo>
                    <a:pt x="28" y="86"/>
                  </a:moveTo>
                  <a:cubicBezTo>
                    <a:pt x="71" y="86"/>
                    <a:pt x="71" y="86"/>
                    <a:pt x="71" y="86"/>
                  </a:cubicBezTo>
                  <a:cubicBezTo>
                    <a:pt x="95" y="86"/>
                    <a:pt x="114" y="67"/>
                    <a:pt x="114" y="43"/>
                  </a:cubicBezTo>
                  <a:cubicBezTo>
                    <a:pt x="114" y="20"/>
                    <a:pt x="95" y="0"/>
                    <a:pt x="71" y="0"/>
                  </a:cubicBezTo>
                  <a:cubicBezTo>
                    <a:pt x="53" y="0"/>
                    <a:pt x="37" y="12"/>
                    <a:pt x="31" y="29"/>
                  </a:cubicBezTo>
                  <a:cubicBezTo>
                    <a:pt x="30" y="29"/>
                    <a:pt x="29" y="29"/>
                    <a:pt x="28" y="29"/>
                  </a:cubicBezTo>
                  <a:cubicBezTo>
                    <a:pt x="13" y="29"/>
                    <a:pt x="0" y="42"/>
                    <a:pt x="0" y="57"/>
                  </a:cubicBezTo>
                  <a:cubicBezTo>
                    <a:pt x="0" y="73"/>
                    <a:pt x="13" y="86"/>
                    <a:pt x="28" y="86"/>
                  </a:cubicBezTo>
                  <a:close/>
                  <a:moveTo>
                    <a:pt x="28" y="43"/>
                  </a:moveTo>
                  <a:cubicBezTo>
                    <a:pt x="30" y="43"/>
                    <a:pt x="32" y="44"/>
                    <a:pt x="34" y="44"/>
                  </a:cubicBezTo>
                  <a:cubicBezTo>
                    <a:pt x="36" y="45"/>
                    <a:pt x="38" y="45"/>
                    <a:pt x="40" y="44"/>
                  </a:cubicBezTo>
                  <a:cubicBezTo>
                    <a:pt x="42" y="43"/>
                    <a:pt x="43" y="41"/>
                    <a:pt x="43" y="39"/>
                  </a:cubicBezTo>
                  <a:cubicBezTo>
                    <a:pt x="45" y="25"/>
                    <a:pt x="57" y="15"/>
                    <a:pt x="71" y="15"/>
                  </a:cubicBezTo>
                  <a:cubicBezTo>
                    <a:pt x="87" y="15"/>
                    <a:pt x="100" y="27"/>
                    <a:pt x="100" y="43"/>
                  </a:cubicBezTo>
                  <a:cubicBezTo>
                    <a:pt x="100" y="59"/>
                    <a:pt x="87" y="72"/>
                    <a:pt x="71" y="72"/>
                  </a:cubicBezTo>
                  <a:cubicBezTo>
                    <a:pt x="28" y="72"/>
                    <a:pt x="28" y="72"/>
                    <a:pt x="28" y="72"/>
                  </a:cubicBezTo>
                  <a:cubicBezTo>
                    <a:pt x="21" y="72"/>
                    <a:pt x="14" y="65"/>
                    <a:pt x="14" y="57"/>
                  </a:cubicBezTo>
                  <a:cubicBezTo>
                    <a:pt x="14" y="50"/>
                    <a:pt x="21" y="43"/>
                    <a:pt x="28"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63" name="Group 4">
            <a:extLst>
              <a:ext uri="{FF2B5EF4-FFF2-40B4-BE49-F238E27FC236}">
                <a16:creationId xmlns:a16="http://schemas.microsoft.com/office/drawing/2014/main" id="{5603A935-76C2-9F28-A43F-189466B7516B}"/>
              </a:ext>
            </a:extLst>
          </p:cNvPr>
          <p:cNvGrpSpPr>
            <a:grpSpLocks noChangeAspect="1"/>
          </p:cNvGrpSpPr>
          <p:nvPr/>
        </p:nvGrpSpPr>
        <p:grpSpPr bwMode="auto">
          <a:xfrm>
            <a:off x="8141326" y="2928777"/>
            <a:ext cx="616249" cy="618002"/>
            <a:chOff x="3489" y="1808"/>
            <a:chExt cx="703" cy="705"/>
          </a:xfrm>
          <a:solidFill>
            <a:schemeClr val="bg1"/>
          </a:solidFill>
        </p:grpSpPr>
        <p:sp>
          <p:nvSpPr>
            <p:cNvPr id="64" name="Freeform 5">
              <a:extLst>
                <a:ext uri="{FF2B5EF4-FFF2-40B4-BE49-F238E27FC236}">
                  <a16:creationId xmlns:a16="http://schemas.microsoft.com/office/drawing/2014/main" id="{8BD3DA96-90E2-A815-1811-C4CB466F5101}"/>
                </a:ext>
              </a:extLst>
            </p:cNvPr>
            <p:cNvSpPr>
              <a:spLocks noEditPoints="1"/>
            </p:cNvSpPr>
            <p:nvPr/>
          </p:nvSpPr>
          <p:spPr bwMode="auto">
            <a:xfrm>
              <a:off x="3489" y="1808"/>
              <a:ext cx="703" cy="705"/>
            </a:xfrm>
            <a:custGeom>
              <a:avLst/>
              <a:gdLst>
                <a:gd name="T0" fmla="*/ 340 w 342"/>
                <a:gd name="T1" fmla="*/ 2 h 342"/>
                <a:gd name="T2" fmla="*/ 335 w 342"/>
                <a:gd name="T3" fmla="*/ 0 h 342"/>
                <a:gd name="T4" fmla="*/ 7 w 342"/>
                <a:gd name="T5" fmla="*/ 0 h 342"/>
                <a:gd name="T6" fmla="*/ 2 w 342"/>
                <a:gd name="T7" fmla="*/ 2 h 342"/>
                <a:gd name="T8" fmla="*/ 0 w 342"/>
                <a:gd name="T9" fmla="*/ 7 h 342"/>
                <a:gd name="T10" fmla="*/ 0 w 342"/>
                <a:gd name="T11" fmla="*/ 335 h 342"/>
                <a:gd name="T12" fmla="*/ 2 w 342"/>
                <a:gd name="T13" fmla="*/ 340 h 342"/>
                <a:gd name="T14" fmla="*/ 7 w 342"/>
                <a:gd name="T15" fmla="*/ 342 h 342"/>
                <a:gd name="T16" fmla="*/ 335 w 342"/>
                <a:gd name="T17" fmla="*/ 342 h 342"/>
                <a:gd name="T18" fmla="*/ 340 w 342"/>
                <a:gd name="T19" fmla="*/ 340 h 342"/>
                <a:gd name="T20" fmla="*/ 342 w 342"/>
                <a:gd name="T21" fmla="*/ 335 h 342"/>
                <a:gd name="T22" fmla="*/ 342 w 342"/>
                <a:gd name="T23" fmla="*/ 7 h 342"/>
                <a:gd name="T24" fmla="*/ 340 w 342"/>
                <a:gd name="T25" fmla="*/ 2 h 342"/>
                <a:gd name="T26" fmla="*/ 328 w 342"/>
                <a:gd name="T27" fmla="*/ 14 h 342"/>
                <a:gd name="T28" fmla="*/ 328 w 342"/>
                <a:gd name="T29" fmla="*/ 242 h 342"/>
                <a:gd name="T30" fmla="*/ 318 w 342"/>
                <a:gd name="T31" fmla="*/ 242 h 342"/>
                <a:gd name="T32" fmla="*/ 269 w 342"/>
                <a:gd name="T33" fmla="*/ 145 h 342"/>
                <a:gd name="T34" fmla="*/ 242 w 342"/>
                <a:gd name="T35" fmla="*/ 128 h 342"/>
                <a:gd name="T36" fmla="*/ 215 w 342"/>
                <a:gd name="T37" fmla="*/ 143 h 342"/>
                <a:gd name="T38" fmla="*/ 177 w 342"/>
                <a:gd name="T39" fmla="*/ 208 h 342"/>
                <a:gd name="T40" fmla="*/ 164 w 342"/>
                <a:gd name="T41" fmla="*/ 194 h 342"/>
                <a:gd name="T42" fmla="*/ 114 w 342"/>
                <a:gd name="T43" fmla="*/ 171 h 342"/>
                <a:gd name="T44" fmla="*/ 84 w 342"/>
                <a:gd name="T45" fmla="*/ 184 h 342"/>
                <a:gd name="T46" fmla="*/ 54 w 342"/>
                <a:gd name="T47" fmla="*/ 223 h 342"/>
                <a:gd name="T48" fmla="*/ 45 w 342"/>
                <a:gd name="T49" fmla="*/ 242 h 342"/>
                <a:gd name="T50" fmla="*/ 14 w 342"/>
                <a:gd name="T51" fmla="*/ 242 h 342"/>
                <a:gd name="T52" fmla="*/ 14 w 342"/>
                <a:gd name="T53" fmla="*/ 14 h 342"/>
                <a:gd name="T54" fmla="*/ 328 w 342"/>
                <a:gd name="T55" fmla="*/ 14 h 342"/>
                <a:gd name="T56" fmla="*/ 172 w 342"/>
                <a:gd name="T57" fmla="*/ 225 h 342"/>
                <a:gd name="T58" fmla="*/ 178 w 342"/>
                <a:gd name="T59" fmla="*/ 228 h 342"/>
                <a:gd name="T60" fmla="*/ 184 w 342"/>
                <a:gd name="T61" fmla="*/ 224 h 342"/>
                <a:gd name="T62" fmla="*/ 227 w 342"/>
                <a:gd name="T63" fmla="*/ 151 h 342"/>
                <a:gd name="T64" fmla="*/ 242 w 342"/>
                <a:gd name="T65" fmla="*/ 142 h 342"/>
                <a:gd name="T66" fmla="*/ 257 w 342"/>
                <a:gd name="T67" fmla="*/ 152 h 342"/>
                <a:gd name="T68" fmla="*/ 302 w 342"/>
                <a:gd name="T69" fmla="*/ 242 h 342"/>
                <a:gd name="T70" fmla="*/ 61 w 342"/>
                <a:gd name="T71" fmla="*/ 242 h 342"/>
                <a:gd name="T72" fmla="*/ 79 w 342"/>
                <a:gd name="T73" fmla="*/ 211 h 342"/>
                <a:gd name="T74" fmla="*/ 96 w 342"/>
                <a:gd name="T75" fmla="*/ 192 h 342"/>
                <a:gd name="T76" fmla="*/ 114 w 342"/>
                <a:gd name="T77" fmla="*/ 185 h 342"/>
                <a:gd name="T78" fmla="*/ 154 w 342"/>
                <a:gd name="T79" fmla="*/ 205 h 342"/>
                <a:gd name="T80" fmla="*/ 167 w 342"/>
                <a:gd name="T81" fmla="*/ 218 h 342"/>
                <a:gd name="T82" fmla="*/ 171 w 342"/>
                <a:gd name="T83" fmla="*/ 223 h 342"/>
                <a:gd name="T84" fmla="*/ 172 w 342"/>
                <a:gd name="T85" fmla="*/ 224 h 342"/>
                <a:gd name="T86" fmla="*/ 172 w 342"/>
                <a:gd name="T87" fmla="*/ 225 h 342"/>
                <a:gd name="T88" fmla="*/ 14 w 342"/>
                <a:gd name="T89" fmla="*/ 256 h 342"/>
                <a:gd name="T90" fmla="*/ 328 w 342"/>
                <a:gd name="T91" fmla="*/ 256 h 342"/>
                <a:gd name="T92" fmla="*/ 328 w 342"/>
                <a:gd name="T93" fmla="*/ 328 h 342"/>
                <a:gd name="T94" fmla="*/ 14 w 342"/>
                <a:gd name="T95" fmla="*/ 328 h 342"/>
                <a:gd name="T96" fmla="*/ 14 w 342"/>
                <a:gd name="T97" fmla="*/ 256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2" h="342">
                  <a:moveTo>
                    <a:pt x="340" y="2"/>
                  </a:moveTo>
                  <a:cubicBezTo>
                    <a:pt x="339" y="0"/>
                    <a:pt x="337" y="0"/>
                    <a:pt x="335" y="0"/>
                  </a:cubicBezTo>
                  <a:cubicBezTo>
                    <a:pt x="7" y="0"/>
                    <a:pt x="7" y="0"/>
                    <a:pt x="7" y="0"/>
                  </a:cubicBezTo>
                  <a:cubicBezTo>
                    <a:pt x="5" y="0"/>
                    <a:pt x="3" y="0"/>
                    <a:pt x="2" y="2"/>
                  </a:cubicBezTo>
                  <a:cubicBezTo>
                    <a:pt x="0" y="3"/>
                    <a:pt x="0" y="5"/>
                    <a:pt x="0" y="7"/>
                  </a:cubicBezTo>
                  <a:cubicBezTo>
                    <a:pt x="0" y="335"/>
                    <a:pt x="0" y="335"/>
                    <a:pt x="0" y="335"/>
                  </a:cubicBezTo>
                  <a:cubicBezTo>
                    <a:pt x="0" y="337"/>
                    <a:pt x="0" y="339"/>
                    <a:pt x="2" y="340"/>
                  </a:cubicBezTo>
                  <a:cubicBezTo>
                    <a:pt x="3" y="341"/>
                    <a:pt x="5" y="342"/>
                    <a:pt x="7" y="342"/>
                  </a:cubicBezTo>
                  <a:cubicBezTo>
                    <a:pt x="335" y="342"/>
                    <a:pt x="335" y="342"/>
                    <a:pt x="335" y="342"/>
                  </a:cubicBezTo>
                  <a:cubicBezTo>
                    <a:pt x="337" y="342"/>
                    <a:pt x="339" y="341"/>
                    <a:pt x="340" y="340"/>
                  </a:cubicBezTo>
                  <a:cubicBezTo>
                    <a:pt x="341" y="339"/>
                    <a:pt x="342" y="337"/>
                    <a:pt x="342" y="335"/>
                  </a:cubicBezTo>
                  <a:cubicBezTo>
                    <a:pt x="342" y="7"/>
                    <a:pt x="342" y="7"/>
                    <a:pt x="342" y="7"/>
                  </a:cubicBezTo>
                  <a:cubicBezTo>
                    <a:pt x="342" y="5"/>
                    <a:pt x="341" y="3"/>
                    <a:pt x="340" y="2"/>
                  </a:cubicBezTo>
                  <a:close/>
                  <a:moveTo>
                    <a:pt x="328" y="14"/>
                  </a:moveTo>
                  <a:cubicBezTo>
                    <a:pt x="328" y="242"/>
                    <a:pt x="328" y="242"/>
                    <a:pt x="328" y="242"/>
                  </a:cubicBezTo>
                  <a:cubicBezTo>
                    <a:pt x="318" y="242"/>
                    <a:pt x="318" y="242"/>
                    <a:pt x="318" y="242"/>
                  </a:cubicBezTo>
                  <a:cubicBezTo>
                    <a:pt x="269" y="145"/>
                    <a:pt x="269" y="145"/>
                    <a:pt x="269" y="145"/>
                  </a:cubicBezTo>
                  <a:cubicBezTo>
                    <a:pt x="264" y="135"/>
                    <a:pt x="253" y="128"/>
                    <a:pt x="242" y="128"/>
                  </a:cubicBezTo>
                  <a:cubicBezTo>
                    <a:pt x="231" y="128"/>
                    <a:pt x="220" y="134"/>
                    <a:pt x="215" y="143"/>
                  </a:cubicBezTo>
                  <a:cubicBezTo>
                    <a:pt x="177" y="208"/>
                    <a:pt x="177" y="208"/>
                    <a:pt x="177" y="208"/>
                  </a:cubicBezTo>
                  <a:cubicBezTo>
                    <a:pt x="174" y="204"/>
                    <a:pt x="169" y="199"/>
                    <a:pt x="164" y="194"/>
                  </a:cubicBezTo>
                  <a:cubicBezTo>
                    <a:pt x="152" y="183"/>
                    <a:pt x="135" y="171"/>
                    <a:pt x="114" y="171"/>
                  </a:cubicBezTo>
                  <a:cubicBezTo>
                    <a:pt x="102" y="171"/>
                    <a:pt x="92" y="176"/>
                    <a:pt x="84" y="184"/>
                  </a:cubicBezTo>
                  <a:cubicBezTo>
                    <a:pt x="71" y="195"/>
                    <a:pt x="61" y="210"/>
                    <a:pt x="54" y="223"/>
                  </a:cubicBezTo>
                  <a:cubicBezTo>
                    <a:pt x="50" y="231"/>
                    <a:pt x="47" y="238"/>
                    <a:pt x="45" y="242"/>
                  </a:cubicBezTo>
                  <a:cubicBezTo>
                    <a:pt x="14" y="242"/>
                    <a:pt x="14" y="242"/>
                    <a:pt x="14" y="242"/>
                  </a:cubicBezTo>
                  <a:cubicBezTo>
                    <a:pt x="14" y="14"/>
                    <a:pt x="14" y="14"/>
                    <a:pt x="14" y="14"/>
                  </a:cubicBezTo>
                  <a:lnTo>
                    <a:pt x="328" y="14"/>
                  </a:lnTo>
                  <a:close/>
                  <a:moveTo>
                    <a:pt x="172" y="225"/>
                  </a:moveTo>
                  <a:cubicBezTo>
                    <a:pt x="173" y="227"/>
                    <a:pt x="176" y="228"/>
                    <a:pt x="178" y="228"/>
                  </a:cubicBezTo>
                  <a:cubicBezTo>
                    <a:pt x="181" y="228"/>
                    <a:pt x="183" y="226"/>
                    <a:pt x="184" y="224"/>
                  </a:cubicBezTo>
                  <a:cubicBezTo>
                    <a:pt x="227" y="151"/>
                    <a:pt x="227" y="151"/>
                    <a:pt x="227" y="151"/>
                  </a:cubicBezTo>
                  <a:cubicBezTo>
                    <a:pt x="230" y="145"/>
                    <a:pt x="236" y="142"/>
                    <a:pt x="242" y="142"/>
                  </a:cubicBezTo>
                  <a:cubicBezTo>
                    <a:pt x="248" y="142"/>
                    <a:pt x="254" y="146"/>
                    <a:pt x="257" y="152"/>
                  </a:cubicBezTo>
                  <a:cubicBezTo>
                    <a:pt x="302" y="242"/>
                    <a:pt x="302" y="242"/>
                    <a:pt x="302" y="242"/>
                  </a:cubicBezTo>
                  <a:cubicBezTo>
                    <a:pt x="61" y="242"/>
                    <a:pt x="61" y="242"/>
                    <a:pt x="61" y="242"/>
                  </a:cubicBezTo>
                  <a:cubicBezTo>
                    <a:pt x="65" y="234"/>
                    <a:pt x="71" y="222"/>
                    <a:pt x="79" y="211"/>
                  </a:cubicBezTo>
                  <a:cubicBezTo>
                    <a:pt x="84" y="204"/>
                    <a:pt x="90" y="197"/>
                    <a:pt x="96" y="192"/>
                  </a:cubicBezTo>
                  <a:cubicBezTo>
                    <a:pt x="102" y="188"/>
                    <a:pt x="108" y="185"/>
                    <a:pt x="114" y="185"/>
                  </a:cubicBezTo>
                  <a:cubicBezTo>
                    <a:pt x="129" y="185"/>
                    <a:pt x="143" y="194"/>
                    <a:pt x="154" y="205"/>
                  </a:cubicBezTo>
                  <a:cubicBezTo>
                    <a:pt x="160" y="210"/>
                    <a:pt x="164" y="215"/>
                    <a:pt x="167" y="218"/>
                  </a:cubicBezTo>
                  <a:cubicBezTo>
                    <a:pt x="169" y="220"/>
                    <a:pt x="170" y="222"/>
                    <a:pt x="171" y="223"/>
                  </a:cubicBezTo>
                  <a:cubicBezTo>
                    <a:pt x="172" y="224"/>
                    <a:pt x="172" y="224"/>
                    <a:pt x="172" y="224"/>
                  </a:cubicBezTo>
                  <a:lnTo>
                    <a:pt x="172" y="225"/>
                  </a:lnTo>
                  <a:close/>
                  <a:moveTo>
                    <a:pt x="14" y="256"/>
                  </a:moveTo>
                  <a:cubicBezTo>
                    <a:pt x="328" y="256"/>
                    <a:pt x="328" y="256"/>
                    <a:pt x="328" y="256"/>
                  </a:cubicBezTo>
                  <a:cubicBezTo>
                    <a:pt x="328" y="328"/>
                    <a:pt x="328" y="328"/>
                    <a:pt x="328" y="328"/>
                  </a:cubicBezTo>
                  <a:cubicBezTo>
                    <a:pt x="14" y="328"/>
                    <a:pt x="14" y="328"/>
                    <a:pt x="14" y="328"/>
                  </a:cubicBezTo>
                  <a:lnTo>
                    <a:pt x="14"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5" name="Freeform 6">
              <a:extLst>
                <a:ext uri="{FF2B5EF4-FFF2-40B4-BE49-F238E27FC236}">
                  <a16:creationId xmlns:a16="http://schemas.microsoft.com/office/drawing/2014/main" id="{A7ADDEFD-D3EB-1472-1765-439F3D41D10B}"/>
                </a:ext>
              </a:extLst>
            </p:cNvPr>
            <p:cNvSpPr>
              <a:spLocks noEditPoints="1"/>
            </p:cNvSpPr>
            <p:nvPr/>
          </p:nvSpPr>
          <p:spPr bwMode="auto">
            <a:xfrm>
              <a:off x="3621" y="1895"/>
              <a:ext cx="234" cy="177"/>
            </a:xfrm>
            <a:custGeom>
              <a:avLst/>
              <a:gdLst>
                <a:gd name="T0" fmla="*/ 28 w 114"/>
                <a:gd name="T1" fmla="*/ 86 h 86"/>
                <a:gd name="T2" fmla="*/ 71 w 114"/>
                <a:gd name="T3" fmla="*/ 86 h 86"/>
                <a:gd name="T4" fmla="*/ 114 w 114"/>
                <a:gd name="T5" fmla="*/ 43 h 86"/>
                <a:gd name="T6" fmla="*/ 71 w 114"/>
                <a:gd name="T7" fmla="*/ 0 h 86"/>
                <a:gd name="T8" fmla="*/ 31 w 114"/>
                <a:gd name="T9" fmla="*/ 29 h 86"/>
                <a:gd name="T10" fmla="*/ 28 w 114"/>
                <a:gd name="T11" fmla="*/ 29 h 86"/>
                <a:gd name="T12" fmla="*/ 0 w 114"/>
                <a:gd name="T13" fmla="*/ 57 h 86"/>
                <a:gd name="T14" fmla="*/ 28 w 114"/>
                <a:gd name="T15" fmla="*/ 86 h 86"/>
                <a:gd name="T16" fmla="*/ 28 w 114"/>
                <a:gd name="T17" fmla="*/ 43 h 86"/>
                <a:gd name="T18" fmla="*/ 34 w 114"/>
                <a:gd name="T19" fmla="*/ 44 h 86"/>
                <a:gd name="T20" fmla="*/ 40 w 114"/>
                <a:gd name="T21" fmla="*/ 44 h 86"/>
                <a:gd name="T22" fmla="*/ 43 w 114"/>
                <a:gd name="T23" fmla="*/ 39 h 86"/>
                <a:gd name="T24" fmla="*/ 71 w 114"/>
                <a:gd name="T25" fmla="*/ 15 h 86"/>
                <a:gd name="T26" fmla="*/ 100 w 114"/>
                <a:gd name="T27" fmla="*/ 43 h 86"/>
                <a:gd name="T28" fmla="*/ 71 w 114"/>
                <a:gd name="T29" fmla="*/ 72 h 86"/>
                <a:gd name="T30" fmla="*/ 28 w 114"/>
                <a:gd name="T31" fmla="*/ 72 h 86"/>
                <a:gd name="T32" fmla="*/ 14 w 114"/>
                <a:gd name="T33" fmla="*/ 57 h 86"/>
                <a:gd name="T34" fmla="*/ 28 w 114"/>
                <a:gd name="T35"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4" h="86">
                  <a:moveTo>
                    <a:pt x="28" y="86"/>
                  </a:moveTo>
                  <a:cubicBezTo>
                    <a:pt x="71" y="86"/>
                    <a:pt x="71" y="86"/>
                    <a:pt x="71" y="86"/>
                  </a:cubicBezTo>
                  <a:cubicBezTo>
                    <a:pt x="95" y="86"/>
                    <a:pt x="114" y="67"/>
                    <a:pt x="114" y="43"/>
                  </a:cubicBezTo>
                  <a:cubicBezTo>
                    <a:pt x="114" y="20"/>
                    <a:pt x="95" y="0"/>
                    <a:pt x="71" y="0"/>
                  </a:cubicBezTo>
                  <a:cubicBezTo>
                    <a:pt x="53" y="0"/>
                    <a:pt x="37" y="12"/>
                    <a:pt x="31" y="29"/>
                  </a:cubicBezTo>
                  <a:cubicBezTo>
                    <a:pt x="30" y="29"/>
                    <a:pt x="29" y="29"/>
                    <a:pt x="28" y="29"/>
                  </a:cubicBezTo>
                  <a:cubicBezTo>
                    <a:pt x="13" y="29"/>
                    <a:pt x="0" y="42"/>
                    <a:pt x="0" y="57"/>
                  </a:cubicBezTo>
                  <a:cubicBezTo>
                    <a:pt x="0" y="73"/>
                    <a:pt x="13" y="86"/>
                    <a:pt x="28" y="86"/>
                  </a:cubicBezTo>
                  <a:close/>
                  <a:moveTo>
                    <a:pt x="28" y="43"/>
                  </a:moveTo>
                  <a:cubicBezTo>
                    <a:pt x="30" y="43"/>
                    <a:pt x="32" y="44"/>
                    <a:pt x="34" y="44"/>
                  </a:cubicBezTo>
                  <a:cubicBezTo>
                    <a:pt x="36" y="45"/>
                    <a:pt x="38" y="45"/>
                    <a:pt x="40" y="44"/>
                  </a:cubicBezTo>
                  <a:cubicBezTo>
                    <a:pt x="42" y="43"/>
                    <a:pt x="43" y="41"/>
                    <a:pt x="43" y="39"/>
                  </a:cubicBezTo>
                  <a:cubicBezTo>
                    <a:pt x="45" y="25"/>
                    <a:pt x="57" y="15"/>
                    <a:pt x="71" y="15"/>
                  </a:cubicBezTo>
                  <a:cubicBezTo>
                    <a:pt x="87" y="15"/>
                    <a:pt x="100" y="27"/>
                    <a:pt x="100" y="43"/>
                  </a:cubicBezTo>
                  <a:cubicBezTo>
                    <a:pt x="100" y="59"/>
                    <a:pt x="87" y="72"/>
                    <a:pt x="71" y="72"/>
                  </a:cubicBezTo>
                  <a:cubicBezTo>
                    <a:pt x="28" y="72"/>
                    <a:pt x="28" y="72"/>
                    <a:pt x="28" y="72"/>
                  </a:cubicBezTo>
                  <a:cubicBezTo>
                    <a:pt x="21" y="72"/>
                    <a:pt x="14" y="65"/>
                    <a:pt x="14" y="57"/>
                  </a:cubicBezTo>
                  <a:cubicBezTo>
                    <a:pt x="14" y="50"/>
                    <a:pt x="21" y="43"/>
                    <a:pt x="28"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66" name="Group 4">
            <a:extLst>
              <a:ext uri="{FF2B5EF4-FFF2-40B4-BE49-F238E27FC236}">
                <a16:creationId xmlns:a16="http://schemas.microsoft.com/office/drawing/2014/main" id="{B792260F-8B9C-7DA4-683C-410043D38DC3}"/>
              </a:ext>
            </a:extLst>
          </p:cNvPr>
          <p:cNvGrpSpPr>
            <a:grpSpLocks noChangeAspect="1"/>
          </p:cNvGrpSpPr>
          <p:nvPr/>
        </p:nvGrpSpPr>
        <p:grpSpPr bwMode="auto">
          <a:xfrm>
            <a:off x="10509876" y="2928777"/>
            <a:ext cx="616249" cy="618002"/>
            <a:chOff x="3489" y="1808"/>
            <a:chExt cx="703" cy="705"/>
          </a:xfrm>
          <a:solidFill>
            <a:schemeClr val="bg1"/>
          </a:solidFill>
        </p:grpSpPr>
        <p:sp>
          <p:nvSpPr>
            <p:cNvPr id="67" name="Freeform 5">
              <a:extLst>
                <a:ext uri="{FF2B5EF4-FFF2-40B4-BE49-F238E27FC236}">
                  <a16:creationId xmlns:a16="http://schemas.microsoft.com/office/drawing/2014/main" id="{F05BD0F8-ADFB-B733-7C7D-AE502E5DE4D4}"/>
                </a:ext>
              </a:extLst>
            </p:cNvPr>
            <p:cNvSpPr>
              <a:spLocks noEditPoints="1"/>
            </p:cNvSpPr>
            <p:nvPr/>
          </p:nvSpPr>
          <p:spPr bwMode="auto">
            <a:xfrm>
              <a:off x="3489" y="1808"/>
              <a:ext cx="703" cy="705"/>
            </a:xfrm>
            <a:custGeom>
              <a:avLst/>
              <a:gdLst>
                <a:gd name="T0" fmla="*/ 340 w 342"/>
                <a:gd name="T1" fmla="*/ 2 h 342"/>
                <a:gd name="T2" fmla="*/ 335 w 342"/>
                <a:gd name="T3" fmla="*/ 0 h 342"/>
                <a:gd name="T4" fmla="*/ 7 w 342"/>
                <a:gd name="T5" fmla="*/ 0 h 342"/>
                <a:gd name="T6" fmla="*/ 2 w 342"/>
                <a:gd name="T7" fmla="*/ 2 h 342"/>
                <a:gd name="T8" fmla="*/ 0 w 342"/>
                <a:gd name="T9" fmla="*/ 7 h 342"/>
                <a:gd name="T10" fmla="*/ 0 w 342"/>
                <a:gd name="T11" fmla="*/ 335 h 342"/>
                <a:gd name="T12" fmla="*/ 2 w 342"/>
                <a:gd name="T13" fmla="*/ 340 h 342"/>
                <a:gd name="T14" fmla="*/ 7 w 342"/>
                <a:gd name="T15" fmla="*/ 342 h 342"/>
                <a:gd name="T16" fmla="*/ 335 w 342"/>
                <a:gd name="T17" fmla="*/ 342 h 342"/>
                <a:gd name="T18" fmla="*/ 340 w 342"/>
                <a:gd name="T19" fmla="*/ 340 h 342"/>
                <a:gd name="T20" fmla="*/ 342 w 342"/>
                <a:gd name="T21" fmla="*/ 335 h 342"/>
                <a:gd name="T22" fmla="*/ 342 w 342"/>
                <a:gd name="T23" fmla="*/ 7 h 342"/>
                <a:gd name="T24" fmla="*/ 340 w 342"/>
                <a:gd name="T25" fmla="*/ 2 h 342"/>
                <a:gd name="T26" fmla="*/ 328 w 342"/>
                <a:gd name="T27" fmla="*/ 14 h 342"/>
                <a:gd name="T28" fmla="*/ 328 w 342"/>
                <a:gd name="T29" fmla="*/ 242 h 342"/>
                <a:gd name="T30" fmla="*/ 318 w 342"/>
                <a:gd name="T31" fmla="*/ 242 h 342"/>
                <a:gd name="T32" fmla="*/ 269 w 342"/>
                <a:gd name="T33" fmla="*/ 145 h 342"/>
                <a:gd name="T34" fmla="*/ 242 w 342"/>
                <a:gd name="T35" fmla="*/ 128 h 342"/>
                <a:gd name="T36" fmla="*/ 215 w 342"/>
                <a:gd name="T37" fmla="*/ 143 h 342"/>
                <a:gd name="T38" fmla="*/ 177 w 342"/>
                <a:gd name="T39" fmla="*/ 208 h 342"/>
                <a:gd name="T40" fmla="*/ 164 w 342"/>
                <a:gd name="T41" fmla="*/ 194 h 342"/>
                <a:gd name="T42" fmla="*/ 114 w 342"/>
                <a:gd name="T43" fmla="*/ 171 h 342"/>
                <a:gd name="T44" fmla="*/ 84 w 342"/>
                <a:gd name="T45" fmla="*/ 184 h 342"/>
                <a:gd name="T46" fmla="*/ 54 w 342"/>
                <a:gd name="T47" fmla="*/ 223 h 342"/>
                <a:gd name="T48" fmla="*/ 45 w 342"/>
                <a:gd name="T49" fmla="*/ 242 h 342"/>
                <a:gd name="T50" fmla="*/ 14 w 342"/>
                <a:gd name="T51" fmla="*/ 242 h 342"/>
                <a:gd name="T52" fmla="*/ 14 w 342"/>
                <a:gd name="T53" fmla="*/ 14 h 342"/>
                <a:gd name="T54" fmla="*/ 328 w 342"/>
                <a:gd name="T55" fmla="*/ 14 h 342"/>
                <a:gd name="T56" fmla="*/ 172 w 342"/>
                <a:gd name="T57" fmla="*/ 225 h 342"/>
                <a:gd name="T58" fmla="*/ 178 w 342"/>
                <a:gd name="T59" fmla="*/ 228 h 342"/>
                <a:gd name="T60" fmla="*/ 184 w 342"/>
                <a:gd name="T61" fmla="*/ 224 h 342"/>
                <a:gd name="T62" fmla="*/ 227 w 342"/>
                <a:gd name="T63" fmla="*/ 151 h 342"/>
                <a:gd name="T64" fmla="*/ 242 w 342"/>
                <a:gd name="T65" fmla="*/ 142 h 342"/>
                <a:gd name="T66" fmla="*/ 257 w 342"/>
                <a:gd name="T67" fmla="*/ 152 h 342"/>
                <a:gd name="T68" fmla="*/ 302 w 342"/>
                <a:gd name="T69" fmla="*/ 242 h 342"/>
                <a:gd name="T70" fmla="*/ 61 w 342"/>
                <a:gd name="T71" fmla="*/ 242 h 342"/>
                <a:gd name="T72" fmla="*/ 79 w 342"/>
                <a:gd name="T73" fmla="*/ 211 h 342"/>
                <a:gd name="T74" fmla="*/ 96 w 342"/>
                <a:gd name="T75" fmla="*/ 192 h 342"/>
                <a:gd name="T76" fmla="*/ 114 w 342"/>
                <a:gd name="T77" fmla="*/ 185 h 342"/>
                <a:gd name="T78" fmla="*/ 154 w 342"/>
                <a:gd name="T79" fmla="*/ 205 h 342"/>
                <a:gd name="T80" fmla="*/ 167 w 342"/>
                <a:gd name="T81" fmla="*/ 218 h 342"/>
                <a:gd name="T82" fmla="*/ 171 w 342"/>
                <a:gd name="T83" fmla="*/ 223 h 342"/>
                <a:gd name="T84" fmla="*/ 172 w 342"/>
                <a:gd name="T85" fmla="*/ 224 h 342"/>
                <a:gd name="T86" fmla="*/ 172 w 342"/>
                <a:gd name="T87" fmla="*/ 225 h 342"/>
                <a:gd name="T88" fmla="*/ 14 w 342"/>
                <a:gd name="T89" fmla="*/ 256 h 342"/>
                <a:gd name="T90" fmla="*/ 328 w 342"/>
                <a:gd name="T91" fmla="*/ 256 h 342"/>
                <a:gd name="T92" fmla="*/ 328 w 342"/>
                <a:gd name="T93" fmla="*/ 328 h 342"/>
                <a:gd name="T94" fmla="*/ 14 w 342"/>
                <a:gd name="T95" fmla="*/ 328 h 342"/>
                <a:gd name="T96" fmla="*/ 14 w 342"/>
                <a:gd name="T97" fmla="*/ 256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2" h="342">
                  <a:moveTo>
                    <a:pt x="340" y="2"/>
                  </a:moveTo>
                  <a:cubicBezTo>
                    <a:pt x="339" y="0"/>
                    <a:pt x="337" y="0"/>
                    <a:pt x="335" y="0"/>
                  </a:cubicBezTo>
                  <a:cubicBezTo>
                    <a:pt x="7" y="0"/>
                    <a:pt x="7" y="0"/>
                    <a:pt x="7" y="0"/>
                  </a:cubicBezTo>
                  <a:cubicBezTo>
                    <a:pt x="5" y="0"/>
                    <a:pt x="3" y="0"/>
                    <a:pt x="2" y="2"/>
                  </a:cubicBezTo>
                  <a:cubicBezTo>
                    <a:pt x="0" y="3"/>
                    <a:pt x="0" y="5"/>
                    <a:pt x="0" y="7"/>
                  </a:cubicBezTo>
                  <a:cubicBezTo>
                    <a:pt x="0" y="335"/>
                    <a:pt x="0" y="335"/>
                    <a:pt x="0" y="335"/>
                  </a:cubicBezTo>
                  <a:cubicBezTo>
                    <a:pt x="0" y="337"/>
                    <a:pt x="0" y="339"/>
                    <a:pt x="2" y="340"/>
                  </a:cubicBezTo>
                  <a:cubicBezTo>
                    <a:pt x="3" y="341"/>
                    <a:pt x="5" y="342"/>
                    <a:pt x="7" y="342"/>
                  </a:cubicBezTo>
                  <a:cubicBezTo>
                    <a:pt x="335" y="342"/>
                    <a:pt x="335" y="342"/>
                    <a:pt x="335" y="342"/>
                  </a:cubicBezTo>
                  <a:cubicBezTo>
                    <a:pt x="337" y="342"/>
                    <a:pt x="339" y="341"/>
                    <a:pt x="340" y="340"/>
                  </a:cubicBezTo>
                  <a:cubicBezTo>
                    <a:pt x="341" y="339"/>
                    <a:pt x="342" y="337"/>
                    <a:pt x="342" y="335"/>
                  </a:cubicBezTo>
                  <a:cubicBezTo>
                    <a:pt x="342" y="7"/>
                    <a:pt x="342" y="7"/>
                    <a:pt x="342" y="7"/>
                  </a:cubicBezTo>
                  <a:cubicBezTo>
                    <a:pt x="342" y="5"/>
                    <a:pt x="341" y="3"/>
                    <a:pt x="340" y="2"/>
                  </a:cubicBezTo>
                  <a:close/>
                  <a:moveTo>
                    <a:pt x="328" y="14"/>
                  </a:moveTo>
                  <a:cubicBezTo>
                    <a:pt x="328" y="242"/>
                    <a:pt x="328" y="242"/>
                    <a:pt x="328" y="242"/>
                  </a:cubicBezTo>
                  <a:cubicBezTo>
                    <a:pt x="318" y="242"/>
                    <a:pt x="318" y="242"/>
                    <a:pt x="318" y="242"/>
                  </a:cubicBezTo>
                  <a:cubicBezTo>
                    <a:pt x="269" y="145"/>
                    <a:pt x="269" y="145"/>
                    <a:pt x="269" y="145"/>
                  </a:cubicBezTo>
                  <a:cubicBezTo>
                    <a:pt x="264" y="135"/>
                    <a:pt x="253" y="128"/>
                    <a:pt x="242" y="128"/>
                  </a:cubicBezTo>
                  <a:cubicBezTo>
                    <a:pt x="231" y="128"/>
                    <a:pt x="220" y="134"/>
                    <a:pt x="215" y="143"/>
                  </a:cubicBezTo>
                  <a:cubicBezTo>
                    <a:pt x="177" y="208"/>
                    <a:pt x="177" y="208"/>
                    <a:pt x="177" y="208"/>
                  </a:cubicBezTo>
                  <a:cubicBezTo>
                    <a:pt x="174" y="204"/>
                    <a:pt x="169" y="199"/>
                    <a:pt x="164" y="194"/>
                  </a:cubicBezTo>
                  <a:cubicBezTo>
                    <a:pt x="152" y="183"/>
                    <a:pt x="135" y="171"/>
                    <a:pt x="114" y="171"/>
                  </a:cubicBezTo>
                  <a:cubicBezTo>
                    <a:pt x="102" y="171"/>
                    <a:pt x="92" y="176"/>
                    <a:pt x="84" y="184"/>
                  </a:cubicBezTo>
                  <a:cubicBezTo>
                    <a:pt x="71" y="195"/>
                    <a:pt x="61" y="210"/>
                    <a:pt x="54" y="223"/>
                  </a:cubicBezTo>
                  <a:cubicBezTo>
                    <a:pt x="50" y="231"/>
                    <a:pt x="47" y="238"/>
                    <a:pt x="45" y="242"/>
                  </a:cubicBezTo>
                  <a:cubicBezTo>
                    <a:pt x="14" y="242"/>
                    <a:pt x="14" y="242"/>
                    <a:pt x="14" y="242"/>
                  </a:cubicBezTo>
                  <a:cubicBezTo>
                    <a:pt x="14" y="14"/>
                    <a:pt x="14" y="14"/>
                    <a:pt x="14" y="14"/>
                  </a:cubicBezTo>
                  <a:lnTo>
                    <a:pt x="328" y="14"/>
                  </a:lnTo>
                  <a:close/>
                  <a:moveTo>
                    <a:pt x="172" y="225"/>
                  </a:moveTo>
                  <a:cubicBezTo>
                    <a:pt x="173" y="227"/>
                    <a:pt x="176" y="228"/>
                    <a:pt x="178" y="228"/>
                  </a:cubicBezTo>
                  <a:cubicBezTo>
                    <a:pt x="181" y="228"/>
                    <a:pt x="183" y="226"/>
                    <a:pt x="184" y="224"/>
                  </a:cubicBezTo>
                  <a:cubicBezTo>
                    <a:pt x="227" y="151"/>
                    <a:pt x="227" y="151"/>
                    <a:pt x="227" y="151"/>
                  </a:cubicBezTo>
                  <a:cubicBezTo>
                    <a:pt x="230" y="145"/>
                    <a:pt x="236" y="142"/>
                    <a:pt x="242" y="142"/>
                  </a:cubicBezTo>
                  <a:cubicBezTo>
                    <a:pt x="248" y="142"/>
                    <a:pt x="254" y="146"/>
                    <a:pt x="257" y="152"/>
                  </a:cubicBezTo>
                  <a:cubicBezTo>
                    <a:pt x="302" y="242"/>
                    <a:pt x="302" y="242"/>
                    <a:pt x="302" y="242"/>
                  </a:cubicBezTo>
                  <a:cubicBezTo>
                    <a:pt x="61" y="242"/>
                    <a:pt x="61" y="242"/>
                    <a:pt x="61" y="242"/>
                  </a:cubicBezTo>
                  <a:cubicBezTo>
                    <a:pt x="65" y="234"/>
                    <a:pt x="71" y="222"/>
                    <a:pt x="79" y="211"/>
                  </a:cubicBezTo>
                  <a:cubicBezTo>
                    <a:pt x="84" y="204"/>
                    <a:pt x="90" y="197"/>
                    <a:pt x="96" y="192"/>
                  </a:cubicBezTo>
                  <a:cubicBezTo>
                    <a:pt x="102" y="188"/>
                    <a:pt x="108" y="185"/>
                    <a:pt x="114" y="185"/>
                  </a:cubicBezTo>
                  <a:cubicBezTo>
                    <a:pt x="129" y="185"/>
                    <a:pt x="143" y="194"/>
                    <a:pt x="154" y="205"/>
                  </a:cubicBezTo>
                  <a:cubicBezTo>
                    <a:pt x="160" y="210"/>
                    <a:pt x="164" y="215"/>
                    <a:pt x="167" y="218"/>
                  </a:cubicBezTo>
                  <a:cubicBezTo>
                    <a:pt x="169" y="220"/>
                    <a:pt x="170" y="222"/>
                    <a:pt x="171" y="223"/>
                  </a:cubicBezTo>
                  <a:cubicBezTo>
                    <a:pt x="172" y="224"/>
                    <a:pt x="172" y="224"/>
                    <a:pt x="172" y="224"/>
                  </a:cubicBezTo>
                  <a:lnTo>
                    <a:pt x="172" y="225"/>
                  </a:lnTo>
                  <a:close/>
                  <a:moveTo>
                    <a:pt x="14" y="256"/>
                  </a:moveTo>
                  <a:cubicBezTo>
                    <a:pt x="328" y="256"/>
                    <a:pt x="328" y="256"/>
                    <a:pt x="328" y="256"/>
                  </a:cubicBezTo>
                  <a:cubicBezTo>
                    <a:pt x="328" y="328"/>
                    <a:pt x="328" y="328"/>
                    <a:pt x="328" y="328"/>
                  </a:cubicBezTo>
                  <a:cubicBezTo>
                    <a:pt x="14" y="328"/>
                    <a:pt x="14" y="328"/>
                    <a:pt x="14" y="328"/>
                  </a:cubicBezTo>
                  <a:lnTo>
                    <a:pt x="14"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8" name="Freeform 6">
              <a:extLst>
                <a:ext uri="{FF2B5EF4-FFF2-40B4-BE49-F238E27FC236}">
                  <a16:creationId xmlns:a16="http://schemas.microsoft.com/office/drawing/2014/main" id="{276AEF77-052B-7446-51B0-2B7346445893}"/>
                </a:ext>
              </a:extLst>
            </p:cNvPr>
            <p:cNvSpPr>
              <a:spLocks noEditPoints="1"/>
            </p:cNvSpPr>
            <p:nvPr/>
          </p:nvSpPr>
          <p:spPr bwMode="auto">
            <a:xfrm>
              <a:off x="3621" y="1895"/>
              <a:ext cx="234" cy="177"/>
            </a:xfrm>
            <a:custGeom>
              <a:avLst/>
              <a:gdLst>
                <a:gd name="T0" fmla="*/ 28 w 114"/>
                <a:gd name="T1" fmla="*/ 86 h 86"/>
                <a:gd name="T2" fmla="*/ 71 w 114"/>
                <a:gd name="T3" fmla="*/ 86 h 86"/>
                <a:gd name="T4" fmla="*/ 114 w 114"/>
                <a:gd name="T5" fmla="*/ 43 h 86"/>
                <a:gd name="T6" fmla="*/ 71 w 114"/>
                <a:gd name="T7" fmla="*/ 0 h 86"/>
                <a:gd name="T8" fmla="*/ 31 w 114"/>
                <a:gd name="T9" fmla="*/ 29 h 86"/>
                <a:gd name="T10" fmla="*/ 28 w 114"/>
                <a:gd name="T11" fmla="*/ 29 h 86"/>
                <a:gd name="T12" fmla="*/ 0 w 114"/>
                <a:gd name="T13" fmla="*/ 57 h 86"/>
                <a:gd name="T14" fmla="*/ 28 w 114"/>
                <a:gd name="T15" fmla="*/ 86 h 86"/>
                <a:gd name="T16" fmla="*/ 28 w 114"/>
                <a:gd name="T17" fmla="*/ 43 h 86"/>
                <a:gd name="T18" fmla="*/ 34 w 114"/>
                <a:gd name="T19" fmla="*/ 44 h 86"/>
                <a:gd name="T20" fmla="*/ 40 w 114"/>
                <a:gd name="T21" fmla="*/ 44 h 86"/>
                <a:gd name="T22" fmla="*/ 43 w 114"/>
                <a:gd name="T23" fmla="*/ 39 h 86"/>
                <a:gd name="T24" fmla="*/ 71 w 114"/>
                <a:gd name="T25" fmla="*/ 15 h 86"/>
                <a:gd name="T26" fmla="*/ 100 w 114"/>
                <a:gd name="T27" fmla="*/ 43 h 86"/>
                <a:gd name="T28" fmla="*/ 71 w 114"/>
                <a:gd name="T29" fmla="*/ 72 h 86"/>
                <a:gd name="T30" fmla="*/ 28 w 114"/>
                <a:gd name="T31" fmla="*/ 72 h 86"/>
                <a:gd name="T32" fmla="*/ 14 w 114"/>
                <a:gd name="T33" fmla="*/ 57 h 86"/>
                <a:gd name="T34" fmla="*/ 28 w 114"/>
                <a:gd name="T35"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4" h="86">
                  <a:moveTo>
                    <a:pt x="28" y="86"/>
                  </a:moveTo>
                  <a:cubicBezTo>
                    <a:pt x="71" y="86"/>
                    <a:pt x="71" y="86"/>
                    <a:pt x="71" y="86"/>
                  </a:cubicBezTo>
                  <a:cubicBezTo>
                    <a:pt x="95" y="86"/>
                    <a:pt x="114" y="67"/>
                    <a:pt x="114" y="43"/>
                  </a:cubicBezTo>
                  <a:cubicBezTo>
                    <a:pt x="114" y="20"/>
                    <a:pt x="95" y="0"/>
                    <a:pt x="71" y="0"/>
                  </a:cubicBezTo>
                  <a:cubicBezTo>
                    <a:pt x="53" y="0"/>
                    <a:pt x="37" y="12"/>
                    <a:pt x="31" y="29"/>
                  </a:cubicBezTo>
                  <a:cubicBezTo>
                    <a:pt x="30" y="29"/>
                    <a:pt x="29" y="29"/>
                    <a:pt x="28" y="29"/>
                  </a:cubicBezTo>
                  <a:cubicBezTo>
                    <a:pt x="13" y="29"/>
                    <a:pt x="0" y="42"/>
                    <a:pt x="0" y="57"/>
                  </a:cubicBezTo>
                  <a:cubicBezTo>
                    <a:pt x="0" y="73"/>
                    <a:pt x="13" y="86"/>
                    <a:pt x="28" y="86"/>
                  </a:cubicBezTo>
                  <a:close/>
                  <a:moveTo>
                    <a:pt x="28" y="43"/>
                  </a:moveTo>
                  <a:cubicBezTo>
                    <a:pt x="30" y="43"/>
                    <a:pt x="32" y="44"/>
                    <a:pt x="34" y="44"/>
                  </a:cubicBezTo>
                  <a:cubicBezTo>
                    <a:pt x="36" y="45"/>
                    <a:pt x="38" y="45"/>
                    <a:pt x="40" y="44"/>
                  </a:cubicBezTo>
                  <a:cubicBezTo>
                    <a:pt x="42" y="43"/>
                    <a:pt x="43" y="41"/>
                    <a:pt x="43" y="39"/>
                  </a:cubicBezTo>
                  <a:cubicBezTo>
                    <a:pt x="45" y="25"/>
                    <a:pt x="57" y="15"/>
                    <a:pt x="71" y="15"/>
                  </a:cubicBezTo>
                  <a:cubicBezTo>
                    <a:pt x="87" y="15"/>
                    <a:pt x="100" y="27"/>
                    <a:pt x="100" y="43"/>
                  </a:cubicBezTo>
                  <a:cubicBezTo>
                    <a:pt x="100" y="59"/>
                    <a:pt x="87" y="72"/>
                    <a:pt x="71" y="72"/>
                  </a:cubicBezTo>
                  <a:cubicBezTo>
                    <a:pt x="28" y="72"/>
                    <a:pt x="28" y="72"/>
                    <a:pt x="28" y="72"/>
                  </a:cubicBezTo>
                  <a:cubicBezTo>
                    <a:pt x="21" y="72"/>
                    <a:pt x="14" y="65"/>
                    <a:pt x="14" y="57"/>
                  </a:cubicBezTo>
                  <a:cubicBezTo>
                    <a:pt x="14" y="50"/>
                    <a:pt x="21" y="43"/>
                    <a:pt x="28"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69" name="Rectangle 68">
            <a:extLst>
              <a:ext uri="{FF2B5EF4-FFF2-40B4-BE49-F238E27FC236}">
                <a16:creationId xmlns:a16="http://schemas.microsoft.com/office/drawing/2014/main" id="{5D27477B-6FA2-5E6A-7D56-3ECACBBEF1B6}"/>
              </a:ext>
            </a:extLst>
          </p:cNvPr>
          <p:cNvSpPr/>
          <p:nvPr/>
        </p:nvSpPr>
        <p:spPr>
          <a:xfrm>
            <a:off x="355602" y="4875740"/>
            <a:ext cx="2109805" cy="1613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1994" tIns="0" rIns="71994" bIns="0" anchor="t" anchorCtr="0">
            <a:noAutofit/>
          </a:bodyPr>
          <a:lstStyle/>
          <a:p>
            <a:pPr fontAlgn="base">
              <a:spcBef>
                <a:spcPct val="20000"/>
              </a:spcBef>
              <a:spcAft>
                <a:spcPct val="0"/>
              </a:spcAft>
              <a:buClr>
                <a:schemeClr val="tx1"/>
              </a:buClr>
              <a:defRPr/>
            </a:pPr>
            <a:r>
              <a:rPr lang="en-US" sz="1200" kern="0">
                <a:solidFill>
                  <a:schemeClr val="tx1">
                    <a:lumMod val="65000"/>
                    <a:lumOff val="35000"/>
                  </a:schemeClr>
                </a:solidFill>
                <a:latin typeface="Segoe UI" panose="020B0502040204020203" pitchFamily="34" charset="0"/>
                <a:cs typeface="Segoe UI" panose="020B0502040204020203" pitchFamily="34" charset="0"/>
              </a:rPr>
              <a:t>Lorem ipsum dolor si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me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nsectetu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dipiscing</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lit</a:t>
            </a:r>
            <a:r>
              <a:rPr lang="en-US" sz="1200" kern="0">
                <a:solidFill>
                  <a:schemeClr val="tx1">
                    <a:lumMod val="65000"/>
                    <a:lumOff val="35000"/>
                  </a:schemeClr>
                </a:solidFill>
                <a:latin typeface="Segoe UI" panose="020B0502040204020203" pitchFamily="34" charset="0"/>
                <a:cs typeface="Segoe UI" panose="020B0502040204020203" pitchFamily="34" charset="0"/>
              </a:rPr>
              <a:t>, sed do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iusmod</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tempo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incididun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t</a:t>
            </a:r>
            <a:r>
              <a:rPr lang="en-US" sz="1200" kern="0">
                <a:solidFill>
                  <a:schemeClr val="tx1">
                    <a:lumMod val="65000"/>
                    <a:lumOff val="35000"/>
                  </a:schemeClr>
                </a:solidFill>
                <a:latin typeface="Segoe UI" panose="020B0502040204020203" pitchFamily="34" charset="0"/>
                <a:cs typeface="Segoe UI" panose="020B0502040204020203" pitchFamily="34" charset="0"/>
              </a:rPr>
              <a:t> labore et dolore magn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liqu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Quis</a:t>
            </a:r>
            <a:r>
              <a:rPr lang="en-US" sz="1200" kern="0">
                <a:solidFill>
                  <a:schemeClr val="tx1">
                    <a:lumMod val="65000"/>
                    <a:lumOff val="35000"/>
                  </a:schemeClr>
                </a:solidFill>
                <a:latin typeface="Segoe UI" panose="020B0502040204020203" pitchFamily="34" charset="0"/>
                <a:cs typeface="Segoe UI" panose="020B0502040204020203" pitchFamily="34" charset="0"/>
              </a:rPr>
              <a:t> ipsum </a:t>
            </a:r>
            <a:r>
              <a:rPr lang="en-US" sz="1200" kern="0" err="1">
                <a:solidFill>
                  <a:schemeClr val="tx1">
                    <a:lumMod val="65000"/>
                    <a:lumOff val="35000"/>
                  </a:schemeClr>
                </a:solidFill>
                <a:latin typeface="Segoe UI" panose="020B0502040204020203" pitchFamily="34" charset="0"/>
                <a:cs typeface="Segoe UI" panose="020B0502040204020203" pitchFamily="34" charset="0"/>
              </a:rPr>
              <a:t>suspendisse</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ltrices</a:t>
            </a:r>
            <a:r>
              <a:rPr lang="en-US" sz="1200" kern="0">
                <a:solidFill>
                  <a:schemeClr val="tx1">
                    <a:lumMod val="65000"/>
                    <a:lumOff val="35000"/>
                  </a:schemeClr>
                </a:solidFill>
                <a:latin typeface="Segoe UI" panose="020B0502040204020203" pitchFamily="34" charset="0"/>
                <a:cs typeface="Segoe UI" panose="020B0502040204020203" pitchFamily="34" charset="0"/>
              </a:rPr>
              <a:t> gravid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Risu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mmodo</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viverr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maecena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ccumsan</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lacus</a:t>
            </a:r>
            <a:r>
              <a:rPr lang="en-US" sz="1200" kern="0">
                <a:solidFill>
                  <a:schemeClr val="tx1">
                    <a:lumMod val="65000"/>
                    <a:lumOff val="35000"/>
                  </a:schemeClr>
                </a:solidFill>
                <a:latin typeface="Segoe UI" panose="020B0502040204020203" pitchFamily="34" charset="0"/>
                <a:cs typeface="Segoe UI" panose="020B0502040204020203" pitchFamily="34" charset="0"/>
              </a:rPr>
              <a:t>.</a:t>
            </a:r>
          </a:p>
        </p:txBody>
      </p:sp>
      <p:sp>
        <p:nvSpPr>
          <p:cNvPr id="70" name="Rectangle 69">
            <a:extLst>
              <a:ext uri="{FF2B5EF4-FFF2-40B4-BE49-F238E27FC236}">
                <a16:creationId xmlns:a16="http://schemas.microsoft.com/office/drawing/2014/main" id="{A3B86D73-161A-C7CA-6C3F-55C3941336CC}"/>
              </a:ext>
            </a:extLst>
          </p:cNvPr>
          <p:cNvSpPr/>
          <p:nvPr/>
        </p:nvSpPr>
        <p:spPr>
          <a:xfrm>
            <a:off x="2719201" y="4875740"/>
            <a:ext cx="2109805" cy="1613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1994" tIns="0" rIns="71994" bIns="0" anchor="t" anchorCtr="0">
            <a:noAutofit/>
          </a:bodyPr>
          <a:lstStyle/>
          <a:p>
            <a:pPr fontAlgn="base">
              <a:spcBef>
                <a:spcPct val="20000"/>
              </a:spcBef>
              <a:spcAft>
                <a:spcPct val="0"/>
              </a:spcAft>
              <a:buClr>
                <a:schemeClr val="tx1"/>
              </a:buClr>
              <a:defRPr/>
            </a:pPr>
            <a:r>
              <a:rPr lang="en-US" sz="1200" kern="0">
                <a:solidFill>
                  <a:schemeClr val="tx1">
                    <a:lumMod val="65000"/>
                    <a:lumOff val="35000"/>
                  </a:schemeClr>
                </a:solidFill>
                <a:latin typeface="Segoe UI" panose="020B0502040204020203" pitchFamily="34" charset="0"/>
                <a:cs typeface="Segoe UI" panose="020B0502040204020203" pitchFamily="34" charset="0"/>
              </a:rPr>
              <a:t>Lorem ipsum dolor si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me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nsectetu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dipiscing</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lit</a:t>
            </a:r>
            <a:r>
              <a:rPr lang="en-US" sz="1200" kern="0">
                <a:solidFill>
                  <a:schemeClr val="tx1">
                    <a:lumMod val="65000"/>
                    <a:lumOff val="35000"/>
                  </a:schemeClr>
                </a:solidFill>
                <a:latin typeface="Segoe UI" panose="020B0502040204020203" pitchFamily="34" charset="0"/>
                <a:cs typeface="Segoe UI" panose="020B0502040204020203" pitchFamily="34" charset="0"/>
              </a:rPr>
              <a:t>, sed do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iusmod</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tempo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incididun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t</a:t>
            </a:r>
            <a:r>
              <a:rPr lang="en-US" sz="1200" kern="0">
                <a:solidFill>
                  <a:schemeClr val="tx1">
                    <a:lumMod val="65000"/>
                    <a:lumOff val="35000"/>
                  </a:schemeClr>
                </a:solidFill>
                <a:latin typeface="Segoe UI" panose="020B0502040204020203" pitchFamily="34" charset="0"/>
                <a:cs typeface="Segoe UI" panose="020B0502040204020203" pitchFamily="34" charset="0"/>
              </a:rPr>
              <a:t> labore et dolore magn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liqu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Quis</a:t>
            </a:r>
            <a:r>
              <a:rPr lang="en-US" sz="1200" kern="0">
                <a:solidFill>
                  <a:schemeClr val="tx1">
                    <a:lumMod val="65000"/>
                    <a:lumOff val="35000"/>
                  </a:schemeClr>
                </a:solidFill>
                <a:latin typeface="Segoe UI" panose="020B0502040204020203" pitchFamily="34" charset="0"/>
                <a:cs typeface="Segoe UI" panose="020B0502040204020203" pitchFamily="34" charset="0"/>
              </a:rPr>
              <a:t> ipsum </a:t>
            </a:r>
            <a:r>
              <a:rPr lang="en-US" sz="1200" kern="0" err="1">
                <a:solidFill>
                  <a:schemeClr val="tx1">
                    <a:lumMod val="65000"/>
                    <a:lumOff val="35000"/>
                  </a:schemeClr>
                </a:solidFill>
                <a:latin typeface="Segoe UI" panose="020B0502040204020203" pitchFamily="34" charset="0"/>
                <a:cs typeface="Segoe UI" panose="020B0502040204020203" pitchFamily="34" charset="0"/>
              </a:rPr>
              <a:t>suspendisse</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ltrices</a:t>
            </a:r>
            <a:r>
              <a:rPr lang="en-US" sz="1200" kern="0">
                <a:solidFill>
                  <a:schemeClr val="tx1">
                    <a:lumMod val="65000"/>
                    <a:lumOff val="35000"/>
                  </a:schemeClr>
                </a:solidFill>
                <a:latin typeface="Segoe UI" panose="020B0502040204020203" pitchFamily="34" charset="0"/>
                <a:cs typeface="Segoe UI" panose="020B0502040204020203" pitchFamily="34" charset="0"/>
              </a:rPr>
              <a:t> gravid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Risu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mmodo</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viverr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maecena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ccumsan</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lacu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p>
        </p:txBody>
      </p:sp>
      <p:sp>
        <p:nvSpPr>
          <p:cNvPr id="71" name="Rectangle 70">
            <a:extLst>
              <a:ext uri="{FF2B5EF4-FFF2-40B4-BE49-F238E27FC236}">
                <a16:creationId xmlns:a16="http://schemas.microsoft.com/office/drawing/2014/main" id="{1956A5F9-C5E8-9078-7325-91894C9F0047}"/>
              </a:ext>
            </a:extLst>
          </p:cNvPr>
          <p:cNvSpPr/>
          <p:nvPr/>
        </p:nvSpPr>
        <p:spPr>
          <a:xfrm>
            <a:off x="5082799" y="4875740"/>
            <a:ext cx="2109805" cy="1613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1994" tIns="0" rIns="71994" bIns="0" anchor="t" anchorCtr="0">
            <a:noAutofit/>
          </a:bodyPr>
          <a:lstStyle/>
          <a:p>
            <a:pPr fontAlgn="base">
              <a:spcBef>
                <a:spcPct val="20000"/>
              </a:spcBef>
              <a:spcAft>
                <a:spcPct val="0"/>
              </a:spcAft>
              <a:buClr>
                <a:schemeClr val="tx1"/>
              </a:buClr>
              <a:defRPr/>
            </a:pPr>
            <a:r>
              <a:rPr lang="en-US" sz="1200" kern="0">
                <a:solidFill>
                  <a:schemeClr val="tx1">
                    <a:lumMod val="65000"/>
                    <a:lumOff val="35000"/>
                  </a:schemeClr>
                </a:solidFill>
                <a:latin typeface="Segoe UI" panose="020B0502040204020203" pitchFamily="34" charset="0"/>
                <a:cs typeface="Segoe UI" panose="020B0502040204020203" pitchFamily="34" charset="0"/>
              </a:rPr>
              <a:t>Lorem ipsum dolor si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me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nsectetu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dipiscing</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lit</a:t>
            </a:r>
            <a:r>
              <a:rPr lang="en-US" sz="1200" kern="0">
                <a:solidFill>
                  <a:schemeClr val="tx1">
                    <a:lumMod val="65000"/>
                    <a:lumOff val="35000"/>
                  </a:schemeClr>
                </a:solidFill>
                <a:latin typeface="Segoe UI" panose="020B0502040204020203" pitchFamily="34" charset="0"/>
                <a:cs typeface="Segoe UI" panose="020B0502040204020203" pitchFamily="34" charset="0"/>
              </a:rPr>
              <a:t>, sed do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iusmod</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tempo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incididun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t</a:t>
            </a:r>
            <a:r>
              <a:rPr lang="en-US" sz="1200" kern="0">
                <a:solidFill>
                  <a:schemeClr val="tx1">
                    <a:lumMod val="65000"/>
                    <a:lumOff val="35000"/>
                  </a:schemeClr>
                </a:solidFill>
                <a:latin typeface="Segoe UI" panose="020B0502040204020203" pitchFamily="34" charset="0"/>
                <a:cs typeface="Segoe UI" panose="020B0502040204020203" pitchFamily="34" charset="0"/>
              </a:rPr>
              <a:t> labore et dolore magn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liqu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Quis</a:t>
            </a:r>
            <a:r>
              <a:rPr lang="en-US" sz="1200" kern="0">
                <a:solidFill>
                  <a:schemeClr val="tx1">
                    <a:lumMod val="65000"/>
                    <a:lumOff val="35000"/>
                  </a:schemeClr>
                </a:solidFill>
                <a:latin typeface="Segoe UI" panose="020B0502040204020203" pitchFamily="34" charset="0"/>
                <a:cs typeface="Segoe UI" panose="020B0502040204020203" pitchFamily="34" charset="0"/>
              </a:rPr>
              <a:t> ipsum </a:t>
            </a:r>
            <a:r>
              <a:rPr lang="en-US" sz="1200" kern="0" err="1">
                <a:solidFill>
                  <a:schemeClr val="tx1">
                    <a:lumMod val="65000"/>
                    <a:lumOff val="35000"/>
                  </a:schemeClr>
                </a:solidFill>
                <a:latin typeface="Segoe UI" panose="020B0502040204020203" pitchFamily="34" charset="0"/>
                <a:cs typeface="Segoe UI" panose="020B0502040204020203" pitchFamily="34" charset="0"/>
              </a:rPr>
              <a:t>suspendisse</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ltrices</a:t>
            </a:r>
            <a:r>
              <a:rPr lang="en-US" sz="1200" kern="0">
                <a:solidFill>
                  <a:schemeClr val="tx1">
                    <a:lumMod val="65000"/>
                    <a:lumOff val="35000"/>
                  </a:schemeClr>
                </a:solidFill>
                <a:latin typeface="Segoe UI" panose="020B0502040204020203" pitchFamily="34" charset="0"/>
                <a:cs typeface="Segoe UI" panose="020B0502040204020203" pitchFamily="34" charset="0"/>
              </a:rPr>
              <a:t> gravid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Risu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mmodo</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viverr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maecena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ccumsan</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lacu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p>
        </p:txBody>
      </p:sp>
      <p:sp>
        <p:nvSpPr>
          <p:cNvPr id="72" name="Rectangle 71">
            <a:extLst>
              <a:ext uri="{FF2B5EF4-FFF2-40B4-BE49-F238E27FC236}">
                <a16:creationId xmlns:a16="http://schemas.microsoft.com/office/drawing/2014/main" id="{D429B022-F587-C4F3-10FB-E97F4BC56395}"/>
              </a:ext>
            </a:extLst>
          </p:cNvPr>
          <p:cNvSpPr/>
          <p:nvPr/>
        </p:nvSpPr>
        <p:spPr>
          <a:xfrm>
            <a:off x="7441452" y="4875740"/>
            <a:ext cx="2109805" cy="1613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1994" tIns="0" rIns="71994" bIns="0" anchor="t" anchorCtr="0">
            <a:noAutofit/>
          </a:bodyPr>
          <a:lstStyle/>
          <a:p>
            <a:pPr fontAlgn="base">
              <a:spcBef>
                <a:spcPct val="20000"/>
              </a:spcBef>
              <a:spcAft>
                <a:spcPct val="0"/>
              </a:spcAft>
              <a:buClr>
                <a:schemeClr val="tx1"/>
              </a:buClr>
              <a:defRPr/>
            </a:pPr>
            <a:r>
              <a:rPr lang="en-US" sz="1200" kern="0">
                <a:solidFill>
                  <a:schemeClr val="tx1">
                    <a:lumMod val="65000"/>
                    <a:lumOff val="35000"/>
                  </a:schemeClr>
                </a:solidFill>
                <a:latin typeface="Segoe UI" panose="020B0502040204020203" pitchFamily="34" charset="0"/>
                <a:cs typeface="Segoe UI" panose="020B0502040204020203" pitchFamily="34" charset="0"/>
              </a:rPr>
              <a:t>Lorem ipsum dolor si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me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nsectetu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dipiscing</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lit</a:t>
            </a:r>
            <a:r>
              <a:rPr lang="en-US" sz="1200" kern="0">
                <a:solidFill>
                  <a:schemeClr val="tx1">
                    <a:lumMod val="65000"/>
                    <a:lumOff val="35000"/>
                  </a:schemeClr>
                </a:solidFill>
                <a:latin typeface="Segoe UI" panose="020B0502040204020203" pitchFamily="34" charset="0"/>
                <a:cs typeface="Segoe UI" panose="020B0502040204020203" pitchFamily="34" charset="0"/>
              </a:rPr>
              <a:t>, sed do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iusmod</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tempo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incididun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t</a:t>
            </a:r>
            <a:r>
              <a:rPr lang="en-US" sz="1200" kern="0">
                <a:solidFill>
                  <a:schemeClr val="tx1">
                    <a:lumMod val="65000"/>
                    <a:lumOff val="35000"/>
                  </a:schemeClr>
                </a:solidFill>
                <a:latin typeface="Segoe UI" panose="020B0502040204020203" pitchFamily="34" charset="0"/>
                <a:cs typeface="Segoe UI" panose="020B0502040204020203" pitchFamily="34" charset="0"/>
              </a:rPr>
              <a:t> labore et dolore magn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liqu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Quis</a:t>
            </a:r>
            <a:r>
              <a:rPr lang="en-US" sz="1200" kern="0">
                <a:solidFill>
                  <a:schemeClr val="tx1">
                    <a:lumMod val="65000"/>
                    <a:lumOff val="35000"/>
                  </a:schemeClr>
                </a:solidFill>
                <a:latin typeface="Segoe UI" panose="020B0502040204020203" pitchFamily="34" charset="0"/>
                <a:cs typeface="Segoe UI" panose="020B0502040204020203" pitchFamily="34" charset="0"/>
              </a:rPr>
              <a:t> ipsum </a:t>
            </a:r>
            <a:r>
              <a:rPr lang="en-US" sz="1200" kern="0" err="1">
                <a:solidFill>
                  <a:schemeClr val="tx1">
                    <a:lumMod val="65000"/>
                    <a:lumOff val="35000"/>
                  </a:schemeClr>
                </a:solidFill>
                <a:latin typeface="Segoe UI" panose="020B0502040204020203" pitchFamily="34" charset="0"/>
                <a:cs typeface="Segoe UI" panose="020B0502040204020203" pitchFamily="34" charset="0"/>
              </a:rPr>
              <a:t>suspendisse</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ltrices</a:t>
            </a:r>
            <a:r>
              <a:rPr lang="en-US" sz="1200" kern="0">
                <a:solidFill>
                  <a:schemeClr val="tx1">
                    <a:lumMod val="65000"/>
                    <a:lumOff val="35000"/>
                  </a:schemeClr>
                </a:solidFill>
                <a:latin typeface="Segoe UI" panose="020B0502040204020203" pitchFamily="34" charset="0"/>
                <a:cs typeface="Segoe UI" panose="020B0502040204020203" pitchFamily="34" charset="0"/>
              </a:rPr>
              <a:t> gravid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Risu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mmodo</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viverr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maecena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ccumsan</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lacu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p>
        </p:txBody>
      </p:sp>
      <p:sp>
        <p:nvSpPr>
          <p:cNvPr id="73" name="Rectangle 72">
            <a:extLst>
              <a:ext uri="{FF2B5EF4-FFF2-40B4-BE49-F238E27FC236}">
                <a16:creationId xmlns:a16="http://schemas.microsoft.com/office/drawing/2014/main" id="{41FAD7A1-CF96-598A-639B-217383C2D148}"/>
              </a:ext>
            </a:extLst>
          </p:cNvPr>
          <p:cNvSpPr/>
          <p:nvPr/>
        </p:nvSpPr>
        <p:spPr>
          <a:xfrm>
            <a:off x="9825379" y="4875740"/>
            <a:ext cx="2109805" cy="1613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1994" tIns="0" rIns="71994" bIns="0" anchor="t" anchorCtr="0">
            <a:noAutofit/>
          </a:bodyPr>
          <a:lstStyle/>
          <a:p>
            <a:pPr fontAlgn="base">
              <a:spcBef>
                <a:spcPct val="20000"/>
              </a:spcBef>
              <a:spcAft>
                <a:spcPct val="0"/>
              </a:spcAft>
              <a:buClr>
                <a:schemeClr val="tx1"/>
              </a:buClr>
              <a:defRPr/>
            </a:pPr>
            <a:r>
              <a:rPr lang="en-US" sz="1200" kern="0">
                <a:solidFill>
                  <a:schemeClr val="tx1">
                    <a:lumMod val="65000"/>
                    <a:lumOff val="35000"/>
                  </a:schemeClr>
                </a:solidFill>
                <a:latin typeface="Segoe UI" panose="020B0502040204020203" pitchFamily="34" charset="0"/>
                <a:cs typeface="Segoe UI" panose="020B0502040204020203" pitchFamily="34" charset="0"/>
              </a:rPr>
              <a:t>Lorem ipsum dolor si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me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nsectetu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dipiscing</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lit</a:t>
            </a:r>
            <a:r>
              <a:rPr lang="en-US" sz="1200" kern="0">
                <a:solidFill>
                  <a:schemeClr val="tx1">
                    <a:lumMod val="65000"/>
                    <a:lumOff val="35000"/>
                  </a:schemeClr>
                </a:solidFill>
                <a:latin typeface="Segoe UI" panose="020B0502040204020203" pitchFamily="34" charset="0"/>
                <a:cs typeface="Segoe UI" panose="020B0502040204020203" pitchFamily="34" charset="0"/>
              </a:rPr>
              <a:t>, sed do </a:t>
            </a:r>
            <a:r>
              <a:rPr lang="en-US" sz="1200" kern="0" err="1">
                <a:solidFill>
                  <a:schemeClr val="tx1">
                    <a:lumMod val="65000"/>
                    <a:lumOff val="35000"/>
                  </a:schemeClr>
                </a:solidFill>
                <a:latin typeface="Segoe UI" panose="020B0502040204020203" pitchFamily="34" charset="0"/>
                <a:cs typeface="Segoe UI" panose="020B0502040204020203" pitchFamily="34" charset="0"/>
              </a:rPr>
              <a:t>eiusmod</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tempor</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incididunt</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t</a:t>
            </a:r>
            <a:r>
              <a:rPr lang="en-US" sz="1200" kern="0">
                <a:solidFill>
                  <a:schemeClr val="tx1">
                    <a:lumMod val="65000"/>
                    <a:lumOff val="35000"/>
                  </a:schemeClr>
                </a:solidFill>
                <a:latin typeface="Segoe UI" panose="020B0502040204020203" pitchFamily="34" charset="0"/>
                <a:cs typeface="Segoe UI" panose="020B0502040204020203" pitchFamily="34" charset="0"/>
              </a:rPr>
              <a:t> labore et dolore magn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liqu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Quis</a:t>
            </a:r>
            <a:r>
              <a:rPr lang="en-US" sz="1200" kern="0">
                <a:solidFill>
                  <a:schemeClr val="tx1">
                    <a:lumMod val="65000"/>
                    <a:lumOff val="35000"/>
                  </a:schemeClr>
                </a:solidFill>
                <a:latin typeface="Segoe UI" panose="020B0502040204020203" pitchFamily="34" charset="0"/>
                <a:cs typeface="Segoe UI" panose="020B0502040204020203" pitchFamily="34" charset="0"/>
              </a:rPr>
              <a:t> ipsum </a:t>
            </a:r>
            <a:r>
              <a:rPr lang="en-US" sz="1200" kern="0" err="1">
                <a:solidFill>
                  <a:schemeClr val="tx1">
                    <a:lumMod val="65000"/>
                    <a:lumOff val="35000"/>
                  </a:schemeClr>
                </a:solidFill>
                <a:latin typeface="Segoe UI" panose="020B0502040204020203" pitchFamily="34" charset="0"/>
                <a:cs typeface="Segoe UI" panose="020B0502040204020203" pitchFamily="34" charset="0"/>
              </a:rPr>
              <a:t>suspendisse</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ultrices</a:t>
            </a:r>
            <a:r>
              <a:rPr lang="en-US" sz="1200" kern="0">
                <a:solidFill>
                  <a:schemeClr val="tx1">
                    <a:lumMod val="65000"/>
                    <a:lumOff val="35000"/>
                  </a:schemeClr>
                </a:solidFill>
                <a:latin typeface="Segoe UI" panose="020B0502040204020203" pitchFamily="34" charset="0"/>
                <a:cs typeface="Segoe UI" panose="020B0502040204020203" pitchFamily="34" charset="0"/>
              </a:rPr>
              <a:t> gravida. </a:t>
            </a:r>
            <a:r>
              <a:rPr lang="en-US" sz="1200" kern="0" err="1">
                <a:solidFill>
                  <a:schemeClr val="tx1">
                    <a:lumMod val="65000"/>
                    <a:lumOff val="35000"/>
                  </a:schemeClr>
                </a:solidFill>
                <a:latin typeface="Segoe UI" panose="020B0502040204020203" pitchFamily="34" charset="0"/>
                <a:cs typeface="Segoe UI" panose="020B0502040204020203" pitchFamily="34" charset="0"/>
              </a:rPr>
              <a:t>Risu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commodo</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viverra</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maecena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accumsan</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r>
              <a:rPr lang="en-US" sz="1200" kern="0" err="1">
                <a:solidFill>
                  <a:schemeClr val="tx1">
                    <a:lumMod val="65000"/>
                    <a:lumOff val="35000"/>
                  </a:schemeClr>
                </a:solidFill>
                <a:latin typeface="Segoe UI" panose="020B0502040204020203" pitchFamily="34" charset="0"/>
                <a:cs typeface="Segoe UI" panose="020B0502040204020203" pitchFamily="34" charset="0"/>
              </a:rPr>
              <a:t>lacus</a:t>
            </a:r>
            <a:r>
              <a:rPr lang="en-US" sz="1200" kern="0">
                <a:solidFill>
                  <a:schemeClr val="tx1">
                    <a:lumMod val="65000"/>
                    <a:lumOff val="35000"/>
                  </a:schemeClr>
                </a:solidFill>
                <a:latin typeface="Segoe UI" panose="020B0502040204020203" pitchFamily="34" charset="0"/>
                <a:cs typeface="Segoe UI" panose="020B0502040204020203" pitchFamily="34" charset="0"/>
              </a:rPr>
              <a:t>. </a:t>
            </a:r>
          </a:p>
        </p:txBody>
      </p:sp>
      <p:sp>
        <p:nvSpPr>
          <p:cNvPr id="74" name="Text Placeholder 1">
            <a:extLst>
              <a:ext uri="{FF2B5EF4-FFF2-40B4-BE49-F238E27FC236}">
                <a16:creationId xmlns:a16="http://schemas.microsoft.com/office/drawing/2014/main" id="{18AD9C7F-84F9-38A2-F407-51F6EDF7ED90}"/>
              </a:ext>
            </a:extLst>
          </p:cNvPr>
          <p:cNvSpPr txBox="1">
            <a:spLocks/>
          </p:cNvSpPr>
          <p:nvPr/>
        </p:nvSpPr>
        <p:spPr>
          <a:xfrm>
            <a:off x="2731910" y="4089413"/>
            <a:ext cx="2016000" cy="664797"/>
          </a:xfrm>
          <a:prstGeom prst="rect">
            <a:avLst/>
          </a:prstGeom>
        </p:spPr>
        <p:txBody>
          <a:bodyPr vert="horz" wrap="square" lIns="0" tIns="0" rIns="0" bIns="0" rtlCol="0" anchor="t" anchorCtr="0">
            <a:noAutofit/>
          </a:bodyPr>
          <a:lstStyle>
            <a:defPPr>
              <a:defRPr lang="en-BR"/>
            </a:defPPr>
            <a:lvl1pPr indent="0" defTabSz="912700" fontAlgn="base">
              <a:lnSpc>
                <a:spcPct val="90000"/>
              </a:lnSpc>
              <a:spcBef>
                <a:spcPts val="0"/>
              </a:spcBef>
              <a:spcAft>
                <a:spcPct val="0"/>
              </a:spcAft>
              <a:buFont typeface="Arial" pitchFamily="34" charset="0"/>
              <a:buNone/>
              <a:defRPr sz="1400" b="1" i="0" cap="all">
                <a:solidFill>
                  <a:srgbClr val="C00000"/>
                </a:solidFill>
                <a:latin typeface="Segoe UI" panose="020B0502040204020203" pitchFamily="34" charset="0"/>
                <a:ea typeface="Roboto Medium" panose="02000000000000000000" pitchFamily="2" charset="0"/>
                <a:cs typeface="Segoe UI" panose="020B0502040204020203" pitchFamily="34" charset="0"/>
              </a:defRPr>
            </a:lvl1pPr>
            <a:lvl2pPr marL="361950" indent="-185738" fontAlgn="base">
              <a:spcBef>
                <a:spcPts val="600"/>
              </a:spcBef>
              <a:spcAft>
                <a:spcPct val="0"/>
              </a:spcAft>
              <a:buFont typeface="Arial" pitchFamily="34" charset="0"/>
              <a:buChar char="–"/>
              <a:defRPr sz="2600">
                <a:latin typeface="Arial" pitchFamily="34" charset="0"/>
                <a:ea typeface="Arial" pitchFamily="-105" charset="-52"/>
                <a:cs typeface="Arial" pitchFamily="34" charset="0"/>
              </a:defRPr>
            </a:lvl2pPr>
            <a:lvl3pPr marL="538163" indent="-176213" fontAlgn="base">
              <a:spcBef>
                <a:spcPts val="600"/>
              </a:spcBef>
              <a:spcAft>
                <a:spcPct val="0"/>
              </a:spcAft>
              <a:buFont typeface="Arial" pitchFamily="34" charset="0"/>
              <a:buChar char="•"/>
              <a:defRPr sz="2400">
                <a:latin typeface="Arial" pitchFamily="34" charset="0"/>
                <a:ea typeface="Arial" pitchFamily="-105" charset="-52"/>
                <a:cs typeface="Arial" pitchFamily="34" charset="0"/>
              </a:defRPr>
            </a:lvl3pPr>
            <a:lvl4pPr marL="715963" indent="-177800" fontAlgn="base">
              <a:spcBef>
                <a:spcPts val="600"/>
              </a:spcBef>
              <a:spcAft>
                <a:spcPct val="0"/>
              </a:spcAft>
              <a:buFont typeface="Arial" pitchFamily="34" charset="0"/>
              <a:buChar char="–"/>
              <a:defRPr sz="2200">
                <a:latin typeface="Arial" pitchFamily="34" charset="0"/>
                <a:ea typeface="Arial" pitchFamily="-105" charset="-52"/>
                <a:cs typeface="Arial" pitchFamily="34" charset="0"/>
              </a:defRPr>
            </a:lvl4pPr>
            <a:lvl5pPr marL="900113" indent="-184150" fontAlgn="base">
              <a:spcBef>
                <a:spcPts val="600"/>
              </a:spcBef>
              <a:spcAft>
                <a:spcPct val="0"/>
              </a:spcAft>
              <a:buFont typeface="Arial" pitchFamily="34" charset="0"/>
              <a:buChar char="•"/>
              <a:defRPr sz="2000">
                <a:latin typeface="Arial" pitchFamily="34" charset="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a:t>Lorem ipsum dolor sit, </a:t>
            </a:r>
            <a:r>
              <a:rPr lang="en-US" err="1"/>
              <a:t>consectetur</a:t>
            </a:r>
            <a:r>
              <a:rPr lang="en-US"/>
              <a:t> </a:t>
            </a:r>
            <a:r>
              <a:rPr lang="en-US" err="1"/>
              <a:t>adipiscing</a:t>
            </a:r>
            <a:r>
              <a:rPr lang="en-US"/>
              <a:t> </a:t>
            </a:r>
            <a:r>
              <a:rPr lang="en-US" err="1"/>
              <a:t>elit</a:t>
            </a:r>
            <a:endParaRPr lang="en-US"/>
          </a:p>
        </p:txBody>
      </p:sp>
      <p:sp>
        <p:nvSpPr>
          <p:cNvPr id="75" name="Text Placeholder 1">
            <a:extLst>
              <a:ext uri="{FF2B5EF4-FFF2-40B4-BE49-F238E27FC236}">
                <a16:creationId xmlns:a16="http://schemas.microsoft.com/office/drawing/2014/main" id="{5BEEC50B-965D-0D6F-289E-1906F0FF92F4}"/>
              </a:ext>
            </a:extLst>
          </p:cNvPr>
          <p:cNvSpPr txBox="1">
            <a:spLocks/>
          </p:cNvSpPr>
          <p:nvPr/>
        </p:nvSpPr>
        <p:spPr>
          <a:xfrm>
            <a:off x="5089588" y="4089413"/>
            <a:ext cx="2016000" cy="664797"/>
          </a:xfrm>
          <a:prstGeom prst="rect">
            <a:avLst/>
          </a:prstGeom>
        </p:spPr>
        <p:txBody>
          <a:bodyPr vert="horz" wrap="square" lIns="0" tIns="0" rIns="0" bIns="0" rtlCol="0" anchor="t" anchorCtr="0">
            <a:noAutofit/>
          </a:bodyPr>
          <a:lstStyle>
            <a:defPPr>
              <a:defRPr lang="en-BR"/>
            </a:defPPr>
            <a:lvl1pPr indent="0" defTabSz="912700" fontAlgn="base">
              <a:lnSpc>
                <a:spcPct val="90000"/>
              </a:lnSpc>
              <a:spcBef>
                <a:spcPts val="0"/>
              </a:spcBef>
              <a:spcAft>
                <a:spcPct val="0"/>
              </a:spcAft>
              <a:buFont typeface="Arial" pitchFamily="34" charset="0"/>
              <a:buNone/>
              <a:defRPr sz="1400" b="1" i="0" cap="all">
                <a:solidFill>
                  <a:srgbClr val="C00000"/>
                </a:solidFill>
                <a:latin typeface="Segoe UI" panose="020B0502040204020203" pitchFamily="34" charset="0"/>
                <a:ea typeface="Roboto Medium" panose="02000000000000000000" pitchFamily="2" charset="0"/>
                <a:cs typeface="Segoe UI" panose="020B0502040204020203" pitchFamily="34" charset="0"/>
              </a:defRPr>
            </a:lvl1pPr>
            <a:lvl2pPr marL="361950" indent="-185738" fontAlgn="base">
              <a:spcBef>
                <a:spcPts val="600"/>
              </a:spcBef>
              <a:spcAft>
                <a:spcPct val="0"/>
              </a:spcAft>
              <a:buFont typeface="Arial" pitchFamily="34" charset="0"/>
              <a:buChar char="–"/>
              <a:defRPr sz="2600">
                <a:latin typeface="Arial" pitchFamily="34" charset="0"/>
                <a:ea typeface="Arial" pitchFamily="-105" charset="-52"/>
                <a:cs typeface="Arial" pitchFamily="34" charset="0"/>
              </a:defRPr>
            </a:lvl2pPr>
            <a:lvl3pPr marL="538163" indent="-176213" fontAlgn="base">
              <a:spcBef>
                <a:spcPts val="600"/>
              </a:spcBef>
              <a:spcAft>
                <a:spcPct val="0"/>
              </a:spcAft>
              <a:buFont typeface="Arial" pitchFamily="34" charset="0"/>
              <a:buChar char="•"/>
              <a:defRPr sz="2400">
                <a:latin typeface="Arial" pitchFamily="34" charset="0"/>
                <a:ea typeface="Arial" pitchFamily="-105" charset="-52"/>
                <a:cs typeface="Arial" pitchFamily="34" charset="0"/>
              </a:defRPr>
            </a:lvl3pPr>
            <a:lvl4pPr marL="715963" indent="-177800" fontAlgn="base">
              <a:spcBef>
                <a:spcPts val="600"/>
              </a:spcBef>
              <a:spcAft>
                <a:spcPct val="0"/>
              </a:spcAft>
              <a:buFont typeface="Arial" pitchFamily="34" charset="0"/>
              <a:buChar char="–"/>
              <a:defRPr sz="2200">
                <a:latin typeface="Arial" pitchFamily="34" charset="0"/>
                <a:ea typeface="Arial" pitchFamily="-105" charset="-52"/>
                <a:cs typeface="Arial" pitchFamily="34" charset="0"/>
              </a:defRPr>
            </a:lvl4pPr>
            <a:lvl5pPr marL="900113" indent="-184150" fontAlgn="base">
              <a:spcBef>
                <a:spcPts val="600"/>
              </a:spcBef>
              <a:spcAft>
                <a:spcPct val="0"/>
              </a:spcAft>
              <a:buFont typeface="Arial" pitchFamily="34" charset="0"/>
              <a:buChar char="•"/>
              <a:defRPr sz="2000">
                <a:latin typeface="Arial" pitchFamily="34" charset="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a:t>Lorem ipsum dolor sit, </a:t>
            </a:r>
            <a:r>
              <a:rPr lang="en-US" err="1"/>
              <a:t>consectetur</a:t>
            </a:r>
            <a:r>
              <a:rPr lang="en-US"/>
              <a:t> </a:t>
            </a:r>
            <a:r>
              <a:rPr lang="en-US" err="1"/>
              <a:t>adipiscing</a:t>
            </a:r>
            <a:r>
              <a:rPr lang="en-US"/>
              <a:t> </a:t>
            </a:r>
            <a:r>
              <a:rPr lang="en-US" err="1"/>
              <a:t>elit</a:t>
            </a:r>
            <a:endParaRPr lang="en-US"/>
          </a:p>
        </p:txBody>
      </p:sp>
      <p:sp>
        <p:nvSpPr>
          <p:cNvPr id="76" name="Text Placeholder 1">
            <a:extLst>
              <a:ext uri="{FF2B5EF4-FFF2-40B4-BE49-F238E27FC236}">
                <a16:creationId xmlns:a16="http://schemas.microsoft.com/office/drawing/2014/main" id="{B518DC57-9404-BBA0-848F-1F61C3E95DA3}"/>
              </a:ext>
            </a:extLst>
          </p:cNvPr>
          <p:cNvSpPr txBox="1">
            <a:spLocks/>
          </p:cNvSpPr>
          <p:nvPr/>
        </p:nvSpPr>
        <p:spPr>
          <a:xfrm>
            <a:off x="7441450" y="4089413"/>
            <a:ext cx="2016000" cy="664797"/>
          </a:xfrm>
          <a:prstGeom prst="rect">
            <a:avLst/>
          </a:prstGeom>
        </p:spPr>
        <p:txBody>
          <a:bodyPr vert="horz" wrap="square" lIns="0" tIns="0" rIns="0" bIns="0" rtlCol="0" anchor="t" anchorCtr="0">
            <a:noAutofit/>
          </a:bodyPr>
          <a:lstStyle>
            <a:defPPr>
              <a:defRPr lang="en-BR"/>
            </a:defPPr>
            <a:lvl1pPr indent="0" defTabSz="912700" fontAlgn="base">
              <a:lnSpc>
                <a:spcPct val="90000"/>
              </a:lnSpc>
              <a:spcBef>
                <a:spcPts val="0"/>
              </a:spcBef>
              <a:spcAft>
                <a:spcPct val="0"/>
              </a:spcAft>
              <a:buFont typeface="Arial" pitchFamily="34" charset="0"/>
              <a:buNone/>
              <a:defRPr sz="1400" b="1" i="0" cap="all">
                <a:solidFill>
                  <a:srgbClr val="C00000"/>
                </a:solidFill>
                <a:latin typeface="Segoe UI" panose="020B0502040204020203" pitchFamily="34" charset="0"/>
                <a:ea typeface="Roboto Medium" panose="02000000000000000000" pitchFamily="2" charset="0"/>
                <a:cs typeface="Segoe UI" panose="020B0502040204020203" pitchFamily="34" charset="0"/>
              </a:defRPr>
            </a:lvl1pPr>
            <a:lvl2pPr marL="361950" indent="-185738" fontAlgn="base">
              <a:spcBef>
                <a:spcPts val="600"/>
              </a:spcBef>
              <a:spcAft>
                <a:spcPct val="0"/>
              </a:spcAft>
              <a:buFont typeface="Arial" pitchFamily="34" charset="0"/>
              <a:buChar char="–"/>
              <a:defRPr sz="2600">
                <a:latin typeface="Arial" pitchFamily="34" charset="0"/>
                <a:ea typeface="Arial" pitchFamily="-105" charset="-52"/>
                <a:cs typeface="Arial" pitchFamily="34" charset="0"/>
              </a:defRPr>
            </a:lvl2pPr>
            <a:lvl3pPr marL="538163" indent="-176213" fontAlgn="base">
              <a:spcBef>
                <a:spcPts val="600"/>
              </a:spcBef>
              <a:spcAft>
                <a:spcPct val="0"/>
              </a:spcAft>
              <a:buFont typeface="Arial" pitchFamily="34" charset="0"/>
              <a:buChar char="•"/>
              <a:defRPr sz="2400">
                <a:latin typeface="Arial" pitchFamily="34" charset="0"/>
                <a:ea typeface="Arial" pitchFamily="-105" charset="-52"/>
                <a:cs typeface="Arial" pitchFamily="34" charset="0"/>
              </a:defRPr>
            </a:lvl3pPr>
            <a:lvl4pPr marL="715963" indent="-177800" fontAlgn="base">
              <a:spcBef>
                <a:spcPts val="600"/>
              </a:spcBef>
              <a:spcAft>
                <a:spcPct val="0"/>
              </a:spcAft>
              <a:buFont typeface="Arial" pitchFamily="34" charset="0"/>
              <a:buChar char="–"/>
              <a:defRPr sz="2200">
                <a:latin typeface="Arial" pitchFamily="34" charset="0"/>
                <a:ea typeface="Arial" pitchFamily="-105" charset="-52"/>
                <a:cs typeface="Arial" pitchFamily="34" charset="0"/>
              </a:defRPr>
            </a:lvl4pPr>
            <a:lvl5pPr marL="900113" indent="-184150" fontAlgn="base">
              <a:spcBef>
                <a:spcPts val="600"/>
              </a:spcBef>
              <a:spcAft>
                <a:spcPct val="0"/>
              </a:spcAft>
              <a:buFont typeface="Arial" pitchFamily="34" charset="0"/>
              <a:buChar char="•"/>
              <a:defRPr sz="2000">
                <a:latin typeface="Arial" pitchFamily="34" charset="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a:t>Lorem ipsum dolor sit, </a:t>
            </a:r>
            <a:r>
              <a:rPr lang="en-US" err="1"/>
              <a:t>consectetur</a:t>
            </a:r>
            <a:r>
              <a:rPr lang="en-US"/>
              <a:t> </a:t>
            </a:r>
            <a:r>
              <a:rPr lang="en-US" err="1"/>
              <a:t>adipiscing</a:t>
            </a:r>
            <a:r>
              <a:rPr lang="en-US"/>
              <a:t> </a:t>
            </a:r>
            <a:r>
              <a:rPr lang="en-US" err="1"/>
              <a:t>elit</a:t>
            </a:r>
            <a:endParaRPr lang="en-US"/>
          </a:p>
        </p:txBody>
      </p:sp>
      <p:sp>
        <p:nvSpPr>
          <p:cNvPr id="77" name="Text Placeholder 1">
            <a:extLst>
              <a:ext uri="{FF2B5EF4-FFF2-40B4-BE49-F238E27FC236}">
                <a16:creationId xmlns:a16="http://schemas.microsoft.com/office/drawing/2014/main" id="{C0259217-AFD0-A02A-4C6C-940DE1DC3A2B}"/>
              </a:ext>
            </a:extLst>
          </p:cNvPr>
          <p:cNvSpPr txBox="1">
            <a:spLocks/>
          </p:cNvSpPr>
          <p:nvPr/>
        </p:nvSpPr>
        <p:spPr>
          <a:xfrm>
            <a:off x="9825379" y="4089413"/>
            <a:ext cx="2016000" cy="664797"/>
          </a:xfrm>
          <a:prstGeom prst="rect">
            <a:avLst/>
          </a:prstGeom>
        </p:spPr>
        <p:txBody>
          <a:bodyPr vert="horz" wrap="square" lIns="0" tIns="0" rIns="0" bIns="0" rtlCol="0" anchor="t" anchorCtr="0">
            <a:noAutofit/>
          </a:bodyPr>
          <a:lstStyle>
            <a:defPPr>
              <a:defRPr lang="en-BR"/>
            </a:defPPr>
            <a:lvl1pPr indent="0" defTabSz="912700" fontAlgn="base">
              <a:lnSpc>
                <a:spcPct val="90000"/>
              </a:lnSpc>
              <a:spcBef>
                <a:spcPts val="0"/>
              </a:spcBef>
              <a:spcAft>
                <a:spcPct val="0"/>
              </a:spcAft>
              <a:buFont typeface="Arial" pitchFamily="34" charset="0"/>
              <a:buNone/>
              <a:defRPr sz="1400" b="1" i="0" cap="all">
                <a:solidFill>
                  <a:srgbClr val="C00000"/>
                </a:solidFill>
                <a:latin typeface="Segoe UI" panose="020B0502040204020203" pitchFamily="34" charset="0"/>
                <a:ea typeface="Roboto Medium" panose="02000000000000000000" pitchFamily="2" charset="0"/>
                <a:cs typeface="Segoe UI" panose="020B0502040204020203" pitchFamily="34" charset="0"/>
              </a:defRPr>
            </a:lvl1pPr>
            <a:lvl2pPr marL="361950" indent="-185738" fontAlgn="base">
              <a:spcBef>
                <a:spcPts val="600"/>
              </a:spcBef>
              <a:spcAft>
                <a:spcPct val="0"/>
              </a:spcAft>
              <a:buFont typeface="Arial" pitchFamily="34" charset="0"/>
              <a:buChar char="–"/>
              <a:defRPr sz="2600">
                <a:latin typeface="Arial" pitchFamily="34" charset="0"/>
                <a:ea typeface="Arial" pitchFamily="-105" charset="-52"/>
                <a:cs typeface="Arial" pitchFamily="34" charset="0"/>
              </a:defRPr>
            </a:lvl2pPr>
            <a:lvl3pPr marL="538163" indent="-176213" fontAlgn="base">
              <a:spcBef>
                <a:spcPts val="600"/>
              </a:spcBef>
              <a:spcAft>
                <a:spcPct val="0"/>
              </a:spcAft>
              <a:buFont typeface="Arial" pitchFamily="34" charset="0"/>
              <a:buChar char="•"/>
              <a:defRPr sz="2400">
                <a:latin typeface="Arial" pitchFamily="34" charset="0"/>
                <a:ea typeface="Arial" pitchFamily="-105" charset="-52"/>
                <a:cs typeface="Arial" pitchFamily="34" charset="0"/>
              </a:defRPr>
            </a:lvl3pPr>
            <a:lvl4pPr marL="715963" indent="-177800" fontAlgn="base">
              <a:spcBef>
                <a:spcPts val="600"/>
              </a:spcBef>
              <a:spcAft>
                <a:spcPct val="0"/>
              </a:spcAft>
              <a:buFont typeface="Arial" pitchFamily="34" charset="0"/>
              <a:buChar char="–"/>
              <a:defRPr sz="2200">
                <a:latin typeface="Arial" pitchFamily="34" charset="0"/>
                <a:ea typeface="Arial" pitchFamily="-105" charset="-52"/>
                <a:cs typeface="Arial" pitchFamily="34" charset="0"/>
              </a:defRPr>
            </a:lvl4pPr>
            <a:lvl5pPr marL="900113" indent="-184150" fontAlgn="base">
              <a:spcBef>
                <a:spcPts val="600"/>
              </a:spcBef>
              <a:spcAft>
                <a:spcPct val="0"/>
              </a:spcAft>
              <a:buFont typeface="Arial" pitchFamily="34" charset="0"/>
              <a:buChar char="•"/>
              <a:defRPr sz="2000">
                <a:latin typeface="Arial" pitchFamily="34" charset="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a:t>Lorem ipsum dolor sit, </a:t>
            </a:r>
            <a:r>
              <a:rPr lang="en-US" err="1"/>
              <a:t>consectetur</a:t>
            </a:r>
            <a:r>
              <a:rPr lang="en-US"/>
              <a:t> </a:t>
            </a:r>
            <a:r>
              <a:rPr lang="en-US" err="1"/>
              <a:t>adipiscing</a:t>
            </a:r>
            <a:r>
              <a:rPr lang="en-US"/>
              <a:t> </a:t>
            </a:r>
            <a:r>
              <a:rPr lang="en-US" err="1"/>
              <a:t>elit</a:t>
            </a:r>
            <a:endParaRPr lang="en-US"/>
          </a:p>
        </p:txBody>
      </p:sp>
    </p:spTree>
    <p:extLst>
      <p:ext uri="{BB962C8B-B14F-4D97-AF65-F5344CB8AC3E}">
        <p14:creationId xmlns:p14="http://schemas.microsoft.com/office/powerpoint/2010/main" val="13708554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0604E-B2EF-ECC8-12D9-84F5CA917796}"/>
              </a:ext>
            </a:extLst>
          </p:cNvPr>
          <p:cNvSpPr>
            <a:spLocks noGrp="1"/>
          </p:cNvSpPr>
          <p:nvPr>
            <p:ph type="title"/>
          </p:nvPr>
        </p:nvSpPr>
        <p:spPr/>
        <p:txBody>
          <a:bodyPr/>
          <a:lstStyle/>
          <a:p>
            <a:r>
              <a:rPr lang="en-BR"/>
              <a:t>02 | Data Display Slides</a:t>
            </a:r>
          </a:p>
        </p:txBody>
      </p:sp>
      <p:sp>
        <p:nvSpPr>
          <p:cNvPr id="3" name="TextBox 2">
            <a:extLst>
              <a:ext uri="{FF2B5EF4-FFF2-40B4-BE49-F238E27FC236}">
                <a16:creationId xmlns:a16="http://schemas.microsoft.com/office/drawing/2014/main" id="{8F94E9E8-19EB-2FAB-A8FD-34387D4FE7FC}"/>
              </a:ext>
            </a:extLst>
          </p:cNvPr>
          <p:cNvSpPr txBox="1"/>
          <p:nvPr/>
        </p:nvSpPr>
        <p:spPr>
          <a:xfrm>
            <a:off x="388771" y="3840918"/>
            <a:ext cx="3038589" cy="584775"/>
          </a:xfrm>
          <a:prstGeom prst="rect">
            <a:avLst/>
          </a:prstGeom>
          <a:noFill/>
        </p:spPr>
        <p:txBody>
          <a:bodyPr wrap="none" rtlCol="0">
            <a:spAutoFit/>
          </a:bodyPr>
          <a:lstStyle/>
          <a:p>
            <a:r>
              <a:rPr lang="en-US" sz="3200" b="1">
                <a:solidFill>
                  <a:schemeClr val="accent1">
                    <a:lumMod val="20000"/>
                    <a:lumOff val="80000"/>
                  </a:schemeClr>
                </a:solidFill>
                <a:latin typeface="Segoe UI" panose="020B0502040204020203" pitchFamily="34" charset="0"/>
                <a:cs typeface="Segoe UI" panose="020B0502040204020203" pitchFamily="34" charset="0"/>
              </a:rPr>
              <a:t>Column Charts</a:t>
            </a:r>
            <a:endParaRPr lang="en-BR" sz="3200" b="1">
              <a:solidFill>
                <a:schemeClr val="accent1">
                  <a:lumMod val="20000"/>
                  <a:lumOff val="80000"/>
                </a:schemeClr>
              </a:solidFill>
              <a:latin typeface="Segoe UI" panose="020B0502040204020203" pitchFamily="34" charset="0"/>
              <a:cs typeface="Segoe UI" panose="020B0502040204020203" pitchFamily="34" charset="0"/>
            </a:endParaRPr>
          </a:p>
        </p:txBody>
      </p:sp>
      <p:sp>
        <p:nvSpPr>
          <p:cNvPr id="4" name="Footer Placeholder 3">
            <a:extLst>
              <a:ext uri="{FF2B5EF4-FFF2-40B4-BE49-F238E27FC236}">
                <a16:creationId xmlns:a16="http://schemas.microsoft.com/office/drawing/2014/main" id="{B08608A0-1ED0-3E57-95C9-B6E9EA822ED7}"/>
              </a:ext>
            </a:extLst>
          </p:cNvPr>
          <p:cNvSpPr>
            <a:spLocks noGrp="1"/>
          </p:cNvSpPr>
          <p:nvPr>
            <p:ph type="ftr" sz="quarter" idx="11"/>
          </p:nvPr>
        </p:nvSpPr>
        <p:spPr/>
        <p:txBody>
          <a:bodyPr/>
          <a:lstStyle/>
          <a:p>
            <a:r>
              <a:rPr lang="en-US"/>
              <a:t>© 2024 Mobiz. All rights reserved</a:t>
            </a:r>
            <a:endParaRPr lang="en-BR"/>
          </a:p>
        </p:txBody>
      </p:sp>
      <p:sp>
        <p:nvSpPr>
          <p:cNvPr id="5" name="Slide Number Placeholder 4">
            <a:extLst>
              <a:ext uri="{FF2B5EF4-FFF2-40B4-BE49-F238E27FC236}">
                <a16:creationId xmlns:a16="http://schemas.microsoft.com/office/drawing/2014/main" id="{C0BDF99A-CF51-50AE-9564-15809C608E3A}"/>
              </a:ext>
            </a:extLst>
          </p:cNvPr>
          <p:cNvSpPr>
            <a:spLocks noGrp="1"/>
          </p:cNvSpPr>
          <p:nvPr>
            <p:ph type="sldNum" sz="quarter" idx="12"/>
          </p:nvPr>
        </p:nvSpPr>
        <p:spPr/>
        <p:txBody>
          <a:bodyPr/>
          <a:lstStyle/>
          <a:p>
            <a:fld id="{A8DDC45B-7265-3747-B738-ED29642119D9}" type="slidenum">
              <a:rPr lang="en-BR" smtClean="0"/>
              <a:pPr/>
              <a:t>9</a:t>
            </a:fld>
            <a:endParaRPr lang="en-BR"/>
          </a:p>
        </p:txBody>
      </p:sp>
      <p:sp>
        <p:nvSpPr>
          <p:cNvPr id="6" name="TextBox 5">
            <a:hlinkClick r:id="rId2" action="ppaction://hlinksldjump"/>
            <a:extLst>
              <a:ext uri="{FF2B5EF4-FFF2-40B4-BE49-F238E27FC236}">
                <a16:creationId xmlns:a16="http://schemas.microsoft.com/office/drawing/2014/main" id="{BB4E50B8-3263-49E3-3907-A5FA7EEE78FF}"/>
              </a:ext>
            </a:extLst>
          </p:cNvPr>
          <p:cNvSpPr txBox="1"/>
          <p:nvPr/>
        </p:nvSpPr>
        <p:spPr>
          <a:xfrm>
            <a:off x="391754" y="780820"/>
            <a:ext cx="543739" cy="246221"/>
          </a:xfrm>
          <a:prstGeom prst="rect">
            <a:avLst/>
          </a:prstGeom>
          <a:noFill/>
        </p:spPr>
        <p:txBody>
          <a:bodyPr wrap="none" rtlCol="0">
            <a:spAutoFit/>
          </a:bodyPr>
          <a:lstStyle/>
          <a:p>
            <a:r>
              <a:rPr lang="en-BR" sz="1000">
                <a:solidFill>
                  <a:schemeClr val="accent3">
                    <a:lumMod val="60000"/>
                    <a:lumOff val="40000"/>
                  </a:schemeClr>
                </a:solidFill>
                <a:latin typeface="Segoe UI" panose="020B0502040204020203" pitchFamily="34" charset="0"/>
                <a:cs typeface="Segoe UI" panose="020B0502040204020203" pitchFamily="34" charset="0"/>
              </a:rPr>
              <a:t>INDEX</a:t>
            </a:r>
          </a:p>
        </p:txBody>
      </p:sp>
      <p:pic>
        <p:nvPicPr>
          <p:cNvPr id="7" name="Graphic 6" descr="Home with solid fill">
            <a:hlinkClick r:id="rId2" action="ppaction://hlinksldjump"/>
            <a:extLst>
              <a:ext uri="{FF2B5EF4-FFF2-40B4-BE49-F238E27FC236}">
                <a16:creationId xmlns:a16="http://schemas.microsoft.com/office/drawing/2014/main" id="{05C18417-EBE8-4CF1-6AAD-5F2AAE4B5C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1754" y="317458"/>
            <a:ext cx="543739" cy="543739"/>
          </a:xfrm>
          <a:prstGeom prst="rect">
            <a:avLst/>
          </a:prstGeom>
        </p:spPr>
      </p:pic>
    </p:spTree>
    <p:extLst>
      <p:ext uri="{BB962C8B-B14F-4D97-AF65-F5344CB8AC3E}">
        <p14:creationId xmlns:p14="http://schemas.microsoft.com/office/powerpoint/2010/main" val="21767437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cutu9MkrkCPvoZO6FFNvA"/>
</p:tagLst>
</file>

<file path=ppt/tags/tag1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xml><?xml version="1.0" encoding="utf-8"?>
<p:tagLst xmlns:a="http://schemas.openxmlformats.org/drawingml/2006/main" xmlns:r="http://schemas.openxmlformats.org/officeDocument/2006/relationships" xmlns:p="http://schemas.openxmlformats.org/presentationml/2006/main">
  <p:tag name="MCSTAMP" val="0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gIvX4BMoEWGa4pc_bYj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jBn.1htYkGrsKja.lkS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TmDTmN56USVln.NUqen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2MhByKun0yguTCRuCo0m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0w4D3ISHU670PAIPdam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lfIPjOwXk6XCXUfumL6.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BcwRIrHZ0mDuvM0cBf5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xyIafwrAUGg_tovVB3rv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SykkJeKRkGG.IBja.Qg_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VEUF0vPak6sCLe7p0Wof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XqnmGb.80yy3A3BIwgC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8LN2fkTWEOa9bchSWf7g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v.ngbL0C0WX0RLS3_CQ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gIvX4BMoEWGa4pc_bYj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jBn.1htYkGrsKja.lkS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TmDTmN56USVln.NUqen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2MhByKun0yguTCRuCo0m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0w4D3ISHU670PAIPdam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qtpEhBkjk2g9ZwRzp5_F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4lfIPjOwXk6XCXUfumL6.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BcwRIrHZ0mDuvM0cBf5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SykkJeKRkGG.IBja.Qg_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VEUF0vPak6sCLe7p0Wof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_XqnmGb.80yy3A3BIwgCY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8LN2fkTWEOa9bchSWf7g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qCCm5X7VEibe9hRoaqGuA"/>
</p:tagLst>
</file>

<file path=ppt/tags/tag4.xml><?xml version="1.0" encoding="utf-8"?>
<p:tagLst xmlns:a="http://schemas.openxmlformats.org/drawingml/2006/main" xmlns:r="http://schemas.openxmlformats.org/officeDocument/2006/relationships" xmlns:p="http://schemas.openxmlformats.org/presentationml/2006/main">
  <p:tag name="MCSTAMP" val="00"/>
</p:tagLst>
</file>

<file path=ppt/tags/tag5.xml><?xml version="1.0" encoding="utf-8"?>
<p:tagLst xmlns:a="http://schemas.openxmlformats.org/drawingml/2006/main" xmlns:r="http://schemas.openxmlformats.org/officeDocument/2006/relationships" xmlns:p="http://schemas.openxmlformats.org/presentationml/2006/main">
  <p:tag name="MCSTAMP" val="00"/>
</p:tagLst>
</file>

<file path=ppt/tags/tag6.xml><?xml version="1.0" encoding="utf-8"?>
<p:tagLst xmlns:a="http://schemas.openxmlformats.org/drawingml/2006/main" xmlns:r="http://schemas.openxmlformats.org/officeDocument/2006/relationships" xmlns:p="http://schemas.openxmlformats.org/presentationml/2006/main">
  <p:tag name="NAME" val="SingleBoatShap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o8VDsUfD02xa8MasiVuoA"/>
</p:tagLst>
</file>

<file path=ppt/tags/tag8.xml><?xml version="1.0" encoding="utf-8"?>
<p:tagLst xmlns:a="http://schemas.openxmlformats.org/drawingml/2006/main" xmlns:r="http://schemas.openxmlformats.org/officeDocument/2006/relationships" xmlns:p="http://schemas.openxmlformats.org/presentationml/2006/main">
  <p:tag name="NAME" val="SingleBoatShape"/>
</p:tagLst>
</file>

<file path=ppt/tags/tag9.xml><?xml version="1.0" encoding="utf-8"?>
<p:tagLst xmlns:a="http://schemas.openxmlformats.org/drawingml/2006/main" xmlns:r="http://schemas.openxmlformats.org/officeDocument/2006/relationships" xmlns:p="http://schemas.openxmlformats.org/presentationml/2006/main">
  <p:tag name="NAME" val="SingleBoatShape"/>
</p:tagLst>
</file>

<file path=ppt/theme/theme1.xml><?xml version="1.0" encoding="utf-8"?>
<a:theme xmlns:a="http://schemas.openxmlformats.org/drawingml/2006/main" name="Office Theme">
  <a:themeElements>
    <a:clrScheme name="Red Orange">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D1D59FD93DE8846A919942AA5C13D5D" ma:contentTypeVersion="17" ma:contentTypeDescription="Create a new document." ma:contentTypeScope="" ma:versionID="ce8c0e26dd72f2d89e38ee5a3d958383">
  <xsd:schema xmlns:xsd="http://www.w3.org/2001/XMLSchema" xmlns:xs="http://www.w3.org/2001/XMLSchema" xmlns:p="http://schemas.microsoft.com/office/2006/metadata/properties" xmlns:ns1="http://schemas.microsoft.com/sharepoint/v3" xmlns:ns2="5ff9fd40-159f-468e-8944-353f9d0a4594" xmlns:ns3="cb680ada-3b99-4d74-b9e5-fd92704691ea" targetNamespace="http://schemas.microsoft.com/office/2006/metadata/properties" ma:root="true" ma:fieldsID="cbe52ce088253a887a23064691b4820c" ns1:_="" ns2:_="" ns3:_="">
    <xsd:import namespace="http://schemas.microsoft.com/sharepoint/v3"/>
    <xsd:import namespace="5ff9fd40-159f-468e-8944-353f9d0a4594"/>
    <xsd:import namespace="cb680ada-3b99-4d74-b9e5-fd92704691e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1:_ip_UnifiedCompliancePolicyProperties" minOccurs="0"/>
                <xsd:element ref="ns1:_ip_UnifiedCompliancePolicyUIAction" minOccurs="0"/>
                <xsd:element ref="ns3:_dlc_DocId" minOccurs="0"/>
                <xsd:element ref="ns3:_dlc_DocIdUrl" minOccurs="0"/>
                <xsd:element ref="ns3:_dlc_DocIdPersistId"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ff9fd40-159f-468e-8944-353f9d0a45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cc8ca41-10b4-472d-9111-be17cca7a951"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7"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b680ada-3b99-4d74-b9e5-fd92704691e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697ab94a-76e0-4318-851e-6de4eecfcde7}" ma:internalName="TaxCatchAll" ma:showField="CatchAllData" ma:web="cb680ada-3b99-4d74-b9e5-fd92704691ea">
      <xsd:complexType>
        <xsd:complexContent>
          <xsd:extension base="dms:MultiChoiceLookup">
            <xsd:sequence>
              <xsd:element name="Value" type="dms:Lookup" maxOccurs="unbounded" minOccurs="0" nillable="true"/>
            </xsd:sequence>
          </xsd:extension>
        </xsd:complexContent>
      </xsd:complexType>
    </xsd:element>
    <xsd:element name="_dlc_DocId" ma:index="24" nillable="true" ma:displayName="Document ID Value" ma:description="The value of the document ID assigned to this item." ma:indexed="true" ma:internalName="_dlc_DocId" ma:readOnly="true">
      <xsd:simpleType>
        <xsd:restriction base="dms:Text"/>
      </xsd:simpleType>
    </xsd:element>
    <xsd:element name="_dlc_DocIdUrl" ma:index="2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6"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TaxCatchAll xmlns="cb680ada-3b99-4d74-b9e5-fd92704691ea" xsi:nil="true"/>
    <_ip_UnifiedCompliancePolicyUIAction xmlns="http://schemas.microsoft.com/sharepoint/v3" xsi:nil="true"/>
    <lcf76f155ced4ddcb4097134ff3c332f xmlns="5ff9fd40-159f-468e-8944-353f9d0a4594">
      <Terms xmlns="http://schemas.microsoft.com/office/infopath/2007/PartnerControls"/>
    </lcf76f155ced4ddcb4097134ff3c332f>
    <_ip_UnifiedCompliancePolicyProperties xmlns="http://schemas.microsoft.com/sharepoint/v3" xsi:nil="true"/>
    <_dlc_DocId xmlns="cb680ada-3b99-4d74-b9e5-fd92704691ea">MBZINTRA-593022190-16946</_dlc_DocId>
    <_dlc_DocIdUrl xmlns="cb680ada-3b99-4d74-b9e5-fd92704691ea">
      <Url>https://mobiz.sharepoint.com/sites/MobizIntranet/_layouts/15/DocIdRedir.aspx?ID=MBZINTRA-593022190-16946</Url>
      <Description>MBZINTRA-593022190-16946</Description>
    </_dlc_DocIdUrl>
  </documentManagement>
</p:properties>
</file>

<file path=customXml/itemProps1.xml><?xml version="1.0" encoding="utf-8"?>
<ds:datastoreItem xmlns:ds="http://schemas.openxmlformats.org/officeDocument/2006/customXml" ds:itemID="{A7CECF8E-5398-4921-BED7-8CED56E105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ff9fd40-159f-468e-8944-353f9d0a4594"/>
    <ds:schemaRef ds:uri="cb680ada-3b99-4d74-b9e5-fd92704691e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FAAB2BC-EA82-4C8E-A690-D7255CF0A1D5}">
  <ds:schemaRefs>
    <ds:schemaRef ds:uri="http://schemas.microsoft.com/sharepoint/events"/>
  </ds:schemaRefs>
</ds:datastoreItem>
</file>

<file path=customXml/itemProps3.xml><?xml version="1.0" encoding="utf-8"?>
<ds:datastoreItem xmlns:ds="http://schemas.openxmlformats.org/officeDocument/2006/customXml" ds:itemID="{9221A77F-8F02-4B07-9621-732E46ACF7CE}">
  <ds:schemaRefs>
    <ds:schemaRef ds:uri="http://schemas.microsoft.com/sharepoint/v3/contenttype/forms"/>
  </ds:schemaRefs>
</ds:datastoreItem>
</file>

<file path=customXml/itemProps4.xml><?xml version="1.0" encoding="utf-8"?>
<ds:datastoreItem xmlns:ds="http://schemas.openxmlformats.org/officeDocument/2006/customXml" ds:itemID="{AF6F6DB3-EB9D-4619-8FC9-0D3067B3F350}">
  <ds:schemaRefs>
    <ds:schemaRef ds:uri="http://schemas.microsoft.com/office/2006/metadata/properties"/>
    <ds:schemaRef ds:uri="http://purl.org/dc/elements/1.1/"/>
    <ds:schemaRef ds:uri="http://schemas.microsoft.com/office/2006/documentManagement/types"/>
    <ds:schemaRef ds:uri="http://www.w3.org/XML/1998/namespace"/>
    <ds:schemaRef ds:uri="http://schemas.microsoft.com/sharepoint/v3"/>
    <ds:schemaRef ds:uri="http://schemas.microsoft.com/office/infopath/2007/PartnerControls"/>
    <ds:schemaRef ds:uri="http://schemas.openxmlformats.org/package/2006/metadata/core-properties"/>
    <ds:schemaRef ds:uri="cb680ada-3b99-4d74-b9e5-fd92704691ea"/>
    <ds:schemaRef ds:uri="5ff9fd40-159f-468e-8944-353f9d0a4594"/>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9</TotalTime>
  <Words>5474</Words>
  <Application>Microsoft Office PowerPoint</Application>
  <PresentationFormat>Widescreen</PresentationFormat>
  <Paragraphs>1024</Paragraphs>
  <Slides>77</Slides>
  <Notes>7</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77</vt:i4>
      </vt:variant>
    </vt:vector>
  </HeadingPairs>
  <TitlesOfParts>
    <vt:vector size="85" baseType="lpstr">
      <vt:lpstr>MS PGothic</vt:lpstr>
      <vt:lpstr>Aptos</vt:lpstr>
      <vt:lpstr>Arial</vt:lpstr>
      <vt:lpstr>ArialUnicodeMS</vt:lpstr>
      <vt:lpstr>Segoe UI</vt:lpstr>
      <vt:lpstr>Segoe UI Light</vt:lpstr>
      <vt:lpstr>Wingdings</vt:lpstr>
      <vt:lpstr>Office Theme</vt:lpstr>
      <vt:lpstr>AI_powered_interview-Prsentation</vt:lpstr>
      <vt:lpstr>Index</vt:lpstr>
      <vt:lpstr>01 | Text Display Slides</vt:lpstr>
      <vt:lpstr>Text Displays</vt:lpstr>
      <vt:lpstr>Text Displays</vt:lpstr>
      <vt:lpstr>Text Displays</vt:lpstr>
      <vt:lpstr>Text Displays</vt:lpstr>
      <vt:lpstr>Text Displays</vt:lpstr>
      <vt:lpstr>02 | Data Display Slides</vt:lpstr>
      <vt:lpstr>Data Display Slide</vt:lpstr>
      <vt:lpstr>Data Display Slide</vt:lpstr>
      <vt:lpstr>Data Display Slide</vt:lpstr>
      <vt:lpstr>Data Display Slide</vt:lpstr>
      <vt:lpstr>Data Display Slide</vt:lpstr>
      <vt:lpstr>Data Display Slide</vt:lpstr>
      <vt:lpstr>Data Display Slide</vt:lpstr>
      <vt:lpstr>Data Display Slide</vt:lpstr>
      <vt:lpstr>Data Display Slide</vt:lpstr>
      <vt:lpstr>Data Display Slide</vt:lpstr>
      <vt:lpstr>03 | Data Display Slides</vt:lpstr>
      <vt:lpstr>Data Display Slide</vt:lpstr>
      <vt:lpstr>Data Display Slide</vt:lpstr>
      <vt:lpstr>Data Display Slide</vt:lpstr>
      <vt:lpstr>Data Display Slide</vt:lpstr>
      <vt:lpstr>Data Display Slide</vt:lpstr>
      <vt:lpstr>04 | Data Display Slides</vt:lpstr>
      <vt:lpstr>Data  Display</vt:lpstr>
      <vt:lpstr>Data  Display</vt:lpstr>
      <vt:lpstr>Data  Display</vt:lpstr>
      <vt:lpstr>Data  Display</vt:lpstr>
      <vt:lpstr>05 | Project Management Slides</vt:lpstr>
      <vt:lpstr>Project Management</vt:lpstr>
      <vt:lpstr>Project Management</vt:lpstr>
      <vt:lpstr>Project Management</vt:lpstr>
      <vt:lpstr>Project Management</vt:lpstr>
      <vt:lpstr>Project Management</vt:lpstr>
      <vt:lpstr>Project Management</vt:lpstr>
      <vt:lpstr>Project Management</vt:lpstr>
      <vt:lpstr>Project Management</vt:lpstr>
      <vt:lpstr>Project Management</vt:lpstr>
      <vt:lpstr>Project Management</vt:lpstr>
      <vt:lpstr>Project Management</vt:lpstr>
      <vt:lpstr>06 | Steerco Slides</vt:lpstr>
      <vt:lpstr>Key Points</vt:lpstr>
      <vt:lpstr>Executive Summary</vt:lpstr>
      <vt:lpstr>Other Topics 1</vt:lpstr>
      <vt:lpstr>Other Topics 2</vt:lpstr>
      <vt:lpstr>Risk and Issues</vt:lpstr>
      <vt:lpstr>Decisions and Approvals</vt:lpstr>
      <vt:lpstr>Summary and Next Steps</vt:lpstr>
      <vt:lpstr>07 | Kick off Meeting</vt:lpstr>
      <vt:lpstr>PowerPoint Presentation</vt:lpstr>
      <vt:lpstr>08 | Dashboard Slides</vt:lpstr>
      <vt:lpstr>Dashboard</vt:lpstr>
      <vt:lpstr>Dashboard</vt:lpstr>
      <vt:lpstr>Dashboard</vt:lpstr>
      <vt:lpstr>Dashboard</vt:lpstr>
      <vt:lpstr>Dashboard</vt:lpstr>
      <vt:lpstr>Dashboard</vt:lpstr>
      <vt:lpstr>09 | Other Visuals</vt:lpstr>
      <vt:lpstr>Other Visuals</vt:lpstr>
      <vt:lpstr>Other Visuals</vt:lpstr>
      <vt:lpstr>Other Visuals</vt:lpstr>
      <vt:lpstr>Other Visuals</vt:lpstr>
      <vt:lpstr>Other Visuals</vt:lpstr>
      <vt:lpstr>10 | Images</vt:lpstr>
      <vt:lpstr>Log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tricia Lima</dc:creator>
  <cp:lastModifiedBy>Muhammad Khubaib</cp:lastModifiedBy>
  <cp:revision>6</cp:revision>
  <dcterms:created xsi:type="dcterms:W3CDTF">2024-03-14T12:48:50Z</dcterms:created>
  <dcterms:modified xsi:type="dcterms:W3CDTF">2025-02-28T14:0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1D59FD93DE8846A919942AA5C13D5D</vt:lpwstr>
  </property>
  <property fmtid="{D5CDD505-2E9C-101B-9397-08002B2CF9AE}" pid="3" name="MediaServiceImageTags">
    <vt:lpwstr/>
  </property>
  <property fmtid="{D5CDD505-2E9C-101B-9397-08002B2CF9AE}" pid="4" name="_dlc_DocIdItemGuid">
    <vt:lpwstr>90cf388a-f2bb-433f-a75b-befbf175c9d5</vt:lpwstr>
  </property>
</Properties>
</file>